
<file path=[Content_Types].xml><?xml version="1.0" encoding="utf-8"?>
<Types xmlns="http://schemas.openxmlformats.org/package/2006/content-types">
  <Default Extension="jpeg" ContentType="image/jpeg"/>
  <Default Extension="JPG" ContentType="image/.jpg"/>
  <Default Extension="vml" ContentType="application/vnd.openxmlformats-officedocument.vmlDrawing"/>
  <Default Extension="bin" ContentType="application/vnd.openxmlformats-officedocument.oleObject"/>
  <Default Extension="emf" ContentType="image/x-emf"/>
  <Default Extension="png" ContentType="image/png"/>
  <Default Extension="wdp" ContentType="image/vnd.ms-photo"/>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53" r:id="rId3"/>
    <p:sldMasterId id="2147483662" r:id="rId4"/>
    <p:sldMasterId id="2147483670" r:id="rId5"/>
    <p:sldMasterId id="2147483675" r:id="rId6"/>
    <p:sldMasterId id="2147483680" r:id="rId7"/>
    <p:sldMasterId id="2147483720" r:id="rId8"/>
  </p:sldMasterIdLst>
  <p:notesMasterIdLst>
    <p:notesMasterId r:id="rId11"/>
  </p:notesMasterIdLst>
  <p:sldIdLst>
    <p:sldId id="304" r:id="rId9"/>
    <p:sldId id="814" r:id="rId10"/>
    <p:sldId id="260" r:id="rId12"/>
    <p:sldId id="455" r:id="rId13"/>
    <p:sldId id="815" r:id="rId14"/>
    <p:sldId id="816" r:id="rId15"/>
    <p:sldId id="817" r:id="rId16"/>
    <p:sldId id="805" r:id="rId17"/>
    <p:sldId id="806" r:id="rId18"/>
    <p:sldId id="266" r:id="rId19"/>
    <p:sldId id="818" r:id="rId20"/>
    <p:sldId id="819" r:id="rId21"/>
    <p:sldId id="820" r:id="rId22"/>
    <p:sldId id="821" r:id="rId23"/>
    <p:sldId id="823" r:id="rId24"/>
    <p:sldId id="824" r:id="rId25"/>
    <p:sldId id="825" r:id="rId26"/>
    <p:sldId id="822" r:id="rId27"/>
    <p:sldId id="7684" r:id="rId28"/>
    <p:sldId id="261" r:id="rId29"/>
    <p:sldId id="302" r:id="rId30"/>
    <p:sldId id="279" r:id="rId31"/>
    <p:sldId id="372" r:id="rId32"/>
    <p:sldId id="284" r:id="rId33"/>
    <p:sldId id="7641" r:id="rId34"/>
    <p:sldId id="339" r:id="rId35"/>
    <p:sldId id="7642" r:id="rId36"/>
    <p:sldId id="331" r:id="rId37"/>
    <p:sldId id="356" r:id="rId38"/>
    <p:sldId id="295" r:id="rId39"/>
    <p:sldId id="314" r:id="rId40"/>
    <p:sldId id="369" r:id="rId41"/>
    <p:sldId id="370" r:id="rId42"/>
    <p:sldId id="301" r:id="rId43"/>
    <p:sldId id="276" r:id="rId44"/>
    <p:sldId id="310" r:id="rId45"/>
    <p:sldId id="362" r:id="rId46"/>
    <p:sldId id="359" r:id="rId47"/>
    <p:sldId id="313" r:id="rId48"/>
    <p:sldId id="345" r:id="rId49"/>
    <p:sldId id="305" r:id="rId50"/>
    <p:sldId id="7643" r:id="rId51"/>
    <p:sldId id="332" r:id="rId52"/>
    <p:sldId id="350" r:id="rId53"/>
    <p:sldId id="292" r:id="rId54"/>
    <p:sldId id="289" r:id="rId55"/>
    <p:sldId id="338" r:id="rId56"/>
    <p:sldId id="360" r:id="rId57"/>
    <p:sldId id="361" r:id="rId58"/>
    <p:sldId id="367" r:id="rId59"/>
    <p:sldId id="400" r:id="rId60"/>
    <p:sldId id="383" r:id="rId61"/>
    <p:sldId id="386" r:id="rId62"/>
    <p:sldId id="340" r:id="rId63"/>
    <p:sldId id="7644" r:id="rId64"/>
    <p:sldId id="278" r:id="rId65"/>
    <p:sldId id="311" r:id="rId66"/>
    <p:sldId id="353" r:id="rId67"/>
    <p:sldId id="7646" r:id="rId68"/>
    <p:sldId id="403" r:id="rId69"/>
    <p:sldId id="397" r:id="rId70"/>
    <p:sldId id="358" r:id="rId71"/>
    <p:sldId id="282" r:id="rId72"/>
    <p:sldId id="271" r:id="rId73"/>
    <p:sldId id="298" r:id="rId74"/>
    <p:sldId id="7647" r:id="rId75"/>
    <p:sldId id="479" r:id="rId76"/>
    <p:sldId id="7648" r:id="rId77"/>
    <p:sldId id="7649" r:id="rId78"/>
    <p:sldId id="7650" r:id="rId79"/>
    <p:sldId id="7663" r:id="rId80"/>
    <p:sldId id="7664" r:id="rId81"/>
    <p:sldId id="7665" r:id="rId82"/>
    <p:sldId id="335" r:id="rId83"/>
    <p:sldId id="7666" r:id="rId84"/>
    <p:sldId id="342" r:id="rId85"/>
    <p:sldId id="7667" r:id="rId86"/>
    <p:sldId id="7668" r:id="rId87"/>
    <p:sldId id="7669" r:id="rId88"/>
    <p:sldId id="7670" r:id="rId89"/>
    <p:sldId id="7671" r:id="rId90"/>
    <p:sldId id="7672" r:id="rId91"/>
    <p:sldId id="7673" r:id="rId92"/>
    <p:sldId id="265" r:id="rId93"/>
    <p:sldId id="7674" r:id="rId94"/>
    <p:sldId id="7675" r:id="rId95"/>
    <p:sldId id="7676" r:id="rId96"/>
    <p:sldId id="281" r:id="rId97"/>
    <p:sldId id="7677" r:id="rId98"/>
    <p:sldId id="299" r:id="rId99"/>
    <p:sldId id="321" r:id="rId100"/>
    <p:sldId id="328" r:id="rId101"/>
    <p:sldId id="326" r:id="rId102"/>
    <p:sldId id="7678" r:id="rId103"/>
    <p:sldId id="1072" r:id="rId104"/>
    <p:sldId id="7679" r:id="rId105"/>
    <p:sldId id="508" r:id="rId106"/>
    <p:sldId id="505" r:id="rId107"/>
    <p:sldId id="515" r:id="rId108"/>
    <p:sldId id="7680" r:id="rId109"/>
    <p:sldId id="7681" r:id="rId110"/>
    <p:sldId id="396" r:id="rId111"/>
    <p:sldId id="7682" r:id="rId112"/>
    <p:sldId id="275" r:id="rId113"/>
    <p:sldId id="269" r:id="rId114"/>
    <p:sldId id="7683" r:id="rId115"/>
    <p:sldId id="7662" r:id="rId116"/>
    <p:sldId id="7661" r:id="rId117"/>
    <p:sldId id="7660" r:id="rId118"/>
    <p:sldId id="7659" r:id="rId119"/>
    <p:sldId id="7658" r:id="rId120"/>
    <p:sldId id="7657" r:id="rId121"/>
    <p:sldId id="7656" r:id="rId122"/>
    <p:sldId id="7655" r:id="rId123"/>
    <p:sldId id="256" r:id="rId124"/>
    <p:sldId id="826" r:id="rId125"/>
    <p:sldId id="828" r:id="rId126"/>
    <p:sldId id="829" r:id="rId127"/>
  </p:sldIdLst>
  <p:sldSz cx="12192000" cy="6858000"/>
  <p:notesSz cx="6735445" cy="9865995"/>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3774B"/>
    <a:srgbClr val="F05A23"/>
    <a:srgbClr val="FFFFFF"/>
    <a:srgbClr val="000000"/>
    <a:srgbClr val="FC6C1C"/>
    <a:srgbClr val="FECEAF"/>
    <a:srgbClr val="FFEBDF"/>
    <a:srgbClr val="FC5A04"/>
    <a:srgbClr val="5B9BD5"/>
    <a:srgbClr val="FCEAE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24194" autoAdjust="0"/>
    <p:restoredTop sz="84896" autoAdjust="0"/>
  </p:normalViewPr>
  <p:slideViewPr>
    <p:cSldViewPr snapToGrid="0">
      <p:cViewPr varScale="1">
        <p:scale>
          <a:sx n="72" d="100"/>
          <a:sy n="72" d="100"/>
        </p:scale>
        <p:origin x="231" y="36"/>
      </p:cViewPr>
      <p:guideLst/>
    </p:cSldViewPr>
  </p:slideViewPr>
  <p:outlineViewPr>
    <p:cViewPr>
      <p:scale>
        <a:sx n="33" d="100"/>
        <a:sy n="33" d="100"/>
      </p:scale>
      <p:origin x="0" y="-1320"/>
    </p:cViewPr>
  </p:outlineViewPr>
  <p:notesTextViewPr>
    <p:cViewPr>
      <p:scale>
        <a:sx n="1" d="1"/>
        <a:sy n="1" d="1"/>
      </p:scale>
      <p:origin x="0" y="0"/>
    </p:cViewPr>
  </p:notesTextViewPr>
  <p:sorterViewPr>
    <p:cViewPr varScale="1">
      <p:scale>
        <a:sx n="100" d="100"/>
        <a:sy n="100" d="100"/>
      </p:scale>
      <p:origin x="0" y="-37902"/>
    </p:cViewPr>
  </p:sorterViewPr>
  <p:gridSpacing cx="72008" cy="72008"/>
</p:viewPr>
</file>

<file path=ppt/_rels/presentation.xml.rels><?xml version="1.0" encoding="UTF-8" standalone="yes"?>
<Relationships xmlns="http://schemas.openxmlformats.org/package/2006/relationships"><Relationship Id="rId99" Type="http://schemas.openxmlformats.org/officeDocument/2006/relationships/slide" Target="slides/slide90.xml"/><Relationship Id="rId98" Type="http://schemas.openxmlformats.org/officeDocument/2006/relationships/slide" Target="slides/slide89.xml"/><Relationship Id="rId97" Type="http://schemas.openxmlformats.org/officeDocument/2006/relationships/slide" Target="slides/slide88.xml"/><Relationship Id="rId96" Type="http://schemas.openxmlformats.org/officeDocument/2006/relationships/slide" Target="slides/slide87.xml"/><Relationship Id="rId95" Type="http://schemas.openxmlformats.org/officeDocument/2006/relationships/slide" Target="slides/slide86.xml"/><Relationship Id="rId94" Type="http://schemas.openxmlformats.org/officeDocument/2006/relationships/slide" Target="slides/slide85.xml"/><Relationship Id="rId93" Type="http://schemas.openxmlformats.org/officeDocument/2006/relationships/slide" Target="slides/slide84.xml"/><Relationship Id="rId92" Type="http://schemas.openxmlformats.org/officeDocument/2006/relationships/slide" Target="slides/slide83.xml"/><Relationship Id="rId91" Type="http://schemas.openxmlformats.org/officeDocument/2006/relationships/slide" Target="slides/slide82.xml"/><Relationship Id="rId90" Type="http://schemas.openxmlformats.org/officeDocument/2006/relationships/slide" Target="slides/slide81.xml"/><Relationship Id="rId9" Type="http://schemas.openxmlformats.org/officeDocument/2006/relationships/slide" Target="slides/slide1.xml"/><Relationship Id="rId89" Type="http://schemas.openxmlformats.org/officeDocument/2006/relationships/slide" Target="slides/slide80.xml"/><Relationship Id="rId88" Type="http://schemas.openxmlformats.org/officeDocument/2006/relationships/slide" Target="slides/slide79.xml"/><Relationship Id="rId87" Type="http://schemas.openxmlformats.org/officeDocument/2006/relationships/slide" Target="slides/slide78.xml"/><Relationship Id="rId86" Type="http://schemas.openxmlformats.org/officeDocument/2006/relationships/slide" Target="slides/slide77.xml"/><Relationship Id="rId85" Type="http://schemas.openxmlformats.org/officeDocument/2006/relationships/slide" Target="slides/slide76.xml"/><Relationship Id="rId84" Type="http://schemas.openxmlformats.org/officeDocument/2006/relationships/slide" Target="slides/slide75.xml"/><Relationship Id="rId83" Type="http://schemas.openxmlformats.org/officeDocument/2006/relationships/slide" Target="slides/slide74.xml"/><Relationship Id="rId82" Type="http://schemas.openxmlformats.org/officeDocument/2006/relationships/slide" Target="slides/slide73.xml"/><Relationship Id="rId81" Type="http://schemas.openxmlformats.org/officeDocument/2006/relationships/slide" Target="slides/slide72.xml"/><Relationship Id="rId80" Type="http://schemas.openxmlformats.org/officeDocument/2006/relationships/slide" Target="slides/slide71.xml"/><Relationship Id="rId8" Type="http://schemas.openxmlformats.org/officeDocument/2006/relationships/slideMaster" Target="slideMasters/slideMaster7.xml"/><Relationship Id="rId79" Type="http://schemas.openxmlformats.org/officeDocument/2006/relationships/slide" Target="slides/slide70.xml"/><Relationship Id="rId78" Type="http://schemas.openxmlformats.org/officeDocument/2006/relationships/slide" Target="slides/slide69.xml"/><Relationship Id="rId77" Type="http://schemas.openxmlformats.org/officeDocument/2006/relationships/slide" Target="slides/slide68.xml"/><Relationship Id="rId76" Type="http://schemas.openxmlformats.org/officeDocument/2006/relationships/slide" Target="slides/slide67.xml"/><Relationship Id="rId75" Type="http://schemas.openxmlformats.org/officeDocument/2006/relationships/slide" Target="slides/slide66.xml"/><Relationship Id="rId74" Type="http://schemas.openxmlformats.org/officeDocument/2006/relationships/slide" Target="slides/slide65.xml"/><Relationship Id="rId73" Type="http://schemas.openxmlformats.org/officeDocument/2006/relationships/slide" Target="slides/slide64.xml"/><Relationship Id="rId72" Type="http://schemas.openxmlformats.org/officeDocument/2006/relationships/slide" Target="slides/slide63.xml"/><Relationship Id="rId71" Type="http://schemas.openxmlformats.org/officeDocument/2006/relationships/slide" Target="slides/slide62.xml"/><Relationship Id="rId70" Type="http://schemas.openxmlformats.org/officeDocument/2006/relationships/slide" Target="slides/slide61.xml"/><Relationship Id="rId7" Type="http://schemas.openxmlformats.org/officeDocument/2006/relationships/slideMaster" Target="slideMasters/slideMaster6.xml"/><Relationship Id="rId69" Type="http://schemas.openxmlformats.org/officeDocument/2006/relationships/slide" Target="slides/slide60.xml"/><Relationship Id="rId68" Type="http://schemas.openxmlformats.org/officeDocument/2006/relationships/slide" Target="slides/slide59.xml"/><Relationship Id="rId67" Type="http://schemas.openxmlformats.org/officeDocument/2006/relationships/slide" Target="slides/slide58.xml"/><Relationship Id="rId66" Type="http://schemas.openxmlformats.org/officeDocument/2006/relationships/slide" Target="slides/slide57.xml"/><Relationship Id="rId65" Type="http://schemas.openxmlformats.org/officeDocument/2006/relationships/slide" Target="slides/slide56.xml"/><Relationship Id="rId64" Type="http://schemas.openxmlformats.org/officeDocument/2006/relationships/slide" Target="slides/slide55.xml"/><Relationship Id="rId63" Type="http://schemas.openxmlformats.org/officeDocument/2006/relationships/slide" Target="slides/slide54.xml"/><Relationship Id="rId62" Type="http://schemas.openxmlformats.org/officeDocument/2006/relationships/slide" Target="slides/slide53.xml"/><Relationship Id="rId61" Type="http://schemas.openxmlformats.org/officeDocument/2006/relationships/slide" Target="slides/slide52.xml"/><Relationship Id="rId60" Type="http://schemas.openxmlformats.org/officeDocument/2006/relationships/slide" Target="slides/slide51.xml"/><Relationship Id="rId6" Type="http://schemas.openxmlformats.org/officeDocument/2006/relationships/slideMaster" Target="slideMasters/slideMaster5.xml"/><Relationship Id="rId59" Type="http://schemas.openxmlformats.org/officeDocument/2006/relationships/slide" Target="slides/slide50.xml"/><Relationship Id="rId58" Type="http://schemas.openxmlformats.org/officeDocument/2006/relationships/slide" Target="slides/slide49.xml"/><Relationship Id="rId57" Type="http://schemas.openxmlformats.org/officeDocument/2006/relationships/slide" Target="slides/slide48.xml"/><Relationship Id="rId56" Type="http://schemas.openxmlformats.org/officeDocument/2006/relationships/slide" Target="slides/slide47.xml"/><Relationship Id="rId55" Type="http://schemas.openxmlformats.org/officeDocument/2006/relationships/slide" Target="slides/slide46.xml"/><Relationship Id="rId54" Type="http://schemas.openxmlformats.org/officeDocument/2006/relationships/slide" Target="slides/slide45.xml"/><Relationship Id="rId53" Type="http://schemas.openxmlformats.org/officeDocument/2006/relationships/slide" Target="slides/slide44.xml"/><Relationship Id="rId52" Type="http://schemas.openxmlformats.org/officeDocument/2006/relationships/slide" Target="slides/slide43.xml"/><Relationship Id="rId51" Type="http://schemas.openxmlformats.org/officeDocument/2006/relationships/slide" Target="slides/slide42.xml"/><Relationship Id="rId50" Type="http://schemas.openxmlformats.org/officeDocument/2006/relationships/slide" Target="slides/slide41.xml"/><Relationship Id="rId5" Type="http://schemas.openxmlformats.org/officeDocument/2006/relationships/slideMaster" Target="slideMasters/slideMaster4.xml"/><Relationship Id="rId49" Type="http://schemas.openxmlformats.org/officeDocument/2006/relationships/slide" Target="slides/slide40.xml"/><Relationship Id="rId48" Type="http://schemas.openxmlformats.org/officeDocument/2006/relationships/slide" Target="slides/slide39.xml"/><Relationship Id="rId47" Type="http://schemas.openxmlformats.org/officeDocument/2006/relationships/slide" Target="slides/slide38.xml"/><Relationship Id="rId46" Type="http://schemas.openxmlformats.org/officeDocument/2006/relationships/slide" Target="slides/slide37.xml"/><Relationship Id="rId45" Type="http://schemas.openxmlformats.org/officeDocument/2006/relationships/slide" Target="slides/slide36.xml"/><Relationship Id="rId44" Type="http://schemas.openxmlformats.org/officeDocument/2006/relationships/slide" Target="slides/slide35.xml"/><Relationship Id="rId43" Type="http://schemas.openxmlformats.org/officeDocument/2006/relationships/slide" Target="slides/slide34.xml"/><Relationship Id="rId42" Type="http://schemas.openxmlformats.org/officeDocument/2006/relationships/slide" Target="slides/slide33.xml"/><Relationship Id="rId41" Type="http://schemas.openxmlformats.org/officeDocument/2006/relationships/slide" Target="slides/slide32.xml"/><Relationship Id="rId40" Type="http://schemas.openxmlformats.org/officeDocument/2006/relationships/slide" Target="slides/slide31.xml"/><Relationship Id="rId4" Type="http://schemas.openxmlformats.org/officeDocument/2006/relationships/slideMaster" Target="slideMasters/slideMaster3.xml"/><Relationship Id="rId39" Type="http://schemas.openxmlformats.org/officeDocument/2006/relationships/slide" Target="slides/slide30.xml"/><Relationship Id="rId38" Type="http://schemas.openxmlformats.org/officeDocument/2006/relationships/slide" Target="slides/slide29.xml"/><Relationship Id="rId37" Type="http://schemas.openxmlformats.org/officeDocument/2006/relationships/slide" Target="slides/slide28.xml"/><Relationship Id="rId36" Type="http://schemas.openxmlformats.org/officeDocument/2006/relationships/slide" Target="slides/slide27.xml"/><Relationship Id="rId35" Type="http://schemas.openxmlformats.org/officeDocument/2006/relationships/slide" Target="slides/slide26.xml"/><Relationship Id="rId34" Type="http://schemas.openxmlformats.org/officeDocument/2006/relationships/slide" Target="slides/slide25.xml"/><Relationship Id="rId33" Type="http://schemas.openxmlformats.org/officeDocument/2006/relationships/slide" Target="slides/slide24.xml"/><Relationship Id="rId32" Type="http://schemas.openxmlformats.org/officeDocument/2006/relationships/slide" Target="slides/slide23.xml"/><Relationship Id="rId31" Type="http://schemas.openxmlformats.org/officeDocument/2006/relationships/slide" Target="slides/slide22.xml"/><Relationship Id="rId30" Type="http://schemas.openxmlformats.org/officeDocument/2006/relationships/slide" Target="slides/slide21.xml"/><Relationship Id="rId3" Type="http://schemas.openxmlformats.org/officeDocument/2006/relationships/slideMaster" Target="slideMasters/slideMaster2.xml"/><Relationship Id="rId29" Type="http://schemas.openxmlformats.org/officeDocument/2006/relationships/slide" Target="slides/slide20.xml"/><Relationship Id="rId28" Type="http://schemas.openxmlformats.org/officeDocument/2006/relationships/slide" Target="slides/slide19.xml"/><Relationship Id="rId27" Type="http://schemas.openxmlformats.org/officeDocument/2006/relationships/slide" Target="slides/slide18.xml"/><Relationship Id="rId26" Type="http://schemas.openxmlformats.org/officeDocument/2006/relationships/slide" Target="slides/slide17.xml"/><Relationship Id="rId25" Type="http://schemas.openxmlformats.org/officeDocument/2006/relationships/slide" Target="slides/slide16.xml"/><Relationship Id="rId24" Type="http://schemas.openxmlformats.org/officeDocument/2006/relationships/slide" Target="slides/slide15.xml"/><Relationship Id="rId23" Type="http://schemas.openxmlformats.org/officeDocument/2006/relationships/slide" Target="slides/slide14.xml"/><Relationship Id="rId22" Type="http://schemas.openxmlformats.org/officeDocument/2006/relationships/slide" Target="slides/slide13.xml"/><Relationship Id="rId21" Type="http://schemas.openxmlformats.org/officeDocument/2006/relationships/slide" Target="slides/slide12.xml"/><Relationship Id="rId20" Type="http://schemas.openxmlformats.org/officeDocument/2006/relationships/slide" Target="slides/slide11.xml"/><Relationship Id="rId2" Type="http://schemas.openxmlformats.org/officeDocument/2006/relationships/theme" Target="theme/theme1.xml"/><Relationship Id="rId19" Type="http://schemas.openxmlformats.org/officeDocument/2006/relationships/slide" Target="slides/slide10.xml"/><Relationship Id="rId18" Type="http://schemas.openxmlformats.org/officeDocument/2006/relationships/slide" Target="slides/slide9.xml"/><Relationship Id="rId17" Type="http://schemas.openxmlformats.org/officeDocument/2006/relationships/slide" Target="slides/slide8.xml"/><Relationship Id="rId16" Type="http://schemas.openxmlformats.org/officeDocument/2006/relationships/slide" Target="slides/slide7.xml"/><Relationship Id="rId15" Type="http://schemas.openxmlformats.org/officeDocument/2006/relationships/slide" Target="slides/slide6.xml"/><Relationship Id="rId14" Type="http://schemas.openxmlformats.org/officeDocument/2006/relationships/slide" Target="slides/slide5.xml"/><Relationship Id="rId130" Type="http://schemas.openxmlformats.org/officeDocument/2006/relationships/tableStyles" Target="tableStyles.xml"/><Relationship Id="rId13" Type="http://schemas.openxmlformats.org/officeDocument/2006/relationships/slide" Target="slides/slide4.xml"/><Relationship Id="rId129" Type="http://schemas.openxmlformats.org/officeDocument/2006/relationships/viewProps" Target="viewProps.xml"/><Relationship Id="rId128" Type="http://schemas.openxmlformats.org/officeDocument/2006/relationships/presProps" Target="presProps.xml"/><Relationship Id="rId127" Type="http://schemas.openxmlformats.org/officeDocument/2006/relationships/slide" Target="slides/slide118.xml"/><Relationship Id="rId126" Type="http://schemas.openxmlformats.org/officeDocument/2006/relationships/slide" Target="slides/slide117.xml"/><Relationship Id="rId125" Type="http://schemas.openxmlformats.org/officeDocument/2006/relationships/slide" Target="slides/slide116.xml"/><Relationship Id="rId124" Type="http://schemas.openxmlformats.org/officeDocument/2006/relationships/slide" Target="slides/slide115.xml"/><Relationship Id="rId123" Type="http://schemas.openxmlformats.org/officeDocument/2006/relationships/slide" Target="slides/slide114.xml"/><Relationship Id="rId122" Type="http://schemas.openxmlformats.org/officeDocument/2006/relationships/slide" Target="slides/slide113.xml"/><Relationship Id="rId121" Type="http://schemas.openxmlformats.org/officeDocument/2006/relationships/slide" Target="slides/slide112.xml"/><Relationship Id="rId120" Type="http://schemas.openxmlformats.org/officeDocument/2006/relationships/slide" Target="slides/slide111.xml"/><Relationship Id="rId12" Type="http://schemas.openxmlformats.org/officeDocument/2006/relationships/slide" Target="slides/slide3.xml"/><Relationship Id="rId119" Type="http://schemas.openxmlformats.org/officeDocument/2006/relationships/slide" Target="slides/slide110.xml"/><Relationship Id="rId118" Type="http://schemas.openxmlformats.org/officeDocument/2006/relationships/slide" Target="slides/slide109.xml"/><Relationship Id="rId117" Type="http://schemas.openxmlformats.org/officeDocument/2006/relationships/slide" Target="slides/slide108.xml"/><Relationship Id="rId116" Type="http://schemas.openxmlformats.org/officeDocument/2006/relationships/slide" Target="slides/slide107.xml"/><Relationship Id="rId115" Type="http://schemas.openxmlformats.org/officeDocument/2006/relationships/slide" Target="slides/slide106.xml"/><Relationship Id="rId114" Type="http://schemas.openxmlformats.org/officeDocument/2006/relationships/slide" Target="slides/slide105.xml"/><Relationship Id="rId113" Type="http://schemas.openxmlformats.org/officeDocument/2006/relationships/slide" Target="slides/slide104.xml"/><Relationship Id="rId112" Type="http://schemas.openxmlformats.org/officeDocument/2006/relationships/slide" Target="slides/slide103.xml"/><Relationship Id="rId111" Type="http://schemas.openxmlformats.org/officeDocument/2006/relationships/slide" Target="slides/slide102.xml"/><Relationship Id="rId110" Type="http://schemas.openxmlformats.org/officeDocument/2006/relationships/slide" Target="slides/slide101.xml"/><Relationship Id="rId11" Type="http://schemas.openxmlformats.org/officeDocument/2006/relationships/notesMaster" Target="notesMasters/notesMaster1.xml"/><Relationship Id="rId109" Type="http://schemas.openxmlformats.org/officeDocument/2006/relationships/slide" Target="slides/slide100.xml"/><Relationship Id="rId108" Type="http://schemas.openxmlformats.org/officeDocument/2006/relationships/slide" Target="slides/slide99.xml"/><Relationship Id="rId107" Type="http://schemas.openxmlformats.org/officeDocument/2006/relationships/slide" Target="slides/slide98.xml"/><Relationship Id="rId106" Type="http://schemas.openxmlformats.org/officeDocument/2006/relationships/slide" Target="slides/slide97.xml"/><Relationship Id="rId105" Type="http://schemas.openxmlformats.org/officeDocument/2006/relationships/slide" Target="slides/slide96.xml"/><Relationship Id="rId104" Type="http://schemas.openxmlformats.org/officeDocument/2006/relationships/slide" Target="slides/slide95.xml"/><Relationship Id="rId103" Type="http://schemas.openxmlformats.org/officeDocument/2006/relationships/slide" Target="slides/slide94.xml"/><Relationship Id="rId102" Type="http://schemas.openxmlformats.org/officeDocument/2006/relationships/slide" Target="slides/slide93.xml"/><Relationship Id="rId101" Type="http://schemas.openxmlformats.org/officeDocument/2006/relationships/slide" Target="slides/slide92.xml"/><Relationship Id="rId100" Type="http://schemas.openxmlformats.org/officeDocument/2006/relationships/slide" Target="slides/slide91.xml"/><Relationship Id="rId10" Type="http://schemas.openxmlformats.org/officeDocument/2006/relationships/slide" Target="slides/slide2.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image" Target="../media/image18.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image" Target="../media/image1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18831" cy="495029"/>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15373" y="0"/>
            <a:ext cx="2918831" cy="495029"/>
          </a:xfrm>
          <a:prstGeom prst="rect">
            <a:avLst/>
          </a:prstGeom>
        </p:spPr>
        <p:txBody>
          <a:bodyPr vert="horz" lIns="91440" tIns="45720" rIns="91440" bIns="45720" rtlCol="0"/>
          <a:lstStyle>
            <a:lvl1pPr algn="r">
              <a:defRPr sz="1200"/>
            </a:lvl1pPr>
          </a:lstStyle>
          <a:p>
            <a:fld id="{2C688417-6737-4F20-A22D-5038F03E2760}"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409575" y="1233488"/>
            <a:ext cx="5916613" cy="3328987"/>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73577" y="4748163"/>
            <a:ext cx="5388610" cy="3884861"/>
          </a:xfrm>
          <a:prstGeom prst="rect">
            <a:avLst/>
          </a:prstGeom>
        </p:spPr>
        <p:txBody>
          <a:bodyPr vert="horz" lIns="91440" tIns="45720" rIns="91440" bIns="45720" rtlCol="0"/>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6" name="页脚占位符 5"/>
          <p:cNvSpPr>
            <a:spLocks noGrp="1"/>
          </p:cNvSpPr>
          <p:nvPr>
            <p:ph type="ftr" sz="quarter" idx="4"/>
          </p:nvPr>
        </p:nvSpPr>
        <p:spPr>
          <a:xfrm>
            <a:off x="0" y="9371286"/>
            <a:ext cx="2918831" cy="495028"/>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15373" y="9371286"/>
            <a:ext cx="2918831" cy="495028"/>
          </a:xfrm>
          <a:prstGeom prst="rect">
            <a:avLst/>
          </a:prstGeom>
        </p:spPr>
        <p:txBody>
          <a:bodyPr vert="horz" lIns="91440" tIns="45720" rIns="91440" bIns="45720" rtlCol="0" anchor="b"/>
          <a:lstStyle>
            <a:lvl1pPr algn="r">
              <a:defRPr sz="1200"/>
            </a:lvl1pPr>
          </a:lstStyle>
          <a:p>
            <a:fld id="{8009FE43-54E4-4532-AB4E-D7044BDB6354}"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_rels/notesSlide1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6.xml"/></Relationships>
</file>

<file path=ppt/notesSlides/_rels/notesSlide1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7.xml"/></Relationships>
</file>

<file path=ppt/notesSlides/_rels/notesSlide1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9.xml"/></Relationships>
</file>

<file path=ppt/notesSlides/_rels/notesSlide1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3.xml"/></Relationships>
</file>

<file path=ppt/notesSlides/_rels/notesSlide1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6.xml"/></Relationships>
</file>

<file path=ppt/notesSlides/_rels/notesSlide1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7.xml"/></Relationships>
</file>

<file path=ppt/notesSlides/_rels/notesSlide1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8.xml"/></Relationships>
</file>

<file path=ppt/notesSlides/_rels/notesSlide1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9.xml"/></Relationships>
</file>

<file path=ppt/notesSlides/_rels/notesSlide1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0.xml"/></Relationships>
</file>

<file path=ppt/notesSlides/_rels/notesSlide1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1.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xml"/></Relationships>
</file>

<file path=ppt/notesSlides/_rels/notesSlide2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2.xml"/></Relationships>
</file>

<file path=ppt/notesSlides/_rels/notesSlide2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3.xml"/></Relationships>
</file>

<file path=ppt/notesSlides/_rels/notesSlide2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4.xml"/></Relationships>
</file>

<file path=ppt/notesSlides/_rels/notesSlide2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5.xml"/></Relationships>
</file>

<file path=ppt/notesSlides/_rels/notesSlide2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6.xml"/></Relationships>
</file>

<file path=ppt/notesSlides/_rels/notesSlide2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7.xml"/></Relationships>
</file>

<file path=ppt/notesSlides/_rels/notesSlide2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8.xml"/></Relationships>
</file>

<file path=ppt/notesSlides/_rels/notesSlide2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9.xml"/></Relationships>
</file>

<file path=ppt/notesSlides/_rels/notesSlide2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0.xml"/></Relationships>
</file>

<file path=ppt/notesSlides/_rels/notesSlide2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1.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3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2.xml"/></Relationships>
</file>

<file path=ppt/notesSlides/_rels/notesSlide3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3.xml"/></Relationships>
</file>

<file path=ppt/notesSlides/_rels/notesSlide3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4.xml"/></Relationships>
</file>

<file path=ppt/notesSlides/_rels/notesSlide3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5.xml"/></Relationships>
</file>

<file path=ppt/notesSlides/_rels/notesSlide3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6.xml"/></Relationships>
</file>

<file path=ppt/notesSlides/_rels/notesSlide3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7.xml"/></Relationships>
</file>

<file path=ppt/notesSlides/_rels/notesSlide3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8.xml"/></Relationships>
</file>

<file path=ppt/notesSlides/_rels/notesSlide3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9.xml"/></Relationships>
</file>

<file path=ppt/notesSlides/_rels/notesSlide3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0.xml"/></Relationships>
</file>

<file path=ppt/notesSlides/_rels/notesSlide3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5.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xml"/></Relationships>
</file>

<file path=ppt/notesSlides/_rels/notesSlide4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2.xml"/></Relationships>
</file>

<file path=ppt/notesSlides/_rels/notesSlide4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3.xml"/></Relationships>
</file>

<file path=ppt/notesSlides/_rels/notesSlide4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4.xml"/></Relationships>
</file>

<file path=ppt/notesSlides/_rels/notesSlide4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5.xml"/></Relationships>
</file>

<file path=ppt/notesSlides/_rels/notesSlide4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6.xml"/></Relationships>
</file>

<file path=ppt/notesSlides/_rels/notesSlide4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7.xml"/></Relationships>
</file>

<file path=ppt/notesSlides/_rels/notesSlide4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8.xml"/></Relationships>
</file>

<file path=ppt/notesSlides/_rels/notesSlide4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9.xml"/></Relationships>
</file>

<file path=ppt/notesSlides/_rels/notesSlide4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0.xml"/></Relationships>
</file>

<file path=ppt/notesSlides/_rels/notesSlide4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1.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xml"/></Relationships>
</file>

<file path=ppt/notesSlides/_rels/notesSlide5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2.xml"/></Relationships>
</file>

<file path=ppt/notesSlides/_rels/notesSlide5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3.xml"/></Relationships>
</file>

<file path=ppt/notesSlides/_rels/notesSlide5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4.xml"/></Relationships>
</file>

<file path=ppt/notesSlides/_rels/notesSlide5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5.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3.xml"/></Relationships>
</file>

<file path=ppt/notesSlides/_rels/notesSlide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5.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a:t>讲稿：随着科学技术、微信等线上交流的发展，微信等私域、小红书抖音等公域，什么是私域和公域</a:t>
            </a:r>
            <a:endParaRPr lang="zh-CN" altLang="en-US"/>
          </a:p>
        </p:txBody>
      </p:sp>
      <p:sp>
        <p:nvSpPr>
          <p:cNvPr id="4" name="灯片编号占位符 3"/>
          <p:cNvSpPr>
            <a:spLocks noGrp="1"/>
          </p:cNvSpPr>
          <p:nvPr>
            <p:ph type="sldNum" sz="quarter" idx="10"/>
          </p:nvPr>
        </p:nvSpPr>
        <p:spPr/>
        <p:txBody>
          <a:bodyPr/>
          <a:lstStyle/>
          <a:p>
            <a:fld id="{8009FE43-54E4-4532-AB4E-D7044BDB6354}" type="slidenum">
              <a:rPr lang="zh-CN" altLang="en-US" smtClean="0"/>
            </a:fld>
            <a:endParaRPr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a:t>讲稿：随着科学技术、微信等线上交流的发展，微信等私域、小红书抖音等公域，什么是私域和公域</a:t>
            </a:r>
            <a:endParaRPr lang="zh-CN" altLang="en-US"/>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8009FE43-54E4-4532-AB4E-D7044BDB6354}" type="slidenum">
              <a:rPr kumimoji="0" lang="zh-CN" altLang="en-US" sz="1200" b="0" i="0" u="none" strike="noStrike" kern="1200" cap="none" spc="0" normalizeH="0" baseline="0" noProof="0" smtClean="0">
                <a:ln>
                  <a:noFill/>
                </a:ln>
                <a:solidFill>
                  <a:prstClr val="black"/>
                </a:solidFill>
                <a:effectLst/>
                <a:uLnTx/>
                <a:uFillTx/>
                <a:latin typeface="等线" panose="020F0502020204030204"/>
                <a:ea typeface="等线" panose="02010600030101010101" pitchFamily="2" charset="-122"/>
                <a:cs typeface="+mn-cs"/>
              </a:rPr>
            </a:fld>
            <a:endParaRPr kumimoji="0" lang="zh-CN" altLang="en-US" sz="1200" b="0" i="0" u="none" strike="noStrike" kern="1200" cap="none" spc="0" normalizeH="0" baseline="0" noProof="0">
              <a:ln>
                <a:noFill/>
              </a:ln>
              <a:solidFill>
                <a:prstClr val="black"/>
              </a:solidFill>
              <a:effectLst/>
              <a:uLnTx/>
              <a:uFillTx/>
              <a:latin typeface="等线" panose="020F0502020204030204"/>
              <a:ea typeface="等线" panose="02010600030101010101" pitchFamily="2" charset="-122"/>
              <a:cs typeface="+mn-cs"/>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a:t>讲稿：随着科学技术、微信等线上交流的发展，微信等私域、小红书抖音等公域，什么是私域和公域</a:t>
            </a:r>
            <a:endParaRPr lang="zh-CN" altLang="en-US"/>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8009FE43-54E4-4532-AB4E-D7044BDB6354}" type="slidenum">
              <a:rPr kumimoji="0" lang="zh-CN" altLang="en-US" sz="1200" b="0" i="0" u="none" strike="noStrike" kern="1200" cap="none" spc="0" normalizeH="0" baseline="0" noProof="0" smtClean="0">
                <a:ln>
                  <a:noFill/>
                </a:ln>
                <a:solidFill>
                  <a:prstClr val="black"/>
                </a:solidFill>
                <a:effectLst/>
                <a:uLnTx/>
                <a:uFillTx/>
                <a:latin typeface="等线" panose="020F0502020204030204"/>
                <a:ea typeface="等线" panose="02010600030101010101" pitchFamily="2" charset="-122"/>
                <a:cs typeface="+mn-cs"/>
              </a:rPr>
            </a:fld>
            <a:endParaRPr kumimoji="0" lang="zh-CN" altLang="en-US" sz="1200" b="0" i="0" u="none" strike="noStrike" kern="1200" cap="none" spc="0" normalizeH="0" baseline="0" noProof="0">
              <a:ln>
                <a:noFill/>
              </a:ln>
              <a:solidFill>
                <a:prstClr val="black"/>
              </a:solidFill>
              <a:effectLst/>
              <a:uLnTx/>
              <a:uFillTx/>
              <a:latin typeface="等线" panose="020F0502020204030204"/>
              <a:ea typeface="等线" panose="02010600030101010101" pitchFamily="2" charset="-122"/>
              <a:cs typeface="+mn-cs"/>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a:t>讲稿：随着科学技术、微信等线上交流的发展，微信等私域、小红书抖音等公域，什么是私域和公域</a:t>
            </a:r>
            <a:endParaRPr lang="zh-CN" altLang="en-US"/>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8009FE43-54E4-4532-AB4E-D7044BDB6354}" type="slidenum">
              <a:rPr kumimoji="0" lang="zh-CN" altLang="en-US" sz="1200" b="0" i="0" u="none" strike="noStrike" kern="1200" cap="none" spc="0" normalizeH="0" baseline="0" noProof="0" smtClean="0">
                <a:ln>
                  <a:noFill/>
                </a:ln>
                <a:solidFill>
                  <a:prstClr val="black"/>
                </a:solidFill>
                <a:effectLst/>
                <a:uLnTx/>
                <a:uFillTx/>
                <a:latin typeface="等线" panose="020F0502020204030204"/>
                <a:ea typeface="等线" panose="02010600030101010101" pitchFamily="2" charset="-122"/>
                <a:cs typeface="+mn-cs"/>
              </a:rPr>
            </a:fld>
            <a:endParaRPr kumimoji="0" lang="zh-CN" altLang="en-US" sz="1200" b="0" i="0" u="none" strike="noStrike" kern="1200" cap="none" spc="0" normalizeH="0" baseline="0" noProof="0">
              <a:ln>
                <a:noFill/>
              </a:ln>
              <a:solidFill>
                <a:prstClr val="black"/>
              </a:solidFill>
              <a:effectLst/>
              <a:uLnTx/>
              <a:uFillTx/>
              <a:latin typeface="等线" panose="020F0502020204030204"/>
              <a:ea typeface="等线" panose="02010600030101010101" pitchFamily="2" charset="-122"/>
              <a:cs typeface="+mn-cs"/>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a:t>c0e220a3-d230-4afb-9b28-49980b364f0d.source.3.zh-Hans</a:t>
            </a:r>
            <a:endParaRPr lang="zh-CN" altLang="en-US"/>
          </a:p>
        </p:txBody>
      </p:sp>
      <p:sp>
        <p:nvSpPr>
          <p:cNvPr id="4" name="灯片编号占位符 3"/>
          <p:cNvSpPr>
            <a:spLocks noGrp="1"/>
          </p:cNvSpPr>
          <p:nvPr>
            <p:ph type="sldNum" sz="quarter" idx="5"/>
          </p:nvPr>
        </p:nvSpPr>
        <p:spPr/>
        <p:txBody>
          <a:bodyPr/>
          <a:lstStyle/>
          <a:p>
            <a:fld id="{A3ED8765-8EF3-408C-9341-152904E414ED}" type="slidenum">
              <a:rPr lang="zh-CN" altLang="en-US" smtClean="0"/>
            </a:fld>
            <a:endParaRPr lang="zh-CN" alt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a2603669-7dd3-42c2-8891-0236158c7f69.source.8.zh-Hans</a:t>
            </a:r>
            <a:endParaRPr lang="zh-CN" altLang="en-US" dirty="0"/>
          </a:p>
        </p:txBody>
      </p:sp>
      <p:sp>
        <p:nvSpPr>
          <p:cNvPr id="4" name="灯片编号占位符 3"/>
          <p:cNvSpPr>
            <a:spLocks noGrp="1"/>
          </p:cNvSpPr>
          <p:nvPr>
            <p:ph type="sldNum" sz="quarter" idx="10"/>
          </p:nvPr>
        </p:nvSpPr>
        <p:spPr/>
        <p:txBody>
          <a:bodyPr/>
          <a:lstStyle/>
          <a:p>
            <a:fld id="{A3ED8765-8EF3-408C-9341-152904E414ED}" type="slidenum">
              <a:rPr lang="zh-CN" altLang="en-US" smtClean="0"/>
            </a:fld>
            <a:endParaRPr lang="zh-CN" alt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5d2d6480-6b0e-4747-beae-361439731ad7.source.7.zh-Hans</a:t>
            </a:r>
            <a:endParaRPr lang="zh-CN" altLang="en-US" dirty="0"/>
          </a:p>
        </p:txBody>
      </p:sp>
      <p:sp>
        <p:nvSpPr>
          <p:cNvPr id="4" name="灯片编号占位符 3"/>
          <p:cNvSpPr>
            <a:spLocks noGrp="1"/>
          </p:cNvSpPr>
          <p:nvPr>
            <p:ph type="sldNum" sz="quarter" idx="5"/>
          </p:nvPr>
        </p:nvSpPr>
        <p:spPr/>
        <p:txBody>
          <a:bodyPr/>
          <a:lstStyle/>
          <a:p>
            <a:fld id="{A3ED8765-8EF3-408C-9341-152904E414ED}" type="slidenum">
              <a:rPr lang="zh-CN" altLang="en-US" smtClean="0"/>
            </a:fld>
            <a:endParaRPr lang="zh-CN" alt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dc2788ff-3ebb-4525-be47-2d34bbe64351.source.5.zh-Hans</a:t>
            </a:r>
            <a:endParaRPr lang="zh-CN" altLang="en-US" dirty="0"/>
          </a:p>
        </p:txBody>
      </p:sp>
      <p:sp>
        <p:nvSpPr>
          <p:cNvPr id="4" name="灯片编号占位符 3"/>
          <p:cNvSpPr>
            <a:spLocks noGrp="1"/>
          </p:cNvSpPr>
          <p:nvPr>
            <p:ph type="sldNum" sz="quarter" idx="10"/>
          </p:nvPr>
        </p:nvSpPr>
        <p:spPr/>
        <p:txBody>
          <a:bodyPr/>
          <a:lstStyle/>
          <a:p>
            <a:fld id="{2B735503-9D21-443F-BC18-5459550EB72F}" type="slidenum">
              <a:rPr lang="zh-CN" altLang="en-US" smtClean="0"/>
            </a:fld>
            <a:endParaRPr lang="zh-CN" alt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a:t>812e0d1f-f0ad-4f5c-ba82-b81781c33e60.source.default.zh-Hans</a:t>
            </a:r>
            <a:endParaRPr lang="zh-CN" altLang="en-US"/>
          </a:p>
        </p:txBody>
      </p:sp>
      <p:sp>
        <p:nvSpPr>
          <p:cNvPr id="4" name="灯片编号占位符 3"/>
          <p:cNvSpPr>
            <a:spLocks noGrp="1"/>
          </p:cNvSpPr>
          <p:nvPr>
            <p:ph type="sldNum" sz="quarter" idx="10"/>
          </p:nvPr>
        </p:nvSpPr>
        <p:spPr/>
        <p:txBody>
          <a:bodyPr/>
          <a:lstStyle/>
          <a:p>
            <a:fld id="{FD1E3519-AA41-4C8F-81B1-98F81BDCD14B}" type="slidenum">
              <a:rPr lang="zh-CN" altLang="en-US" smtClean="0"/>
            </a:fld>
            <a:endParaRPr lang="zh-CN" alt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d1eef85e-ba0f-4eea-a31c-eabe37af063d.source.4.zh-Hans</a:t>
            </a:r>
            <a:endParaRPr lang="zh-CN" altLang="en-US" dirty="0"/>
          </a:p>
        </p:txBody>
      </p:sp>
      <p:sp>
        <p:nvSpPr>
          <p:cNvPr id="4" name="灯片编号占位符 3"/>
          <p:cNvSpPr>
            <a:spLocks noGrp="1"/>
          </p:cNvSpPr>
          <p:nvPr>
            <p:ph type="sldNum" sz="quarter" idx="10"/>
          </p:nvPr>
        </p:nvSpPr>
        <p:spPr/>
        <p:txBody>
          <a:bodyPr/>
          <a:lstStyle/>
          <a:p>
            <a:fld id="{2B735503-9D21-443F-BC18-5459550EB72F}" type="slidenum">
              <a:rPr lang="zh-CN" altLang="en-US" smtClean="0"/>
            </a:fld>
            <a:endParaRPr lang="zh-CN" alt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6da85851-eea6-4c1c-9fdd-c0c7fcd7c3a4.source.3.zh-Hans</a:t>
            </a:r>
            <a:endParaRPr lang="zh-CN" altLang="en-US" dirty="0"/>
          </a:p>
        </p:txBody>
      </p:sp>
      <p:sp>
        <p:nvSpPr>
          <p:cNvPr id="4" name="灯片编号占位符 3"/>
          <p:cNvSpPr>
            <a:spLocks noGrp="1"/>
          </p:cNvSpPr>
          <p:nvPr>
            <p:ph type="sldNum" sz="quarter" idx="10"/>
          </p:nvPr>
        </p:nvSpPr>
        <p:spPr/>
        <p:txBody>
          <a:bodyPr/>
          <a:lstStyle/>
          <a:p>
            <a:fld id="{2B735503-9D21-443F-BC18-5459550EB72F}" type="slidenum">
              <a:rPr lang="zh-CN" altLang="en-US" smtClean="0"/>
            </a:fld>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4C57580D-E2DA-4F03-9E17-A0829F46269E}" type="slidenum">
              <a:rPr kumimoji="0" lang="zh-CN" altLang="en-US" sz="1200" b="0" i="0" u="none" strike="noStrike" kern="1200" cap="none" spc="0" normalizeH="0" baseline="0" noProof="0" smtClean="0">
                <a:ln>
                  <a:noFill/>
                </a:ln>
                <a:solidFill>
                  <a:prstClr val="black"/>
                </a:solidFill>
                <a:effectLst/>
                <a:uLnTx/>
                <a:uFillTx/>
                <a:latin typeface="等线" panose="020F0502020204030204"/>
                <a:ea typeface="等线" panose="02010600030101010101" pitchFamily="2" charset="-122"/>
                <a:cs typeface="+mn-cs"/>
              </a:rPr>
            </a:fld>
            <a:endParaRPr kumimoji="0" lang="zh-CN" altLang="en-US" sz="1200" b="0" i="0" u="none" strike="noStrike" kern="1200" cap="none" spc="0" normalizeH="0" baseline="0" noProof="0">
              <a:ln>
                <a:noFill/>
              </a:ln>
              <a:solidFill>
                <a:prstClr val="black"/>
              </a:solidFill>
              <a:effectLst/>
              <a:uLnTx/>
              <a:uFillTx/>
              <a:latin typeface="等线" panose="020F0502020204030204"/>
              <a:ea typeface="等线" panose="02010600030101010101" pitchFamily="2" charset="-122"/>
              <a:cs typeface="+mn-cs"/>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a:t>858cfc52-81ad-4e19-b326-27fe69b239b4.source.default.zh-Hans</a:t>
            </a:r>
            <a:endParaRPr lang="zh-CN" altLang="en-US" dirty="0"/>
          </a:p>
        </p:txBody>
      </p:sp>
      <p:sp>
        <p:nvSpPr>
          <p:cNvPr id="4" name="灯片编号占位符 3"/>
          <p:cNvSpPr>
            <a:spLocks noGrp="1"/>
          </p:cNvSpPr>
          <p:nvPr>
            <p:ph type="sldNum" sz="quarter" idx="5"/>
          </p:nvPr>
        </p:nvSpPr>
        <p:spPr/>
        <p:txBody>
          <a:bodyPr/>
          <a:lstStyle/>
          <a:p>
            <a:fld id="{A3ED8765-8EF3-408C-9341-152904E414ED}" type="slidenum">
              <a:rPr lang="zh-CN" altLang="en-US" smtClean="0"/>
            </a:fld>
            <a:endParaRPr lang="zh-CN" altLang="en-US"/>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8ddfe6c2-aafc-4c69-814e-9f5d33b4e4dd.source.4.zh-Hans</a:t>
            </a:r>
            <a:endParaRPr lang="zh-CN" altLang="en-US" dirty="0"/>
          </a:p>
        </p:txBody>
      </p:sp>
      <p:sp>
        <p:nvSpPr>
          <p:cNvPr id="4" name="灯片编号占位符 3"/>
          <p:cNvSpPr>
            <a:spLocks noGrp="1"/>
          </p:cNvSpPr>
          <p:nvPr>
            <p:ph type="sldNum" sz="quarter" idx="10"/>
          </p:nvPr>
        </p:nvSpPr>
        <p:spPr/>
        <p:txBody>
          <a:bodyPr/>
          <a:lstStyle/>
          <a:p>
            <a:fld id="{A3ED8765-8EF3-408C-9341-152904E414ED}" type="slidenum">
              <a:rPr lang="zh-CN" altLang="en-US" smtClean="0"/>
            </a:fld>
            <a:endParaRPr lang="zh-CN" alt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94623ab1-5cac-4147-b1df-a9b286794855.source.3.zh-Hans</a:t>
            </a:r>
            <a:endParaRPr lang="zh-CN" altLang="en-US" dirty="0"/>
          </a:p>
        </p:txBody>
      </p:sp>
      <p:sp>
        <p:nvSpPr>
          <p:cNvPr id="4" name="灯片编号占位符 3"/>
          <p:cNvSpPr>
            <a:spLocks noGrp="1"/>
          </p:cNvSpPr>
          <p:nvPr>
            <p:ph type="sldNum" sz="quarter" idx="5"/>
          </p:nvPr>
        </p:nvSpPr>
        <p:spPr/>
        <p:txBody>
          <a:bodyPr/>
          <a:lstStyle/>
          <a:p>
            <a:fld id="{A3ED8765-8EF3-408C-9341-152904E414ED}" type="slidenum">
              <a:rPr lang="zh-CN" altLang="en-US" smtClean="0"/>
            </a:fld>
            <a:endParaRPr lang="zh-CN" alt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a:t>8f1e6fa2-dbcc-4958-8e49-50adc5e96e4a.source.4.zh-Hans</a:t>
            </a:r>
            <a:endParaRPr lang="zh-CN" altLang="en-US"/>
          </a:p>
        </p:txBody>
      </p:sp>
      <p:sp>
        <p:nvSpPr>
          <p:cNvPr id="4" name="灯片编号占位符 3"/>
          <p:cNvSpPr>
            <a:spLocks noGrp="1"/>
          </p:cNvSpPr>
          <p:nvPr>
            <p:ph type="sldNum" sz="quarter" idx="10"/>
          </p:nvPr>
        </p:nvSpPr>
        <p:spPr/>
        <p:txBody>
          <a:bodyPr/>
          <a:lstStyle/>
          <a:p>
            <a:fld id="{A3ED8765-8EF3-408C-9341-152904E414ED}" type="slidenum">
              <a:rPr lang="zh-CN" altLang="en-US" smtClean="0"/>
            </a:fld>
            <a:endParaRPr lang="zh-CN" altLang="en-US"/>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a6dbd582-5b2c-4bdf-8792-86135213ed7f.source.6.zh-Hans</a:t>
            </a:r>
            <a:endParaRPr lang="zh-CN" altLang="en-US" dirty="0"/>
          </a:p>
        </p:txBody>
      </p:sp>
      <p:sp>
        <p:nvSpPr>
          <p:cNvPr id="4" name="灯片编号占位符 3"/>
          <p:cNvSpPr>
            <a:spLocks noGrp="1"/>
          </p:cNvSpPr>
          <p:nvPr>
            <p:ph type="sldNum" sz="quarter" idx="5"/>
          </p:nvPr>
        </p:nvSpPr>
        <p:spPr/>
        <p:txBody>
          <a:bodyPr/>
          <a:lstStyle/>
          <a:p>
            <a:fld id="{A3ED8765-8EF3-408C-9341-152904E414ED}" type="slidenum">
              <a:rPr lang="zh-CN" altLang="en-US" smtClean="0"/>
            </a:fld>
            <a:endParaRPr lang="zh-CN" altLang="en-US"/>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c8fdd69a-1a0f-4cc8-a076-8ce9fbdc6f22.source.3.zh-Hans</a:t>
            </a:r>
            <a:endParaRPr lang="zh-CN" altLang="en-US" dirty="0"/>
          </a:p>
        </p:txBody>
      </p:sp>
      <p:sp>
        <p:nvSpPr>
          <p:cNvPr id="4" name="灯片编号占位符 3"/>
          <p:cNvSpPr>
            <a:spLocks noGrp="1"/>
          </p:cNvSpPr>
          <p:nvPr>
            <p:ph type="sldNum" sz="quarter" idx="10"/>
          </p:nvPr>
        </p:nvSpPr>
        <p:spPr/>
        <p:txBody>
          <a:bodyPr/>
          <a:lstStyle/>
          <a:p>
            <a:fld id="{E9E6FDB6-6D2B-46C1-9FA1-D82906A37C3A}" type="slidenum">
              <a:rPr lang="zh-CN" altLang="en-US" smtClean="0"/>
            </a:fld>
            <a:endParaRPr lang="zh-CN" altLang="en-US"/>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a:t>dbbbf44e-dbcb-4c54-9757-b1f991fce33d.source.default.zh-Hans</a:t>
            </a:r>
            <a:endParaRPr lang="zh-CN" altLang="en-US"/>
          </a:p>
        </p:txBody>
      </p:sp>
      <p:sp>
        <p:nvSpPr>
          <p:cNvPr id="4" name="灯片编号占位符 3"/>
          <p:cNvSpPr>
            <a:spLocks noGrp="1"/>
          </p:cNvSpPr>
          <p:nvPr>
            <p:ph type="sldNum" sz="quarter" idx="10"/>
          </p:nvPr>
        </p:nvSpPr>
        <p:spPr/>
        <p:txBody>
          <a:bodyPr/>
          <a:lstStyle/>
          <a:p>
            <a:fld id="{2B735503-9D21-443F-BC18-5459550EB72F}" type="slidenum">
              <a:rPr lang="zh-CN" altLang="en-US" smtClean="0"/>
            </a:fld>
            <a:endParaRPr lang="zh-CN" altLang="en-US"/>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ed141ff2-4b2f-4584-805b-d2c31cd61466.source.4.zh-Hans</a:t>
            </a:r>
            <a:endParaRPr lang="zh-CN" altLang="en-US" dirty="0"/>
          </a:p>
        </p:txBody>
      </p:sp>
      <p:sp>
        <p:nvSpPr>
          <p:cNvPr id="4" name="灯片编号占位符 3"/>
          <p:cNvSpPr>
            <a:spLocks noGrp="1"/>
          </p:cNvSpPr>
          <p:nvPr>
            <p:ph type="sldNum" sz="quarter" idx="10"/>
          </p:nvPr>
        </p:nvSpPr>
        <p:spPr/>
        <p:txBody>
          <a:bodyPr/>
          <a:lstStyle/>
          <a:p>
            <a:fld id="{2B735503-9D21-443F-BC18-5459550EB72F}" type="slidenum">
              <a:rPr lang="zh-CN" altLang="en-US" smtClean="0"/>
            </a:fld>
            <a:endParaRPr lang="zh-CN" altLang="en-US"/>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f437594d-2dd6-4066-bd3b-38188586325e.source.4.zh-Hans</a:t>
            </a:r>
            <a:endParaRPr lang="zh-CN" altLang="en-US" dirty="0"/>
          </a:p>
        </p:txBody>
      </p:sp>
      <p:sp>
        <p:nvSpPr>
          <p:cNvPr id="4" name="灯片编号占位符 3"/>
          <p:cNvSpPr>
            <a:spLocks noGrp="1"/>
          </p:cNvSpPr>
          <p:nvPr>
            <p:ph type="sldNum" sz="quarter" idx="10"/>
          </p:nvPr>
        </p:nvSpPr>
        <p:spPr/>
        <p:txBody>
          <a:bodyPr/>
          <a:lstStyle/>
          <a:p>
            <a:fld id="{E9E6FDB6-6D2B-46C1-9FA1-D82906A37C3A}" type="slidenum">
              <a:rPr lang="zh-CN" altLang="en-US" smtClean="0"/>
            </a:fld>
            <a:endParaRPr lang="zh-CN" altLang="en-US"/>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a:t>a009fc24-e185-481c-9fd8-45134e9bd2b0.source.default.zh-Hans</a:t>
            </a:r>
            <a:endParaRPr lang="zh-CN" altLang="en-US"/>
          </a:p>
        </p:txBody>
      </p:sp>
      <p:sp>
        <p:nvSpPr>
          <p:cNvPr id="4" name="灯片编号占位符 3"/>
          <p:cNvSpPr>
            <a:spLocks noGrp="1"/>
          </p:cNvSpPr>
          <p:nvPr>
            <p:ph type="sldNum" sz="quarter" idx="10"/>
          </p:nvPr>
        </p:nvSpPr>
        <p:spPr/>
        <p:txBody>
          <a:bodyPr/>
          <a:lstStyle/>
          <a:p>
            <a:fld id="{FD1E3519-AA41-4C8F-81B1-98F81BDCD14B}" type="slidenum">
              <a:rPr lang="zh-CN" altLang="en-US" smtClean="0"/>
            </a:fld>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a:t>讲稿：随着科学技术、微信等线上交流的发展，微信等私域、小红书抖音等公域，什么是私域和公域</a:t>
            </a:r>
            <a:endParaRPr lang="zh-CN" altLang="en-US"/>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8009FE43-54E4-4532-AB4E-D7044BDB6354}" type="slidenum">
              <a:rPr kumimoji="0" lang="zh-CN" altLang="en-US" sz="1200" b="0" i="0" u="none" strike="noStrike" kern="1200" cap="none" spc="0" normalizeH="0" baseline="0" noProof="0" smtClean="0">
                <a:ln>
                  <a:noFill/>
                </a:ln>
                <a:solidFill>
                  <a:prstClr val="black"/>
                </a:solidFill>
                <a:effectLst/>
                <a:uLnTx/>
                <a:uFillTx/>
                <a:latin typeface="等线" panose="020F0502020204030204"/>
                <a:ea typeface="等线" panose="02010600030101010101" pitchFamily="2" charset="-122"/>
                <a:cs typeface="+mn-cs"/>
              </a:rPr>
            </a:fld>
            <a:endParaRPr kumimoji="0" lang="zh-CN" altLang="en-US" sz="1200" b="0" i="0" u="none" strike="noStrike" kern="1200" cap="none" spc="0" normalizeH="0" baseline="0" noProof="0">
              <a:ln>
                <a:noFill/>
              </a:ln>
              <a:solidFill>
                <a:prstClr val="black"/>
              </a:solidFill>
              <a:effectLst/>
              <a:uLnTx/>
              <a:uFillTx/>
              <a:latin typeface="等线" panose="020F0502020204030204"/>
              <a:ea typeface="等线" panose="02010600030101010101" pitchFamily="2" charset="-122"/>
              <a:cs typeface="+mn-cs"/>
            </a:endParaRP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a:t>27a6a2c5-9de4-4657-8419-502e16d36375.source.default.zh-Hans</a:t>
            </a:r>
            <a:endParaRPr lang="zh-CN" altLang="en-US"/>
          </a:p>
        </p:txBody>
      </p:sp>
      <p:sp>
        <p:nvSpPr>
          <p:cNvPr id="4" name="灯片编号占位符 3"/>
          <p:cNvSpPr>
            <a:spLocks noGrp="1"/>
          </p:cNvSpPr>
          <p:nvPr>
            <p:ph type="sldNum" sz="quarter" idx="10"/>
          </p:nvPr>
        </p:nvSpPr>
        <p:spPr/>
        <p:txBody>
          <a:bodyPr/>
          <a:lstStyle/>
          <a:p>
            <a:fld id="{FD1E3519-AA41-4C8F-81B1-98F81BDCD14B}" type="slidenum">
              <a:rPr lang="zh-CN" altLang="en-US" smtClean="0"/>
            </a:fld>
            <a:endParaRPr lang="zh-CN" altLang="en-US"/>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a:t>664e2f4b-1829-43b9-8b33-02be3b1980b6.source.default.zh-Hans</a:t>
            </a:r>
            <a:endParaRPr lang="zh-CN" altLang="en-US"/>
          </a:p>
        </p:txBody>
      </p:sp>
      <p:sp>
        <p:nvSpPr>
          <p:cNvPr id="4" name="灯片编号占位符 3"/>
          <p:cNvSpPr>
            <a:spLocks noGrp="1"/>
          </p:cNvSpPr>
          <p:nvPr>
            <p:ph type="sldNum" sz="quarter" idx="10"/>
          </p:nvPr>
        </p:nvSpPr>
        <p:spPr/>
        <p:txBody>
          <a:bodyPr/>
          <a:lstStyle/>
          <a:p>
            <a:fld id="{FD1E3519-AA41-4C8F-81B1-98F81BDCD14B}" type="slidenum">
              <a:rPr lang="zh-CN" altLang="en-US" smtClean="0"/>
            </a:fld>
            <a:endParaRPr lang="zh-CN" altLang="en-US"/>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a:t>94835c6b-e595-44ab-a013-0e984b326529.source.2.zh-Hans</a:t>
            </a:r>
            <a:endParaRPr lang="zh-CN" altLang="en-US"/>
          </a:p>
        </p:txBody>
      </p:sp>
      <p:sp>
        <p:nvSpPr>
          <p:cNvPr id="4" name="灯片编号占位符 3"/>
          <p:cNvSpPr>
            <a:spLocks noGrp="1"/>
          </p:cNvSpPr>
          <p:nvPr>
            <p:ph type="sldNum" sz="quarter" idx="5"/>
          </p:nvPr>
        </p:nvSpPr>
        <p:spPr/>
        <p:txBody>
          <a:bodyPr/>
          <a:lstStyle/>
          <a:p>
            <a:fld id="{A3ED8765-8EF3-408C-9341-152904E414ED}" type="slidenum">
              <a:rPr lang="zh-CN" altLang="en-US" smtClean="0"/>
            </a:fld>
            <a:endParaRPr lang="zh-CN" altLang="en-US"/>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c35eabc7-3b6b-46e1-8054-f747b4e4c545.source.4.zh-Hans</a:t>
            </a:r>
            <a:endParaRPr lang="zh-CN" altLang="en-US" dirty="0"/>
          </a:p>
        </p:txBody>
      </p:sp>
      <p:sp>
        <p:nvSpPr>
          <p:cNvPr id="4" name="灯片编号占位符 3"/>
          <p:cNvSpPr>
            <a:spLocks noGrp="1"/>
          </p:cNvSpPr>
          <p:nvPr>
            <p:ph type="sldNum" sz="quarter" idx="5"/>
          </p:nvPr>
        </p:nvSpPr>
        <p:spPr/>
        <p:txBody>
          <a:bodyPr/>
          <a:lstStyle/>
          <a:p>
            <a:fld id="{A3ED8765-8EF3-408C-9341-152904E414ED}" type="slidenum">
              <a:rPr lang="zh-CN" altLang="en-US" smtClean="0"/>
            </a:fld>
            <a:endParaRPr lang="zh-CN" altLang="en-US"/>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a:t>34c525b6-5a5e-4d2a-87c9-1b380977e413.source.default.zh-Hans</a:t>
            </a:r>
            <a:endParaRPr lang="zh-CN" altLang="en-US"/>
          </a:p>
        </p:txBody>
      </p:sp>
      <p:sp>
        <p:nvSpPr>
          <p:cNvPr id="4" name="灯片编号占位符 3"/>
          <p:cNvSpPr>
            <a:spLocks noGrp="1"/>
          </p:cNvSpPr>
          <p:nvPr>
            <p:ph type="sldNum" sz="quarter" idx="5"/>
          </p:nvPr>
        </p:nvSpPr>
        <p:spPr/>
        <p:txBody>
          <a:bodyPr/>
          <a:lstStyle/>
          <a:p>
            <a:fld id="{A3ED8765-8EF3-408C-9341-152904E414ED}" type="slidenum">
              <a:rPr lang="zh-CN" altLang="en-US" smtClean="0"/>
            </a:fld>
            <a:endParaRPr lang="zh-CN" altLang="en-US"/>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4e82089b-1d02-4cb9-b810-4ac585a16d8d.source.3.zh-Hans</a:t>
            </a:r>
            <a:endParaRPr lang="zh-CN" altLang="en-US" dirty="0"/>
          </a:p>
        </p:txBody>
      </p:sp>
      <p:sp>
        <p:nvSpPr>
          <p:cNvPr id="4" name="灯片编号占位符 3"/>
          <p:cNvSpPr>
            <a:spLocks noGrp="1"/>
          </p:cNvSpPr>
          <p:nvPr>
            <p:ph type="sldNum" sz="quarter" idx="5"/>
          </p:nvPr>
        </p:nvSpPr>
        <p:spPr/>
        <p:txBody>
          <a:bodyPr/>
          <a:lstStyle/>
          <a:p>
            <a:fld id="{A3ED8765-8EF3-408C-9341-152904E414ED}" type="slidenum">
              <a:rPr lang="zh-CN" altLang="en-US" smtClean="0"/>
            </a:fld>
            <a:endParaRPr lang="zh-CN" altLang="en-US"/>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5245f52b-2e15-4f1e-81da-628c717355a6.source.3.zh-Hans</a:t>
            </a:r>
            <a:endParaRPr lang="zh-CN" altLang="en-US" dirty="0"/>
          </a:p>
        </p:txBody>
      </p:sp>
      <p:sp>
        <p:nvSpPr>
          <p:cNvPr id="4" name="灯片编号占位符 3"/>
          <p:cNvSpPr>
            <a:spLocks noGrp="1"/>
          </p:cNvSpPr>
          <p:nvPr>
            <p:ph type="sldNum" sz="quarter" idx="5"/>
          </p:nvPr>
        </p:nvSpPr>
        <p:spPr/>
        <p:txBody>
          <a:bodyPr/>
          <a:lstStyle/>
          <a:p>
            <a:fld id="{A3ED8765-8EF3-408C-9341-152904E414ED}" type="slidenum">
              <a:rPr lang="zh-CN" altLang="en-US" smtClean="0"/>
            </a:fld>
            <a:endParaRPr lang="zh-CN" altLang="en-US"/>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c35eabc7-3b6b-46e1-8054-f747b4e4c545.source.5.zh-Hans</a:t>
            </a:r>
            <a:endParaRPr lang="zh-CN" altLang="en-US" dirty="0"/>
          </a:p>
        </p:txBody>
      </p:sp>
      <p:sp>
        <p:nvSpPr>
          <p:cNvPr id="4" name="灯片编号占位符 3"/>
          <p:cNvSpPr>
            <a:spLocks noGrp="1"/>
          </p:cNvSpPr>
          <p:nvPr>
            <p:ph type="sldNum" sz="quarter" idx="5"/>
          </p:nvPr>
        </p:nvSpPr>
        <p:spPr/>
        <p:txBody>
          <a:bodyPr/>
          <a:lstStyle/>
          <a:p>
            <a:fld id="{A3ED8765-8EF3-408C-9341-152904E414ED}" type="slidenum">
              <a:rPr lang="zh-CN" altLang="en-US" smtClean="0"/>
            </a:fld>
            <a:endParaRPr lang="zh-CN" altLang="en-US"/>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65d94deb-3d96-40f7-8360-3deba82f4bd0.source.4.zh-Hans</a:t>
            </a:r>
            <a:endParaRPr lang="zh-CN" altLang="en-US" dirty="0"/>
          </a:p>
        </p:txBody>
      </p:sp>
      <p:sp>
        <p:nvSpPr>
          <p:cNvPr id="4" name="灯片编号占位符 3"/>
          <p:cNvSpPr>
            <a:spLocks noGrp="1"/>
          </p:cNvSpPr>
          <p:nvPr>
            <p:ph type="sldNum" sz="quarter" idx="5"/>
          </p:nvPr>
        </p:nvSpPr>
        <p:spPr/>
        <p:txBody>
          <a:bodyPr/>
          <a:lstStyle/>
          <a:p>
            <a:fld id="{A3ED8765-8EF3-408C-9341-152904E414ED}" type="slidenum">
              <a:rPr lang="zh-CN" altLang="en-US" smtClean="0"/>
            </a:fld>
            <a:endParaRPr lang="zh-CN" altLang="en-US"/>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bd014753-6d2b-4216-aabc-21573d774e91.source.15.zh-Hans</a:t>
            </a:r>
            <a:endParaRPr lang="zh-CN" altLang="en-US" dirty="0"/>
          </a:p>
        </p:txBody>
      </p:sp>
      <p:sp>
        <p:nvSpPr>
          <p:cNvPr id="4" name="灯片编号占位符 3"/>
          <p:cNvSpPr>
            <a:spLocks noGrp="1"/>
          </p:cNvSpPr>
          <p:nvPr>
            <p:ph type="sldNum" sz="quarter" idx="5"/>
          </p:nvPr>
        </p:nvSpPr>
        <p:spPr/>
        <p:txBody>
          <a:bodyPr/>
          <a:lstStyle/>
          <a:p>
            <a:fld id="{94675CAC-2AE5-4CA1-95C9-68C0ACE32F77}" type="slidenum">
              <a:rPr lang="zh-CN" altLang="en-US" smtClean="0"/>
            </a:fld>
            <a:endParaRPr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a:t>讲稿：随着科学技术、微信等线上交流的发展，微信等私域、小红书抖音等公域，什么是私域和公域</a:t>
            </a:r>
            <a:endParaRPr lang="zh-CN" altLang="en-US"/>
          </a:p>
        </p:txBody>
      </p:sp>
      <p:sp>
        <p:nvSpPr>
          <p:cNvPr id="4" name="灯片编号占位符 3"/>
          <p:cNvSpPr>
            <a:spLocks noGrp="1"/>
          </p:cNvSpPr>
          <p:nvPr>
            <p:ph type="sldNum" sz="quarter" idx="10"/>
          </p:nvPr>
        </p:nvSpPr>
        <p:spPr/>
        <p:txBody>
          <a:bodyPr/>
          <a:lstStyle/>
          <a:p>
            <a:fld id="{8009FE43-54E4-4532-AB4E-D7044BDB6354}" type="slidenum">
              <a:rPr lang="zh-CN" altLang="en-US" smtClean="0"/>
            </a:fld>
            <a:endParaRPr lang="zh-CN" altLang="en-US"/>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a:t>d4541f53-efe2-49b9-8476-558e9b3cabad.source.default.zh-Hans</a:t>
            </a:r>
            <a:endParaRPr lang="zh-CN" altLang="en-US"/>
          </a:p>
        </p:txBody>
      </p:sp>
      <p:sp>
        <p:nvSpPr>
          <p:cNvPr id="4" name="灯片编号占位符 3"/>
          <p:cNvSpPr>
            <a:spLocks noGrp="1"/>
          </p:cNvSpPr>
          <p:nvPr>
            <p:ph type="sldNum" sz="quarter" idx="5"/>
          </p:nvPr>
        </p:nvSpPr>
        <p:spPr/>
        <p:txBody>
          <a:bodyPr/>
          <a:lstStyle/>
          <a:p>
            <a:fld id="{2B735503-9D21-443F-BC18-5459550EB72F}" type="slidenum">
              <a:rPr lang="zh-CN" altLang="en-US" smtClean="0"/>
            </a:fld>
            <a:endParaRPr lang="zh-CN" altLang="en-US"/>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5d2369c7-44e8-4009-8997-a214ddd7cbbc.source.4.zh-Hans</a:t>
            </a:r>
            <a:endParaRPr lang="zh-CN" altLang="en-US" dirty="0"/>
          </a:p>
        </p:txBody>
      </p:sp>
      <p:sp>
        <p:nvSpPr>
          <p:cNvPr id="4" name="灯片编号占位符 3"/>
          <p:cNvSpPr>
            <a:spLocks noGrp="1"/>
          </p:cNvSpPr>
          <p:nvPr>
            <p:ph type="sldNum" sz="quarter" idx="10"/>
          </p:nvPr>
        </p:nvSpPr>
        <p:spPr/>
        <p:txBody>
          <a:bodyPr/>
          <a:lstStyle/>
          <a:p>
            <a:fld id="{2B735503-9D21-443F-BC18-5459550EB72F}" type="slidenum">
              <a:rPr lang="zh-CN" altLang="en-US" smtClean="0"/>
            </a:fld>
            <a:endParaRPr lang="zh-CN" altLang="en-US"/>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a:t>a1d6abd4-de47-4c92-addd-5db013e46248.source.default.zh-Hans</a:t>
            </a:r>
            <a:endParaRPr lang="zh-CN" altLang="en-US"/>
          </a:p>
        </p:txBody>
      </p:sp>
      <p:sp>
        <p:nvSpPr>
          <p:cNvPr id="4" name="灯片编号占位符 3"/>
          <p:cNvSpPr>
            <a:spLocks noGrp="1"/>
          </p:cNvSpPr>
          <p:nvPr>
            <p:ph type="sldNum" sz="quarter" idx="5"/>
          </p:nvPr>
        </p:nvSpPr>
        <p:spPr/>
        <p:txBody>
          <a:bodyPr/>
          <a:lstStyle/>
          <a:p>
            <a:fld id="{A3ED8765-8EF3-408C-9341-152904E414ED}" type="slidenum">
              <a:rPr lang="zh-CN" altLang="en-US" smtClean="0"/>
            </a:fld>
            <a:endParaRPr lang="zh-CN" altLang="en-US"/>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a:t>45526b66-645e-40df-bbce-291040a66716.source.default.zh-Hans</a:t>
            </a:r>
            <a:endParaRPr lang="zh-CN" altLang="en-US"/>
          </a:p>
        </p:txBody>
      </p:sp>
      <p:sp>
        <p:nvSpPr>
          <p:cNvPr id="4" name="灯片编号占位符 3"/>
          <p:cNvSpPr>
            <a:spLocks noGrp="1"/>
          </p:cNvSpPr>
          <p:nvPr>
            <p:ph type="sldNum" sz="quarter" idx="5"/>
          </p:nvPr>
        </p:nvSpPr>
        <p:spPr/>
        <p:txBody>
          <a:bodyPr/>
          <a:lstStyle/>
          <a:p>
            <a:fld id="{A3ED8765-8EF3-408C-9341-152904E414ED}" type="slidenum">
              <a:rPr lang="zh-CN" altLang="en-US" smtClean="0"/>
            </a:fld>
            <a:endParaRPr lang="zh-CN" altLang="en-US"/>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a:t>4cffab50-be2c-4420-8db5-3d986f052f63.source.default.zh-Hans</a:t>
            </a:r>
            <a:endParaRPr lang="zh-CN" altLang="en-US"/>
          </a:p>
        </p:txBody>
      </p:sp>
      <p:sp>
        <p:nvSpPr>
          <p:cNvPr id="4" name="灯片编号占位符 3"/>
          <p:cNvSpPr>
            <a:spLocks noGrp="1"/>
          </p:cNvSpPr>
          <p:nvPr>
            <p:ph type="sldNum" sz="quarter" idx="5"/>
          </p:nvPr>
        </p:nvSpPr>
        <p:spPr/>
        <p:txBody>
          <a:bodyPr/>
          <a:lstStyle/>
          <a:p>
            <a:fld id="{A3ED8765-8EF3-408C-9341-152904E414ED}" type="slidenum">
              <a:rPr lang="zh-CN" altLang="en-US" smtClean="0"/>
            </a:fld>
            <a:endParaRPr lang="zh-CN" altLang="en-US"/>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d59c8115-a667-4665-90ad-247ac91338d2.source.4.zh-Hans</a:t>
            </a:r>
            <a:endParaRPr lang="zh-CN" altLang="en-US" dirty="0"/>
          </a:p>
        </p:txBody>
      </p:sp>
      <p:sp>
        <p:nvSpPr>
          <p:cNvPr id="4" name="灯片编号占位符 3"/>
          <p:cNvSpPr>
            <a:spLocks noGrp="1"/>
          </p:cNvSpPr>
          <p:nvPr>
            <p:ph type="sldNum" sz="quarter" idx="10"/>
          </p:nvPr>
        </p:nvSpPr>
        <p:spPr/>
        <p:txBody>
          <a:bodyPr/>
          <a:lstStyle/>
          <a:p>
            <a:fld id="{E9E6FDB6-6D2B-46C1-9FA1-D82906A37C3A}" type="slidenum">
              <a:rPr lang="zh-CN" altLang="en-US" smtClean="0"/>
            </a:fld>
            <a:endParaRPr lang="zh-CN" altLang="en-US"/>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a:t>8c716984-6caf-4cf8-b181-43027bcda27c.source.default.zh-Hans</a:t>
            </a:r>
            <a:endParaRPr lang="zh-CN" altLang="en-US"/>
          </a:p>
        </p:txBody>
      </p:sp>
      <p:sp>
        <p:nvSpPr>
          <p:cNvPr id="4" name="灯片编号占位符 3"/>
          <p:cNvSpPr>
            <a:spLocks noGrp="1"/>
          </p:cNvSpPr>
          <p:nvPr>
            <p:ph type="sldNum" sz="quarter" idx="10"/>
          </p:nvPr>
        </p:nvSpPr>
        <p:spPr/>
        <p:txBody>
          <a:bodyPr/>
          <a:lstStyle/>
          <a:p>
            <a:fld id="{2B735503-9D21-443F-BC18-5459550EB72F}" type="slidenum">
              <a:rPr lang="zh-CN" altLang="en-US" smtClean="0"/>
            </a:fld>
            <a:endParaRPr lang="zh-CN" altLang="en-US"/>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7a92dfd6-4aa3-49a8-b812-5673c1982086.source.6.zh-Hans</a:t>
            </a:r>
            <a:endParaRPr lang="zh-CN" altLang="en-US" dirty="0"/>
          </a:p>
        </p:txBody>
      </p:sp>
      <p:sp>
        <p:nvSpPr>
          <p:cNvPr id="4" name="灯片编号占位符 3"/>
          <p:cNvSpPr>
            <a:spLocks noGrp="1"/>
          </p:cNvSpPr>
          <p:nvPr>
            <p:ph type="sldNum" sz="quarter" idx="10"/>
          </p:nvPr>
        </p:nvSpPr>
        <p:spPr/>
        <p:txBody>
          <a:bodyPr/>
          <a:lstStyle/>
          <a:p>
            <a:fld id="{A3ED8765-8EF3-408C-9341-152904E414ED}" type="slidenum">
              <a:rPr lang="zh-CN" altLang="en-US" smtClean="0"/>
            </a:fld>
            <a:endParaRPr lang="zh-CN" altLang="en-US"/>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a:t>79e7f89f-732c-41cd-afa0-a4ea7785896e.source.default.zh-Hans</a:t>
            </a:r>
            <a:endParaRPr lang="zh-CN" altLang="en-US"/>
          </a:p>
        </p:txBody>
      </p:sp>
      <p:sp>
        <p:nvSpPr>
          <p:cNvPr id="4" name="灯片编号占位符 3"/>
          <p:cNvSpPr>
            <a:spLocks noGrp="1"/>
          </p:cNvSpPr>
          <p:nvPr>
            <p:ph type="sldNum" sz="quarter" idx="5"/>
          </p:nvPr>
        </p:nvSpPr>
        <p:spPr/>
        <p:txBody>
          <a:bodyPr/>
          <a:lstStyle/>
          <a:p>
            <a:fld id="{A3ED8765-8EF3-408C-9341-152904E414ED}" type="slidenum">
              <a:rPr lang="zh-CN" altLang="en-US" smtClean="0"/>
            </a:fld>
            <a:endParaRPr lang="zh-CN" altLang="en-US"/>
          </a:p>
        </p:txBody>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a:t>77638334-c827-4dc3-82b3-1b1ea20cc9a1.source.default.zh-Hans</a:t>
            </a:r>
            <a:endParaRPr lang="zh-CN" altLang="en-US"/>
          </a:p>
        </p:txBody>
      </p:sp>
      <p:sp>
        <p:nvSpPr>
          <p:cNvPr id="4" name="灯片编号占位符 3"/>
          <p:cNvSpPr>
            <a:spLocks noGrp="1"/>
          </p:cNvSpPr>
          <p:nvPr>
            <p:ph type="sldNum" sz="quarter" idx="10"/>
          </p:nvPr>
        </p:nvSpPr>
        <p:spPr/>
        <p:txBody>
          <a:bodyPr/>
          <a:lstStyle/>
          <a:p>
            <a:fld id="{2B735503-9D21-443F-BC18-5459550EB72F}" type="slidenum">
              <a:rPr lang="zh-CN" altLang="en-US" smtClean="0"/>
            </a:fld>
            <a:endParaRPr lang="zh-CN"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a:t>讲稿：随着科学技术、微信等线上交流的发展，微信等私域、小红书抖音等公域，什么是私域和公域</a:t>
            </a:r>
            <a:endParaRPr lang="zh-CN" altLang="en-US"/>
          </a:p>
        </p:txBody>
      </p:sp>
      <p:sp>
        <p:nvSpPr>
          <p:cNvPr id="4" name="灯片编号占位符 3"/>
          <p:cNvSpPr>
            <a:spLocks noGrp="1"/>
          </p:cNvSpPr>
          <p:nvPr>
            <p:ph type="sldNum" sz="quarter" idx="10"/>
          </p:nvPr>
        </p:nvSpPr>
        <p:spPr/>
        <p:txBody>
          <a:bodyPr/>
          <a:lstStyle/>
          <a:p>
            <a:fld id="{8009FE43-54E4-4532-AB4E-D7044BDB6354}" type="slidenum">
              <a:rPr lang="zh-CN" altLang="en-US" smtClean="0"/>
            </a:fld>
            <a:endParaRPr lang="zh-CN" altLang="en-US"/>
          </a:p>
        </p:txBody>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a:t>6a60aa4a-2f8a-4f2a-a649-68de78fb670d.source.default.zh-Hans</a:t>
            </a:r>
            <a:endParaRPr lang="zh-CN" altLang="en-US"/>
          </a:p>
        </p:txBody>
      </p:sp>
      <p:sp>
        <p:nvSpPr>
          <p:cNvPr id="4" name="灯片编号占位符 3"/>
          <p:cNvSpPr>
            <a:spLocks noGrp="1"/>
          </p:cNvSpPr>
          <p:nvPr>
            <p:ph type="sldNum" sz="quarter" idx="10"/>
          </p:nvPr>
        </p:nvSpPr>
        <p:spPr/>
        <p:txBody>
          <a:bodyPr/>
          <a:lstStyle/>
          <a:p>
            <a:fld id="{2B735503-9D21-443F-BC18-5459550EB72F}" type="slidenum">
              <a:rPr lang="zh-CN" altLang="en-US" smtClean="0"/>
            </a:fld>
            <a:endParaRPr lang="zh-CN" altLang="en-US"/>
          </a:p>
        </p:txBody>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601885fe-2bf4-4ca4-9ecd-6c0c4f3bf2a4.source.4.zh-Hans</a:t>
            </a:r>
            <a:endParaRPr lang="zh-CN" altLang="en-US" dirty="0"/>
          </a:p>
        </p:txBody>
      </p:sp>
      <p:sp>
        <p:nvSpPr>
          <p:cNvPr id="4" name="灯片编号占位符 3"/>
          <p:cNvSpPr>
            <a:spLocks noGrp="1"/>
          </p:cNvSpPr>
          <p:nvPr>
            <p:ph type="sldNum" sz="quarter" idx="10"/>
          </p:nvPr>
        </p:nvSpPr>
        <p:spPr/>
        <p:txBody>
          <a:bodyPr/>
          <a:lstStyle/>
          <a:p>
            <a:fld id="{A3ED8765-8EF3-408C-9341-152904E414ED}" type="slidenum">
              <a:rPr lang="zh-CN" altLang="en-US" smtClean="0"/>
            </a:fld>
            <a:endParaRPr lang="zh-CN" altLang="en-US"/>
          </a:p>
        </p:txBody>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5f487d42-8dc6-448e-a689-30caea41bffd.source.4.zh-Hans</a:t>
            </a:r>
            <a:endParaRPr lang="zh-CN" altLang="en-US" dirty="0"/>
          </a:p>
        </p:txBody>
      </p:sp>
      <p:sp>
        <p:nvSpPr>
          <p:cNvPr id="4" name="灯片编号占位符 3"/>
          <p:cNvSpPr>
            <a:spLocks noGrp="1"/>
          </p:cNvSpPr>
          <p:nvPr>
            <p:ph type="sldNum" sz="quarter" idx="10"/>
          </p:nvPr>
        </p:nvSpPr>
        <p:spPr/>
        <p:txBody>
          <a:bodyPr/>
          <a:lstStyle/>
          <a:p>
            <a:fld id="{A3ED8765-8EF3-408C-9341-152904E414ED}" type="slidenum">
              <a:rPr lang="zh-CN" altLang="en-US" smtClean="0"/>
            </a:fld>
            <a:endParaRPr lang="zh-CN" altLang="en-US"/>
          </a:p>
        </p:txBody>
      </p:sp>
    </p:spTree>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70848c13-7681-44c3-be63-89952386c303.source.4.zh-Hans</a:t>
            </a:r>
            <a:endParaRPr lang="zh-CN" altLang="en-US" dirty="0"/>
          </a:p>
        </p:txBody>
      </p:sp>
      <p:sp>
        <p:nvSpPr>
          <p:cNvPr id="4" name="灯片编号占位符 3"/>
          <p:cNvSpPr>
            <a:spLocks noGrp="1"/>
          </p:cNvSpPr>
          <p:nvPr>
            <p:ph type="sldNum" sz="quarter" idx="10"/>
          </p:nvPr>
        </p:nvSpPr>
        <p:spPr/>
        <p:txBody>
          <a:bodyPr/>
          <a:lstStyle/>
          <a:p>
            <a:fld id="{354BAF2A-B706-447D-B949-457F7B61B2FD}" type="slidenum">
              <a:rPr lang="zh-CN" altLang="en-US" smtClean="0"/>
            </a:fld>
            <a:endParaRPr lang="zh-CN"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a:t>讲稿：随着科学技术、微信等线上交流的发展，微信等私域、小红书抖音等公域，什么是私域和公域</a:t>
            </a:r>
            <a:endParaRPr lang="zh-CN" altLang="en-US"/>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8009FE43-54E4-4532-AB4E-D7044BDB6354}" type="slidenum">
              <a:rPr kumimoji="0" lang="zh-CN" altLang="en-US" sz="1200" b="0" i="0" u="none" strike="noStrike" kern="1200" cap="none" spc="0" normalizeH="0" baseline="0" noProof="0" smtClean="0">
                <a:ln>
                  <a:noFill/>
                </a:ln>
                <a:solidFill>
                  <a:prstClr val="black"/>
                </a:solidFill>
                <a:effectLst/>
                <a:uLnTx/>
                <a:uFillTx/>
                <a:latin typeface="等线" panose="020F0502020204030204"/>
                <a:ea typeface="等线" panose="02010600030101010101" pitchFamily="2" charset="-122"/>
                <a:cs typeface="+mn-cs"/>
              </a:rPr>
            </a:fld>
            <a:endParaRPr kumimoji="0" lang="zh-CN" altLang="en-US" sz="1200" b="0" i="0" u="none" strike="noStrike" kern="1200" cap="none" spc="0" normalizeH="0" baseline="0" noProof="0">
              <a:ln>
                <a:noFill/>
              </a:ln>
              <a:solidFill>
                <a:prstClr val="black"/>
              </a:solidFill>
              <a:effectLst/>
              <a:uLnTx/>
              <a:uFillTx/>
              <a:latin typeface="等线" panose="020F0502020204030204"/>
              <a:ea typeface="等线" panose="02010600030101010101" pitchFamily="2" charset="-122"/>
              <a:cs typeface="+mn-cs"/>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a:t>讲稿：随着科学技术、微信等线上交流的发展，微信等私域、小红书抖音等公域，什么是私域和公域</a:t>
            </a:r>
            <a:endParaRPr lang="zh-CN" altLang="en-US"/>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8009FE43-54E4-4532-AB4E-D7044BDB6354}" type="slidenum">
              <a:rPr kumimoji="0" lang="zh-CN" altLang="en-US" sz="1200" b="0" i="0" u="none" strike="noStrike" kern="1200" cap="none" spc="0" normalizeH="0" baseline="0" noProof="0" smtClean="0">
                <a:ln>
                  <a:noFill/>
                </a:ln>
                <a:solidFill>
                  <a:prstClr val="black"/>
                </a:solidFill>
                <a:effectLst/>
                <a:uLnTx/>
                <a:uFillTx/>
                <a:latin typeface="等线" panose="020F0502020204030204"/>
                <a:ea typeface="等线" panose="02010600030101010101" pitchFamily="2" charset="-122"/>
                <a:cs typeface="+mn-cs"/>
              </a:rPr>
            </a:fld>
            <a:endParaRPr kumimoji="0" lang="zh-CN" altLang="en-US" sz="1200" b="0" i="0" u="none" strike="noStrike" kern="1200" cap="none" spc="0" normalizeH="0" baseline="0" noProof="0">
              <a:ln>
                <a:noFill/>
              </a:ln>
              <a:solidFill>
                <a:prstClr val="black"/>
              </a:solidFill>
              <a:effectLst/>
              <a:uLnTx/>
              <a:uFillTx/>
              <a:latin typeface="等线" panose="020F0502020204030204"/>
              <a:ea typeface="等线" panose="02010600030101010101" pitchFamily="2" charset="-122"/>
              <a:cs typeface="+mn-cs"/>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a:t>讲稿：随着科学技术、微信等线上交流的发展，微信等私域、小红书抖音等公域，什么是私域和公域</a:t>
            </a:r>
            <a:endParaRPr lang="zh-CN" altLang="en-US"/>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8009FE43-54E4-4532-AB4E-D7044BDB6354}" type="slidenum">
              <a:rPr kumimoji="0" lang="zh-CN" altLang="en-US" sz="1200" b="0" i="0" u="none" strike="noStrike" kern="1200" cap="none" spc="0" normalizeH="0" baseline="0" noProof="0" smtClean="0">
                <a:ln>
                  <a:noFill/>
                </a:ln>
                <a:solidFill>
                  <a:prstClr val="black"/>
                </a:solidFill>
                <a:effectLst/>
                <a:uLnTx/>
                <a:uFillTx/>
                <a:latin typeface="等线" panose="020F0502020204030204"/>
                <a:ea typeface="等线" panose="02010600030101010101" pitchFamily="2" charset="-122"/>
                <a:cs typeface="+mn-cs"/>
              </a:rPr>
            </a:fld>
            <a:endParaRPr kumimoji="0" lang="zh-CN" altLang="en-US" sz="1200" b="0" i="0" u="none" strike="noStrike" kern="1200" cap="none" spc="0" normalizeH="0" baseline="0" noProof="0">
              <a:ln>
                <a:noFill/>
              </a:ln>
              <a:solidFill>
                <a:prstClr val="black"/>
              </a:solidFill>
              <a:effectLst/>
              <a:uLnTx/>
              <a:uFillTx/>
              <a:latin typeface="等线" panose="020F0502020204030204"/>
              <a:ea typeface="等线" panose="02010600030101010101" pitchFamily="2" charset="-122"/>
              <a:cs typeface="+mn-cs"/>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a:t>讲稿：随着科学技术、微信等线上交流的发展，微信等私域、小红书抖音等公域，什么是私域和公域</a:t>
            </a:r>
            <a:endParaRPr lang="zh-CN" altLang="en-US"/>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8009FE43-54E4-4532-AB4E-D7044BDB6354}" type="slidenum">
              <a:rPr kumimoji="0" lang="zh-CN" altLang="en-US" sz="1200" b="0" i="0" u="none" strike="noStrike" kern="1200" cap="none" spc="0" normalizeH="0" baseline="0" noProof="0" smtClean="0">
                <a:ln>
                  <a:noFill/>
                </a:ln>
                <a:solidFill>
                  <a:prstClr val="black"/>
                </a:solidFill>
                <a:effectLst/>
                <a:uLnTx/>
                <a:uFillTx/>
                <a:latin typeface="等线" panose="020F0502020204030204"/>
                <a:ea typeface="等线" panose="02010600030101010101" pitchFamily="2" charset="-122"/>
                <a:cs typeface="+mn-cs"/>
              </a:rPr>
            </a:fld>
            <a:endParaRPr kumimoji="0" lang="zh-CN" altLang="en-US" sz="1200" b="0" i="0" u="none" strike="noStrike" kern="1200" cap="none" spc="0" normalizeH="0" baseline="0" noProof="0">
              <a:ln>
                <a:noFill/>
              </a:ln>
              <a:solidFill>
                <a:prstClr val="black"/>
              </a:solidFill>
              <a:effectLst/>
              <a:uLnTx/>
              <a:uFillTx/>
              <a:latin typeface="等线" panose="020F0502020204030204"/>
              <a:ea typeface="等线" panose="02010600030101010101" pitchFamily="2" charset="-122"/>
              <a:cs typeface="+mn-cs"/>
            </a:endParaRPr>
          </a:p>
        </p:txBody>
      </p:sp>
    </p:spTree>
  </p:cSld>
  <p:clrMapOvr>
    <a:masterClrMapping/>
  </p:clrMapOvr>
</p:notes>
</file>

<file path=ppt/slideLayouts/_rels/slideLayout1.xml.rels><?xml version="1.0" encoding="UTF-8" standalone="yes"?>
<Relationships xmlns="http://schemas.openxmlformats.org/package/2006/relationships"><Relationship Id="rId6" Type="http://schemas.openxmlformats.org/officeDocument/2006/relationships/vmlDrawing" Target="../drawings/vmlDrawing1.vml"/><Relationship Id="rId5" Type="http://schemas.openxmlformats.org/officeDocument/2006/relationships/tags" Target="../tags/tag2.xml"/><Relationship Id="rId4" Type="http://schemas.openxmlformats.org/officeDocument/2006/relationships/image" Target="../media/image1.emf"/><Relationship Id="rId3"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5" Type="http://schemas.openxmlformats.org/officeDocument/2006/relationships/image" Target="../media/image7.png"/><Relationship Id="rId4" Type="http://schemas.openxmlformats.org/officeDocument/2006/relationships/image" Target="../media/image6.png"/><Relationship Id="rId3" Type="http://schemas.microsoft.com/office/2007/relationships/hdphoto" Target="../media/image5.wdp"/><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6" Type="http://schemas.openxmlformats.org/officeDocument/2006/relationships/vmlDrawing" Target="../drawings/vmlDrawing5.vml"/><Relationship Id="rId5" Type="http://schemas.openxmlformats.org/officeDocument/2006/relationships/tags" Target="../tags/tag10.xml"/><Relationship Id="rId4" Type="http://schemas.openxmlformats.org/officeDocument/2006/relationships/image" Target="../media/image2.emf"/><Relationship Id="rId3" Type="http://schemas.openxmlformats.org/officeDocument/2006/relationships/oleObject" Target="../embeddings/oleObject5.bin"/><Relationship Id="rId2" Type="http://schemas.openxmlformats.org/officeDocument/2006/relationships/tags" Target="../tags/tag9.xml"/><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7" Type="http://schemas.openxmlformats.org/officeDocument/2006/relationships/vmlDrawing" Target="../drawings/vmlDrawing6.vml"/><Relationship Id="rId6" Type="http://schemas.openxmlformats.org/officeDocument/2006/relationships/tags" Target="../tags/tag12.xml"/><Relationship Id="rId5" Type="http://schemas.openxmlformats.org/officeDocument/2006/relationships/image" Target="../media/image1.emf"/><Relationship Id="rId4" Type="http://schemas.openxmlformats.org/officeDocument/2006/relationships/oleObject" Target="../embeddings/oleObject6.bin"/><Relationship Id="rId3" Type="http://schemas.openxmlformats.org/officeDocument/2006/relationships/tags" Target="../tags/tag11.xml"/><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7" Type="http://schemas.openxmlformats.org/officeDocument/2006/relationships/vmlDrawing" Target="../drawings/vmlDrawing7.vml"/><Relationship Id="rId6" Type="http://schemas.openxmlformats.org/officeDocument/2006/relationships/tags" Target="../tags/tag14.xml"/><Relationship Id="rId5" Type="http://schemas.openxmlformats.org/officeDocument/2006/relationships/image" Target="../media/image1.emf"/><Relationship Id="rId4" Type="http://schemas.openxmlformats.org/officeDocument/2006/relationships/oleObject" Target="../embeddings/oleObject7.bin"/><Relationship Id="rId3" Type="http://schemas.openxmlformats.org/officeDocument/2006/relationships/tags" Target="../tags/tag13.xml"/><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6" Type="http://schemas.openxmlformats.org/officeDocument/2006/relationships/vmlDrawing" Target="../drawings/vmlDrawing8.vml"/><Relationship Id="rId5" Type="http://schemas.openxmlformats.org/officeDocument/2006/relationships/tags" Target="../tags/tag16.xml"/><Relationship Id="rId4" Type="http://schemas.openxmlformats.org/officeDocument/2006/relationships/image" Target="../media/image1.emf"/><Relationship Id="rId3" Type="http://schemas.openxmlformats.org/officeDocument/2006/relationships/oleObject" Target="../embeddings/oleObject8.bin"/><Relationship Id="rId2" Type="http://schemas.openxmlformats.org/officeDocument/2006/relationships/tags" Target="../tags/tag15.xml"/><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6" Type="http://schemas.openxmlformats.org/officeDocument/2006/relationships/vmlDrawing" Target="../drawings/vmlDrawing2.vml"/><Relationship Id="rId5" Type="http://schemas.openxmlformats.org/officeDocument/2006/relationships/tags" Target="../tags/tag4.xml"/><Relationship Id="rId4" Type="http://schemas.openxmlformats.org/officeDocument/2006/relationships/image" Target="../media/image2.emf"/><Relationship Id="rId3"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7" Type="http://schemas.openxmlformats.org/officeDocument/2006/relationships/vmlDrawing" Target="../drawings/vmlDrawing10.v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emf"/><Relationship Id="rId3" Type="http://schemas.openxmlformats.org/officeDocument/2006/relationships/oleObject" Target="../embeddings/oleObject10.bin"/><Relationship Id="rId2" Type="http://schemas.openxmlformats.org/officeDocument/2006/relationships/tags" Target="../tags/tag19.xml"/><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7" Type="http://schemas.openxmlformats.org/officeDocument/2006/relationships/vmlDrawing" Target="../drawings/vmlDrawing11.vml"/><Relationship Id="rId6" Type="http://schemas.openxmlformats.org/officeDocument/2006/relationships/image" Target="../media/image17.png"/><Relationship Id="rId5" Type="http://schemas.openxmlformats.org/officeDocument/2006/relationships/tags" Target="../tags/tag21.xml"/><Relationship Id="rId4" Type="http://schemas.openxmlformats.org/officeDocument/2006/relationships/image" Target="../media/image1.emf"/><Relationship Id="rId3" Type="http://schemas.openxmlformats.org/officeDocument/2006/relationships/oleObject" Target="../embeddings/oleObject11.bin"/><Relationship Id="rId2" Type="http://schemas.openxmlformats.org/officeDocument/2006/relationships/tags" Target="../tags/tag20.xml"/><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9" Type="http://schemas.openxmlformats.org/officeDocument/2006/relationships/vmlDrawing" Target="../drawings/vmlDrawing12.vml"/><Relationship Id="rId8" Type="http://schemas.openxmlformats.org/officeDocument/2006/relationships/tags" Target="../tags/tag25.xml"/><Relationship Id="rId7" Type="http://schemas.openxmlformats.org/officeDocument/2006/relationships/oleObject" Target="../embeddings/oleObject13.bin"/><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image" Target="../media/image1.emf"/><Relationship Id="rId3" Type="http://schemas.openxmlformats.org/officeDocument/2006/relationships/oleObject" Target="../embeddings/oleObject12.bin"/><Relationship Id="rId2" Type="http://schemas.openxmlformats.org/officeDocument/2006/relationships/tags" Target="../tags/tag22.xml"/><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6" Type="http://schemas.openxmlformats.org/officeDocument/2006/relationships/vmlDrawing" Target="../drawings/vmlDrawing13.vml"/><Relationship Id="rId5" Type="http://schemas.openxmlformats.org/officeDocument/2006/relationships/image" Target="../media/image15.png"/><Relationship Id="rId4" Type="http://schemas.openxmlformats.org/officeDocument/2006/relationships/image" Target="../media/image1.emf"/><Relationship Id="rId3" Type="http://schemas.openxmlformats.org/officeDocument/2006/relationships/oleObject" Target="../embeddings/oleObject14.bin"/><Relationship Id="rId2" Type="http://schemas.openxmlformats.org/officeDocument/2006/relationships/tags" Target="../tags/tag26.xml"/><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7" Type="http://schemas.openxmlformats.org/officeDocument/2006/relationships/vmlDrawing" Target="../drawings/vmlDrawing15.v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emf"/><Relationship Id="rId3" Type="http://schemas.openxmlformats.org/officeDocument/2006/relationships/oleObject" Target="../embeddings/oleObject17.bin"/><Relationship Id="rId2" Type="http://schemas.openxmlformats.org/officeDocument/2006/relationships/tags" Target="../tags/tag30.xml"/><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7" Type="http://schemas.openxmlformats.org/officeDocument/2006/relationships/vmlDrawing" Target="../drawings/vmlDrawing16.vml"/><Relationship Id="rId6" Type="http://schemas.openxmlformats.org/officeDocument/2006/relationships/image" Target="../media/image17.png"/><Relationship Id="rId5" Type="http://schemas.openxmlformats.org/officeDocument/2006/relationships/tags" Target="../tags/tag32.xml"/><Relationship Id="rId4" Type="http://schemas.openxmlformats.org/officeDocument/2006/relationships/image" Target="../media/image1.emf"/><Relationship Id="rId3" Type="http://schemas.openxmlformats.org/officeDocument/2006/relationships/oleObject" Target="../embeddings/oleObject18.bin"/><Relationship Id="rId2" Type="http://schemas.openxmlformats.org/officeDocument/2006/relationships/tags" Target="../tags/tag31.xml"/><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9" Type="http://schemas.openxmlformats.org/officeDocument/2006/relationships/vmlDrawing" Target="../drawings/vmlDrawing17.vml"/><Relationship Id="rId8" Type="http://schemas.openxmlformats.org/officeDocument/2006/relationships/tags" Target="../tags/tag36.xml"/><Relationship Id="rId7" Type="http://schemas.openxmlformats.org/officeDocument/2006/relationships/oleObject" Target="../embeddings/oleObject20.bin"/><Relationship Id="rId6" Type="http://schemas.openxmlformats.org/officeDocument/2006/relationships/tags" Target="../tags/tag35.xml"/><Relationship Id="rId5" Type="http://schemas.openxmlformats.org/officeDocument/2006/relationships/tags" Target="../tags/tag34.xml"/><Relationship Id="rId4" Type="http://schemas.openxmlformats.org/officeDocument/2006/relationships/image" Target="../media/image1.emf"/><Relationship Id="rId3" Type="http://schemas.openxmlformats.org/officeDocument/2006/relationships/oleObject" Target="../embeddings/oleObject19.bin"/><Relationship Id="rId2" Type="http://schemas.openxmlformats.org/officeDocument/2006/relationships/tags" Target="../tags/tag33.xml"/><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6" Type="http://schemas.openxmlformats.org/officeDocument/2006/relationships/vmlDrawing" Target="../drawings/vmlDrawing18.vml"/><Relationship Id="rId5" Type="http://schemas.openxmlformats.org/officeDocument/2006/relationships/image" Target="../media/image15.png"/><Relationship Id="rId4" Type="http://schemas.openxmlformats.org/officeDocument/2006/relationships/image" Target="../media/image1.emf"/><Relationship Id="rId3" Type="http://schemas.openxmlformats.org/officeDocument/2006/relationships/oleObject" Target="../embeddings/oleObject21.bin"/><Relationship Id="rId2" Type="http://schemas.openxmlformats.org/officeDocument/2006/relationships/tags" Target="../tags/tag37.xml"/><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6" Type="http://schemas.openxmlformats.org/officeDocument/2006/relationships/vmlDrawing" Target="../drawings/vmlDrawing20.vml"/><Relationship Id="rId5" Type="http://schemas.openxmlformats.org/officeDocument/2006/relationships/tags" Target="../tags/tag42.xml"/><Relationship Id="rId4" Type="http://schemas.openxmlformats.org/officeDocument/2006/relationships/image" Target="../media/image1.emf"/><Relationship Id="rId3" Type="http://schemas.openxmlformats.org/officeDocument/2006/relationships/oleObject" Target="../embeddings/oleObject24.bin"/><Relationship Id="rId2" Type="http://schemas.openxmlformats.org/officeDocument/2006/relationships/tags" Target="../tags/tag41.xml"/><Relationship Id="rId1" Type="http://schemas.openxmlformats.org/officeDocument/2006/relationships/slideMaster" Target="../slideMasters/slideMaster6.xml"/></Relationships>
</file>

<file path=ppt/slideLayouts/_rels/slideLayout29.xml.rels><?xml version="1.0" encoding="UTF-8" standalone="yes"?>
<Relationships xmlns="http://schemas.openxmlformats.org/package/2006/relationships"><Relationship Id="rId6" Type="http://schemas.openxmlformats.org/officeDocument/2006/relationships/vmlDrawing" Target="../drawings/vmlDrawing21.vml"/><Relationship Id="rId5" Type="http://schemas.openxmlformats.org/officeDocument/2006/relationships/tags" Target="../tags/tag44.xml"/><Relationship Id="rId4" Type="http://schemas.openxmlformats.org/officeDocument/2006/relationships/image" Target="../media/image2.emf"/><Relationship Id="rId3" Type="http://schemas.openxmlformats.org/officeDocument/2006/relationships/oleObject" Target="../embeddings/oleObject25.bin"/><Relationship Id="rId2" Type="http://schemas.openxmlformats.org/officeDocument/2006/relationships/tags" Target="../tags/tag43.xml"/><Relationship Id="rId1" Type="http://schemas.openxmlformats.org/officeDocument/2006/relationships/slideMaster" Target="../slideMasters/slideMaster6.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6.xml"/></Relationships>
</file>

<file path=ppt/slideLayouts/_rels/slideLayout31.xml.rels><?xml version="1.0" encoding="UTF-8" standalone="yes"?>
<Relationships xmlns="http://schemas.openxmlformats.org/package/2006/relationships"><Relationship Id="rId6" Type="http://schemas.openxmlformats.org/officeDocument/2006/relationships/vmlDrawing" Target="../drawings/vmlDrawing22.vml"/><Relationship Id="rId5" Type="http://schemas.openxmlformats.org/officeDocument/2006/relationships/tags" Target="../tags/tag46.xml"/><Relationship Id="rId4" Type="http://schemas.openxmlformats.org/officeDocument/2006/relationships/image" Target="../media/image1.emf"/><Relationship Id="rId3" Type="http://schemas.openxmlformats.org/officeDocument/2006/relationships/oleObject" Target="../embeddings/oleObject26.bin"/><Relationship Id="rId2" Type="http://schemas.openxmlformats.org/officeDocument/2006/relationships/tags" Target="../tags/tag45.xml"/><Relationship Id="rId1" Type="http://schemas.openxmlformats.org/officeDocument/2006/relationships/slideMaster" Target="../slideMasters/slideMaster6.xml"/></Relationships>
</file>

<file path=ppt/slideLayouts/_rels/slideLayout32.xml.rels><?xml version="1.0" encoding="UTF-8" standalone="yes"?>
<Relationships xmlns="http://schemas.openxmlformats.org/package/2006/relationships"><Relationship Id="rId5" Type="http://schemas.openxmlformats.org/officeDocument/2006/relationships/image" Target="../media/image7.png"/><Relationship Id="rId4" Type="http://schemas.openxmlformats.org/officeDocument/2006/relationships/image" Target="../media/image6.png"/><Relationship Id="rId3" Type="http://schemas.microsoft.com/office/2007/relationships/hdphoto" Target="../media/image5.wdp"/><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6" Type="http://schemas.openxmlformats.org/officeDocument/2006/relationships/vmlDrawing" Target="../drawings/vmlDrawing3.vml"/><Relationship Id="rId5" Type="http://schemas.openxmlformats.org/officeDocument/2006/relationships/tags" Target="../tags/tag6.xml"/><Relationship Id="rId4" Type="http://schemas.openxmlformats.org/officeDocument/2006/relationships/image" Target="../media/image1.emf"/><Relationship Id="rId3" Type="http://schemas.openxmlformats.org/officeDocument/2006/relationships/oleObject" Target="../embeddings/oleObject3.bin"/><Relationship Id="rId2" Type="http://schemas.openxmlformats.org/officeDocument/2006/relationships/tags" Target="../tags/tag5.xml"/><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5" Type="http://schemas.openxmlformats.org/officeDocument/2006/relationships/image" Target="../media/image7.png"/><Relationship Id="rId4" Type="http://schemas.openxmlformats.org/officeDocument/2006/relationships/image" Target="../media/image6.png"/><Relationship Id="rId3" Type="http://schemas.microsoft.com/office/2007/relationships/hdphoto" Target="../media/image5.wdp"/><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3" Type="http://schemas.microsoft.com/office/2007/relationships/hdphoto" Target="../media/image9.wdp"/><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6" Type="http://schemas.openxmlformats.org/officeDocument/2006/relationships/vmlDrawing" Target="../drawings/vmlDrawing24.vml"/><Relationship Id="rId5" Type="http://schemas.openxmlformats.org/officeDocument/2006/relationships/tags" Target="../tags/tag50.xml"/><Relationship Id="rId4" Type="http://schemas.openxmlformats.org/officeDocument/2006/relationships/image" Target="../media/image1.emf"/><Relationship Id="rId3" Type="http://schemas.openxmlformats.org/officeDocument/2006/relationships/oleObject" Target="../embeddings/oleObject28.bin"/><Relationship Id="rId2" Type="http://schemas.openxmlformats.org/officeDocument/2006/relationships/tags" Target="../tags/tag49.xml"/><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6" Type="http://schemas.openxmlformats.org/officeDocument/2006/relationships/vmlDrawing" Target="../drawings/vmlDrawing25.vml"/><Relationship Id="rId5" Type="http://schemas.openxmlformats.org/officeDocument/2006/relationships/tags" Target="../tags/tag52.xml"/><Relationship Id="rId4" Type="http://schemas.openxmlformats.org/officeDocument/2006/relationships/image" Target="../media/image2.emf"/><Relationship Id="rId3" Type="http://schemas.openxmlformats.org/officeDocument/2006/relationships/oleObject" Target="../embeddings/oleObject29.bin"/><Relationship Id="rId2" Type="http://schemas.openxmlformats.org/officeDocument/2006/relationships/tags" Target="../tags/tag51.xml"/><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6" Type="http://schemas.openxmlformats.org/officeDocument/2006/relationships/vmlDrawing" Target="../drawings/vmlDrawing26.vml"/><Relationship Id="rId5" Type="http://schemas.openxmlformats.org/officeDocument/2006/relationships/tags" Target="../tags/tag54.xml"/><Relationship Id="rId4" Type="http://schemas.openxmlformats.org/officeDocument/2006/relationships/image" Target="../media/image1.emf"/><Relationship Id="rId3" Type="http://schemas.openxmlformats.org/officeDocument/2006/relationships/oleObject" Target="../embeddings/oleObject30.bin"/><Relationship Id="rId2" Type="http://schemas.openxmlformats.org/officeDocument/2006/relationships/tags" Target="../tags/tag53.xml"/><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5" Type="http://schemas.openxmlformats.org/officeDocument/2006/relationships/image" Target="../media/image7.png"/><Relationship Id="rId4" Type="http://schemas.openxmlformats.org/officeDocument/2006/relationships/image" Target="../media/image6.png"/><Relationship Id="rId3" Type="http://schemas.microsoft.com/office/2007/relationships/hdphoto" Target="../media/image5.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showMasterSp="0" userDrawn="1">
  <p:cSld name="0封面">
    <p:bg>
      <p:bgPr>
        <a:solidFill>
          <a:schemeClr val="bg1"/>
        </a:solidFill>
        <a:effectLst/>
      </p:bgPr>
    </p:bg>
    <p:spTree>
      <p:nvGrpSpPr>
        <p:cNvPr id="1" name=""/>
        <p:cNvGrpSpPr/>
        <p:nvPr/>
      </p:nvGrpSpPr>
      <p:grpSpPr>
        <a:xfrm>
          <a:off x="0" y="0"/>
          <a:ext cx="0" cy="0"/>
          <a:chOff x="0" y="0"/>
          <a:chExt cx="0" cy="0"/>
        </a:xfrm>
      </p:grpSpPr>
      <p:sp>
        <p:nvSpPr>
          <p:cNvPr id="24" name="Rectangle 2"/>
          <p:cNvSpPr/>
          <p:nvPr userDrawn="1"/>
        </p:nvSpPr>
        <p:spPr bwMode="auto">
          <a:xfrm flipH="1">
            <a:off x="0" y="3073313"/>
            <a:ext cx="10920534" cy="2262324"/>
          </a:xfrm>
          <a:prstGeom prst="rect">
            <a:avLst/>
          </a:prstGeom>
          <a:noFill/>
          <a:ln>
            <a:noFill/>
          </a:ln>
        </p:spPr>
        <p:txBody>
          <a:bodyPr lIns="0" tIns="0" rIns="0" bIns="0"/>
          <a:lstStyle/>
          <a:p>
            <a:pPr marL="0" marR="0" lvl="0" indent="0" algn="r" defTabSz="914400" eaLnBrk="1" fontAlgn="auto" latinLnBrk="0" hangingPunct="1">
              <a:lnSpc>
                <a:spcPct val="100000"/>
              </a:lnSpc>
              <a:spcBef>
                <a:spcPts val="0"/>
              </a:spcBef>
              <a:spcAft>
                <a:spcPts val="0"/>
              </a:spcAft>
              <a:buClrTx/>
              <a:buSzTx/>
              <a:buFontTx/>
              <a:buNone/>
              <a:defRPr/>
            </a:pPr>
            <a:endParaRPr kumimoji="0" lang="en-US" sz="2400" b="1" i="0" u="none" strike="noStrike" kern="0" cap="none" spc="0" normalizeH="0" baseline="0" noProof="0" dirty="0">
              <a:ln>
                <a:noFill/>
              </a:ln>
              <a:solidFill>
                <a:prstClr val="black"/>
              </a:solidFill>
              <a:effectLst/>
              <a:uLnTx/>
              <a:uFillTx/>
              <a:latin typeface="微软雅黑"/>
              <a:ea typeface="微软雅黑"/>
            </a:endParaRPr>
          </a:p>
        </p:txBody>
      </p:sp>
      <p:graphicFrame>
        <p:nvGraphicFramePr>
          <p:cNvPr id="4" name="对象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Slide" r:id="rId3" imgW="0" imgH="0" progId="TCLayout.ActiveDocument.1">
                  <p:embed/>
                </p:oleObj>
              </mc:Choice>
              <mc:Fallback>
                <p:oleObj name="think-cell Slide" r:id="rId3" imgW="0" imgH="0" progId="TCLayout.ActiveDocument.1">
                  <p:embed/>
                  <p:pic>
                    <p:nvPicPr>
                      <p:cNvPr id="0" name="对象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矩形 2" hidden="1"/>
          <p:cNvSpPr/>
          <p:nvPr userDrawn="1">
            <p:custDataLst>
              <p:tags r:id="rId5"/>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defRPr/>
            </a:pPr>
            <a:endParaRPr kumimoji="0" lang="en-US" altLang="zh-CN" sz="4000" b="1" i="0" u="none" strike="noStrike" kern="1200" cap="none" spc="0" normalizeH="0" baseline="0" noProof="0" dirty="0">
              <a:ln>
                <a:noFill/>
              </a:ln>
              <a:solidFill>
                <a:srgbClr val="FFFFFF"/>
              </a:solidFill>
              <a:effectLst/>
              <a:uLnTx/>
              <a:uFillTx/>
              <a:latin typeface="Arial" panose="020B0604020202090204" pitchFamily="34" charset="0"/>
              <a:ea typeface="微软雅黑" panose="020B0503020204020204" pitchFamily="34" charset="-122"/>
              <a:cs typeface="+mj-cs"/>
              <a:sym typeface="Arial" panose="020B0604020202090204" pitchFamily="34" charset="0"/>
            </a:endParaRPr>
          </a:p>
        </p:txBody>
      </p:sp>
      <p:sp>
        <p:nvSpPr>
          <p:cNvPr id="12" name="矩形 11"/>
          <p:cNvSpPr/>
          <p:nvPr userDrawn="1"/>
        </p:nvSpPr>
        <p:spPr>
          <a:xfrm>
            <a:off x="-1" y="5335637"/>
            <a:ext cx="12191999" cy="15223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indent="0" algn="ctr" defTabSz="914400" rtl="0" eaLnBrk="1" fontAlgn="auto" latinLnBrk="0" hangingPunct="1">
              <a:lnSpc>
                <a:spcPct val="100000"/>
              </a:lnSpc>
              <a:spcBef>
                <a:spcPts val="0"/>
              </a:spcBef>
              <a:spcAft>
                <a:spcPts val="0"/>
              </a:spcAft>
              <a:buClrTx/>
              <a:buSzTx/>
              <a:buFontTx/>
              <a:buNone/>
            </a:pPr>
            <a:endParaRPr kumimoji="0" lang="zh-CN" altLang="en-US" sz="1400" b="0" i="0" u="none" strike="noStrike" kern="1200" cap="none" spc="0" normalizeH="0" baseline="0" noProof="0" dirty="0">
              <a:ln>
                <a:noFill/>
              </a:ln>
              <a:solidFill>
                <a:schemeClr val="tx1"/>
              </a:solidFill>
              <a:effectLst/>
              <a:uLnTx/>
              <a:uFillTx/>
              <a:latin typeface="+mn-ea"/>
              <a:cs typeface="+mn-cs"/>
            </a:endParaRPr>
          </a:p>
        </p:txBody>
      </p:sp>
    </p:spTree>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6-封底">
    <p:spTree>
      <p:nvGrpSpPr>
        <p:cNvPr id="1" name=""/>
        <p:cNvGrpSpPr/>
        <p:nvPr/>
      </p:nvGrpSpPr>
      <p:grpSpPr>
        <a:xfrm>
          <a:off x="0" y="0"/>
          <a:ext cx="0" cy="0"/>
          <a:chOff x="0" y="0"/>
          <a:chExt cx="0" cy="0"/>
        </a:xfrm>
      </p:grpSpPr>
      <p:pic>
        <p:nvPicPr>
          <p:cNvPr id="7" name="图片 6"/>
          <p:cNvPicPr>
            <a:picLocks noChangeAspect="1"/>
          </p:cNvPicPr>
          <p:nvPr userDrawn="1"/>
        </p:nvPicPr>
        <p:blipFill>
          <a:blip r:embed="rId2">
            <a:extLst>
              <a:ext uri="{BEBA8EAE-BF5A-486C-A8C5-ECC9F3942E4B}">
                <a14:imgProps xmlns:a14="http://schemas.microsoft.com/office/drawing/2010/main">
                  <a14:imgLayer r:embed="rId3">
                    <a14:imgEffect>
                      <a14:artisticBlur/>
                    </a14:imgEffect>
                  </a14:imgLayer>
                </a14:imgProps>
              </a:ext>
              <a:ext uri="{28A0092B-C50C-407E-A947-70E740481C1C}">
                <a14:useLocalDpi xmlns:a14="http://schemas.microsoft.com/office/drawing/2010/main" val="0"/>
              </a:ext>
            </a:extLst>
          </a:blip>
          <a:srcRect/>
          <a:stretch>
            <a:fillRect/>
          </a:stretch>
        </p:blipFill>
        <p:spPr>
          <a:xfrm>
            <a:off x="1016697" y="2155"/>
            <a:ext cx="11168799" cy="6850806"/>
          </a:xfrm>
          <a:prstGeom prst="rect">
            <a:avLst/>
          </a:prstGeom>
          <a:ln w="12700">
            <a:miter lim="400000"/>
            <a:headEnd/>
            <a:tailEnd/>
          </a:ln>
        </p:spPr>
      </p:pic>
      <p:pic>
        <p:nvPicPr>
          <p:cNvPr id="4" name="图片 3"/>
          <p:cNvPicPr>
            <a:picLocks noChangeAspect="1"/>
          </p:cNvPicPr>
          <p:nvPr userDrawn="1"/>
        </p:nvPicPr>
        <p:blipFill rotWithShape="1">
          <a:blip r:embed="rId4">
            <a:extLst>
              <a:ext uri="{28A0092B-C50C-407E-A947-70E740481C1C}">
                <a14:useLocalDpi xmlns:a14="http://schemas.microsoft.com/office/drawing/2010/main" val="0"/>
              </a:ext>
            </a:extLst>
          </a:blip>
          <a:srcRect t="74"/>
          <a:stretch>
            <a:fillRect/>
          </a:stretch>
        </p:blipFill>
        <p:spPr>
          <a:xfrm>
            <a:off x="1045815" y="5038"/>
            <a:ext cx="11146185" cy="6852961"/>
          </a:xfrm>
          <a:prstGeom prst="rect">
            <a:avLst/>
          </a:prstGeom>
        </p:spPr>
      </p:pic>
      <p:sp>
        <p:nvSpPr>
          <p:cNvPr id="8" name="矩形 7"/>
          <p:cNvSpPr/>
          <p:nvPr userDrawn="1"/>
        </p:nvSpPr>
        <p:spPr>
          <a:xfrm>
            <a:off x="3252" y="3597"/>
            <a:ext cx="12185496" cy="6850806"/>
          </a:xfrm>
          <a:prstGeom prst="rect">
            <a:avLst/>
          </a:prstGeom>
          <a:gradFill flip="none" rotWithShape="1">
            <a:gsLst>
              <a:gs pos="15000">
                <a:srgbClr val="FDF1ED">
                  <a:alpha val="97647"/>
                </a:srgbClr>
              </a:gs>
              <a:gs pos="27000">
                <a:srgbClr val="FEF8F6">
                  <a:alpha val="86000"/>
                </a:srgbClr>
              </a:gs>
              <a:gs pos="56000">
                <a:schemeClr val="bg1">
                  <a:alpha val="86000"/>
                </a:schemeClr>
              </a:gs>
              <a:gs pos="0">
                <a:srgbClr val="FDEAE3"/>
              </a:gs>
              <a:gs pos="100000">
                <a:schemeClr val="bg1">
                  <a:alpha val="6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微软雅黑" panose="020B0503020204020204" pitchFamily="34" charset="-122"/>
              <a:ea typeface="微软雅黑" panose="020B0503020204020204" pitchFamily="34" charset="-122"/>
            </a:endParaRPr>
          </a:p>
        </p:txBody>
      </p:sp>
      <p:sp>
        <p:nvSpPr>
          <p:cNvPr id="13" name="任意多边形: 形状 12"/>
          <p:cNvSpPr/>
          <p:nvPr userDrawn="1"/>
        </p:nvSpPr>
        <p:spPr>
          <a:xfrm>
            <a:off x="0" y="0"/>
            <a:ext cx="690654" cy="745871"/>
          </a:xfrm>
          <a:custGeom>
            <a:avLst/>
            <a:gdLst>
              <a:gd name="connsiteX0" fmla="*/ 590479 w 631437"/>
              <a:gd name="connsiteY0" fmla="*/ 600003 h 681919"/>
              <a:gd name="connsiteX1" fmla="*/ 631437 w 631437"/>
              <a:gd name="connsiteY1" fmla="*/ 640961 h 681919"/>
              <a:gd name="connsiteX2" fmla="*/ 590479 w 631437"/>
              <a:gd name="connsiteY2" fmla="*/ 681919 h 681919"/>
              <a:gd name="connsiteX3" fmla="*/ 549521 w 631437"/>
              <a:gd name="connsiteY3" fmla="*/ 640961 h 681919"/>
              <a:gd name="connsiteX4" fmla="*/ 590479 w 631437"/>
              <a:gd name="connsiteY4" fmla="*/ 600003 h 681919"/>
              <a:gd name="connsiteX5" fmla="*/ 448555 w 631437"/>
              <a:gd name="connsiteY5" fmla="*/ 600003 h 681919"/>
              <a:gd name="connsiteX6" fmla="*/ 489513 w 631437"/>
              <a:gd name="connsiteY6" fmla="*/ 640961 h 681919"/>
              <a:gd name="connsiteX7" fmla="*/ 448555 w 631437"/>
              <a:gd name="connsiteY7" fmla="*/ 681919 h 681919"/>
              <a:gd name="connsiteX8" fmla="*/ 407597 w 631437"/>
              <a:gd name="connsiteY8" fmla="*/ 640961 h 681919"/>
              <a:gd name="connsiteX9" fmla="*/ 448555 w 631437"/>
              <a:gd name="connsiteY9" fmla="*/ 600003 h 681919"/>
              <a:gd name="connsiteX10" fmla="*/ 306633 w 631437"/>
              <a:gd name="connsiteY10" fmla="*/ 600003 h 681919"/>
              <a:gd name="connsiteX11" fmla="*/ 347591 w 631437"/>
              <a:gd name="connsiteY11" fmla="*/ 640961 h 681919"/>
              <a:gd name="connsiteX12" fmla="*/ 306633 w 631437"/>
              <a:gd name="connsiteY12" fmla="*/ 681919 h 681919"/>
              <a:gd name="connsiteX13" fmla="*/ 265675 w 631437"/>
              <a:gd name="connsiteY13" fmla="*/ 640961 h 681919"/>
              <a:gd name="connsiteX14" fmla="*/ 306633 w 631437"/>
              <a:gd name="connsiteY14" fmla="*/ 600003 h 681919"/>
              <a:gd name="connsiteX15" fmla="*/ 164711 w 631437"/>
              <a:gd name="connsiteY15" fmla="*/ 600003 h 681919"/>
              <a:gd name="connsiteX16" fmla="*/ 205669 w 631437"/>
              <a:gd name="connsiteY16" fmla="*/ 640961 h 681919"/>
              <a:gd name="connsiteX17" fmla="*/ 164711 w 631437"/>
              <a:gd name="connsiteY17" fmla="*/ 681919 h 681919"/>
              <a:gd name="connsiteX18" fmla="*/ 123753 w 631437"/>
              <a:gd name="connsiteY18" fmla="*/ 640961 h 681919"/>
              <a:gd name="connsiteX19" fmla="*/ 164711 w 631437"/>
              <a:gd name="connsiteY19" fmla="*/ 600003 h 681919"/>
              <a:gd name="connsiteX20" fmla="*/ 22789 w 631437"/>
              <a:gd name="connsiteY20" fmla="*/ 600003 h 681919"/>
              <a:gd name="connsiteX21" fmla="*/ 63747 w 631437"/>
              <a:gd name="connsiteY21" fmla="*/ 640961 h 681919"/>
              <a:gd name="connsiteX22" fmla="*/ 22789 w 631437"/>
              <a:gd name="connsiteY22" fmla="*/ 681919 h 681919"/>
              <a:gd name="connsiteX23" fmla="*/ 0 w 631437"/>
              <a:gd name="connsiteY23" fmla="*/ 672479 h 681919"/>
              <a:gd name="connsiteX24" fmla="*/ 0 w 631437"/>
              <a:gd name="connsiteY24" fmla="*/ 609443 h 681919"/>
              <a:gd name="connsiteX25" fmla="*/ 590479 w 631437"/>
              <a:gd name="connsiteY25" fmla="*/ 441888 h 681919"/>
              <a:gd name="connsiteX26" fmla="*/ 631437 w 631437"/>
              <a:gd name="connsiteY26" fmla="*/ 482846 h 681919"/>
              <a:gd name="connsiteX27" fmla="*/ 590479 w 631437"/>
              <a:gd name="connsiteY27" fmla="*/ 523804 h 681919"/>
              <a:gd name="connsiteX28" fmla="*/ 549521 w 631437"/>
              <a:gd name="connsiteY28" fmla="*/ 482846 h 681919"/>
              <a:gd name="connsiteX29" fmla="*/ 590479 w 631437"/>
              <a:gd name="connsiteY29" fmla="*/ 441888 h 681919"/>
              <a:gd name="connsiteX30" fmla="*/ 448555 w 631437"/>
              <a:gd name="connsiteY30" fmla="*/ 441888 h 681919"/>
              <a:gd name="connsiteX31" fmla="*/ 489513 w 631437"/>
              <a:gd name="connsiteY31" fmla="*/ 482846 h 681919"/>
              <a:gd name="connsiteX32" fmla="*/ 448555 w 631437"/>
              <a:gd name="connsiteY32" fmla="*/ 523804 h 681919"/>
              <a:gd name="connsiteX33" fmla="*/ 407597 w 631437"/>
              <a:gd name="connsiteY33" fmla="*/ 482846 h 681919"/>
              <a:gd name="connsiteX34" fmla="*/ 448555 w 631437"/>
              <a:gd name="connsiteY34" fmla="*/ 441888 h 681919"/>
              <a:gd name="connsiteX35" fmla="*/ 306633 w 631437"/>
              <a:gd name="connsiteY35" fmla="*/ 441888 h 681919"/>
              <a:gd name="connsiteX36" fmla="*/ 347591 w 631437"/>
              <a:gd name="connsiteY36" fmla="*/ 482846 h 681919"/>
              <a:gd name="connsiteX37" fmla="*/ 306633 w 631437"/>
              <a:gd name="connsiteY37" fmla="*/ 523804 h 681919"/>
              <a:gd name="connsiteX38" fmla="*/ 265675 w 631437"/>
              <a:gd name="connsiteY38" fmla="*/ 482846 h 681919"/>
              <a:gd name="connsiteX39" fmla="*/ 306633 w 631437"/>
              <a:gd name="connsiteY39" fmla="*/ 441888 h 681919"/>
              <a:gd name="connsiteX40" fmla="*/ 164711 w 631437"/>
              <a:gd name="connsiteY40" fmla="*/ 441888 h 681919"/>
              <a:gd name="connsiteX41" fmla="*/ 205669 w 631437"/>
              <a:gd name="connsiteY41" fmla="*/ 482846 h 681919"/>
              <a:gd name="connsiteX42" fmla="*/ 164711 w 631437"/>
              <a:gd name="connsiteY42" fmla="*/ 523804 h 681919"/>
              <a:gd name="connsiteX43" fmla="*/ 123753 w 631437"/>
              <a:gd name="connsiteY43" fmla="*/ 482846 h 681919"/>
              <a:gd name="connsiteX44" fmla="*/ 164711 w 631437"/>
              <a:gd name="connsiteY44" fmla="*/ 441888 h 681919"/>
              <a:gd name="connsiteX45" fmla="*/ 22789 w 631437"/>
              <a:gd name="connsiteY45" fmla="*/ 441888 h 681919"/>
              <a:gd name="connsiteX46" fmla="*/ 63747 w 631437"/>
              <a:gd name="connsiteY46" fmla="*/ 482846 h 681919"/>
              <a:gd name="connsiteX47" fmla="*/ 22789 w 631437"/>
              <a:gd name="connsiteY47" fmla="*/ 523804 h 681919"/>
              <a:gd name="connsiteX48" fmla="*/ 0 w 631437"/>
              <a:gd name="connsiteY48" fmla="*/ 514364 h 681919"/>
              <a:gd name="connsiteX49" fmla="*/ 0 w 631437"/>
              <a:gd name="connsiteY49" fmla="*/ 451328 h 681919"/>
              <a:gd name="connsiteX50" fmla="*/ 590479 w 631437"/>
              <a:gd name="connsiteY50" fmla="*/ 283773 h 681919"/>
              <a:gd name="connsiteX51" fmla="*/ 631437 w 631437"/>
              <a:gd name="connsiteY51" fmla="*/ 324731 h 681919"/>
              <a:gd name="connsiteX52" fmla="*/ 590479 w 631437"/>
              <a:gd name="connsiteY52" fmla="*/ 365689 h 681919"/>
              <a:gd name="connsiteX53" fmla="*/ 549521 w 631437"/>
              <a:gd name="connsiteY53" fmla="*/ 324731 h 681919"/>
              <a:gd name="connsiteX54" fmla="*/ 590479 w 631437"/>
              <a:gd name="connsiteY54" fmla="*/ 283773 h 681919"/>
              <a:gd name="connsiteX55" fmla="*/ 448555 w 631437"/>
              <a:gd name="connsiteY55" fmla="*/ 283773 h 681919"/>
              <a:gd name="connsiteX56" fmla="*/ 489513 w 631437"/>
              <a:gd name="connsiteY56" fmla="*/ 324731 h 681919"/>
              <a:gd name="connsiteX57" fmla="*/ 448555 w 631437"/>
              <a:gd name="connsiteY57" fmla="*/ 365689 h 681919"/>
              <a:gd name="connsiteX58" fmla="*/ 407597 w 631437"/>
              <a:gd name="connsiteY58" fmla="*/ 324731 h 681919"/>
              <a:gd name="connsiteX59" fmla="*/ 448555 w 631437"/>
              <a:gd name="connsiteY59" fmla="*/ 283773 h 681919"/>
              <a:gd name="connsiteX60" fmla="*/ 306633 w 631437"/>
              <a:gd name="connsiteY60" fmla="*/ 283773 h 681919"/>
              <a:gd name="connsiteX61" fmla="*/ 347591 w 631437"/>
              <a:gd name="connsiteY61" fmla="*/ 324731 h 681919"/>
              <a:gd name="connsiteX62" fmla="*/ 306633 w 631437"/>
              <a:gd name="connsiteY62" fmla="*/ 365689 h 681919"/>
              <a:gd name="connsiteX63" fmla="*/ 265675 w 631437"/>
              <a:gd name="connsiteY63" fmla="*/ 324731 h 681919"/>
              <a:gd name="connsiteX64" fmla="*/ 306633 w 631437"/>
              <a:gd name="connsiteY64" fmla="*/ 283773 h 681919"/>
              <a:gd name="connsiteX65" fmla="*/ 164711 w 631437"/>
              <a:gd name="connsiteY65" fmla="*/ 283773 h 681919"/>
              <a:gd name="connsiteX66" fmla="*/ 205669 w 631437"/>
              <a:gd name="connsiteY66" fmla="*/ 324731 h 681919"/>
              <a:gd name="connsiteX67" fmla="*/ 164711 w 631437"/>
              <a:gd name="connsiteY67" fmla="*/ 365689 h 681919"/>
              <a:gd name="connsiteX68" fmla="*/ 123753 w 631437"/>
              <a:gd name="connsiteY68" fmla="*/ 324731 h 681919"/>
              <a:gd name="connsiteX69" fmla="*/ 164711 w 631437"/>
              <a:gd name="connsiteY69" fmla="*/ 283773 h 681919"/>
              <a:gd name="connsiteX70" fmla="*/ 22789 w 631437"/>
              <a:gd name="connsiteY70" fmla="*/ 283773 h 681919"/>
              <a:gd name="connsiteX71" fmla="*/ 63747 w 631437"/>
              <a:gd name="connsiteY71" fmla="*/ 324731 h 681919"/>
              <a:gd name="connsiteX72" fmla="*/ 22789 w 631437"/>
              <a:gd name="connsiteY72" fmla="*/ 365689 h 681919"/>
              <a:gd name="connsiteX73" fmla="*/ 0 w 631437"/>
              <a:gd name="connsiteY73" fmla="*/ 356249 h 681919"/>
              <a:gd name="connsiteX74" fmla="*/ 0 w 631437"/>
              <a:gd name="connsiteY74" fmla="*/ 293213 h 681919"/>
              <a:gd name="connsiteX75" fmla="*/ 448555 w 631437"/>
              <a:gd name="connsiteY75" fmla="*/ 125658 h 681919"/>
              <a:gd name="connsiteX76" fmla="*/ 489513 w 631437"/>
              <a:gd name="connsiteY76" fmla="*/ 166616 h 681919"/>
              <a:gd name="connsiteX77" fmla="*/ 448555 w 631437"/>
              <a:gd name="connsiteY77" fmla="*/ 207574 h 681919"/>
              <a:gd name="connsiteX78" fmla="*/ 407597 w 631437"/>
              <a:gd name="connsiteY78" fmla="*/ 166616 h 681919"/>
              <a:gd name="connsiteX79" fmla="*/ 448555 w 631437"/>
              <a:gd name="connsiteY79" fmla="*/ 125658 h 681919"/>
              <a:gd name="connsiteX80" fmla="*/ 306633 w 631437"/>
              <a:gd name="connsiteY80" fmla="*/ 125658 h 681919"/>
              <a:gd name="connsiteX81" fmla="*/ 347591 w 631437"/>
              <a:gd name="connsiteY81" fmla="*/ 166616 h 681919"/>
              <a:gd name="connsiteX82" fmla="*/ 306633 w 631437"/>
              <a:gd name="connsiteY82" fmla="*/ 207574 h 681919"/>
              <a:gd name="connsiteX83" fmla="*/ 265675 w 631437"/>
              <a:gd name="connsiteY83" fmla="*/ 166616 h 681919"/>
              <a:gd name="connsiteX84" fmla="*/ 306633 w 631437"/>
              <a:gd name="connsiteY84" fmla="*/ 125658 h 681919"/>
              <a:gd name="connsiteX85" fmla="*/ 164711 w 631437"/>
              <a:gd name="connsiteY85" fmla="*/ 125658 h 681919"/>
              <a:gd name="connsiteX86" fmla="*/ 205669 w 631437"/>
              <a:gd name="connsiteY86" fmla="*/ 166616 h 681919"/>
              <a:gd name="connsiteX87" fmla="*/ 164711 w 631437"/>
              <a:gd name="connsiteY87" fmla="*/ 207574 h 681919"/>
              <a:gd name="connsiteX88" fmla="*/ 123753 w 631437"/>
              <a:gd name="connsiteY88" fmla="*/ 166616 h 681919"/>
              <a:gd name="connsiteX89" fmla="*/ 164711 w 631437"/>
              <a:gd name="connsiteY89" fmla="*/ 125658 h 681919"/>
              <a:gd name="connsiteX90" fmla="*/ 22789 w 631437"/>
              <a:gd name="connsiteY90" fmla="*/ 125658 h 681919"/>
              <a:gd name="connsiteX91" fmla="*/ 63747 w 631437"/>
              <a:gd name="connsiteY91" fmla="*/ 166616 h 681919"/>
              <a:gd name="connsiteX92" fmla="*/ 22789 w 631437"/>
              <a:gd name="connsiteY92" fmla="*/ 207574 h 681919"/>
              <a:gd name="connsiteX93" fmla="*/ 0 w 631437"/>
              <a:gd name="connsiteY93" fmla="*/ 198134 h 681919"/>
              <a:gd name="connsiteX94" fmla="*/ 0 w 631437"/>
              <a:gd name="connsiteY94" fmla="*/ 135098 h 681919"/>
              <a:gd name="connsiteX95" fmla="*/ 590479 w 631437"/>
              <a:gd name="connsiteY95" fmla="*/ 125658 h 681919"/>
              <a:gd name="connsiteX96" fmla="*/ 631437 w 631437"/>
              <a:gd name="connsiteY96" fmla="*/ 166616 h 681919"/>
              <a:gd name="connsiteX97" fmla="*/ 590479 w 631437"/>
              <a:gd name="connsiteY97" fmla="*/ 207574 h 681919"/>
              <a:gd name="connsiteX98" fmla="*/ 549521 w 631437"/>
              <a:gd name="connsiteY98" fmla="*/ 166616 h 681919"/>
              <a:gd name="connsiteX99" fmla="*/ 590479 w 631437"/>
              <a:gd name="connsiteY99" fmla="*/ 125658 h 681919"/>
              <a:gd name="connsiteX100" fmla="*/ 553042 w 631437"/>
              <a:gd name="connsiteY100" fmla="*/ 0 h 681919"/>
              <a:gd name="connsiteX101" fmla="*/ 627916 w 631437"/>
              <a:gd name="connsiteY101" fmla="*/ 0 h 681919"/>
              <a:gd name="connsiteX102" fmla="*/ 631437 w 631437"/>
              <a:gd name="connsiteY102" fmla="*/ 8501 h 681919"/>
              <a:gd name="connsiteX103" fmla="*/ 590479 w 631437"/>
              <a:gd name="connsiteY103" fmla="*/ 49459 h 681919"/>
              <a:gd name="connsiteX104" fmla="*/ 549521 w 631437"/>
              <a:gd name="connsiteY104" fmla="*/ 8501 h 681919"/>
              <a:gd name="connsiteX105" fmla="*/ 411118 w 631437"/>
              <a:gd name="connsiteY105" fmla="*/ 0 h 681919"/>
              <a:gd name="connsiteX106" fmla="*/ 485992 w 631437"/>
              <a:gd name="connsiteY106" fmla="*/ 0 h 681919"/>
              <a:gd name="connsiteX107" fmla="*/ 489513 w 631437"/>
              <a:gd name="connsiteY107" fmla="*/ 8501 h 681919"/>
              <a:gd name="connsiteX108" fmla="*/ 448555 w 631437"/>
              <a:gd name="connsiteY108" fmla="*/ 49459 h 681919"/>
              <a:gd name="connsiteX109" fmla="*/ 407597 w 631437"/>
              <a:gd name="connsiteY109" fmla="*/ 8501 h 681919"/>
              <a:gd name="connsiteX110" fmla="*/ 269196 w 631437"/>
              <a:gd name="connsiteY110" fmla="*/ 0 h 681919"/>
              <a:gd name="connsiteX111" fmla="*/ 344070 w 631437"/>
              <a:gd name="connsiteY111" fmla="*/ 0 h 681919"/>
              <a:gd name="connsiteX112" fmla="*/ 347591 w 631437"/>
              <a:gd name="connsiteY112" fmla="*/ 8501 h 681919"/>
              <a:gd name="connsiteX113" fmla="*/ 306633 w 631437"/>
              <a:gd name="connsiteY113" fmla="*/ 49459 h 681919"/>
              <a:gd name="connsiteX114" fmla="*/ 265675 w 631437"/>
              <a:gd name="connsiteY114" fmla="*/ 8501 h 681919"/>
              <a:gd name="connsiteX115" fmla="*/ 127274 w 631437"/>
              <a:gd name="connsiteY115" fmla="*/ 0 h 681919"/>
              <a:gd name="connsiteX116" fmla="*/ 202148 w 631437"/>
              <a:gd name="connsiteY116" fmla="*/ 0 h 681919"/>
              <a:gd name="connsiteX117" fmla="*/ 205669 w 631437"/>
              <a:gd name="connsiteY117" fmla="*/ 8501 h 681919"/>
              <a:gd name="connsiteX118" fmla="*/ 164711 w 631437"/>
              <a:gd name="connsiteY118" fmla="*/ 49459 h 681919"/>
              <a:gd name="connsiteX119" fmla="*/ 123753 w 631437"/>
              <a:gd name="connsiteY119" fmla="*/ 8501 h 681919"/>
              <a:gd name="connsiteX120" fmla="*/ 0 w 631437"/>
              <a:gd name="connsiteY120" fmla="*/ 0 h 681919"/>
              <a:gd name="connsiteX121" fmla="*/ 60226 w 631437"/>
              <a:gd name="connsiteY121" fmla="*/ 0 h 681919"/>
              <a:gd name="connsiteX122" fmla="*/ 63747 w 631437"/>
              <a:gd name="connsiteY122" fmla="*/ 8501 h 681919"/>
              <a:gd name="connsiteX123" fmla="*/ 22789 w 631437"/>
              <a:gd name="connsiteY123" fmla="*/ 49459 h 681919"/>
              <a:gd name="connsiteX124" fmla="*/ 0 w 631437"/>
              <a:gd name="connsiteY124" fmla="*/ 40019 h 681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Lst>
            <a:rect l="l" t="t" r="r" b="b"/>
            <a:pathLst>
              <a:path w="631437" h="681919">
                <a:moveTo>
                  <a:pt x="590479" y="600003"/>
                </a:moveTo>
                <a:cubicBezTo>
                  <a:pt x="613099" y="600003"/>
                  <a:pt x="631437" y="618341"/>
                  <a:pt x="631437" y="640961"/>
                </a:cubicBezTo>
                <a:cubicBezTo>
                  <a:pt x="631437" y="663581"/>
                  <a:pt x="613099" y="681919"/>
                  <a:pt x="590479" y="681919"/>
                </a:cubicBezTo>
                <a:cubicBezTo>
                  <a:pt x="567859" y="681919"/>
                  <a:pt x="549521" y="663581"/>
                  <a:pt x="549521" y="640961"/>
                </a:cubicBezTo>
                <a:cubicBezTo>
                  <a:pt x="549521" y="618341"/>
                  <a:pt x="567859" y="600003"/>
                  <a:pt x="590479" y="600003"/>
                </a:cubicBezTo>
                <a:close/>
                <a:moveTo>
                  <a:pt x="448555" y="600003"/>
                </a:moveTo>
                <a:cubicBezTo>
                  <a:pt x="471175" y="600003"/>
                  <a:pt x="489513" y="618341"/>
                  <a:pt x="489513" y="640961"/>
                </a:cubicBezTo>
                <a:cubicBezTo>
                  <a:pt x="489513" y="663581"/>
                  <a:pt x="471175" y="681919"/>
                  <a:pt x="448555" y="681919"/>
                </a:cubicBezTo>
                <a:cubicBezTo>
                  <a:pt x="425935" y="681919"/>
                  <a:pt x="407597" y="663581"/>
                  <a:pt x="407597" y="640961"/>
                </a:cubicBezTo>
                <a:cubicBezTo>
                  <a:pt x="407597" y="618341"/>
                  <a:pt x="425935" y="600003"/>
                  <a:pt x="448555" y="600003"/>
                </a:cubicBezTo>
                <a:close/>
                <a:moveTo>
                  <a:pt x="306633" y="600003"/>
                </a:moveTo>
                <a:cubicBezTo>
                  <a:pt x="329253" y="600003"/>
                  <a:pt x="347591" y="618341"/>
                  <a:pt x="347591" y="640961"/>
                </a:cubicBezTo>
                <a:cubicBezTo>
                  <a:pt x="347591" y="663581"/>
                  <a:pt x="329253" y="681919"/>
                  <a:pt x="306633" y="681919"/>
                </a:cubicBezTo>
                <a:cubicBezTo>
                  <a:pt x="284013" y="681919"/>
                  <a:pt x="265675" y="663581"/>
                  <a:pt x="265675" y="640961"/>
                </a:cubicBezTo>
                <a:cubicBezTo>
                  <a:pt x="265675" y="618341"/>
                  <a:pt x="284013" y="600003"/>
                  <a:pt x="306633" y="600003"/>
                </a:cubicBezTo>
                <a:close/>
                <a:moveTo>
                  <a:pt x="164711" y="600003"/>
                </a:moveTo>
                <a:cubicBezTo>
                  <a:pt x="187331" y="600003"/>
                  <a:pt x="205669" y="618341"/>
                  <a:pt x="205669" y="640961"/>
                </a:cubicBezTo>
                <a:cubicBezTo>
                  <a:pt x="205669" y="663581"/>
                  <a:pt x="187331" y="681919"/>
                  <a:pt x="164711" y="681919"/>
                </a:cubicBezTo>
                <a:cubicBezTo>
                  <a:pt x="142091" y="681919"/>
                  <a:pt x="123753" y="663581"/>
                  <a:pt x="123753" y="640961"/>
                </a:cubicBezTo>
                <a:cubicBezTo>
                  <a:pt x="123753" y="618341"/>
                  <a:pt x="142091" y="600003"/>
                  <a:pt x="164711" y="600003"/>
                </a:cubicBezTo>
                <a:close/>
                <a:moveTo>
                  <a:pt x="22789" y="600003"/>
                </a:moveTo>
                <a:cubicBezTo>
                  <a:pt x="45409" y="600003"/>
                  <a:pt x="63747" y="618341"/>
                  <a:pt x="63747" y="640961"/>
                </a:cubicBezTo>
                <a:cubicBezTo>
                  <a:pt x="63747" y="663581"/>
                  <a:pt x="45409" y="681919"/>
                  <a:pt x="22789" y="681919"/>
                </a:cubicBezTo>
                <a:lnTo>
                  <a:pt x="0" y="672479"/>
                </a:lnTo>
                <a:lnTo>
                  <a:pt x="0" y="609443"/>
                </a:lnTo>
                <a:close/>
                <a:moveTo>
                  <a:pt x="590479" y="441888"/>
                </a:moveTo>
                <a:cubicBezTo>
                  <a:pt x="613099" y="441888"/>
                  <a:pt x="631437" y="460226"/>
                  <a:pt x="631437" y="482846"/>
                </a:cubicBezTo>
                <a:cubicBezTo>
                  <a:pt x="631437" y="505466"/>
                  <a:pt x="613099" y="523804"/>
                  <a:pt x="590479" y="523804"/>
                </a:cubicBezTo>
                <a:cubicBezTo>
                  <a:pt x="567859" y="523804"/>
                  <a:pt x="549521" y="505466"/>
                  <a:pt x="549521" y="482846"/>
                </a:cubicBezTo>
                <a:cubicBezTo>
                  <a:pt x="549521" y="460226"/>
                  <a:pt x="567859" y="441888"/>
                  <a:pt x="590479" y="441888"/>
                </a:cubicBezTo>
                <a:close/>
                <a:moveTo>
                  <a:pt x="448555" y="441888"/>
                </a:moveTo>
                <a:cubicBezTo>
                  <a:pt x="471175" y="441888"/>
                  <a:pt x="489513" y="460226"/>
                  <a:pt x="489513" y="482846"/>
                </a:cubicBezTo>
                <a:cubicBezTo>
                  <a:pt x="489513" y="505466"/>
                  <a:pt x="471175" y="523804"/>
                  <a:pt x="448555" y="523804"/>
                </a:cubicBezTo>
                <a:cubicBezTo>
                  <a:pt x="425935" y="523804"/>
                  <a:pt x="407597" y="505466"/>
                  <a:pt x="407597" y="482846"/>
                </a:cubicBezTo>
                <a:cubicBezTo>
                  <a:pt x="407597" y="460226"/>
                  <a:pt x="425935" y="441888"/>
                  <a:pt x="448555" y="441888"/>
                </a:cubicBezTo>
                <a:close/>
                <a:moveTo>
                  <a:pt x="306633" y="441888"/>
                </a:moveTo>
                <a:cubicBezTo>
                  <a:pt x="329253" y="441888"/>
                  <a:pt x="347591" y="460226"/>
                  <a:pt x="347591" y="482846"/>
                </a:cubicBezTo>
                <a:cubicBezTo>
                  <a:pt x="347591" y="505466"/>
                  <a:pt x="329253" y="523804"/>
                  <a:pt x="306633" y="523804"/>
                </a:cubicBezTo>
                <a:cubicBezTo>
                  <a:pt x="284013" y="523804"/>
                  <a:pt x="265675" y="505466"/>
                  <a:pt x="265675" y="482846"/>
                </a:cubicBezTo>
                <a:cubicBezTo>
                  <a:pt x="265675" y="460226"/>
                  <a:pt x="284013" y="441888"/>
                  <a:pt x="306633" y="441888"/>
                </a:cubicBezTo>
                <a:close/>
                <a:moveTo>
                  <a:pt x="164711" y="441888"/>
                </a:moveTo>
                <a:cubicBezTo>
                  <a:pt x="187331" y="441888"/>
                  <a:pt x="205669" y="460226"/>
                  <a:pt x="205669" y="482846"/>
                </a:cubicBezTo>
                <a:cubicBezTo>
                  <a:pt x="205669" y="505466"/>
                  <a:pt x="187331" y="523804"/>
                  <a:pt x="164711" y="523804"/>
                </a:cubicBezTo>
                <a:cubicBezTo>
                  <a:pt x="142091" y="523804"/>
                  <a:pt x="123753" y="505466"/>
                  <a:pt x="123753" y="482846"/>
                </a:cubicBezTo>
                <a:cubicBezTo>
                  <a:pt x="123753" y="460226"/>
                  <a:pt x="142091" y="441888"/>
                  <a:pt x="164711" y="441888"/>
                </a:cubicBezTo>
                <a:close/>
                <a:moveTo>
                  <a:pt x="22789" y="441888"/>
                </a:moveTo>
                <a:cubicBezTo>
                  <a:pt x="45409" y="441888"/>
                  <a:pt x="63747" y="460226"/>
                  <a:pt x="63747" y="482846"/>
                </a:cubicBezTo>
                <a:cubicBezTo>
                  <a:pt x="63747" y="505466"/>
                  <a:pt x="45409" y="523804"/>
                  <a:pt x="22789" y="523804"/>
                </a:cubicBezTo>
                <a:lnTo>
                  <a:pt x="0" y="514364"/>
                </a:lnTo>
                <a:lnTo>
                  <a:pt x="0" y="451328"/>
                </a:lnTo>
                <a:close/>
                <a:moveTo>
                  <a:pt x="590479" y="283773"/>
                </a:moveTo>
                <a:cubicBezTo>
                  <a:pt x="613099" y="283773"/>
                  <a:pt x="631437" y="302111"/>
                  <a:pt x="631437" y="324731"/>
                </a:cubicBezTo>
                <a:cubicBezTo>
                  <a:pt x="631437" y="347351"/>
                  <a:pt x="613099" y="365689"/>
                  <a:pt x="590479" y="365689"/>
                </a:cubicBezTo>
                <a:cubicBezTo>
                  <a:pt x="567859" y="365689"/>
                  <a:pt x="549521" y="347351"/>
                  <a:pt x="549521" y="324731"/>
                </a:cubicBezTo>
                <a:cubicBezTo>
                  <a:pt x="549521" y="302111"/>
                  <a:pt x="567859" y="283773"/>
                  <a:pt x="590479" y="283773"/>
                </a:cubicBezTo>
                <a:close/>
                <a:moveTo>
                  <a:pt x="448555" y="283773"/>
                </a:moveTo>
                <a:cubicBezTo>
                  <a:pt x="471175" y="283773"/>
                  <a:pt x="489513" y="302111"/>
                  <a:pt x="489513" y="324731"/>
                </a:cubicBezTo>
                <a:cubicBezTo>
                  <a:pt x="489513" y="347351"/>
                  <a:pt x="471175" y="365689"/>
                  <a:pt x="448555" y="365689"/>
                </a:cubicBezTo>
                <a:cubicBezTo>
                  <a:pt x="425935" y="365689"/>
                  <a:pt x="407597" y="347351"/>
                  <a:pt x="407597" y="324731"/>
                </a:cubicBezTo>
                <a:cubicBezTo>
                  <a:pt x="407597" y="302111"/>
                  <a:pt x="425935" y="283773"/>
                  <a:pt x="448555" y="283773"/>
                </a:cubicBezTo>
                <a:close/>
                <a:moveTo>
                  <a:pt x="306633" y="283773"/>
                </a:moveTo>
                <a:cubicBezTo>
                  <a:pt x="329253" y="283773"/>
                  <a:pt x="347591" y="302111"/>
                  <a:pt x="347591" y="324731"/>
                </a:cubicBezTo>
                <a:cubicBezTo>
                  <a:pt x="347591" y="347351"/>
                  <a:pt x="329253" y="365689"/>
                  <a:pt x="306633" y="365689"/>
                </a:cubicBezTo>
                <a:cubicBezTo>
                  <a:pt x="284013" y="365689"/>
                  <a:pt x="265675" y="347351"/>
                  <a:pt x="265675" y="324731"/>
                </a:cubicBezTo>
                <a:cubicBezTo>
                  <a:pt x="265675" y="302111"/>
                  <a:pt x="284013" y="283773"/>
                  <a:pt x="306633" y="283773"/>
                </a:cubicBezTo>
                <a:close/>
                <a:moveTo>
                  <a:pt x="164711" y="283773"/>
                </a:moveTo>
                <a:cubicBezTo>
                  <a:pt x="187331" y="283773"/>
                  <a:pt x="205669" y="302111"/>
                  <a:pt x="205669" y="324731"/>
                </a:cubicBezTo>
                <a:cubicBezTo>
                  <a:pt x="205669" y="347351"/>
                  <a:pt x="187331" y="365689"/>
                  <a:pt x="164711" y="365689"/>
                </a:cubicBezTo>
                <a:cubicBezTo>
                  <a:pt x="142091" y="365689"/>
                  <a:pt x="123753" y="347351"/>
                  <a:pt x="123753" y="324731"/>
                </a:cubicBezTo>
                <a:cubicBezTo>
                  <a:pt x="123753" y="302111"/>
                  <a:pt x="142091" y="283773"/>
                  <a:pt x="164711" y="283773"/>
                </a:cubicBezTo>
                <a:close/>
                <a:moveTo>
                  <a:pt x="22789" y="283773"/>
                </a:moveTo>
                <a:cubicBezTo>
                  <a:pt x="45409" y="283773"/>
                  <a:pt x="63747" y="302111"/>
                  <a:pt x="63747" y="324731"/>
                </a:cubicBezTo>
                <a:cubicBezTo>
                  <a:pt x="63747" y="347351"/>
                  <a:pt x="45409" y="365689"/>
                  <a:pt x="22789" y="365689"/>
                </a:cubicBezTo>
                <a:lnTo>
                  <a:pt x="0" y="356249"/>
                </a:lnTo>
                <a:lnTo>
                  <a:pt x="0" y="293213"/>
                </a:lnTo>
                <a:close/>
                <a:moveTo>
                  <a:pt x="448555" y="125658"/>
                </a:moveTo>
                <a:cubicBezTo>
                  <a:pt x="471175" y="125658"/>
                  <a:pt x="489513" y="143996"/>
                  <a:pt x="489513" y="166616"/>
                </a:cubicBezTo>
                <a:cubicBezTo>
                  <a:pt x="489513" y="189236"/>
                  <a:pt x="471175" y="207574"/>
                  <a:pt x="448555" y="207574"/>
                </a:cubicBezTo>
                <a:cubicBezTo>
                  <a:pt x="425935" y="207574"/>
                  <a:pt x="407597" y="189236"/>
                  <a:pt x="407597" y="166616"/>
                </a:cubicBezTo>
                <a:cubicBezTo>
                  <a:pt x="407597" y="143996"/>
                  <a:pt x="425935" y="125658"/>
                  <a:pt x="448555" y="125658"/>
                </a:cubicBezTo>
                <a:close/>
                <a:moveTo>
                  <a:pt x="306633" y="125658"/>
                </a:moveTo>
                <a:cubicBezTo>
                  <a:pt x="329253" y="125658"/>
                  <a:pt x="347591" y="143996"/>
                  <a:pt x="347591" y="166616"/>
                </a:cubicBezTo>
                <a:cubicBezTo>
                  <a:pt x="347591" y="189236"/>
                  <a:pt x="329253" y="207574"/>
                  <a:pt x="306633" y="207574"/>
                </a:cubicBezTo>
                <a:cubicBezTo>
                  <a:pt x="284013" y="207574"/>
                  <a:pt x="265675" y="189236"/>
                  <a:pt x="265675" y="166616"/>
                </a:cubicBezTo>
                <a:cubicBezTo>
                  <a:pt x="265675" y="143996"/>
                  <a:pt x="284013" y="125658"/>
                  <a:pt x="306633" y="125658"/>
                </a:cubicBezTo>
                <a:close/>
                <a:moveTo>
                  <a:pt x="164711" y="125658"/>
                </a:moveTo>
                <a:cubicBezTo>
                  <a:pt x="187331" y="125658"/>
                  <a:pt x="205669" y="143996"/>
                  <a:pt x="205669" y="166616"/>
                </a:cubicBezTo>
                <a:cubicBezTo>
                  <a:pt x="205669" y="189236"/>
                  <a:pt x="187331" y="207574"/>
                  <a:pt x="164711" y="207574"/>
                </a:cubicBezTo>
                <a:cubicBezTo>
                  <a:pt x="142091" y="207574"/>
                  <a:pt x="123753" y="189236"/>
                  <a:pt x="123753" y="166616"/>
                </a:cubicBezTo>
                <a:cubicBezTo>
                  <a:pt x="123753" y="143996"/>
                  <a:pt x="142091" y="125658"/>
                  <a:pt x="164711" y="125658"/>
                </a:cubicBezTo>
                <a:close/>
                <a:moveTo>
                  <a:pt x="22789" y="125658"/>
                </a:moveTo>
                <a:cubicBezTo>
                  <a:pt x="45409" y="125658"/>
                  <a:pt x="63747" y="143996"/>
                  <a:pt x="63747" y="166616"/>
                </a:cubicBezTo>
                <a:cubicBezTo>
                  <a:pt x="63747" y="189236"/>
                  <a:pt x="45409" y="207574"/>
                  <a:pt x="22789" y="207574"/>
                </a:cubicBezTo>
                <a:lnTo>
                  <a:pt x="0" y="198134"/>
                </a:lnTo>
                <a:lnTo>
                  <a:pt x="0" y="135098"/>
                </a:lnTo>
                <a:close/>
                <a:moveTo>
                  <a:pt x="590479" y="125658"/>
                </a:moveTo>
                <a:cubicBezTo>
                  <a:pt x="613099" y="125658"/>
                  <a:pt x="631437" y="143996"/>
                  <a:pt x="631437" y="166616"/>
                </a:cubicBezTo>
                <a:cubicBezTo>
                  <a:pt x="631437" y="189236"/>
                  <a:pt x="613099" y="207574"/>
                  <a:pt x="590479" y="207574"/>
                </a:cubicBezTo>
                <a:cubicBezTo>
                  <a:pt x="567859" y="207574"/>
                  <a:pt x="549521" y="189236"/>
                  <a:pt x="549521" y="166616"/>
                </a:cubicBezTo>
                <a:cubicBezTo>
                  <a:pt x="549521" y="143996"/>
                  <a:pt x="567859" y="125658"/>
                  <a:pt x="590479" y="125658"/>
                </a:cubicBezTo>
                <a:close/>
                <a:moveTo>
                  <a:pt x="553042" y="0"/>
                </a:moveTo>
                <a:lnTo>
                  <a:pt x="627916" y="0"/>
                </a:lnTo>
                <a:lnTo>
                  <a:pt x="631437" y="8501"/>
                </a:lnTo>
                <a:cubicBezTo>
                  <a:pt x="631437" y="31121"/>
                  <a:pt x="613099" y="49459"/>
                  <a:pt x="590479" y="49459"/>
                </a:cubicBezTo>
                <a:cubicBezTo>
                  <a:pt x="567859" y="49459"/>
                  <a:pt x="549521" y="31121"/>
                  <a:pt x="549521" y="8501"/>
                </a:cubicBezTo>
                <a:close/>
                <a:moveTo>
                  <a:pt x="411118" y="0"/>
                </a:moveTo>
                <a:lnTo>
                  <a:pt x="485992" y="0"/>
                </a:lnTo>
                <a:lnTo>
                  <a:pt x="489513" y="8501"/>
                </a:lnTo>
                <a:cubicBezTo>
                  <a:pt x="489513" y="31121"/>
                  <a:pt x="471175" y="49459"/>
                  <a:pt x="448555" y="49459"/>
                </a:cubicBezTo>
                <a:cubicBezTo>
                  <a:pt x="425935" y="49459"/>
                  <a:pt x="407597" y="31121"/>
                  <a:pt x="407597" y="8501"/>
                </a:cubicBezTo>
                <a:close/>
                <a:moveTo>
                  <a:pt x="269196" y="0"/>
                </a:moveTo>
                <a:lnTo>
                  <a:pt x="344070" y="0"/>
                </a:lnTo>
                <a:lnTo>
                  <a:pt x="347591" y="8501"/>
                </a:lnTo>
                <a:cubicBezTo>
                  <a:pt x="347591" y="31121"/>
                  <a:pt x="329253" y="49459"/>
                  <a:pt x="306633" y="49459"/>
                </a:cubicBezTo>
                <a:cubicBezTo>
                  <a:pt x="284013" y="49459"/>
                  <a:pt x="265675" y="31121"/>
                  <a:pt x="265675" y="8501"/>
                </a:cubicBezTo>
                <a:close/>
                <a:moveTo>
                  <a:pt x="127274" y="0"/>
                </a:moveTo>
                <a:lnTo>
                  <a:pt x="202148" y="0"/>
                </a:lnTo>
                <a:lnTo>
                  <a:pt x="205669" y="8501"/>
                </a:lnTo>
                <a:cubicBezTo>
                  <a:pt x="205669" y="31121"/>
                  <a:pt x="187331" y="49459"/>
                  <a:pt x="164711" y="49459"/>
                </a:cubicBezTo>
                <a:cubicBezTo>
                  <a:pt x="142091" y="49459"/>
                  <a:pt x="123753" y="31121"/>
                  <a:pt x="123753" y="8501"/>
                </a:cubicBezTo>
                <a:close/>
                <a:moveTo>
                  <a:pt x="0" y="0"/>
                </a:moveTo>
                <a:lnTo>
                  <a:pt x="60226" y="0"/>
                </a:lnTo>
                <a:lnTo>
                  <a:pt x="63747" y="8501"/>
                </a:lnTo>
                <a:cubicBezTo>
                  <a:pt x="63747" y="31121"/>
                  <a:pt x="45409" y="49459"/>
                  <a:pt x="22789" y="49459"/>
                </a:cubicBezTo>
                <a:lnTo>
                  <a:pt x="0" y="40019"/>
                </a:lnTo>
                <a:close/>
              </a:path>
            </a:pathLst>
          </a:custGeom>
          <a:gradFill flip="none" rotWithShape="1">
            <a:gsLst>
              <a:gs pos="6000">
                <a:srgbClr val="FE832C"/>
              </a:gs>
              <a:gs pos="61000">
                <a:srgbClr val="FFCEAB"/>
              </a:gs>
              <a:gs pos="0">
                <a:srgbClr val="EA5504"/>
              </a:gs>
              <a:gs pos="100000">
                <a:srgbClr val="FBE9D5"/>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dirty="0">
              <a:latin typeface="微软雅黑" panose="020B0503020204020204" pitchFamily="34" charset="-122"/>
              <a:ea typeface="微软雅黑" panose="020B0503020204020204" pitchFamily="34" charset="-122"/>
            </a:endParaRPr>
          </a:p>
        </p:txBody>
      </p:sp>
      <p:grpSp>
        <p:nvGrpSpPr>
          <p:cNvPr id="14" name="组合 13"/>
          <p:cNvGrpSpPr/>
          <p:nvPr userDrawn="1"/>
        </p:nvGrpSpPr>
        <p:grpSpPr>
          <a:xfrm>
            <a:off x="741424" y="571834"/>
            <a:ext cx="2812005" cy="468667"/>
            <a:chOff x="660400" y="492126"/>
            <a:chExt cx="3257550" cy="542924"/>
          </a:xfrm>
        </p:grpSpPr>
        <p:sp>
          <p:nvSpPr>
            <p:cNvPr id="15" name="Freeform 5"/>
            <p:cNvSpPr>
              <a:spLocks noEditPoints="1"/>
            </p:cNvSpPr>
            <p:nvPr/>
          </p:nvSpPr>
          <p:spPr bwMode="auto">
            <a:xfrm>
              <a:off x="660400" y="492126"/>
              <a:ext cx="3257550" cy="285750"/>
            </a:xfrm>
            <a:custGeom>
              <a:avLst/>
              <a:gdLst>
                <a:gd name="T0" fmla="*/ 1282 w 1998"/>
                <a:gd name="T1" fmla="*/ 16 h 174"/>
                <a:gd name="T2" fmla="*/ 1247 w 1998"/>
                <a:gd name="T3" fmla="*/ 166 h 174"/>
                <a:gd name="T4" fmla="*/ 1376 w 1998"/>
                <a:gd name="T5" fmla="*/ 167 h 174"/>
                <a:gd name="T6" fmla="*/ 1409 w 1998"/>
                <a:gd name="T7" fmla="*/ 17 h 174"/>
                <a:gd name="T8" fmla="*/ 1184 w 1998"/>
                <a:gd name="T9" fmla="*/ 166 h 174"/>
                <a:gd name="T10" fmla="*/ 1214 w 1998"/>
                <a:gd name="T11" fmla="*/ 13 h 174"/>
                <a:gd name="T12" fmla="*/ 1122 w 1998"/>
                <a:gd name="T13" fmla="*/ 41 h 174"/>
                <a:gd name="T14" fmla="*/ 1007 w 1998"/>
                <a:gd name="T15" fmla="*/ 17 h 174"/>
                <a:gd name="T16" fmla="*/ 1042 w 1998"/>
                <a:gd name="T17" fmla="*/ 122 h 174"/>
                <a:gd name="T18" fmla="*/ 1994 w 1998"/>
                <a:gd name="T19" fmla="*/ 13 h 174"/>
                <a:gd name="T20" fmla="*/ 1863 w 1998"/>
                <a:gd name="T21" fmla="*/ 13 h 174"/>
                <a:gd name="T22" fmla="*/ 1840 w 1998"/>
                <a:gd name="T23" fmla="*/ 170 h 174"/>
                <a:gd name="T24" fmla="*/ 1971 w 1998"/>
                <a:gd name="T25" fmla="*/ 170 h 174"/>
                <a:gd name="T26" fmla="*/ 1994 w 1998"/>
                <a:gd name="T27" fmla="*/ 13 h 174"/>
                <a:gd name="T28" fmla="*/ 1488 w 1998"/>
                <a:gd name="T29" fmla="*/ 172 h 174"/>
                <a:gd name="T30" fmla="*/ 1513 w 1998"/>
                <a:gd name="T31" fmla="*/ 104 h 174"/>
                <a:gd name="T32" fmla="*/ 1471 w 1998"/>
                <a:gd name="T33" fmla="*/ 142 h 174"/>
                <a:gd name="T34" fmla="*/ 1562 w 1998"/>
                <a:gd name="T35" fmla="*/ 44 h 174"/>
                <a:gd name="T36" fmla="*/ 1596 w 1998"/>
                <a:gd name="T37" fmla="*/ 58 h 174"/>
                <a:gd name="T38" fmla="*/ 767 w 1998"/>
                <a:gd name="T39" fmla="*/ 112 h 174"/>
                <a:gd name="T40" fmla="*/ 894 w 1998"/>
                <a:gd name="T41" fmla="*/ 65 h 174"/>
                <a:gd name="T42" fmla="*/ 832 w 1998"/>
                <a:gd name="T43" fmla="*/ 51 h 174"/>
                <a:gd name="T44" fmla="*/ 731 w 1998"/>
                <a:gd name="T45" fmla="*/ 48 h 174"/>
                <a:gd name="T46" fmla="*/ 692 w 1998"/>
                <a:gd name="T47" fmla="*/ 85 h 174"/>
                <a:gd name="T48" fmla="*/ 767 w 1998"/>
                <a:gd name="T49" fmla="*/ 138 h 174"/>
                <a:gd name="T50" fmla="*/ 700 w 1998"/>
                <a:gd name="T51" fmla="*/ 170 h 174"/>
                <a:gd name="T52" fmla="*/ 859 w 1998"/>
                <a:gd name="T53" fmla="*/ 170 h 174"/>
                <a:gd name="T54" fmla="*/ 859 w 1998"/>
                <a:gd name="T55" fmla="*/ 146 h 174"/>
                <a:gd name="T56" fmla="*/ 894 w 1998"/>
                <a:gd name="T57" fmla="*/ 89 h 174"/>
                <a:gd name="T58" fmla="*/ 1740 w 1998"/>
                <a:gd name="T59" fmla="*/ 13 h 174"/>
                <a:gd name="T60" fmla="*/ 1663 w 1998"/>
                <a:gd name="T61" fmla="*/ 170 h 174"/>
                <a:gd name="T62" fmla="*/ 1816 w 1998"/>
                <a:gd name="T63" fmla="*/ 170 h 174"/>
                <a:gd name="T64" fmla="*/ 597 w 1998"/>
                <a:gd name="T65" fmla="*/ 98 h 174"/>
                <a:gd name="T66" fmla="*/ 654 w 1998"/>
                <a:gd name="T67" fmla="*/ 46 h 174"/>
                <a:gd name="T68" fmla="*/ 416 w 1998"/>
                <a:gd name="T69" fmla="*/ 28 h 174"/>
                <a:gd name="T70" fmla="*/ 239 w 1998"/>
                <a:gd name="T71" fmla="*/ 148 h 174"/>
                <a:gd name="T72" fmla="*/ 423 w 1998"/>
                <a:gd name="T73" fmla="*/ 6 h 174"/>
                <a:gd name="T74" fmla="*/ 872 w 1998"/>
                <a:gd name="T75" fmla="*/ 34 h 174"/>
                <a:gd name="T76" fmla="*/ 897 w 1998"/>
                <a:gd name="T77" fmla="*/ 32 h 174"/>
                <a:gd name="T78" fmla="*/ 782 w 1998"/>
                <a:gd name="T79" fmla="*/ 0 h 174"/>
                <a:gd name="T80" fmla="*/ 693 w 1998"/>
                <a:gd name="T81" fmla="*/ 45 h 174"/>
                <a:gd name="T82" fmla="*/ 179 w 1998"/>
                <a:gd name="T83" fmla="*/ 49 h 174"/>
                <a:gd name="T84" fmla="*/ 88 w 1998"/>
                <a:gd name="T85" fmla="*/ 49 h 174"/>
                <a:gd name="T86" fmla="*/ 118 w 1998"/>
                <a:gd name="T87" fmla="*/ 1 h 174"/>
                <a:gd name="T88" fmla="*/ 0 w 1998"/>
                <a:gd name="T89" fmla="*/ 46 h 174"/>
                <a:gd name="T90" fmla="*/ 91 w 1998"/>
                <a:gd name="T91" fmla="*/ 174 h 174"/>
                <a:gd name="T92" fmla="*/ 210 w 1998"/>
                <a:gd name="T93" fmla="*/ 118 h 174"/>
                <a:gd name="T94" fmla="*/ 379 w 1998"/>
                <a:gd name="T95" fmla="*/ 112 h 174"/>
                <a:gd name="T96" fmla="*/ 357 w 1998"/>
                <a:gd name="T97" fmla="*/ 75 h 174"/>
                <a:gd name="T98" fmla="*/ 284 w 1998"/>
                <a:gd name="T99" fmla="*/ 61 h 174"/>
                <a:gd name="T100" fmla="*/ 328 w 1998"/>
                <a:gd name="T101" fmla="*/ 93 h 174"/>
                <a:gd name="T102" fmla="*/ 401 w 1998"/>
                <a:gd name="T103" fmla="*/ 104 h 174"/>
                <a:gd name="T104" fmla="*/ 512 w 1998"/>
                <a:gd name="T105" fmla="*/ 46 h 174"/>
                <a:gd name="T106" fmla="*/ 669 w 1998"/>
                <a:gd name="T107" fmla="*/ 115 h 174"/>
                <a:gd name="T108" fmla="*/ 666 w 1998"/>
                <a:gd name="T109" fmla="*/ 14 h 174"/>
                <a:gd name="T110" fmla="*/ 479 w 1998"/>
                <a:gd name="T111" fmla="*/ 33 h 174"/>
                <a:gd name="T112" fmla="*/ 469 w 1998"/>
                <a:gd name="T113" fmla="*/ 135 h 174"/>
                <a:gd name="T114" fmla="*/ 583 w 1998"/>
                <a:gd name="T115" fmla="*/ 174 h 174"/>
                <a:gd name="T116" fmla="*/ 673 w 1998"/>
                <a:gd name="T117" fmla="*/ 119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98" h="174">
                  <a:moveTo>
                    <a:pt x="1405" y="13"/>
                  </a:moveTo>
                  <a:cubicBezTo>
                    <a:pt x="1382" y="13"/>
                    <a:pt x="1382" y="13"/>
                    <a:pt x="1382" y="13"/>
                  </a:cubicBezTo>
                  <a:cubicBezTo>
                    <a:pt x="1379" y="13"/>
                    <a:pt x="1378" y="15"/>
                    <a:pt x="1378" y="17"/>
                  </a:cubicBezTo>
                  <a:cubicBezTo>
                    <a:pt x="1378" y="125"/>
                    <a:pt x="1378" y="125"/>
                    <a:pt x="1378" y="125"/>
                  </a:cubicBezTo>
                  <a:cubicBezTo>
                    <a:pt x="1365" y="111"/>
                    <a:pt x="1284" y="18"/>
                    <a:pt x="1282" y="16"/>
                  </a:cubicBezTo>
                  <a:cubicBezTo>
                    <a:pt x="1279" y="13"/>
                    <a:pt x="1276" y="13"/>
                    <a:pt x="1275" y="13"/>
                  </a:cubicBezTo>
                  <a:cubicBezTo>
                    <a:pt x="1275" y="13"/>
                    <a:pt x="1275" y="13"/>
                    <a:pt x="1275" y="13"/>
                  </a:cubicBezTo>
                  <a:cubicBezTo>
                    <a:pt x="1251" y="13"/>
                    <a:pt x="1251" y="13"/>
                    <a:pt x="1251" y="13"/>
                  </a:cubicBezTo>
                  <a:cubicBezTo>
                    <a:pt x="1249" y="13"/>
                    <a:pt x="1247" y="15"/>
                    <a:pt x="1247" y="17"/>
                  </a:cubicBezTo>
                  <a:cubicBezTo>
                    <a:pt x="1247" y="166"/>
                    <a:pt x="1247" y="166"/>
                    <a:pt x="1247" y="166"/>
                  </a:cubicBezTo>
                  <a:cubicBezTo>
                    <a:pt x="1247" y="168"/>
                    <a:pt x="1249" y="170"/>
                    <a:pt x="1251" y="170"/>
                  </a:cubicBezTo>
                  <a:cubicBezTo>
                    <a:pt x="1275" y="170"/>
                    <a:pt x="1275" y="170"/>
                    <a:pt x="1275" y="170"/>
                  </a:cubicBezTo>
                  <a:cubicBezTo>
                    <a:pt x="1277" y="170"/>
                    <a:pt x="1279" y="168"/>
                    <a:pt x="1279" y="166"/>
                  </a:cubicBezTo>
                  <a:cubicBezTo>
                    <a:pt x="1279" y="57"/>
                    <a:pt x="1279" y="57"/>
                    <a:pt x="1279" y="57"/>
                  </a:cubicBezTo>
                  <a:cubicBezTo>
                    <a:pt x="1287" y="67"/>
                    <a:pt x="1373" y="165"/>
                    <a:pt x="1376" y="167"/>
                  </a:cubicBezTo>
                  <a:cubicBezTo>
                    <a:pt x="1378" y="169"/>
                    <a:pt x="1381" y="170"/>
                    <a:pt x="1383" y="170"/>
                  </a:cubicBezTo>
                  <a:cubicBezTo>
                    <a:pt x="1383" y="170"/>
                    <a:pt x="1383" y="170"/>
                    <a:pt x="1383" y="170"/>
                  </a:cubicBezTo>
                  <a:cubicBezTo>
                    <a:pt x="1405" y="170"/>
                    <a:pt x="1405" y="170"/>
                    <a:pt x="1405" y="170"/>
                  </a:cubicBezTo>
                  <a:cubicBezTo>
                    <a:pt x="1407" y="170"/>
                    <a:pt x="1409" y="168"/>
                    <a:pt x="1409" y="166"/>
                  </a:cubicBezTo>
                  <a:cubicBezTo>
                    <a:pt x="1409" y="17"/>
                    <a:pt x="1409" y="17"/>
                    <a:pt x="1409" y="17"/>
                  </a:cubicBezTo>
                  <a:cubicBezTo>
                    <a:pt x="1409" y="15"/>
                    <a:pt x="1407" y="13"/>
                    <a:pt x="1405" y="13"/>
                  </a:cubicBezTo>
                  <a:moveTo>
                    <a:pt x="1214" y="13"/>
                  </a:moveTo>
                  <a:cubicBezTo>
                    <a:pt x="1188" y="13"/>
                    <a:pt x="1188" y="13"/>
                    <a:pt x="1188" y="13"/>
                  </a:cubicBezTo>
                  <a:cubicBezTo>
                    <a:pt x="1186" y="13"/>
                    <a:pt x="1184" y="15"/>
                    <a:pt x="1184" y="17"/>
                  </a:cubicBezTo>
                  <a:cubicBezTo>
                    <a:pt x="1184" y="166"/>
                    <a:pt x="1184" y="166"/>
                    <a:pt x="1184" y="166"/>
                  </a:cubicBezTo>
                  <a:cubicBezTo>
                    <a:pt x="1184" y="168"/>
                    <a:pt x="1186" y="170"/>
                    <a:pt x="1188" y="170"/>
                  </a:cubicBezTo>
                  <a:cubicBezTo>
                    <a:pt x="1214" y="170"/>
                    <a:pt x="1214" y="170"/>
                    <a:pt x="1214" y="170"/>
                  </a:cubicBezTo>
                  <a:cubicBezTo>
                    <a:pt x="1216" y="170"/>
                    <a:pt x="1218" y="168"/>
                    <a:pt x="1218" y="166"/>
                  </a:cubicBezTo>
                  <a:cubicBezTo>
                    <a:pt x="1218" y="17"/>
                    <a:pt x="1218" y="17"/>
                    <a:pt x="1218" y="17"/>
                  </a:cubicBezTo>
                  <a:cubicBezTo>
                    <a:pt x="1218" y="15"/>
                    <a:pt x="1216" y="13"/>
                    <a:pt x="1214" y="13"/>
                  </a:cubicBezTo>
                  <a:moveTo>
                    <a:pt x="1125" y="91"/>
                  </a:moveTo>
                  <a:cubicBezTo>
                    <a:pt x="1125" y="93"/>
                    <a:pt x="1124" y="94"/>
                    <a:pt x="1122" y="94"/>
                  </a:cubicBezTo>
                  <a:cubicBezTo>
                    <a:pt x="1042" y="94"/>
                    <a:pt x="1042" y="94"/>
                    <a:pt x="1042" y="94"/>
                  </a:cubicBezTo>
                  <a:cubicBezTo>
                    <a:pt x="1042" y="41"/>
                    <a:pt x="1042" y="41"/>
                    <a:pt x="1042" y="41"/>
                  </a:cubicBezTo>
                  <a:cubicBezTo>
                    <a:pt x="1122" y="41"/>
                    <a:pt x="1122" y="41"/>
                    <a:pt x="1122" y="41"/>
                  </a:cubicBezTo>
                  <a:cubicBezTo>
                    <a:pt x="1124" y="41"/>
                    <a:pt x="1125" y="42"/>
                    <a:pt x="1125" y="44"/>
                  </a:cubicBezTo>
                  <a:lnTo>
                    <a:pt x="1125" y="91"/>
                  </a:lnTo>
                  <a:close/>
                  <a:moveTo>
                    <a:pt x="1108" y="13"/>
                  </a:moveTo>
                  <a:cubicBezTo>
                    <a:pt x="1011" y="13"/>
                    <a:pt x="1011" y="13"/>
                    <a:pt x="1011" y="13"/>
                  </a:cubicBezTo>
                  <a:cubicBezTo>
                    <a:pt x="1009" y="13"/>
                    <a:pt x="1007" y="15"/>
                    <a:pt x="1007" y="17"/>
                  </a:cubicBezTo>
                  <a:cubicBezTo>
                    <a:pt x="1007" y="166"/>
                    <a:pt x="1007" y="166"/>
                    <a:pt x="1007" y="166"/>
                  </a:cubicBezTo>
                  <a:cubicBezTo>
                    <a:pt x="1007" y="168"/>
                    <a:pt x="1009" y="170"/>
                    <a:pt x="1011" y="170"/>
                  </a:cubicBezTo>
                  <a:cubicBezTo>
                    <a:pt x="1038" y="170"/>
                    <a:pt x="1038" y="170"/>
                    <a:pt x="1038" y="170"/>
                  </a:cubicBezTo>
                  <a:cubicBezTo>
                    <a:pt x="1040" y="170"/>
                    <a:pt x="1042" y="168"/>
                    <a:pt x="1042" y="166"/>
                  </a:cubicBezTo>
                  <a:cubicBezTo>
                    <a:pt x="1042" y="122"/>
                    <a:pt x="1042" y="122"/>
                    <a:pt x="1042" y="122"/>
                  </a:cubicBezTo>
                  <a:cubicBezTo>
                    <a:pt x="1108" y="122"/>
                    <a:pt x="1108" y="122"/>
                    <a:pt x="1108" y="122"/>
                  </a:cubicBezTo>
                  <a:cubicBezTo>
                    <a:pt x="1137" y="122"/>
                    <a:pt x="1161" y="104"/>
                    <a:pt x="1161" y="78"/>
                  </a:cubicBezTo>
                  <a:cubicBezTo>
                    <a:pt x="1161" y="61"/>
                    <a:pt x="1161" y="61"/>
                    <a:pt x="1161" y="61"/>
                  </a:cubicBezTo>
                  <a:cubicBezTo>
                    <a:pt x="1161" y="34"/>
                    <a:pt x="1137" y="13"/>
                    <a:pt x="1108" y="13"/>
                  </a:cubicBezTo>
                  <a:moveTo>
                    <a:pt x="1994" y="13"/>
                  </a:moveTo>
                  <a:cubicBezTo>
                    <a:pt x="1970" y="13"/>
                    <a:pt x="1970" y="13"/>
                    <a:pt x="1970" y="13"/>
                  </a:cubicBezTo>
                  <a:cubicBezTo>
                    <a:pt x="1968" y="13"/>
                    <a:pt x="1967" y="15"/>
                    <a:pt x="1967" y="17"/>
                  </a:cubicBezTo>
                  <a:cubicBezTo>
                    <a:pt x="1967" y="125"/>
                    <a:pt x="1967" y="125"/>
                    <a:pt x="1967" y="125"/>
                  </a:cubicBezTo>
                  <a:cubicBezTo>
                    <a:pt x="1954" y="111"/>
                    <a:pt x="1872" y="18"/>
                    <a:pt x="1870" y="16"/>
                  </a:cubicBezTo>
                  <a:cubicBezTo>
                    <a:pt x="1868" y="13"/>
                    <a:pt x="1865" y="13"/>
                    <a:pt x="1863" y="13"/>
                  </a:cubicBezTo>
                  <a:cubicBezTo>
                    <a:pt x="1863" y="13"/>
                    <a:pt x="1863" y="13"/>
                    <a:pt x="1863" y="13"/>
                  </a:cubicBezTo>
                  <a:cubicBezTo>
                    <a:pt x="1840" y="13"/>
                    <a:pt x="1840" y="13"/>
                    <a:pt x="1840" y="13"/>
                  </a:cubicBezTo>
                  <a:cubicBezTo>
                    <a:pt x="1838" y="13"/>
                    <a:pt x="1836" y="15"/>
                    <a:pt x="1836" y="17"/>
                  </a:cubicBezTo>
                  <a:cubicBezTo>
                    <a:pt x="1836" y="166"/>
                    <a:pt x="1836" y="166"/>
                    <a:pt x="1836" y="166"/>
                  </a:cubicBezTo>
                  <a:cubicBezTo>
                    <a:pt x="1836" y="168"/>
                    <a:pt x="1838" y="170"/>
                    <a:pt x="1840" y="170"/>
                  </a:cubicBezTo>
                  <a:cubicBezTo>
                    <a:pt x="1864" y="170"/>
                    <a:pt x="1864" y="170"/>
                    <a:pt x="1864" y="170"/>
                  </a:cubicBezTo>
                  <a:cubicBezTo>
                    <a:pt x="1866" y="170"/>
                    <a:pt x="1867" y="168"/>
                    <a:pt x="1867" y="166"/>
                  </a:cubicBezTo>
                  <a:cubicBezTo>
                    <a:pt x="1867" y="57"/>
                    <a:pt x="1867" y="57"/>
                    <a:pt x="1867" y="57"/>
                  </a:cubicBezTo>
                  <a:cubicBezTo>
                    <a:pt x="1876" y="67"/>
                    <a:pt x="1962" y="165"/>
                    <a:pt x="1964" y="167"/>
                  </a:cubicBezTo>
                  <a:cubicBezTo>
                    <a:pt x="1967" y="169"/>
                    <a:pt x="1969" y="170"/>
                    <a:pt x="1971" y="170"/>
                  </a:cubicBezTo>
                  <a:cubicBezTo>
                    <a:pt x="1971" y="170"/>
                    <a:pt x="1971" y="170"/>
                    <a:pt x="1971" y="170"/>
                  </a:cubicBezTo>
                  <a:cubicBezTo>
                    <a:pt x="1994" y="170"/>
                    <a:pt x="1994" y="170"/>
                    <a:pt x="1994" y="170"/>
                  </a:cubicBezTo>
                  <a:cubicBezTo>
                    <a:pt x="1996" y="170"/>
                    <a:pt x="1998" y="168"/>
                    <a:pt x="1998" y="166"/>
                  </a:cubicBezTo>
                  <a:cubicBezTo>
                    <a:pt x="1998" y="17"/>
                    <a:pt x="1998" y="17"/>
                    <a:pt x="1998" y="17"/>
                  </a:cubicBezTo>
                  <a:cubicBezTo>
                    <a:pt x="1998" y="15"/>
                    <a:pt x="1996" y="13"/>
                    <a:pt x="1994" y="13"/>
                  </a:cubicBezTo>
                  <a:moveTo>
                    <a:pt x="1542" y="11"/>
                  </a:moveTo>
                  <a:cubicBezTo>
                    <a:pt x="1488" y="11"/>
                    <a:pt x="1488" y="11"/>
                    <a:pt x="1488" y="11"/>
                  </a:cubicBezTo>
                  <a:cubicBezTo>
                    <a:pt x="1458" y="11"/>
                    <a:pt x="1434" y="32"/>
                    <a:pt x="1434" y="58"/>
                  </a:cubicBezTo>
                  <a:cubicBezTo>
                    <a:pt x="1434" y="124"/>
                    <a:pt x="1434" y="124"/>
                    <a:pt x="1434" y="124"/>
                  </a:cubicBezTo>
                  <a:cubicBezTo>
                    <a:pt x="1434" y="150"/>
                    <a:pt x="1458" y="172"/>
                    <a:pt x="1488" y="172"/>
                  </a:cubicBezTo>
                  <a:cubicBezTo>
                    <a:pt x="1542" y="172"/>
                    <a:pt x="1542" y="172"/>
                    <a:pt x="1542" y="172"/>
                  </a:cubicBezTo>
                  <a:cubicBezTo>
                    <a:pt x="1572" y="172"/>
                    <a:pt x="1596" y="150"/>
                    <a:pt x="1596" y="124"/>
                  </a:cubicBezTo>
                  <a:cubicBezTo>
                    <a:pt x="1596" y="82"/>
                    <a:pt x="1596" y="82"/>
                    <a:pt x="1596" y="82"/>
                  </a:cubicBezTo>
                  <a:cubicBezTo>
                    <a:pt x="1513" y="82"/>
                    <a:pt x="1513" y="82"/>
                    <a:pt x="1513" y="82"/>
                  </a:cubicBezTo>
                  <a:cubicBezTo>
                    <a:pt x="1513" y="104"/>
                    <a:pt x="1513" y="104"/>
                    <a:pt x="1513" y="104"/>
                  </a:cubicBezTo>
                  <a:cubicBezTo>
                    <a:pt x="1513" y="106"/>
                    <a:pt x="1515" y="108"/>
                    <a:pt x="1517" y="108"/>
                  </a:cubicBezTo>
                  <a:cubicBezTo>
                    <a:pt x="1562" y="108"/>
                    <a:pt x="1562" y="108"/>
                    <a:pt x="1562" y="108"/>
                  </a:cubicBezTo>
                  <a:cubicBezTo>
                    <a:pt x="1562" y="138"/>
                    <a:pt x="1562" y="138"/>
                    <a:pt x="1562" y="138"/>
                  </a:cubicBezTo>
                  <a:cubicBezTo>
                    <a:pt x="1562" y="140"/>
                    <a:pt x="1560" y="142"/>
                    <a:pt x="1558" y="142"/>
                  </a:cubicBezTo>
                  <a:cubicBezTo>
                    <a:pt x="1471" y="142"/>
                    <a:pt x="1471" y="142"/>
                    <a:pt x="1471" y="142"/>
                  </a:cubicBezTo>
                  <a:cubicBezTo>
                    <a:pt x="1469" y="142"/>
                    <a:pt x="1468" y="140"/>
                    <a:pt x="1468" y="138"/>
                  </a:cubicBezTo>
                  <a:cubicBezTo>
                    <a:pt x="1468" y="44"/>
                    <a:pt x="1468" y="44"/>
                    <a:pt x="1468" y="44"/>
                  </a:cubicBezTo>
                  <a:cubicBezTo>
                    <a:pt x="1468" y="42"/>
                    <a:pt x="1469" y="41"/>
                    <a:pt x="1471" y="41"/>
                  </a:cubicBezTo>
                  <a:cubicBezTo>
                    <a:pt x="1558" y="41"/>
                    <a:pt x="1558" y="41"/>
                    <a:pt x="1558" y="41"/>
                  </a:cubicBezTo>
                  <a:cubicBezTo>
                    <a:pt x="1560" y="41"/>
                    <a:pt x="1562" y="42"/>
                    <a:pt x="1562" y="44"/>
                  </a:cubicBezTo>
                  <a:cubicBezTo>
                    <a:pt x="1562" y="62"/>
                    <a:pt x="1562" y="62"/>
                    <a:pt x="1562" y="62"/>
                  </a:cubicBezTo>
                  <a:cubicBezTo>
                    <a:pt x="1562" y="64"/>
                    <a:pt x="1564" y="66"/>
                    <a:pt x="1566" y="66"/>
                  </a:cubicBezTo>
                  <a:cubicBezTo>
                    <a:pt x="1592" y="66"/>
                    <a:pt x="1592" y="66"/>
                    <a:pt x="1592" y="66"/>
                  </a:cubicBezTo>
                  <a:cubicBezTo>
                    <a:pt x="1594" y="66"/>
                    <a:pt x="1596" y="64"/>
                    <a:pt x="1596" y="62"/>
                  </a:cubicBezTo>
                  <a:cubicBezTo>
                    <a:pt x="1596" y="58"/>
                    <a:pt x="1596" y="58"/>
                    <a:pt x="1596" y="58"/>
                  </a:cubicBezTo>
                  <a:cubicBezTo>
                    <a:pt x="1596" y="32"/>
                    <a:pt x="1572" y="11"/>
                    <a:pt x="1542" y="11"/>
                  </a:cubicBezTo>
                  <a:moveTo>
                    <a:pt x="832" y="96"/>
                  </a:moveTo>
                  <a:cubicBezTo>
                    <a:pt x="832" y="103"/>
                    <a:pt x="831" y="108"/>
                    <a:pt x="823" y="112"/>
                  </a:cubicBezTo>
                  <a:cubicBezTo>
                    <a:pt x="816" y="115"/>
                    <a:pt x="805" y="121"/>
                    <a:pt x="795" y="125"/>
                  </a:cubicBezTo>
                  <a:cubicBezTo>
                    <a:pt x="785" y="121"/>
                    <a:pt x="774" y="115"/>
                    <a:pt x="767" y="112"/>
                  </a:cubicBezTo>
                  <a:cubicBezTo>
                    <a:pt x="758" y="108"/>
                    <a:pt x="757" y="103"/>
                    <a:pt x="757" y="96"/>
                  </a:cubicBezTo>
                  <a:cubicBezTo>
                    <a:pt x="757" y="89"/>
                    <a:pt x="757" y="89"/>
                    <a:pt x="757" y="89"/>
                  </a:cubicBezTo>
                  <a:cubicBezTo>
                    <a:pt x="832" y="89"/>
                    <a:pt x="832" y="89"/>
                    <a:pt x="832" y="89"/>
                  </a:cubicBezTo>
                  <a:lnTo>
                    <a:pt x="832" y="96"/>
                  </a:lnTo>
                  <a:close/>
                  <a:moveTo>
                    <a:pt x="894" y="65"/>
                  </a:moveTo>
                  <a:cubicBezTo>
                    <a:pt x="862" y="65"/>
                    <a:pt x="862" y="65"/>
                    <a:pt x="862" y="65"/>
                  </a:cubicBezTo>
                  <a:cubicBezTo>
                    <a:pt x="862" y="51"/>
                    <a:pt x="862" y="51"/>
                    <a:pt x="862" y="51"/>
                  </a:cubicBezTo>
                  <a:cubicBezTo>
                    <a:pt x="862" y="49"/>
                    <a:pt x="860" y="48"/>
                    <a:pt x="858" y="48"/>
                  </a:cubicBezTo>
                  <a:cubicBezTo>
                    <a:pt x="836" y="48"/>
                    <a:pt x="836" y="48"/>
                    <a:pt x="836" y="48"/>
                  </a:cubicBezTo>
                  <a:cubicBezTo>
                    <a:pt x="834" y="48"/>
                    <a:pt x="832" y="49"/>
                    <a:pt x="832" y="51"/>
                  </a:cubicBezTo>
                  <a:cubicBezTo>
                    <a:pt x="832" y="65"/>
                    <a:pt x="832" y="65"/>
                    <a:pt x="832" y="65"/>
                  </a:cubicBezTo>
                  <a:cubicBezTo>
                    <a:pt x="757" y="65"/>
                    <a:pt x="757" y="65"/>
                    <a:pt x="757" y="65"/>
                  </a:cubicBezTo>
                  <a:cubicBezTo>
                    <a:pt x="757" y="51"/>
                    <a:pt x="757" y="51"/>
                    <a:pt x="757" y="51"/>
                  </a:cubicBezTo>
                  <a:cubicBezTo>
                    <a:pt x="757" y="49"/>
                    <a:pt x="755" y="48"/>
                    <a:pt x="753" y="48"/>
                  </a:cubicBezTo>
                  <a:cubicBezTo>
                    <a:pt x="731" y="48"/>
                    <a:pt x="731" y="48"/>
                    <a:pt x="731" y="48"/>
                  </a:cubicBezTo>
                  <a:cubicBezTo>
                    <a:pt x="729" y="48"/>
                    <a:pt x="728" y="49"/>
                    <a:pt x="728" y="51"/>
                  </a:cubicBezTo>
                  <a:cubicBezTo>
                    <a:pt x="728" y="65"/>
                    <a:pt x="728" y="65"/>
                    <a:pt x="728" y="65"/>
                  </a:cubicBezTo>
                  <a:cubicBezTo>
                    <a:pt x="695" y="65"/>
                    <a:pt x="695" y="65"/>
                    <a:pt x="695" y="65"/>
                  </a:cubicBezTo>
                  <a:cubicBezTo>
                    <a:pt x="693" y="65"/>
                    <a:pt x="692" y="67"/>
                    <a:pt x="692" y="69"/>
                  </a:cubicBezTo>
                  <a:cubicBezTo>
                    <a:pt x="692" y="85"/>
                    <a:pt x="692" y="85"/>
                    <a:pt x="692" y="85"/>
                  </a:cubicBezTo>
                  <a:cubicBezTo>
                    <a:pt x="692" y="87"/>
                    <a:pt x="693" y="89"/>
                    <a:pt x="695" y="89"/>
                  </a:cubicBezTo>
                  <a:cubicBezTo>
                    <a:pt x="727" y="89"/>
                    <a:pt x="727" y="89"/>
                    <a:pt x="727" y="89"/>
                  </a:cubicBezTo>
                  <a:cubicBezTo>
                    <a:pt x="727" y="99"/>
                    <a:pt x="727" y="99"/>
                    <a:pt x="727" y="99"/>
                  </a:cubicBezTo>
                  <a:cubicBezTo>
                    <a:pt x="727" y="111"/>
                    <a:pt x="733" y="122"/>
                    <a:pt x="747" y="129"/>
                  </a:cubicBezTo>
                  <a:cubicBezTo>
                    <a:pt x="753" y="132"/>
                    <a:pt x="760" y="135"/>
                    <a:pt x="767" y="138"/>
                  </a:cubicBezTo>
                  <a:cubicBezTo>
                    <a:pt x="754" y="143"/>
                    <a:pt x="743" y="146"/>
                    <a:pt x="731" y="146"/>
                  </a:cubicBezTo>
                  <a:cubicBezTo>
                    <a:pt x="700" y="146"/>
                    <a:pt x="700" y="146"/>
                    <a:pt x="700" y="146"/>
                  </a:cubicBezTo>
                  <a:cubicBezTo>
                    <a:pt x="698" y="146"/>
                    <a:pt x="696" y="148"/>
                    <a:pt x="696" y="150"/>
                  </a:cubicBezTo>
                  <a:cubicBezTo>
                    <a:pt x="696" y="166"/>
                    <a:pt x="696" y="166"/>
                    <a:pt x="696" y="166"/>
                  </a:cubicBezTo>
                  <a:cubicBezTo>
                    <a:pt x="696" y="168"/>
                    <a:pt x="698" y="170"/>
                    <a:pt x="700" y="170"/>
                  </a:cubicBezTo>
                  <a:cubicBezTo>
                    <a:pt x="730" y="170"/>
                    <a:pt x="730" y="170"/>
                    <a:pt x="730" y="170"/>
                  </a:cubicBezTo>
                  <a:cubicBezTo>
                    <a:pt x="742" y="170"/>
                    <a:pt x="757" y="167"/>
                    <a:pt x="769" y="162"/>
                  </a:cubicBezTo>
                  <a:cubicBezTo>
                    <a:pt x="774" y="161"/>
                    <a:pt x="784" y="156"/>
                    <a:pt x="795" y="151"/>
                  </a:cubicBezTo>
                  <a:cubicBezTo>
                    <a:pt x="806" y="156"/>
                    <a:pt x="815" y="161"/>
                    <a:pt x="820" y="162"/>
                  </a:cubicBezTo>
                  <a:cubicBezTo>
                    <a:pt x="833" y="167"/>
                    <a:pt x="847" y="170"/>
                    <a:pt x="859" y="170"/>
                  </a:cubicBezTo>
                  <a:cubicBezTo>
                    <a:pt x="889" y="170"/>
                    <a:pt x="889" y="170"/>
                    <a:pt x="889" y="170"/>
                  </a:cubicBezTo>
                  <a:cubicBezTo>
                    <a:pt x="891" y="170"/>
                    <a:pt x="893" y="168"/>
                    <a:pt x="893" y="166"/>
                  </a:cubicBezTo>
                  <a:cubicBezTo>
                    <a:pt x="893" y="150"/>
                    <a:pt x="893" y="150"/>
                    <a:pt x="893" y="150"/>
                  </a:cubicBezTo>
                  <a:cubicBezTo>
                    <a:pt x="893" y="148"/>
                    <a:pt x="891" y="146"/>
                    <a:pt x="889" y="146"/>
                  </a:cubicBezTo>
                  <a:cubicBezTo>
                    <a:pt x="859" y="146"/>
                    <a:pt x="859" y="146"/>
                    <a:pt x="859" y="146"/>
                  </a:cubicBezTo>
                  <a:cubicBezTo>
                    <a:pt x="847" y="146"/>
                    <a:pt x="835" y="143"/>
                    <a:pt x="823" y="138"/>
                  </a:cubicBezTo>
                  <a:cubicBezTo>
                    <a:pt x="830" y="135"/>
                    <a:pt x="837" y="132"/>
                    <a:pt x="842" y="129"/>
                  </a:cubicBezTo>
                  <a:cubicBezTo>
                    <a:pt x="857" y="122"/>
                    <a:pt x="862" y="111"/>
                    <a:pt x="862" y="99"/>
                  </a:cubicBezTo>
                  <a:cubicBezTo>
                    <a:pt x="862" y="89"/>
                    <a:pt x="862" y="89"/>
                    <a:pt x="862" y="89"/>
                  </a:cubicBezTo>
                  <a:cubicBezTo>
                    <a:pt x="894" y="89"/>
                    <a:pt x="894" y="89"/>
                    <a:pt x="894" y="89"/>
                  </a:cubicBezTo>
                  <a:cubicBezTo>
                    <a:pt x="896" y="89"/>
                    <a:pt x="898" y="87"/>
                    <a:pt x="898" y="85"/>
                  </a:cubicBezTo>
                  <a:cubicBezTo>
                    <a:pt x="898" y="69"/>
                    <a:pt x="898" y="69"/>
                    <a:pt x="898" y="69"/>
                  </a:cubicBezTo>
                  <a:cubicBezTo>
                    <a:pt x="898" y="67"/>
                    <a:pt x="896" y="65"/>
                    <a:pt x="894" y="65"/>
                  </a:cubicBezTo>
                  <a:moveTo>
                    <a:pt x="1747" y="17"/>
                  </a:moveTo>
                  <a:cubicBezTo>
                    <a:pt x="1745" y="14"/>
                    <a:pt x="1743" y="13"/>
                    <a:pt x="1740" y="13"/>
                  </a:cubicBezTo>
                  <a:cubicBezTo>
                    <a:pt x="1716" y="13"/>
                    <a:pt x="1716" y="13"/>
                    <a:pt x="1716" y="13"/>
                  </a:cubicBezTo>
                  <a:cubicBezTo>
                    <a:pt x="1713" y="13"/>
                    <a:pt x="1711" y="14"/>
                    <a:pt x="1710" y="17"/>
                  </a:cubicBezTo>
                  <a:cubicBezTo>
                    <a:pt x="1636" y="162"/>
                    <a:pt x="1636" y="162"/>
                    <a:pt x="1636" y="162"/>
                  </a:cubicBezTo>
                  <a:cubicBezTo>
                    <a:pt x="1634" y="167"/>
                    <a:pt x="1636" y="170"/>
                    <a:pt x="1640" y="170"/>
                  </a:cubicBezTo>
                  <a:cubicBezTo>
                    <a:pt x="1663" y="170"/>
                    <a:pt x="1663" y="170"/>
                    <a:pt x="1663" y="170"/>
                  </a:cubicBezTo>
                  <a:cubicBezTo>
                    <a:pt x="1667" y="170"/>
                    <a:pt x="1668" y="169"/>
                    <a:pt x="1670" y="165"/>
                  </a:cubicBezTo>
                  <a:cubicBezTo>
                    <a:pt x="1728" y="49"/>
                    <a:pt x="1728" y="49"/>
                    <a:pt x="1728" y="49"/>
                  </a:cubicBezTo>
                  <a:cubicBezTo>
                    <a:pt x="1786" y="165"/>
                    <a:pt x="1786" y="165"/>
                    <a:pt x="1786" y="165"/>
                  </a:cubicBezTo>
                  <a:cubicBezTo>
                    <a:pt x="1788" y="169"/>
                    <a:pt x="1789" y="170"/>
                    <a:pt x="1793" y="170"/>
                  </a:cubicBezTo>
                  <a:cubicBezTo>
                    <a:pt x="1816" y="170"/>
                    <a:pt x="1816" y="170"/>
                    <a:pt x="1816" y="170"/>
                  </a:cubicBezTo>
                  <a:cubicBezTo>
                    <a:pt x="1820" y="170"/>
                    <a:pt x="1823" y="167"/>
                    <a:pt x="1820" y="162"/>
                  </a:cubicBezTo>
                  <a:lnTo>
                    <a:pt x="1747" y="17"/>
                  </a:lnTo>
                  <a:close/>
                  <a:moveTo>
                    <a:pt x="629" y="46"/>
                  </a:moveTo>
                  <a:cubicBezTo>
                    <a:pt x="626" y="46"/>
                    <a:pt x="623" y="48"/>
                    <a:pt x="622" y="49"/>
                  </a:cubicBezTo>
                  <a:cubicBezTo>
                    <a:pt x="597" y="98"/>
                    <a:pt x="597" y="98"/>
                    <a:pt x="597" y="98"/>
                  </a:cubicBezTo>
                  <a:cubicBezTo>
                    <a:pt x="596" y="100"/>
                    <a:pt x="597" y="102"/>
                    <a:pt x="599" y="102"/>
                  </a:cubicBezTo>
                  <a:cubicBezTo>
                    <a:pt x="625" y="102"/>
                    <a:pt x="625" y="102"/>
                    <a:pt x="625" y="102"/>
                  </a:cubicBezTo>
                  <a:cubicBezTo>
                    <a:pt x="628" y="102"/>
                    <a:pt x="630" y="100"/>
                    <a:pt x="631" y="98"/>
                  </a:cubicBezTo>
                  <a:cubicBezTo>
                    <a:pt x="656" y="49"/>
                    <a:pt x="656" y="49"/>
                    <a:pt x="656" y="49"/>
                  </a:cubicBezTo>
                  <a:cubicBezTo>
                    <a:pt x="657" y="48"/>
                    <a:pt x="656" y="46"/>
                    <a:pt x="654" y="46"/>
                  </a:cubicBezTo>
                  <a:lnTo>
                    <a:pt x="629" y="46"/>
                  </a:lnTo>
                  <a:close/>
                  <a:moveTo>
                    <a:pt x="416" y="146"/>
                  </a:moveTo>
                  <a:cubicBezTo>
                    <a:pt x="269" y="146"/>
                    <a:pt x="269" y="146"/>
                    <a:pt x="269" y="146"/>
                  </a:cubicBezTo>
                  <a:cubicBezTo>
                    <a:pt x="269" y="28"/>
                    <a:pt x="269" y="28"/>
                    <a:pt x="269" y="28"/>
                  </a:cubicBezTo>
                  <a:cubicBezTo>
                    <a:pt x="416" y="28"/>
                    <a:pt x="416" y="28"/>
                    <a:pt x="416" y="28"/>
                  </a:cubicBezTo>
                  <a:lnTo>
                    <a:pt x="416" y="146"/>
                  </a:lnTo>
                  <a:close/>
                  <a:moveTo>
                    <a:pt x="423" y="6"/>
                  </a:moveTo>
                  <a:cubicBezTo>
                    <a:pt x="261" y="6"/>
                    <a:pt x="261" y="6"/>
                    <a:pt x="261" y="6"/>
                  </a:cubicBezTo>
                  <a:cubicBezTo>
                    <a:pt x="249" y="6"/>
                    <a:pt x="239" y="16"/>
                    <a:pt x="239" y="28"/>
                  </a:cubicBezTo>
                  <a:cubicBezTo>
                    <a:pt x="239" y="148"/>
                    <a:pt x="239" y="148"/>
                    <a:pt x="239" y="148"/>
                  </a:cubicBezTo>
                  <a:cubicBezTo>
                    <a:pt x="239" y="160"/>
                    <a:pt x="249" y="169"/>
                    <a:pt x="261" y="169"/>
                  </a:cubicBezTo>
                  <a:cubicBezTo>
                    <a:pt x="423" y="169"/>
                    <a:pt x="423" y="169"/>
                    <a:pt x="423" y="169"/>
                  </a:cubicBezTo>
                  <a:cubicBezTo>
                    <a:pt x="435" y="169"/>
                    <a:pt x="445" y="160"/>
                    <a:pt x="445" y="148"/>
                  </a:cubicBezTo>
                  <a:cubicBezTo>
                    <a:pt x="445" y="28"/>
                    <a:pt x="445" y="28"/>
                    <a:pt x="445" y="28"/>
                  </a:cubicBezTo>
                  <a:cubicBezTo>
                    <a:pt x="445" y="16"/>
                    <a:pt x="435" y="6"/>
                    <a:pt x="423" y="6"/>
                  </a:cubicBezTo>
                  <a:moveTo>
                    <a:pt x="697" y="49"/>
                  </a:moveTo>
                  <a:cubicBezTo>
                    <a:pt x="714" y="49"/>
                    <a:pt x="714" y="49"/>
                    <a:pt x="714" y="49"/>
                  </a:cubicBezTo>
                  <a:cubicBezTo>
                    <a:pt x="716" y="49"/>
                    <a:pt x="718" y="47"/>
                    <a:pt x="718" y="45"/>
                  </a:cubicBezTo>
                  <a:cubicBezTo>
                    <a:pt x="718" y="34"/>
                    <a:pt x="718" y="34"/>
                    <a:pt x="718" y="34"/>
                  </a:cubicBezTo>
                  <a:cubicBezTo>
                    <a:pt x="872" y="34"/>
                    <a:pt x="872" y="34"/>
                    <a:pt x="872" y="34"/>
                  </a:cubicBezTo>
                  <a:cubicBezTo>
                    <a:pt x="872" y="45"/>
                    <a:pt x="872" y="45"/>
                    <a:pt x="872" y="45"/>
                  </a:cubicBezTo>
                  <a:cubicBezTo>
                    <a:pt x="872" y="47"/>
                    <a:pt x="873" y="49"/>
                    <a:pt x="875" y="49"/>
                  </a:cubicBezTo>
                  <a:cubicBezTo>
                    <a:pt x="893" y="49"/>
                    <a:pt x="893" y="49"/>
                    <a:pt x="893" y="49"/>
                  </a:cubicBezTo>
                  <a:cubicBezTo>
                    <a:pt x="895" y="49"/>
                    <a:pt x="897" y="47"/>
                    <a:pt x="897" y="45"/>
                  </a:cubicBezTo>
                  <a:cubicBezTo>
                    <a:pt x="897" y="32"/>
                    <a:pt x="897" y="32"/>
                    <a:pt x="897" y="32"/>
                  </a:cubicBezTo>
                  <a:cubicBezTo>
                    <a:pt x="897" y="22"/>
                    <a:pt x="888" y="13"/>
                    <a:pt x="877" y="13"/>
                  </a:cubicBezTo>
                  <a:cubicBezTo>
                    <a:pt x="811" y="13"/>
                    <a:pt x="811" y="13"/>
                    <a:pt x="811" y="13"/>
                  </a:cubicBezTo>
                  <a:cubicBezTo>
                    <a:pt x="811" y="4"/>
                    <a:pt x="811" y="4"/>
                    <a:pt x="811" y="4"/>
                  </a:cubicBezTo>
                  <a:cubicBezTo>
                    <a:pt x="811" y="2"/>
                    <a:pt x="809" y="0"/>
                    <a:pt x="807" y="0"/>
                  </a:cubicBezTo>
                  <a:cubicBezTo>
                    <a:pt x="782" y="0"/>
                    <a:pt x="782" y="0"/>
                    <a:pt x="782" y="0"/>
                  </a:cubicBezTo>
                  <a:cubicBezTo>
                    <a:pt x="780" y="0"/>
                    <a:pt x="778" y="2"/>
                    <a:pt x="778" y="4"/>
                  </a:cubicBezTo>
                  <a:cubicBezTo>
                    <a:pt x="778" y="13"/>
                    <a:pt x="778" y="13"/>
                    <a:pt x="778" y="13"/>
                  </a:cubicBezTo>
                  <a:cubicBezTo>
                    <a:pt x="712" y="13"/>
                    <a:pt x="712" y="13"/>
                    <a:pt x="712" y="13"/>
                  </a:cubicBezTo>
                  <a:cubicBezTo>
                    <a:pt x="702" y="13"/>
                    <a:pt x="693" y="22"/>
                    <a:pt x="693" y="32"/>
                  </a:cubicBezTo>
                  <a:cubicBezTo>
                    <a:pt x="693" y="45"/>
                    <a:pt x="693" y="45"/>
                    <a:pt x="693" y="45"/>
                  </a:cubicBezTo>
                  <a:cubicBezTo>
                    <a:pt x="693" y="47"/>
                    <a:pt x="695" y="49"/>
                    <a:pt x="697" y="49"/>
                  </a:cubicBezTo>
                  <a:moveTo>
                    <a:pt x="179" y="115"/>
                  </a:moveTo>
                  <a:cubicBezTo>
                    <a:pt x="122" y="115"/>
                    <a:pt x="122" y="115"/>
                    <a:pt x="122" y="115"/>
                  </a:cubicBezTo>
                  <a:cubicBezTo>
                    <a:pt x="122" y="49"/>
                    <a:pt x="122" y="49"/>
                    <a:pt x="122" y="49"/>
                  </a:cubicBezTo>
                  <a:cubicBezTo>
                    <a:pt x="179" y="49"/>
                    <a:pt x="179" y="49"/>
                    <a:pt x="179" y="49"/>
                  </a:cubicBezTo>
                  <a:lnTo>
                    <a:pt x="179" y="115"/>
                  </a:lnTo>
                  <a:close/>
                  <a:moveTo>
                    <a:pt x="88" y="115"/>
                  </a:moveTo>
                  <a:cubicBezTo>
                    <a:pt x="31" y="115"/>
                    <a:pt x="31" y="115"/>
                    <a:pt x="31" y="115"/>
                  </a:cubicBezTo>
                  <a:cubicBezTo>
                    <a:pt x="31" y="49"/>
                    <a:pt x="31" y="49"/>
                    <a:pt x="31" y="49"/>
                  </a:cubicBezTo>
                  <a:cubicBezTo>
                    <a:pt x="88" y="49"/>
                    <a:pt x="88" y="49"/>
                    <a:pt x="88" y="49"/>
                  </a:cubicBezTo>
                  <a:lnTo>
                    <a:pt x="88" y="115"/>
                  </a:lnTo>
                  <a:close/>
                  <a:moveTo>
                    <a:pt x="188" y="24"/>
                  </a:moveTo>
                  <a:cubicBezTo>
                    <a:pt x="122" y="24"/>
                    <a:pt x="122" y="24"/>
                    <a:pt x="122" y="24"/>
                  </a:cubicBezTo>
                  <a:cubicBezTo>
                    <a:pt x="122" y="5"/>
                    <a:pt x="122" y="5"/>
                    <a:pt x="122" y="5"/>
                  </a:cubicBezTo>
                  <a:cubicBezTo>
                    <a:pt x="122" y="3"/>
                    <a:pt x="120" y="1"/>
                    <a:pt x="118" y="1"/>
                  </a:cubicBezTo>
                  <a:cubicBezTo>
                    <a:pt x="91" y="1"/>
                    <a:pt x="91" y="1"/>
                    <a:pt x="91" y="1"/>
                  </a:cubicBezTo>
                  <a:cubicBezTo>
                    <a:pt x="89" y="1"/>
                    <a:pt x="88" y="3"/>
                    <a:pt x="88" y="5"/>
                  </a:cubicBezTo>
                  <a:cubicBezTo>
                    <a:pt x="88" y="24"/>
                    <a:pt x="88" y="24"/>
                    <a:pt x="88" y="24"/>
                  </a:cubicBezTo>
                  <a:cubicBezTo>
                    <a:pt x="22" y="24"/>
                    <a:pt x="22" y="24"/>
                    <a:pt x="22" y="24"/>
                  </a:cubicBezTo>
                  <a:cubicBezTo>
                    <a:pt x="10" y="24"/>
                    <a:pt x="0" y="34"/>
                    <a:pt x="0" y="46"/>
                  </a:cubicBezTo>
                  <a:cubicBezTo>
                    <a:pt x="0" y="118"/>
                    <a:pt x="0" y="118"/>
                    <a:pt x="0" y="118"/>
                  </a:cubicBezTo>
                  <a:cubicBezTo>
                    <a:pt x="0" y="130"/>
                    <a:pt x="10" y="140"/>
                    <a:pt x="22" y="140"/>
                  </a:cubicBezTo>
                  <a:cubicBezTo>
                    <a:pt x="88" y="140"/>
                    <a:pt x="88" y="140"/>
                    <a:pt x="88" y="140"/>
                  </a:cubicBezTo>
                  <a:cubicBezTo>
                    <a:pt x="88" y="171"/>
                    <a:pt x="88" y="171"/>
                    <a:pt x="88" y="171"/>
                  </a:cubicBezTo>
                  <a:cubicBezTo>
                    <a:pt x="88" y="173"/>
                    <a:pt x="89" y="174"/>
                    <a:pt x="91" y="174"/>
                  </a:cubicBezTo>
                  <a:cubicBezTo>
                    <a:pt x="118" y="174"/>
                    <a:pt x="118" y="174"/>
                    <a:pt x="118" y="174"/>
                  </a:cubicBezTo>
                  <a:cubicBezTo>
                    <a:pt x="120" y="174"/>
                    <a:pt x="122" y="173"/>
                    <a:pt x="122" y="171"/>
                  </a:cubicBezTo>
                  <a:cubicBezTo>
                    <a:pt x="122" y="140"/>
                    <a:pt x="122" y="140"/>
                    <a:pt x="122" y="140"/>
                  </a:cubicBezTo>
                  <a:cubicBezTo>
                    <a:pt x="188" y="140"/>
                    <a:pt x="188" y="140"/>
                    <a:pt x="188" y="140"/>
                  </a:cubicBezTo>
                  <a:cubicBezTo>
                    <a:pt x="200" y="140"/>
                    <a:pt x="210" y="130"/>
                    <a:pt x="210" y="118"/>
                  </a:cubicBezTo>
                  <a:cubicBezTo>
                    <a:pt x="210" y="46"/>
                    <a:pt x="210" y="46"/>
                    <a:pt x="210" y="46"/>
                  </a:cubicBezTo>
                  <a:cubicBezTo>
                    <a:pt x="210" y="34"/>
                    <a:pt x="200" y="24"/>
                    <a:pt x="188" y="24"/>
                  </a:cubicBezTo>
                  <a:moveTo>
                    <a:pt x="401" y="104"/>
                  </a:moveTo>
                  <a:cubicBezTo>
                    <a:pt x="379" y="104"/>
                    <a:pt x="379" y="104"/>
                    <a:pt x="379" y="104"/>
                  </a:cubicBezTo>
                  <a:cubicBezTo>
                    <a:pt x="379" y="112"/>
                    <a:pt x="379" y="112"/>
                    <a:pt x="379" y="112"/>
                  </a:cubicBezTo>
                  <a:cubicBezTo>
                    <a:pt x="357" y="112"/>
                    <a:pt x="357" y="112"/>
                    <a:pt x="357" y="112"/>
                  </a:cubicBezTo>
                  <a:cubicBezTo>
                    <a:pt x="357" y="93"/>
                    <a:pt x="357" y="93"/>
                    <a:pt x="357" y="93"/>
                  </a:cubicBezTo>
                  <a:cubicBezTo>
                    <a:pt x="395" y="93"/>
                    <a:pt x="395" y="93"/>
                    <a:pt x="395" y="93"/>
                  </a:cubicBezTo>
                  <a:cubicBezTo>
                    <a:pt x="395" y="75"/>
                    <a:pt x="395" y="75"/>
                    <a:pt x="395" y="75"/>
                  </a:cubicBezTo>
                  <a:cubicBezTo>
                    <a:pt x="357" y="75"/>
                    <a:pt x="357" y="75"/>
                    <a:pt x="357" y="75"/>
                  </a:cubicBezTo>
                  <a:cubicBezTo>
                    <a:pt x="357" y="61"/>
                    <a:pt x="357" y="61"/>
                    <a:pt x="357" y="61"/>
                  </a:cubicBezTo>
                  <a:cubicBezTo>
                    <a:pt x="401" y="61"/>
                    <a:pt x="401" y="61"/>
                    <a:pt x="401" y="61"/>
                  </a:cubicBezTo>
                  <a:cubicBezTo>
                    <a:pt x="401" y="41"/>
                    <a:pt x="401" y="41"/>
                    <a:pt x="401" y="41"/>
                  </a:cubicBezTo>
                  <a:cubicBezTo>
                    <a:pt x="284" y="41"/>
                    <a:pt x="284" y="41"/>
                    <a:pt x="284" y="41"/>
                  </a:cubicBezTo>
                  <a:cubicBezTo>
                    <a:pt x="284" y="61"/>
                    <a:pt x="284" y="61"/>
                    <a:pt x="284" y="61"/>
                  </a:cubicBezTo>
                  <a:cubicBezTo>
                    <a:pt x="328" y="61"/>
                    <a:pt x="328" y="61"/>
                    <a:pt x="328" y="61"/>
                  </a:cubicBezTo>
                  <a:cubicBezTo>
                    <a:pt x="328" y="75"/>
                    <a:pt x="328" y="75"/>
                    <a:pt x="328" y="75"/>
                  </a:cubicBezTo>
                  <a:cubicBezTo>
                    <a:pt x="290" y="75"/>
                    <a:pt x="290" y="75"/>
                    <a:pt x="290" y="75"/>
                  </a:cubicBezTo>
                  <a:cubicBezTo>
                    <a:pt x="290" y="93"/>
                    <a:pt x="290" y="93"/>
                    <a:pt x="290" y="93"/>
                  </a:cubicBezTo>
                  <a:cubicBezTo>
                    <a:pt x="328" y="93"/>
                    <a:pt x="328" y="93"/>
                    <a:pt x="328" y="93"/>
                  </a:cubicBezTo>
                  <a:cubicBezTo>
                    <a:pt x="328" y="112"/>
                    <a:pt x="328" y="112"/>
                    <a:pt x="328" y="112"/>
                  </a:cubicBezTo>
                  <a:cubicBezTo>
                    <a:pt x="284" y="112"/>
                    <a:pt x="284" y="112"/>
                    <a:pt x="284" y="112"/>
                  </a:cubicBezTo>
                  <a:cubicBezTo>
                    <a:pt x="284" y="132"/>
                    <a:pt x="284" y="132"/>
                    <a:pt x="284" y="132"/>
                  </a:cubicBezTo>
                  <a:cubicBezTo>
                    <a:pt x="401" y="132"/>
                    <a:pt x="401" y="132"/>
                    <a:pt x="401" y="132"/>
                  </a:cubicBezTo>
                  <a:lnTo>
                    <a:pt x="401" y="104"/>
                  </a:lnTo>
                  <a:close/>
                  <a:moveTo>
                    <a:pt x="516" y="102"/>
                  </a:moveTo>
                  <a:cubicBezTo>
                    <a:pt x="542" y="102"/>
                    <a:pt x="542" y="102"/>
                    <a:pt x="542" y="102"/>
                  </a:cubicBezTo>
                  <a:cubicBezTo>
                    <a:pt x="544" y="102"/>
                    <a:pt x="545" y="100"/>
                    <a:pt x="544" y="98"/>
                  </a:cubicBezTo>
                  <a:cubicBezTo>
                    <a:pt x="519" y="49"/>
                    <a:pt x="519" y="49"/>
                    <a:pt x="519" y="49"/>
                  </a:cubicBezTo>
                  <a:cubicBezTo>
                    <a:pt x="518" y="48"/>
                    <a:pt x="515" y="46"/>
                    <a:pt x="512" y="46"/>
                  </a:cubicBezTo>
                  <a:cubicBezTo>
                    <a:pt x="487" y="46"/>
                    <a:pt x="487" y="46"/>
                    <a:pt x="487" y="46"/>
                  </a:cubicBezTo>
                  <a:cubicBezTo>
                    <a:pt x="485" y="46"/>
                    <a:pt x="484" y="48"/>
                    <a:pt x="485" y="49"/>
                  </a:cubicBezTo>
                  <a:cubicBezTo>
                    <a:pt x="510" y="98"/>
                    <a:pt x="510" y="98"/>
                    <a:pt x="510" y="98"/>
                  </a:cubicBezTo>
                  <a:cubicBezTo>
                    <a:pt x="511" y="100"/>
                    <a:pt x="513" y="102"/>
                    <a:pt x="516" y="102"/>
                  </a:cubicBezTo>
                  <a:moveTo>
                    <a:pt x="669" y="115"/>
                  </a:moveTo>
                  <a:cubicBezTo>
                    <a:pt x="587" y="115"/>
                    <a:pt x="587" y="115"/>
                    <a:pt x="587" y="115"/>
                  </a:cubicBezTo>
                  <a:cubicBezTo>
                    <a:pt x="587" y="33"/>
                    <a:pt x="587" y="33"/>
                    <a:pt x="587" y="33"/>
                  </a:cubicBezTo>
                  <a:cubicBezTo>
                    <a:pt x="662" y="33"/>
                    <a:pt x="662" y="33"/>
                    <a:pt x="662" y="33"/>
                  </a:cubicBezTo>
                  <a:cubicBezTo>
                    <a:pt x="664" y="33"/>
                    <a:pt x="666" y="31"/>
                    <a:pt x="666" y="29"/>
                  </a:cubicBezTo>
                  <a:cubicBezTo>
                    <a:pt x="666" y="14"/>
                    <a:pt x="666" y="14"/>
                    <a:pt x="666" y="14"/>
                  </a:cubicBezTo>
                  <a:cubicBezTo>
                    <a:pt x="666" y="11"/>
                    <a:pt x="664" y="10"/>
                    <a:pt x="662" y="10"/>
                  </a:cubicBezTo>
                  <a:cubicBezTo>
                    <a:pt x="479" y="10"/>
                    <a:pt x="479" y="10"/>
                    <a:pt x="479" y="10"/>
                  </a:cubicBezTo>
                  <a:cubicBezTo>
                    <a:pt x="477" y="10"/>
                    <a:pt x="475" y="11"/>
                    <a:pt x="475" y="14"/>
                  </a:cubicBezTo>
                  <a:cubicBezTo>
                    <a:pt x="475" y="29"/>
                    <a:pt x="475" y="29"/>
                    <a:pt x="475" y="29"/>
                  </a:cubicBezTo>
                  <a:cubicBezTo>
                    <a:pt x="475" y="31"/>
                    <a:pt x="477" y="33"/>
                    <a:pt x="479" y="33"/>
                  </a:cubicBezTo>
                  <a:cubicBezTo>
                    <a:pt x="554" y="33"/>
                    <a:pt x="554" y="33"/>
                    <a:pt x="554" y="33"/>
                  </a:cubicBezTo>
                  <a:cubicBezTo>
                    <a:pt x="554" y="115"/>
                    <a:pt x="554" y="115"/>
                    <a:pt x="554" y="115"/>
                  </a:cubicBezTo>
                  <a:cubicBezTo>
                    <a:pt x="472" y="115"/>
                    <a:pt x="472" y="115"/>
                    <a:pt x="472" y="115"/>
                  </a:cubicBezTo>
                  <a:cubicBezTo>
                    <a:pt x="470" y="115"/>
                    <a:pt x="469" y="117"/>
                    <a:pt x="469" y="119"/>
                  </a:cubicBezTo>
                  <a:cubicBezTo>
                    <a:pt x="469" y="135"/>
                    <a:pt x="469" y="135"/>
                    <a:pt x="469" y="135"/>
                  </a:cubicBezTo>
                  <a:cubicBezTo>
                    <a:pt x="469" y="137"/>
                    <a:pt x="470" y="139"/>
                    <a:pt x="472" y="139"/>
                  </a:cubicBezTo>
                  <a:cubicBezTo>
                    <a:pt x="554" y="139"/>
                    <a:pt x="554" y="139"/>
                    <a:pt x="554" y="139"/>
                  </a:cubicBezTo>
                  <a:cubicBezTo>
                    <a:pt x="554" y="171"/>
                    <a:pt x="554" y="171"/>
                    <a:pt x="554" y="171"/>
                  </a:cubicBezTo>
                  <a:cubicBezTo>
                    <a:pt x="554" y="173"/>
                    <a:pt x="556" y="174"/>
                    <a:pt x="558" y="174"/>
                  </a:cubicBezTo>
                  <a:cubicBezTo>
                    <a:pt x="583" y="174"/>
                    <a:pt x="583" y="174"/>
                    <a:pt x="583" y="174"/>
                  </a:cubicBezTo>
                  <a:cubicBezTo>
                    <a:pt x="585" y="174"/>
                    <a:pt x="587" y="173"/>
                    <a:pt x="587" y="171"/>
                  </a:cubicBezTo>
                  <a:cubicBezTo>
                    <a:pt x="587" y="139"/>
                    <a:pt x="587" y="139"/>
                    <a:pt x="587" y="139"/>
                  </a:cubicBezTo>
                  <a:cubicBezTo>
                    <a:pt x="669" y="139"/>
                    <a:pt x="669" y="139"/>
                    <a:pt x="669" y="139"/>
                  </a:cubicBezTo>
                  <a:cubicBezTo>
                    <a:pt x="671" y="139"/>
                    <a:pt x="673" y="137"/>
                    <a:pt x="673" y="135"/>
                  </a:cubicBezTo>
                  <a:cubicBezTo>
                    <a:pt x="673" y="119"/>
                    <a:pt x="673" y="119"/>
                    <a:pt x="673" y="119"/>
                  </a:cubicBezTo>
                  <a:cubicBezTo>
                    <a:pt x="673" y="117"/>
                    <a:pt x="671" y="115"/>
                    <a:pt x="669" y="115"/>
                  </a:cubicBezTo>
                </a:path>
              </a:pathLst>
            </a:custGeom>
            <a:solidFill>
              <a:srgbClr val="EA550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dirty="0">
                <a:latin typeface="微软雅黑" panose="020B0503020204020204" pitchFamily="34" charset="-122"/>
                <a:ea typeface="微软雅黑" panose="020B0503020204020204" pitchFamily="34" charset="-122"/>
              </a:endParaRPr>
            </a:p>
          </p:txBody>
        </p:sp>
        <p:sp>
          <p:nvSpPr>
            <p:cNvPr id="16" name="Freeform 6"/>
            <p:cNvSpPr/>
            <p:nvPr/>
          </p:nvSpPr>
          <p:spPr bwMode="auto">
            <a:xfrm>
              <a:off x="3438525" y="693738"/>
              <a:ext cx="77788" cy="76200"/>
            </a:xfrm>
            <a:custGeom>
              <a:avLst/>
              <a:gdLst>
                <a:gd name="T0" fmla="*/ 44 w 48"/>
                <a:gd name="T1" fmla="*/ 0 h 46"/>
                <a:gd name="T2" fmla="*/ 4 w 48"/>
                <a:gd name="T3" fmla="*/ 0 h 46"/>
                <a:gd name="T4" fmla="*/ 0 w 48"/>
                <a:gd name="T5" fmla="*/ 3 h 46"/>
                <a:gd name="T6" fmla="*/ 0 w 48"/>
                <a:gd name="T7" fmla="*/ 43 h 46"/>
                <a:gd name="T8" fmla="*/ 4 w 48"/>
                <a:gd name="T9" fmla="*/ 46 h 46"/>
                <a:gd name="T10" fmla="*/ 44 w 48"/>
                <a:gd name="T11" fmla="*/ 46 h 46"/>
                <a:gd name="T12" fmla="*/ 48 w 48"/>
                <a:gd name="T13" fmla="*/ 43 h 46"/>
                <a:gd name="T14" fmla="*/ 48 w 48"/>
                <a:gd name="T15" fmla="*/ 3 h 46"/>
                <a:gd name="T16" fmla="*/ 44 w 48"/>
                <a:gd name="T1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46">
                  <a:moveTo>
                    <a:pt x="44" y="0"/>
                  </a:moveTo>
                  <a:cubicBezTo>
                    <a:pt x="4" y="0"/>
                    <a:pt x="4" y="0"/>
                    <a:pt x="4" y="0"/>
                  </a:cubicBezTo>
                  <a:cubicBezTo>
                    <a:pt x="2" y="0"/>
                    <a:pt x="0" y="1"/>
                    <a:pt x="0" y="3"/>
                  </a:cubicBezTo>
                  <a:cubicBezTo>
                    <a:pt x="0" y="43"/>
                    <a:pt x="0" y="43"/>
                    <a:pt x="0" y="43"/>
                  </a:cubicBezTo>
                  <a:cubicBezTo>
                    <a:pt x="0" y="45"/>
                    <a:pt x="2" y="46"/>
                    <a:pt x="4" y="46"/>
                  </a:cubicBezTo>
                  <a:cubicBezTo>
                    <a:pt x="44" y="46"/>
                    <a:pt x="44" y="46"/>
                    <a:pt x="44" y="46"/>
                  </a:cubicBezTo>
                  <a:cubicBezTo>
                    <a:pt x="46" y="46"/>
                    <a:pt x="48" y="45"/>
                    <a:pt x="48" y="43"/>
                  </a:cubicBezTo>
                  <a:cubicBezTo>
                    <a:pt x="48" y="3"/>
                    <a:pt x="48" y="3"/>
                    <a:pt x="48" y="3"/>
                  </a:cubicBezTo>
                  <a:cubicBezTo>
                    <a:pt x="48" y="1"/>
                    <a:pt x="46" y="0"/>
                    <a:pt x="44" y="0"/>
                  </a:cubicBezTo>
                </a:path>
              </a:pathLst>
            </a:custGeom>
            <a:solidFill>
              <a:srgbClr val="005E3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dirty="0">
                <a:latin typeface="微软雅黑" panose="020B0503020204020204" pitchFamily="34" charset="-122"/>
                <a:ea typeface="微软雅黑" panose="020B0503020204020204" pitchFamily="34" charset="-122"/>
              </a:endParaRPr>
            </a:p>
          </p:txBody>
        </p:sp>
        <p:sp>
          <p:nvSpPr>
            <p:cNvPr id="17" name="Oval 7"/>
            <p:cNvSpPr>
              <a:spLocks noChangeArrowheads="1"/>
            </p:cNvSpPr>
            <p:nvPr/>
          </p:nvSpPr>
          <p:spPr bwMode="auto">
            <a:xfrm>
              <a:off x="1385888" y="952500"/>
              <a:ext cx="17463" cy="20637"/>
            </a:xfrm>
            <a:prstGeom prst="ellipse">
              <a:avLst/>
            </a:prstGeom>
            <a:solidFill>
              <a:srgbClr val="EA550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dirty="0">
                <a:latin typeface="微软雅黑" panose="020B0503020204020204" pitchFamily="34" charset="-122"/>
                <a:ea typeface="微软雅黑" panose="020B0503020204020204" pitchFamily="34" charset="-122"/>
              </a:endParaRPr>
            </a:p>
          </p:txBody>
        </p:sp>
        <p:sp>
          <p:nvSpPr>
            <p:cNvPr id="18" name="Freeform 8"/>
            <p:cNvSpPr>
              <a:spLocks noEditPoints="1"/>
            </p:cNvSpPr>
            <p:nvPr/>
          </p:nvSpPr>
          <p:spPr bwMode="auto">
            <a:xfrm>
              <a:off x="1001713" y="893763"/>
              <a:ext cx="142875" cy="133350"/>
            </a:xfrm>
            <a:custGeom>
              <a:avLst/>
              <a:gdLst>
                <a:gd name="T0" fmla="*/ 43 w 88"/>
                <a:gd name="T1" fmla="*/ 0 h 81"/>
                <a:gd name="T2" fmla="*/ 51 w 88"/>
                <a:gd name="T3" fmla="*/ 4 h 81"/>
                <a:gd name="T4" fmla="*/ 84 w 88"/>
                <a:gd name="T5" fmla="*/ 22 h 81"/>
                <a:gd name="T6" fmla="*/ 87 w 88"/>
                <a:gd name="T7" fmla="*/ 28 h 81"/>
                <a:gd name="T8" fmla="*/ 82 w 88"/>
                <a:gd name="T9" fmla="*/ 29 h 81"/>
                <a:gd name="T10" fmla="*/ 49 w 88"/>
                <a:gd name="T11" fmla="*/ 12 h 81"/>
                <a:gd name="T12" fmla="*/ 43 w 88"/>
                <a:gd name="T13" fmla="*/ 8 h 81"/>
                <a:gd name="T14" fmla="*/ 38 w 88"/>
                <a:gd name="T15" fmla="*/ 11 h 81"/>
                <a:gd name="T16" fmla="*/ 6 w 88"/>
                <a:gd name="T17" fmla="*/ 30 h 81"/>
                <a:gd name="T18" fmla="*/ 1 w 88"/>
                <a:gd name="T19" fmla="*/ 28 h 81"/>
                <a:gd name="T20" fmla="*/ 3 w 88"/>
                <a:gd name="T21" fmla="*/ 23 h 81"/>
                <a:gd name="T22" fmla="*/ 35 w 88"/>
                <a:gd name="T23" fmla="*/ 5 h 81"/>
                <a:gd name="T24" fmla="*/ 43 w 88"/>
                <a:gd name="T25" fmla="*/ 0 h 81"/>
                <a:gd name="T26" fmla="*/ 21 w 88"/>
                <a:gd name="T27" fmla="*/ 25 h 81"/>
                <a:gd name="T28" fmla="*/ 68 w 88"/>
                <a:gd name="T29" fmla="*/ 25 h 81"/>
                <a:gd name="T30" fmla="*/ 71 w 88"/>
                <a:gd name="T31" fmla="*/ 28 h 81"/>
                <a:gd name="T32" fmla="*/ 68 w 88"/>
                <a:gd name="T33" fmla="*/ 31 h 81"/>
                <a:gd name="T34" fmla="*/ 48 w 88"/>
                <a:gd name="T35" fmla="*/ 31 h 81"/>
                <a:gd name="T36" fmla="*/ 48 w 88"/>
                <a:gd name="T37" fmla="*/ 42 h 81"/>
                <a:gd name="T38" fmla="*/ 80 w 88"/>
                <a:gd name="T39" fmla="*/ 42 h 81"/>
                <a:gd name="T40" fmla="*/ 83 w 88"/>
                <a:gd name="T41" fmla="*/ 46 h 81"/>
                <a:gd name="T42" fmla="*/ 80 w 88"/>
                <a:gd name="T43" fmla="*/ 49 h 81"/>
                <a:gd name="T44" fmla="*/ 48 w 88"/>
                <a:gd name="T45" fmla="*/ 49 h 81"/>
                <a:gd name="T46" fmla="*/ 48 w 88"/>
                <a:gd name="T47" fmla="*/ 74 h 81"/>
                <a:gd name="T48" fmla="*/ 61 w 88"/>
                <a:gd name="T49" fmla="*/ 74 h 81"/>
                <a:gd name="T50" fmla="*/ 60 w 88"/>
                <a:gd name="T51" fmla="*/ 70 h 81"/>
                <a:gd name="T52" fmla="*/ 70 w 88"/>
                <a:gd name="T53" fmla="*/ 53 h 81"/>
                <a:gd name="T54" fmla="*/ 75 w 88"/>
                <a:gd name="T55" fmla="*/ 51 h 81"/>
                <a:gd name="T56" fmla="*/ 76 w 88"/>
                <a:gd name="T57" fmla="*/ 56 h 81"/>
                <a:gd name="T58" fmla="*/ 66 w 88"/>
                <a:gd name="T59" fmla="*/ 73 h 81"/>
                <a:gd name="T60" fmla="*/ 64 w 88"/>
                <a:gd name="T61" fmla="*/ 74 h 81"/>
                <a:gd name="T62" fmla="*/ 84 w 88"/>
                <a:gd name="T63" fmla="*/ 74 h 81"/>
                <a:gd name="T64" fmla="*/ 87 w 88"/>
                <a:gd name="T65" fmla="*/ 77 h 81"/>
                <a:gd name="T66" fmla="*/ 84 w 88"/>
                <a:gd name="T67" fmla="*/ 81 h 81"/>
                <a:gd name="T68" fmla="*/ 6 w 88"/>
                <a:gd name="T69" fmla="*/ 81 h 81"/>
                <a:gd name="T70" fmla="*/ 2 w 88"/>
                <a:gd name="T71" fmla="*/ 77 h 81"/>
                <a:gd name="T72" fmla="*/ 6 w 88"/>
                <a:gd name="T73" fmla="*/ 74 h 81"/>
                <a:gd name="T74" fmla="*/ 40 w 88"/>
                <a:gd name="T75" fmla="*/ 74 h 81"/>
                <a:gd name="T76" fmla="*/ 40 w 88"/>
                <a:gd name="T77" fmla="*/ 49 h 81"/>
                <a:gd name="T78" fmla="*/ 9 w 88"/>
                <a:gd name="T79" fmla="*/ 49 h 81"/>
                <a:gd name="T80" fmla="*/ 6 w 88"/>
                <a:gd name="T81" fmla="*/ 46 h 81"/>
                <a:gd name="T82" fmla="*/ 9 w 88"/>
                <a:gd name="T83" fmla="*/ 42 h 81"/>
                <a:gd name="T84" fmla="*/ 40 w 88"/>
                <a:gd name="T85" fmla="*/ 42 h 81"/>
                <a:gd name="T86" fmla="*/ 40 w 88"/>
                <a:gd name="T87" fmla="*/ 31 h 81"/>
                <a:gd name="T88" fmla="*/ 21 w 88"/>
                <a:gd name="T89" fmla="*/ 31 h 81"/>
                <a:gd name="T90" fmla="*/ 18 w 88"/>
                <a:gd name="T91" fmla="*/ 28 h 81"/>
                <a:gd name="T92" fmla="*/ 21 w 88"/>
                <a:gd name="T93" fmla="*/ 25 h 81"/>
                <a:gd name="T94" fmla="*/ 20 w 88"/>
                <a:gd name="T95" fmla="*/ 54 h 81"/>
                <a:gd name="T96" fmla="*/ 27 w 88"/>
                <a:gd name="T97" fmla="*/ 67 h 81"/>
                <a:gd name="T98" fmla="*/ 26 w 88"/>
                <a:gd name="T99" fmla="*/ 72 h 81"/>
                <a:gd name="T100" fmla="*/ 21 w 88"/>
                <a:gd name="T101" fmla="*/ 71 h 81"/>
                <a:gd name="T102" fmla="*/ 14 w 88"/>
                <a:gd name="T103" fmla="*/ 57 h 81"/>
                <a:gd name="T104" fmla="*/ 14 w 88"/>
                <a:gd name="T105" fmla="*/ 53 h 81"/>
                <a:gd name="T106" fmla="*/ 20 w 88"/>
                <a:gd name="T107" fmla="*/ 5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8" h="81">
                  <a:moveTo>
                    <a:pt x="43" y="0"/>
                  </a:moveTo>
                  <a:cubicBezTo>
                    <a:pt x="44" y="0"/>
                    <a:pt x="47" y="1"/>
                    <a:pt x="51" y="4"/>
                  </a:cubicBezTo>
                  <a:cubicBezTo>
                    <a:pt x="61" y="12"/>
                    <a:pt x="72" y="18"/>
                    <a:pt x="84" y="22"/>
                  </a:cubicBezTo>
                  <a:cubicBezTo>
                    <a:pt x="87" y="23"/>
                    <a:pt x="88" y="25"/>
                    <a:pt x="87" y="28"/>
                  </a:cubicBezTo>
                  <a:cubicBezTo>
                    <a:pt x="86" y="30"/>
                    <a:pt x="85" y="30"/>
                    <a:pt x="82" y="29"/>
                  </a:cubicBezTo>
                  <a:cubicBezTo>
                    <a:pt x="70" y="25"/>
                    <a:pt x="59" y="19"/>
                    <a:pt x="49" y="12"/>
                  </a:cubicBezTo>
                  <a:cubicBezTo>
                    <a:pt x="46" y="10"/>
                    <a:pt x="44" y="8"/>
                    <a:pt x="43" y="8"/>
                  </a:cubicBezTo>
                  <a:cubicBezTo>
                    <a:pt x="43" y="8"/>
                    <a:pt x="41" y="9"/>
                    <a:pt x="38" y="11"/>
                  </a:cubicBezTo>
                  <a:cubicBezTo>
                    <a:pt x="28" y="19"/>
                    <a:pt x="18" y="25"/>
                    <a:pt x="6" y="30"/>
                  </a:cubicBezTo>
                  <a:cubicBezTo>
                    <a:pt x="4" y="31"/>
                    <a:pt x="2" y="30"/>
                    <a:pt x="1" y="28"/>
                  </a:cubicBezTo>
                  <a:cubicBezTo>
                    <a:pt x="0" y="26"/>
                    <a:pt x="1" y="24"/>
                    <a:pt x="3" y="23"/>
                  </a:cubicBezTo>
                  <a:cubicBezTo>
                    <a:pt x="15" y="19"/>
                    <a:pt x="26" y="13"/>
                    <a:pt x="35" y="5"/>
                  </a:cubicBezTo>
                  <a:cubicBezTo>
                    <a:pt x="39" y="2"/>
                    <a:pt x="42" y="0"/>
                    <a:pt x="43" y="0"/>
                  </a:cubicBezTo>
                  <a:close/>
                  <a:moveTo>
                    <a:pt x="21" y="25"/>
                  </a:moveTo>
                  <a:cubicBezTo>
                    <a:pt x="68" y="25"/>
                    <a:pt x="68" y="25"/>
                    <a:pt x="68" y="25"/>
                  </a:cubicBezTo>
                  <a:cubicBezTo>
                    <a:pt x="70" y="25"/>
                    <a:pt x="71" y="26"/>
                    <a:pt x="71" y="28"/>
                  </a:cubicBezTo>
                  <a:cubicBezTo>
                    <a:pt x="71" y="30"/>
                    <a:pt x="70" y="31"/>
                    <a:pt x="68" y="31"/>
                  </a:cubicBezTo>
                  <a:cubicBezTo>
                    <a:pt x="48" y="31"/>
                    <a:pt x="48" y="31"/>
                    <a:pt x="48" y="31"/>
                  </a:cubicBezTo>
                  <a:cubicBezTo>
                    <a:pt x="48" y="42"/>
                    <a:pt x="48" y="42"/>
                    <a:pt x="48" y="42"/>
                  </a:cubicBezTo>
                  <a:cubicBezTo>
                    <a:pt x="80" y="42"/>
                    <a:pt x="80" y="42"/>
                    <a:pt x="80" y="42"/>
                  </a:cubicBezTo>
                  <a:cubicBezTo>
                    <a:pt x="82" y="42"/>
                    <a:pt x="83" y="43"/>
                    <a:pt x="83" y="46"/>
                  </a:cubicBezTo>
                  <a:cubicBezTo>
                    <a:pt x="83" y="48"/>
                    <a:pt x="82" y="49"/>
                    <a:pt x="80" y="49"/>
                  </a:cubicBezTo>
                  <a:cubicBezTo>
                    <a:pt x="48" y="49"/>
                    <a:pt x="48" y="49"/>
                    <a:pt x="48" y="49"/>
                  </a:cubicBezTo>
                  <a:cubicBezTo>
                    <a:pt x="48" y="74"/>
                    <a:pt x="48" y="74"/>
                    <a:pt x="48" y="74"/>
                  </a:cubicBezTo>
                  <a:cubicBezTo>
                    <a:pt x="61" y="74"/>
                    <a:pt x="61" y="74"/>
                    <a:pt x="61" y="74"/>
                  </a:cubicBezTo>
                  <a:cubicBezTo>
                    <a:pt x="59" y="73"/>
                    <a:pt x="59" y="72"/>
                    <a:pt x="60" y="70"/>
                  </a:cubicBezTo>
                  <a:cubicBezTo>
                    <a:pt x="64" y="64"/>
                    <a:pt x="67" y="59"/>
                    <a:pt x="70" y="53"/>
                  </a:cubicBezTo>
                  <a:cubicBezTo>
                    <a:pt x="71" y="51"/>
                    <a:pt x="73" y="50"/>
                    <a:pt x="75" y="51"/>
                  </a:cubicBezTo>
                  <a:cubicBezTo>
                    <a:pt x="76" y="52"/>
                    <a:pt x="77" y="54"/>
                    <a:pt x="76" y="56"/>
                  </a:cubicBezTo>
                  <a:cubicBezTo>
                    <a:pt x="72" y="65"/>
                    <a:pt x="69" y="70"/>
                    <a:pt x="66" y="73"/>
                  </a:cubicBezTo>
                  <a:cubicBezTo>
                    <a:pt x="65" y="74"/>
                    <a:pt x="65" y="74"/>
                    <a:pt x="64" y="74"/>
                  </a:cubicBezTo>
                  <a:cubicBezTo>
                    <a:pt x="84" y="74"/>
                    <a:pt x="84" y="74"/>
                    <a:pt x="84" y="74"/>
                  </a:cubicBezTo>
                  <a:cubicBezTo>
                    <a:pt x="86" y="74"/>
                    <a:pt x="87" y="75"/>
                    <a:pt x="87" y="77"/>
                  </a:cubicBezTo>
                  <a:cubicBezTo>
                    <a:pt x="87" y="79"/>
                    <a:pt x="86" y="81"/>
                    <a:pt x="84" y="81"/>
                  </a:cubicBezTo>
                  <a:cubicBezTo>
                    <a:pt x="6" y="81"/>
                    <a:pt x="6" y="81"/>
                    <a:pt x="6" y="81"/>
                  </a:cubicBezTo>
                  <a:cubicBezTo>
                    <a:pt x="3" y="81"/>
                    <a:pt x="2" y="79"/>
                    <a:pt x="2" y="77"/>
                  </a:cubicBezTo>
                  <a:cubicBezTo>
                    <a:pt x="2" y="75"/>
                    <a:pt x="3" y="74"/>
                    <a:pt x="6" y="74"/>
                  </a:cubicBezTo>
                  <a:cubicBezTo>
                    <a:pt x="40" y="74"/>
                    <a:pt x="40" y="74"/>
                    <a:pt x="40" y="74"/>
                  </a:cubicBezTo>
                  <a:cubicBezTo>
                    <a:pt x="40" y="49"/>
                    <a:pt x="40" y="49"/>
                    <a:pt x="40" y="49"/>
                  </a:cubicBezTo>
                  <a:cubicBezTo>
                    <a:pt x="9" y="49"/>
                    <a:pt x="9" y="49"/>
                    <a:pt x="9" y="49"/>
                  </a:cubicBezTo>
                  <a:cubicBezTo>
                    <a:pt x="7" y="49"/>
                    <a:pt x="6" y="48"/>
                    <a:pt x="6" y="46"/>
                  </a:cubicBezTo>
                  <a:cubicBezTo>
                    <a:pt x="6" y="43"/>
                    <a:pt x="7" y="42"/>
                    <a:pt x="9" y="42"/>
                  </a:cubicBezTo>
                  <a:cubicBezTo>
                    <a:pt x="40" y="42"/>
                    <a:pt x="40" y="42"/>
                    <a:pt x="40" y="42"/>
                  </a:cubicBezTo>
                  <a:cubicBezTo>
                    <a:pt x="40" y="31"/>
                    <a:pt x="40" y="31"/>
                    <a:pt x="40" y="31"/>
                  </a:cubicBezTo>
                  <a:cubicBezTo>
                    <a:pt x="21" y="31"/>
                    <a:pt x="21" y="31"/>
                    <a:pt x="21" y="31"/>
                  </a:cubicBezTo>
                  <a:cubicBezTo>
                    <a:pt x="19" y="31"/>
                    <a:pt x="18" y="30"/>
                    <a:pt x="18" y="28"/>
                  </a:cubicBezTo>
                  <a:cubicBezTo>
                    <a:pt x="18" y="26"/>
                    <a:pt x="19" y="25"/>
                    <a:pt x="21" y="25"/>
                  </a:cubicBezTo>
                  <a:close/>
                  <a:moveTo>
                    <a:pt x="20" y="54"/>
                  </a:moveTo>
                  <a:cubicBezTo>
                    <a:pt x="23" y="58"/>
                    <a:pt x="25" y="63"/>
                    <a:pt x="27" y="67"/>
                  </a:cubicBezTo>
                  <a:cubicBezTo>
                    <a:pt x="28" y="69"/>
                    <a:pt x="28" y="71"/>
                    <a:pt x="26" y="72"/>
                  </a:cubicBezTo>
                  <a:cubicBezTo>
                    <a:pt x="24" y="73"/>
                    <a:pt x="23" y="73"/>
                    <a:pt x="21" y="71"/>
                  </a:cubicBezTo>
                  <a:cubicBezTo>
                    <a:pt x="19" y="67"/>
                    <a:pt x="17" y="62"/>
                    <a:pt x="14" y="57"/>
                  </a:cubicBezTo>
                  <a:cubicBezTo>
                    <a:pt x="12" y="55"/>
                    <a:pt x="13" y="54"/>
                    <a:pt x="14" y="53"/>
                  </a:cubicBezTo>
                  <a:cubicBezTo>
                    <a:pt x="16" y="52"/>
                    <a:pt x="18" y="52"/>
                    <a:pt x="20" y="54"/>
                  </a:cubicBezTo>
                  <a:close/>
                </a:path>
              </a:pathLst>
            </a:custGeom>
            <a:solidFill>
              <a:srgbClr val="EA550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dirty="0">
                <a:latin typeface="微软雅黑" panose="020B0503020204020204" pitchFamily="34" charset="-122"/>
                <a:ea typeface="微软雅黑" panose="020B0503020204020204" pitchFamily="34" charset="-122"/>
              </a:endParaRPr>
            </a:p>
          </p:txBody>
        </p:sp>
        <p:sp>
          <p:nvSpPr>
            <p:cNvPr id="19" name="Freeform 9"/>
            <p:cNvSpPr>
              <a:spLocks noEditPoints="1"/>
            </p:cNvSpPr>
            <p:nvPr/>
          </p:nvSpPr>
          <p:spPr bwMode="auto">
            <a:xfrm>
              <a:off x="1168400" y="895350"/>
              <a:ext cx="136525" cy="139700"/>
            </a:xfrm>
            <a:custGeom>
              <a:avLst/>
              <a:gdLst>
                <a:gd name="T0" fmla="*/ 39 w 83"/>
                <a:gd name="T1" fmla="*/ 1 h 85"/>
                <a:gd name="T2" fmla="*/ 39 w 83"/>
                <a:gd name="T3" fmla="*/ 7 h 85"/>
                <a:gd name="T4" fmla="*/ 0 w 83"/>
                <a:gd name="T5" fmla="*/ 4 h 85"/>
                <a:gd name="T6" fmla="*/ 6 w 83"/>
                <a:gd name="T7" fmla="*/ 35 h 85"/>
                <a:gd name="T8" fmla="*/ 42 w 83"/>
                <a:gd name="T9" fmla="*/ 41 h 85"/>
                <a:gd name="T10" fmla="*/ 28 w 83"/>
                <a:gd name="T11" fmla="*/ 80 h 85"/>
                <a:gd name="T12" fmla="*/ 30 w 83"/>
                <a:gd name="T13" fmla="*/ 74 h 85"/>
                <a:gd name="T14" fmla="*/ 36 w 83"/>
                <a:gd name="T15" fmla="*/ 42 h 85"/>
                <a:gd name="T16" fmla="*/ 8 w 83"/>
                <a:gd name="T17" fmla="*/ 40 h 85"/>
                <a:gd name="T18" fmla="*/ 6 w 83"/>
                <a:gd name="T19" fmla="*/ 79 h 85"/>
                <a:gd name="T20" fmla="*/ 0 w 83"/>
                <a:gd name="T21" fmla="*/ 79 h 85"/>
                <a:gd name="T22" fmla="*/ 6 w 83"/>
                <a:gd name="T23" fmla="*/ 35 h 85"/>
                <a:gd name="T24" fmla="*/ 32 w 83"/>
                <a:gd name="T25" fmla="*/ 11 h 85"/>
                <a:gd name="T26" fmla="*/ 37 w 83"/>
                <a:gd name="T27" fmla="*/ 23 h 85"/>
                <a:gd name="T28" fmla="*/ 9 w 83"/>
                <a:gd name="T29" fmla="*/ 29 h 85"/>
                <a:gd name="T30" fmla="*/ 4 w 83"/>
                <a:gd name="T31" fmla="*/ 17 h 85"/>
                <a:gd name="T32" fmla="*/ 10 w 83"/>
                <a:gd name="T33" fmla="*/ 56 h 85"/>
                <a:gd name="T34" fmla="*/ 23 w 83"/>
                <a:gd name="T35" fmla="*/ 53 h 85"/>
                <a:gd name="T36" fmla="*/ 31 w 83"/>
                <a:gd name="T37" fmla="*/ 41 h 85"/>
                <a:gd name="T38" fmla="*/ 31 w 83"/>
                <a:gd name="T39" fmla="*/ 48 h 85"/>
                <a:gd name="T40" fmla="*/ 32 w 83"/>
                <a:gd name="T41" fmla="*/ 56 h 85"/>
                <a:gd name="T42" fmla="*/ 32 w 83"/>
                <a:gd name="T43" fmla="*/ 61 h 85"/>
                <a:gd name="T44" fmla="*/ 24 w 83"/>
                <a:gd name="T45" fmla="*/ 76 h 85"/>
                <a:gd name="T46" fmla="*/ 18 w 83"/>
                <a:gd name="T47" fmla="*/ 76 h 85"/>
                <a:gd name="T48" fmla="*/ 10 w 83"/>
                <a:gd name="T49" fmla="*/ 61 h 85"/>
                <a:gd name="T50" fmla="*/ 10 w 83"/>
                <a:gd name="T51" fmla="*/ 56 h 85"/>
                <a:gd name="T52" fmla="*/ 17 w 83"/>
                <a:gd name="T53" fmla="*/ 46 h 85"/>
                <a:gd name="T54" fmla="*/ 17 w 83"/>
                <a:gd name="T55" fmla="*/ 55 h 85"/>
                <a:gd name="T56" fmla="*/ 11 w 83"/>
                <a:gd name="T57" fmla="*/ 50 h 85"/>
                <a:gd name="T58" fmla="*/ 11 w 83"/>
                <a:gd name="T59" fmla="*/ 42 h 85"/>
                <a:gd name="T60" fmla="*/ 30 w 83"/>
                <a:gd name="T61" fmla="*/ 17 h 85"/>
                <a:gd name="T62" fmla="*/ 10 w 83"/>
                <a:gd name="T63" fmla="*/ 19 h 85"/>
                <a:gd name="T64" fmla="*/ 12 w 83"/>
                <a:gd name="T65" fmla="*/ 23 h 85"/>
                <a:gd name="T66" fmla="*/ 31 w 83"/>
                <a:gd name="T67" fmla="*/ 21 h 85"/>
                <a:gd name="T68" fmla="*/ 30 w 83"/>
                <a:gd name="T69" fmla="*/ 17 h 85"/>
                <a:gd name="T70" fmla="*/ 66 w 83"/>
                <a:gd name="T71" fmla="*/ 11 h 85"/>
                <a:gd name="T72" fmla="*/ 79 w 83"/>
                <a:gd name="T73" fmla="*/ 16 h 85"/>
                <a:gd name="T74" fmla="*/ 75 w 83"/>
                <a:gd name="T75" fmla="*/ 54 h 85"/>
                <a:gd name="T76" fmla="*/ 66 w 83"/>
                <a:gd name="T77" fmla="*/ 73 h 85"/>
                <a:gd name="T78" fmla="*/ 71 w 83"/>
                <a:gd name="T79" fmla="*/ 63 h 85"/>
                <a:gd name="T80" fmla="*/ 77 w 83"/>
                <a:gd name="T81" fmla="*/ 61 h 85"/>
                <a:gd name="T82" fmla="*/ 81 w 83"/>
                <a:gd name="T83" fmla="*/ 84 h 85"/>
                <a:gd name="T84" fmla="*/ 75 w 83"/>
                <a:gd name="T85" fmla="*/ 77 h 85"/>
                <a:gd name="T86" fmla="*/ 44 w 83"/>
                <a:gd name="T87" fmla="*/ 78 h 85"/>
                <a:gd name="T88" fmla="*/ 59 w 83"/>
                <a:gd name="T89" fmla="*/ 73 h 85"/>
                <a:gd name="T90" fmla="*/ 52 w 83"/>
                <a:gd name="T91" fmla="*/ 54 h 85"/>
                <a:gd name="T92" fmla="*/ 46 w 83"/>
                <a:gd name="T93" fmla="*/ 16 h 85"/>
                <a:gd name="T94" fmla="*/ 59 w 83"/>
                <a:gd name="T95" fmla="*/ 11 h 85"/>
                <a:gd name="T96" fmla="*/ 62 w 83"/>
                <a:gd name="T97" fmla="*/ 0 h 85"/>
                <a:gd name="T98" fmla="*/ 55 w 83"/>
                <a:gd name="T99" fmla="*/ 17 h 85"/>
                <a:gd name="T100" fmla="*/ 52 w 83"/>
                <a:gd name="T101" fmla="*/ 46 h 85"/>
                <a:gd name="T102" fmla="*/ 59 w 83"/>
                <a:gd name="T103" fmla="*/ 47 h 85"/>
                <a:gd name="T104" fmla="*/ 55 w 83"/>
                <a:gd name="T105" fmla="*/ 17 h 85"/>
                <a:gd name="T106" fmla="*/ 66 w 83"/>
                <a:gd name="T107" fmla="*/ 17 h 85"/>
                <a:gd name="T108" fmla="*/ 71 w 83"/>
                <a:gd name="T109" fmla="*/ 47 h 85"/>
                <a:gd name="T110" fmla="*/ 73 w 83"/>
                <a:gd name="T111" fmla="*/ 2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3" h="85">
                  <a:moveTo>
                    <a:pt x="4" y="1"/>
                  </a:moveTo>
                  <a:cubicBezTo>
                    <a:pt x="39" y="1"/>
                    <a:pt x="39" y="1"/>
                    <a:pt x="39" y="1"/>
                  </a:cubicBezTo>
                  <a:cubicBezTo>
                    <a:pt x="41" y="1"/>
                    <a:pt x="42" y="2"/>
                    <a:pt x="42" y="4"/>
                  </a:cubicBezTo>
                  <a:cubicBezTo>
                    <a:pt x="42" y="6"/>
                    <a:pt x="41" y="7"/>
                    <a:pt x="39" y="7"/>
                  </a:cubicBezTo>
                  <a:cubicBezTo>
                    <a:pt x="4" y="7"/>
                    <a:pt x="4" y="7"/>
                    <a:pt x="4" y="7"/>
                  </a:cubicBezTo>
                  <a:cubicBezTo>
                    <a:pt x="1" y="7"/>
                    <a:pt x="0" y="6"/>
                    <a:pt x="0" y="4"/>
                  </a:cubicBezTo>
                  <a:cubicBezTo>
                    <a:pt x="0" y="2"/>
                    <a:pt x="1" y="1"/>
                    <a:pt x="4" y="1"/>
                  </a:cubicBezTo>
                  <a:close/>
                  <a:moveTo>
                    <a:pt x="6" y="35"/>
                  </a:moveTo>
                  <a:cubicBezTo>
                    <a:pt x="35" y="35"/>
                    <a:pt x="35" y="35"/>
                    <a:pt x="35" y="35"/>
                  </a:cubicBezTo>
                  <a:cubicBezTo>
                    <a:pt x="40" y="35"/>
                    <a:pt x="43" y="37"/>
                    <a:pt x="42" y="41"/>
                  </a:cubicBezTo>
                  <a:cubicBezTo>
                    <a:pt x="42" y="74"/>
                    <a:pt x="42" y="74"/>
                    <a:pt x="42" y="74"/>
                  </a:cubicBezTo>
                  <a:cubicBezTo>
                    <a:pt x="42" y="81"/>
                    <a:pt x="37" y="82"/>
                    <a:pt x="28" y="80"/>
                  </a:cubicBezTo>
                  <a:cubicBezTo>
                    <a:pt x="26" y="79"/>
                    <a:pt x="26" y="78"/>
                    <a:pt x="26" y="76"/>
                  </a:cubicBezTo>
                  <a:cubicBezTo>
                    <a:pt x="27" y="74"/>
                    <a:pt x="28" y="74"/>
                    <a:pt x="30" y="74"/>
                  </a:cubicBezTo>
                  <a:cubicBezTo>
                    <a:pt x="34" y="76"/>
                    <a:pt x="36" y="76"/>
                    <a:pt x="36" y="73"/>
                  </a:cubicBezTo>
                  <a:cubicBezTo>
                    <a:pt x="36" y="42"/>
                    <a:pt x="36" y="42"/>
                    <a:pt x="36" y="42"/>
                  </a:cubicBezTo>
                  <a:cubicBezTo>
                    <a:pt x="36" y="41"/>
                    <a:pt x="36" y="40"/>
                    <a:pt x="35" y="40"/>
                  </a:cubicBezTo>
                  <a:cubicBezTo>
                    <a:pt x="8" y="40"/>
                    <a:pt x="8" y="40"/>
                    <a:pt x="8" y="40"/>
                  </a:cubicBezTo>
                  <a:cubicBezTo>
                    <a:pt x="6" y="40"/>
                    <a:pt x="5" y="41"/>
                    <a:pt x="6" y="43"/>
                  </a:cubicBezTo>
                  <a:cubicBezTo>
                    <a:pt x="6" y="79"/>
                    <a:pt x="6" y="79"/>
                    <a:pt x="6" y="79"/>
                  </a:cubicBezTo>
                  <a:cubicBezTo>
                    <a:pt x="5" y="81"/>
                    <a:pt x="4" y="82"/>
                    <a:pt x="3" y="82"/>
                  </a:cubicBezTo>
                  <a:cubicBezTo>
                    <a:pt x="1" y="82"/>
                    <a:pt x="0" y="81"/>
                    <a:pt x="0" y="79"/>
                  </a:cubicBezTo>
                  <a:cubicBezTo>
                    <a:pt x="0" y="40"/>
                    <a:pt x="0" y="40"/>
                    <a:pt x="0" y="40"/>
                  </a:cubicBezTo>
                  <a:cubicBezTo>
                    <a:pt x="0" y="37"/>
                    <a:pt x="2" y="35"/>
                    <a:pt x="6" y="35"/>
                  </a:cubicBezTo>
                  <a:close/>
                  <a:moveTo>
                    <a:pt x="9" y="11"/>
                  </a:moveTo>
                  <a:cubicBezTo>
                    <a:pt x="32" y="11"/>
                    <a:pt x="32" y="11"/>
                    <a:pt x="32" y="11"/>
                  </a:cubicBezTo>
                  <a:cubicBezTo>
                    <a:pt x="36" y="11"/>
                    <a:pt x="38" y="13"/>
                    <a:pt x="37" y="17"/>
                  </a:cubicBezTo>
                  <a:cubicBezTo>
                    <a:pt x="37" y="23"/>
                    <a:pt x="37" y="23"/>
                    <a:pt x="37" y="23"/>
                  </a:cubicBezTo>
                  <a:cubicBezTo>
                    <a:pt x="38" y="28"/>
                    <a:pt x="36" y="30"/>
                    <a:pt x="32" y="29"/>
                  </a:cubicBezTo>
                  <a:cubicBezTo>
                    <a:pt x="9" y="29"/>
                    <a:pt x="9" y="29"/>
                    <a:pt x="9" y="29"/>
                  </a:cubicBezTo>
                  <a:cubicBezTo>
                    <a:pt x="5" y="29"/>
                    <a:pt x="4" y="27"/>
                    <a:pt x="4" y="23"/>
                  </a:cubicBezTo>
                  <a:cubicBezTo>
                    <a:pt x="4" y="17"/>
                    <a:pt x="4" y="17"/>
                    <a:pt x="4" y="17"/>
                  </a:cubicBezTo>
                  <a:cubicBezTo>
                    <a:pt x="3" y="13"/>
                    <a:pt x="5" y="11"/>
                    <a:pt x="9" y="11"/>
                  </a:cubicBezTo>
                  <a:close/>
                  <a:moveTo>
                    <a:pt x="10" y="56"/>
                  </a:moveTo>
                  <a:cubicBezTo>
                    <a:pt x="22" y="56"/>
                    <a:pt x="22" y="56"/>
                    <a:pt x="22" y="56"/>
                  </a:cubicBezTo>
                  <a:cubicBezTo>
                    <a:pt x="22" y="55"/>
                    <a:pt x="22" y="54"/>
                    <a:pt x="23" y="53"/>
                  </a:cubicBezTo>
                  <a:cubicBezTo>
                    <a:pt x="24" y="50"/>
                    <a:pt x="26" y="46"/>
                    <a:pt x="27" y="43"/>
                  </a:cubicBezTo>
                  <a:cubicBezTo>
                    <a:pt x="28" y="41"/>
                    <a:pt x="29" y="41"/>
                    <a:pt x="31" y="41"/>
                  </a:cubicBezTo>
                  <a:cubicBezTo>
                    <a:pt x="33" y="42"/>
                    <a:pt x="33" y="44"/>
                    <a:pt x="33" y="46"/>
                  </a:cubicBezTo>
                  <a:cubicBezTo>
                    <a:pt x="32" y="47"/>
                    <a:pt x="32" y="47"/>
                    <a:pt x="31" y="48"/>
                  </a:cubicBezTo>
                  <a:cubicBezTo>
                    <a:pt x="30" y="52"/>
                    <a:pt x="29" y="54"/>
                    <a:pt x="28" y="56"/>
                  </a:cubicBezTo>
                  <a:cubicBezTo>
                    <a:pt x="32" y="56"/>
                    <a:pt x="32" y="56"/>
                    <a:pt x="32" y="56"/>
                  </a:cubicBezTo>
                  <a:cubicBezTo>
                    <a:pt x="33" y="56"/>
                    <a:pt x="34" y="57"/>
                    <a:pt x="34" y="59"/>
                  </a:cubicBezTo>
                  <a:cubicBezTo>
                    <a:pt x="34" y="61"/>
                    <a:pt x="33" y="61"/>
                    <a:pt x="32" y="61"/>
                  </a:cubicBezTo>
                  <a:cubicBezTo>
                    <a:pt x="24" y="61"/>
                    <a:pt x="24" y="61"/>
                    <a:pt x="24" y="61"/>
                  </a:cubicBezTo>
                  <a:cubicBezTo>
                    <a:pt x="24" y="76"/>
                    <a:pt x="24" y="76"/>
                    <a:pt x="24" y="76"/>
                  </a:cubicBezTo>
                  <a:cubicBezTo>
                    <a:pt x="23" y="77"/>
                    <a:pt x="22" y="78"/>
                    <a:pt x="20" y="78"/>
                  </a:cubicBezTo>
                  <a:cubicBezTo>
                    <a:pt x="19" y="78"/>
                    <a:pt x="18" y="77"/>
                    <a:pt x="18" y="76"/>
                  </a:cubicBezTo>
                  <a:cubicBezTo>
                    <a:pt x="18" y="61"/>
                    <a:pt x="18" y="61"/>
                    <a:pt x="18" y="61"/>
                  </a:cubicBezTo>
                  <a:cubicBezTo>
                    <a:pt x="10" y="61"/>
                    <a:pt x="10" y="61"/>
                    <a:pt x="10" y="61"/>
                  </a:cubicBezTo>
                  <a:cubicBezTo>
                    <a:pt x="8" y="61"/>
                    <a:pt x="7" y="61"/>
                    <a:pt x="7" y="59"/>
                  </a:cubicBezTo>
                  <a:cubicBezTo>
                    <a:pt x="7" y="57"/>
                    <a:pt x="8" y="56"/>
                    <a:pt x="10" y="56"/>
                  </a:cubicBezTo>
                  <a:close/>
                  <a:moveTo>
                    <a:pt x="15" y="43"/>
                  </a:moveTo>
                  <a:cubicBezTo>
                    <a:pt x="15" y="44"/>
                    <a:pt x="16" y="45"/>
                    <a:pt x="17" y="46"/>
                  </a:cubicBezTo>
                  <a:cubicBezTo>
                    <a:pt x="17" y="48"/>
                    <a:pt x="18" y="49"/>
                    <a:pt x="19" y="51"/>
                  </a:cubicBezTo>
                  <a:cubicBezTo>
                    <a:pt x="19" y="53"/>
                    <a:pt x="19" y="54"/>
                    <a:pt x="17" y="55"/>
                  </a:cubicBezTo>
                  <a:cubicBezTo>
                    <a:pt x="15" y="56"/>
                    <a:pt x="13" y="55"/>
                    <a:pt x="13" y="53"/>
                  </a:cubicBezTo>
                  <a:cubicBezTo>
                    <a:pt x="12" y="52"/>
                    <a:pt x="12" y="51"/>
                    <a:pt x="11" y="50"/>
                  </a:cubicBezTo>
                  <a:cubicBezTo>
                    <a:pt x="11" y="48"/>
                    <a:pt x="10" y="47"/>
                    <a:pt x="10" y="46"/>
                  </a:cubicBezTo>
                  <a:cubicBezTo>
                    <a:pt x="9" y="44"/>
                    <a:pt x="9" y="43"/>
                    <a:pt x="11" y="42"/>
                  </a:cubicBezTo>
                  <a:cubicBezTo>
                    <a:pt x="13" y="41"/>
                    <a:pt x="14" y="41"/>
                    <a:pt x="15" y="43"/>
                  </a:cubicBezTo>
                  <a:close/>
                  <a:moveTo>
                    <a:pt x="30" y="17"/>
                  </a:moveTo>
                  <a:cubicBezTo>
                    <a:pt x="11" y="17"/>
                    <a:pt x="11" y="17"/>
                    <a:pt x="11" y="17"/>
                  </a:cubicBezTo>
                  <a:cubicBezTo>
                    <a:pt x="10" y="17"/>
                    <a:pt x="9" y="18"/>
                    <a:pt x="10" y="19"/>
                  </a:cubicBezTo>
                  <a:cubicBezTo>
                    <a:pt x="10" y="21"/>
                    <a:pt x="10" y="21"/>
                    <a:pt x="10" y="21"/>
                  </a:cubicBezTo>
                  <a:cubicBezTo>
                    <a:pt x="10" y="23"/>
                    <a:pt x="10" y="23"/>
                    <a:pt x="12" y="23"/>
                  </a:cubicBezTo>
                  <a:cubicBezTo>
                    <a:pt x="30" y="23"/>
                    <a:pt x="30" y="23"/>
                    <a:pt x="30" y="23"/>
                  </a:cubicBezTo>
                  <a:cubicBezTo>
                    <a:pt x="31" y="23"/>
                    <a:pt x="31" y="23"/>
                    <a:pt x="31" y="21"/>
                  </a:cubicBezTo>
                  <a:cubicBezTo>
                    <a:pt x="31" y="19"/>
                    <a:pt x="31" y="19"/>
                    <a:pt x="31" y="19"/>
                  </a:cubicBezTo>
                  <a:cubicBezTo>
                    <a:pt x="31" y="18"/>
                    <a:pt x="31" y="17"/>
                    <a:pt x="30" y="17"/>
                  </a:cubicBezTo>
                  <a:close/>
                  <a:moveTo>
                    <a:pt x="66" y="3"/>
                  </a:moveTo>
                  <a:cubicBezTo>
                    <a:pt x="66" y="11"/>
                    <a:pt x="66" y="11"/>
                    <a:pt x="66" y="11"/>
                  </a:cubicBezTo>
                  <a:cubicBezTo>
                    <a:pt x="74" y="11"/>
                    <a:pt x="74" y="11"/>
                    <a:pt x="74" y="11"/>
                  </a:cubicBezTo>
                  <a:cubicBezTo>
                    <a:pt x="78" y="11"/>
                    <a:pt x="79" y="12"/>
                    <a:pt x="79" y="16"/>
                  </a:cubicBezTo>
                  <a:cubicBezTo>
                    <a:pt x="79" y="48"/>
                    <a:pt x="79" y="48"/>
                    <a:pt x="79" y="48"/>
                  </a:cubicBezTo>
                  <a:cubicBezTo>
                    <a:pt x="79" y="52"/>
                    <a:pt x="78" y="54"/>
                    <a:pt x="75" y="54"/>
                  </a:cubicBezTo>
                  <a:cubicBezTo>
                    <a:pt x="66" y="54"/>
                    <a:pt x="66" y="54"/>
                    <a:pt x="66" y="54"/>
                  </a:cubicBezTo>
                  <a:cubicBezTo>
                    <a:pt x="66" y="73"/>
                    <a:pt x="66" y="73"/>
                    <a:pt x="66" y="73"/>
                  </a:cubicBezTo>
                  <a:cubicBezTo>
                    <a:pt x="74" y="72"/>
                    <a:pt x="74" y="72"/>
                    <a:pt x="74" y="72"/>
                  </a:cubicBezTo>
                  <a:cubicBezTo>
                    <a:pt x="72" y="67"/>
                    <a:pt x="71" y="64"/>
                    <a:pt x="71" y="63"/>
                  </a:cubicBezTo>
                  <a:cubicBezTo>
                    <a:pt x="70" y="61"/>
                    <a:pt x="71" y="60"/>
                    <a:pt x="73" y="59"/>
                  </a:cubicBezTo>
                  <a:cubicBezTo>
                    <a:pt x="75" y="59"/>
                    <a:pt x="76" y="59"/>
                    <a:pt x="77" y="61"/>
                  </a:cubicBezTo>
                  <a:cubicBezTo>
                    <a:pt x="80" y="69"/>
                    <a:pt x="82" y="76"/>
                    <a:pt x="83" y="81"/>
                  </a:cubicBezTo>
                  <a:cubicBezTo>
                    <a:pt x="83" y="83"/>
                    <a:pt x="83" y="84"/>
                    <a:pt x="81" y="84"/>
                  </a:cubicBezTo>
                  <a:cubicBezTo>
                    <a:pt x="79" y="85"/>
                    <a:pt x="77" y="84"/>
                    <a:pt x="77" y="82"/>
                  </a:cubicBezTo>
                  <a:cubicBezTo>
                    <a:pt x="77" y="82"/>
                    <a:pt x="76" y="80"/>
                    <a:pt x="75" y="77"/>
                  </a:cubicBezTo>
                  <a:cubicBezTo>
                    <a:pt x="58" y="79"/>
                    <a:pt x="48" y="81"/>
                    <a:pt x="48" y="81"/>
                  </a:cubicBezTo>
                  <a:cubicBezTo>
                    <a:pt x="46" y="81"/>
                    <a:pt x="44" y="80"/>
                    <a:pt x="44" y="78"/>
                  </a:cubicBezTo>
                  <a:cubicBezTo>
                    <a:pt x="44" y="76"/>
                    <a:pt x="45" y="75"/>
                    <a:pt x="47" y="74"/>
                  </a:cubicBezTo>
                  <a:cubicBezTo>
                    <a:pt x="48" y="74"/>
                    <a:pt x="52" y="74"/>
                    <a:pt x="59" y="73"/>
                  </a:cubicBezTo>
                  <a:cubicBezTo>
                    <a:pt x="59" y="54"/>
                    <a:pt x="59" y="54"/>
                    <a:pt x="59" y="54"/>
                  </a:cubicBezTo>
                  <a:cubicBezTo>
                    <a:pt x="52" y="54"/>
                    <a:pt x="52" y="54"/>
                    <a:pt x="52" y="54"/>
                  </a:cubicBezTo>
                  <a:cubicBezTo>
                    <a:pt x="48" y="54"/>
                    <a:pt x="45" y="52"/>
                    <a:pt x="46" y="49"/>
                  </a:cubicBezTo>
                  <a:cubicBezTo>
                    <a:pt x="46" y="16"/>
                    <a:pt x="46" y="16"/>
                    <a:pt x="46" y="16"/>
                  </a:cubicBezTo>
                  <a:cubicBezTo>
                    <a:pt x="46" y="12"/>
                    <a:pt x="48" y="11"/>
                    <a:pt x="52" y="11"/>
                  </a:cubicBezTo>
                  <a:cubicBezTo>
                    <a:pt x="59" y="11"/>
                    <a:pt x="59" y="11"/>
                    <a:pt x="59" y="11"/>
                  </a:cubicBezTo>
                  <a:cubicBezTo>
                    <a:pt x="59" y="3"/>
                    <a:pt x="59" y="3"/>
                    <a:pt x="59" y="3"/>
                  </a:cubicBezTo>
                  <a:cubicBezTo>
                    <a:pt x="59" y="1"/>
                    <a:pt x="60" y="0"/>
                    <a:pt x="62" y="0"/>
                  </a:cubicBezTo>
                  <a:cubicBezTo>
                    <a:pt x="65" y="0"/>
                    <a:pt x="66" y="1"/>
                    <a:pt x="66" y="3"/>
                  </a:cubicBezTo>
                  <a:close/>
                  <a:moveTo>
                    <a:pt x="55" y="17"/>
                  </a:moveTo>
                  <a:cubicBezTo>
                    <a:pt x="53" y="17"/>
                    <a:pt x="52" y="18"/>
                    <a:pt x="52" y="20"/>
                  </a:cubicBezTo>
                  <a:cubicBezTo>
                    <a:pt x="52" y="46"/>
                    <a:pt x="52" y="46"/>
                    <a:pt x="52" y="46"/>
                  </a:cubicBezTo>
                  <a:cubicBezTo>
                    <a:pt x="52" y="47"/>
                    <a:pt x="53" y="48"/>
                    <a:pt x="54" y="47"/>
                  </a:cubicBezTo>
                  <a:cubicBezTo>
                    <a:pt x="59" y="47"/>
                    <a:pt x="59" y="47"/>
                    <a:pt x="59" y="47"/>
                  </a:cubicBezTo>
                  <a:cubicBezTo>
                    <a:pt x="59" y="17"/>
                    <a:pt x="59" y="17"/>
                    <a:pt x="59" y="17"/>
                  </a:cubicBezTo>
                  <a:lnTo>
                    <a:pt x="55" y="17"/>
                  </a:lnTo>
                  <a:close/>
                  <a:moveTo>
                    <a:pt x="71" y="17"/>
                  </a:moveTo>
                  <a:cubicBezTo>
                    <a:pt x="66" y="17"/>
                    <a:pt x="66" y="17"/>
                    <a:pt x="66" y="17"/>
                  </a:cubicBezTo>
                  <a:cubicBezTo>
                    <a:pt x="66" y="47"/>
                    <a:pt x="66" y="47"/>
                    <a:pt x="66" y="47"/>
                  </a:cubicBezTo>
                  <a:cubicBezTo>
                    <a:pt x="71" y="47"/>
                    <a:pt x="71" y="47"/>
                    <a:pt x="71" y="47"/>
                  </a:cubicBezTo>
                  <a:cubicBezTo>
                    <a:pt x="72" y="48"/>
                    <a:pt x="73" y="47"/>
                    <a:pt x="73" y="46"/>
                  </a:cubicBezTo>
                  <a:cubicBezTo>
                    <a:pt x="73" y="20"/>
                    <a:pt x="73" y="20"/>
                    <a:pt x="73" y="20"/>
                  </a:cubicBezTo>
                  <a:cubicBezTo>
                    <a:pt x="73" y="18"/>
                    <a:pt x="72" y="17"/>
                    <a:pt x="71" y="17"/>
                  </a:cubicBezTo>
                  <a:close/>
                </a:path>
              </a:pathLst>
            </a:custGeom>
            <a:solidFill>
              <a:srgbClr val="EA550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dirty="0">
                <a:latin typeface="微软雅黑" panose="020B0503020204020204" pitchFamily="34" charset="-122"/>
                <a:ea typeface="微软雅黑" panose="020B0503020204020204" pitchFamily="34" charset="-122"/>
              </a:endParaRPr>
            </a:p>
          </p:txBody>
        </p:sp>
        <p:sp>
          <p:nvSpPr>
            <p:cNvPr id="20" name="Freeform 10"/>
            <p:cNvSpPr>
              <a:spLocks noEditPoints="1"/>
            </p:cNvSpPr>
            <p:nvPr/>
          </p:nvSpPr>
          <p:spPr bwMode="auto">
            <a:xfrm>
              <a:off x="1476375" y="896938"/>
              <a:ext cx="144463" cy="136525"/>
            </a:xfrm>
            <a:custGeom>
              <a:avLst/>
              <a:gdLst>
                <a:gd name="T0" fmla="*/ 34 w 88"/>
                <a:gd name="T1" fmla="*/ 0 h 83"/>
                <a:gd name="T2" fmla="*/ 38 w 88"/>
                <a:gd name="T3" fmla="*/ 2 h 83"/>
                <a:gd name="T4" fmla="*/ 36 w 88"/>
                <a:gd name="T5" fmla="*/ 6 h 83"/>
                <a:gd name="T6" fmla="*/ 25 w 88"/>
                <a:gd name="T7" fmla="*/ 8 h 83"/>
                <a:gd name="T8" fmla="*/ 25 w 88"/>
                <a:gd name="T9" fmla="*/ 23 h 83"/>
                <a:gd name="T10" fmla="*/ 37 w 88"/>
                <a:gd name="T11" fmla="*/ 23 h 83"/>
                <a:gd name="T12" fmla="*/ 37 w 88"/>
                <a:gd name="T13" fmla="*/ 30 h 83"/>
                <a:gd name="T14" fmla="*/ 25 w 88"/>
                <a:gd name="T15" fmla="*/ 30 h 83"/>
                <a:gd name="T16" fmla="*/ 25 w 88"/>
                <a:gd name="T17" fmla="*/ 32 h 83"/>
                <a:gd name="T18" fmla="*/ 39 w 88"/>
                <a:gd name="T19" fmla="*/ 49 h 83"/>
                <a:gd name="T20" fmla="*/ 38 w 88"/>
                <a:gd name="T21" fmla="*/ 54 h 83"/>
                <a:gd name="T22" fmla="*/ 34 w 88"/>
                <a:gd name="T23" fmla="*/ 53 h 83"/>
                <a:gd name="T24" fmla="*/ 25 w 88"/>
                <a:gd name="T25" fmla="*/ 41 h 83"/>
                <a:gd name="T26" fmla="*/ 25 w 88"/>
                <a:gd name="T27" fmla="*/ 79 h 83"/>
                <a:gd name="T28" fmla="*/ 22 w 88"/>
                <a:gd name="T29" fmla="*/ 82 h 83"/>
                <a:gd name="T30" fmla="*/ 19 w 88"/>
                <a:gd name="T31" fmla="*/ 79 h 83"/>
                <a:gd name="T32" fmla="*/ 19 w 88"/>
                <a:gd name="T33" fmla="*/ 42 h 83"/>
                <a:gd name="T34" fmla="*/ 7 w 88"/>
                <a:gd name="T35" fmla="*/ 59 h 83"/>
                <a:gd name="T36" fmla="*/ 1 w 88"/>
                <a:gd name="T37" fmla="*/ 59 h 83"/>
                <a:gd name="T38" fmla="*/ 2 w 88"/>
                <a:gd name="T39" fmla="*/ 54 h 83"/>
                <a:gd name="T40" fmla="*/ 18 w 88"/>
                <a:gd name="T41" fmla="*/ 30 h 83"/>
                <a:gd name="T42" fmla="*/ 5 w 88"/>
                <a:gd name="T43" fmla="*/ 30 h 83"/>
                <a:gd name="T44" fmla="*/ 5 w 88"/>
                <a:gd name="T45" fmla="*/ 23 h 83"/>
                <a:gd name="T46" fmla="*/ 19 w 88"/>
                <a:gd name="T47" fmla="*/ 23 h 83"/>
                <a:gd name="T48" fmla="*/ 19 w 88"/>
                <a:gd name="T49" fmla="*/ 9 h 83"/>
                <a:gd name="T50" fmla="*/ 7 w 88"/>
                <a:gd name="T51" fmla="*/ 10 h 83"/>
                <a:gd name="T52" fmla="*/ 6 w 88"/>
                <a:gd name="T53" fmla="*/ 3 h 83"/>
                <a:gd name="T54" fmla="*/ 34 w 88"/>
                <a:gd name="T55" fmla="*/ 0 h 83"/>
                <a:gd name="T56" fmla="*/ 76 w 88"/>
                <a:gd name="T57" fmla="*/ 4 h 83"/>
                <a:gd name="T58" fmla="*/ 76 w 88"/>
                <a:gd name="T59" fmla="*/ 52 h 83"/>
                <a:gd name="T60" fmla="*/ 81 w 88"/>
                <a:gd name="T61" fmla="*/ 51 h 83"/>
                <a:gd name="T62" fmla="*/ 84 w 88"/>
                <a:gd name="T63" fmla="*/ 50 h 83"/>
                <a:gd name="T64" fmla="*/ 85 w 88"/>
                <a:gd name="T65" fmla="*/ 58 h 83"/>
                <a:gd name="T66" fmla="*/ 76 w 88"/>
                <a:gd name="T67" fmla="*/ 59 h 83"/>
                <a:gd name="T68" fmla="*/ 76 w 88"/>
                <a:gd name="T69" fmla="*/ 80 h 83"/>
                <a:gd name="T70" fmla="*/ 72 w 88"/>
                <a:gd name="T71" fmla="*/ 83 h 83"/>
                <a:gd name="T72" fmla="*/ 69 w 88"/>
                <a:gd name="T73" fmla="*/ 80 h 83"/>
                <a:gd name="T74" fmla="*/ 69 w 88"/>
                <a:gd name="T75" fmla="*/ 60 h 83"/>
                <a:gd name="T76" fmla="*/ 37 w 88"/>
                <a:gd name="T77" fmla="*/ 65 h 83"/>
                <a:gd name="T78" fmla="*/ 33 w 88"/>
                <a:gd name="T79" fmla="*/ 62 h 83"/>
                <a:gd name="T80" fmla="*/ 36 w 88"/>
                <a:gd name="T81" fmla="*/ 58 h 83"/>
                <a:gd name="T82" fmla="*/ 42 w 88"/>
                <a:gd name="T83" fmla="*/ 57 h 83"/>
                <a:gd name="T84" fmla="*/ 69 w 88"/>
                <a:gd name="T85" fmla="*/ 53 h 83"/>
                <a:gd name="T86" fmla="*/ 69 w 88"/>
                <a:gd name="T87" fmla="*/ 5 h 83"/>
                <a:gd name="T88" fmla="*/ 72 w 88"/>
                <a:gd name="T89" fmla="*/ 2 h 83"/>
                <a:gd name="T90" fmla="*/ 76 w 88"/>
                <a:gd name="T91" fmla="*/ 4 h 83"/>
                <a:gd name="T92" fmla="*/ 47 w 88"/>
                <a:gd name="T93" fmla="*/ 26 h 83"/>
                <a:gd name="T94" fmla="*/ 60 w 88"/>
                <a:gd name="T95" fmla="*/ 40 h 83"/>
                <a:gd name="T96" fmla="*/ 59 w 88"/>
                <a:gd name="T97" fmla="*/ 45 h 83"/>
                <a:gd name="T98" fmla="*/ 55 w 88"/>
                <a:gd name="T99" fmla="*/ 45 h 83"/>
                <a:gd name="T100" fmla="*/ 42 w 88"/>
                <a:gd name="T101" fmla="*/ 31 h 83"/>
                <a:gd name="T102" fmla="*/ 42 w 88"/>
                <a:gd name="T103" fmla="*/ 26 h 83"/>
                <a:gd name="T104" fmla="*/ 47 w 88"/>
                <a:gd name="T105" fmla="*/ 26 h 83"/>
                <a:gd name="T106" fmla="*/ 51 w 88"/>
                <a:gd name="T107" fmla="*/ 5 h 83"/>
                <a:gd name="T108" fmla="*/ 65 w 88"/>
                <a:gd name="T109" fmla="*/ 21 h 83"/>
                <a:gd name="T110" fmla="*/ 64 w 88"/>
                <a:gd name="T111" fmla="*/ 26 h 83"/>
                <a:gd name="T112" fmla="*/ 60 w 88"/>
                <a:gd name="T113" fmla="*/ 25 h 83"/>
                <a:gd name="T114" fmla="*/ 46 w 88"/>
                <a:gd name="T115" fmla="*/ 10 h 83"/>
                <a:gd name="T116" fmla="*/ 46 w 88"/>
                <a:gd name="T117" fmla="*/ 5 h 83"/>
                <a:gd name="T118" fmla="*/ 51 w 88"/>
                <a:gd name="T119" fmla="*/ 5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8" h="83">
                  <a:moveTo>
                    <a:pt x="34" y="0"/>
                  </a:moveTo>
                  <a:cubicBezTo>
                    <a:pt x="36" y="0"/>
                    <a:pt x="38" y="0"/>
                    <a:pt x="38" y="2"/>
                  </a:cubicBezTo>
                  <a:cubicBezTo>
                    <a:pt x="39" y="4"/>
                    <a:pt x="38" y="6"/>
                    <a:pt x="36" y="6"/>
                  </a:cubicBezTo>
                  <a:cubicBezTo>
                    <a:pt x="33" y="7"/>
                    <a:pt x="29" y="8"/>
                    <a:pt x="25" y="8"/>
                  </a:cubicBezTo>
                  <a:cubicBezTo>
                    <a:pt x="25" y="23"/>
                    <a:pt x="25" y="23"/>
                    <a:pt x="25" y="23"/>
                  </a:cubicBezTo>
                  <a:cubicBezTo>
                    <a:pt x="37" y="23"/>
                    <a:pt x="37" y="23"/>
                    <a:pt x="37" y="23"/>
                  </a:cubicBezTo>
                  <a:cubicBezTo>
                    <a:pt x="41" y="26"/>
                    <a:pt x="41" y="28"/>
                    <a:pt x="37" y="30"/>
                  </a:cubicBezTo>
                  <a:cubicBezTo>
                    <a:pt x="25" y="30"/>
                    <a:pt x="25" y="30"/>
                    <a:pt x="25" y="30"/>
                  </a:cubicBezTo>
                  <a:cubicBezTo>
                    <a:pt x="25" y="32"/>
                    <a:pt x="25" y="32"/>
                    <a:pt x="25" y="32"/>
                  </a:cubicBezTo>
                  <a:cubicBezTo>
                    <a:pt x="31" y="38"/>
                    <a:pt x="36" y="43"/>
                    <a:pt x="39" y="49"/>
                  </a:cubicBezTo>
                  <a:cubicBezTo>
                    <a:pt x="40" y="51"/>
                    <a:pt x="40" y="53"/>
                    <a:pt x="38" y="54"/>
                  </a:cubicBezTo>
                  <a:cubicBezTo>
                    <a:pt x="36" y="56"/>
                    <a:pt x="35" y="55"/>
                    <a:pt x="34" y="53"/>
                  </a:cubicBezTo>
                  <a:cubicBezTo>
                    <a:pt x="32" y="50"/>
                    <a:pt x="29" y="46"/>
                    <a:pt x="25" y="41"/>
                  </a:cubicBezTo>
                  <a:cubicBezTo>
                    <a:pt x="25" y="79"/>
                    <a:pt x="25" y="79"/>
                    <a:pt x="25" y="79"/>
                  </a:cubicBezTo>
                  <a:cubicBezTo>
                    <a:pt x="25" y="80"/>
                    <a:pt x="24" y="81"/>
                    <a:pt x="22" y="82"/>
                  </a:cubicBezTo>
                  <a:cubicBezTo>
                    <a:pt x="20" y="81"/>
                    <a:pt x="19" y="80"/>
                    <a:pt x="19" y="79"/>
                  </a:cubicBezTo>
                  <a:cubicBezTo>
                    <a:pt x="19" y="42"/>
                    <a:pt x="19" y="42"/>
                    <a:pt x="19" y="42"/>
                  </a:cubicBezTo>
                  <a:cubicBezTo>
                    <a:pt x="15" y="49"/>
                    <a:pt x="11" y="54"/>
                    <a:pt x="7" y="59"/>
                  </a:cubicBezTo>
                  <a:cubicBezTo>
                    <a:pt x="5" y="61"/>
                    <a:pt x="3" y="61"/>
                    <a:pt x="1" y="59"/>
                  </a:cubicBezTo>
                  <a:cubicBezTo>
                    <a:pt x="0" y="58"/>
                    <a:pt x="0" y="56"/>
                    <a:pt x="2" y="54"/>
                  </a:cubicBezTo>
                  <a:cubicBezTo>
                    <a:pt x="9" y="48"/>
                    <a:pt x="14" y="40"/>
                    <a:pt x="18" y="30"/>
                  </a:cubicBezTo>
                  <a:cubicBezTo>
                    <a:pt x="5" y="30"/>
                    <a:pt x="5" y="30"/>
                    <a:pt x="5" y="30"/>
                  </a:cubicBezTo>
                  <a:cubicBezTo>
                    <a:pt x="1" y="28"/>
                    <a:pt x="1" y="25"/>
                    <a:pt x="5" y="23"/>
                  </a:cubicBezTo>
                  <a:cubicBezTo>
                    <a:pt x="19" y="23"/>
                    <a:pt x="19" y="23"/>
                    <a:pt x="19" y="23"/>
                  </a:cubicBezTo>
                  <a:cubicBezTo>
                    <a:pt x="19" y="9"/>
                    <a:pt x="19" y="9"/>
                    <a:pt x="19" y="9"/>
                  </a:cubicBezTo>
                  <a:cubicBezTo>
                    <a:pt x="15" y="10"/>
                    <a:pt x="11" y="10"/>
                    <a:pt x="7" y="10"/>
                  </a:cubicBezTo>
                  <a:cubicBezTo>
                    <a:pt x="3" y="9"/>
                    <a:pt x="3" y="6"/>
                    <a:pt x="6" y="3"/>
                  </a:cubicBezTo>
                  <a:cubicBezTo>
                    <a:pt x="15" y="3"/>
                    <a:pt x="25" y="2"/>
                    <a:pt x="34" y="0"/>
                  </a:cubicBezTo>
                  <a:close/>
                  <a:moveTo>
                    <a:pt x="76" y="4"/>
                  </a:moveTo>
                  <a:cubicBezTo>
                    <a:pt x="76" y="52"/>
                    <a:pt x="76" y="52"/>
                    <a:pt x="76" y="52"/>
                  </a:cubicBezTo>
                  <a:cubicBezTo>
                    <a:pt x="77" y="51"/>
                    <a:pt x="79" y="51"/>
                    <a:pt x="81" y="51"/>
                  </a:cubicBezTo>
                  <a:cubicBezTo>
                    <a:pt x="83" y="51"/>
                    <a:pt x="84" y="50"/>
                    <a:pt x="84" y="50"/>
                  </a:cubicBezTo>
                  <a:cubicBezTo>
                    <a:pt x="88" y="53"/>
                    <a:pt x="88" y="55"/>
                    <a:pt x="85" y="58"/>
                  </a:cubicBezTo>
                  <a:cubicBezTo>
                    <a:pt x="80" y="58"/>
                    <a:pt x="77" y="59"/>
                    <a:pt x="76" y="59"/>
                  </a:cubicBezTo>
                  <a:cubicBezTo>
                    <a:pt x="76" y="80"/>
                    <a:pt x="76" y="80"/>
                    <a:pt x="76" y="80"/>
                  </a:cubicBezTo>
                  <a:cubicBezTo>
                    <a:pt x="75" y="82"/>
                    <a:pt x="74" y="83"/>
                    <a:pt x="72" y="83"/>
                  </a:cubicBezTo>
                  <a:cubicBezTo>
                    <a:pt x="70" y="83"/>
                    <a:pt x="69" y="82"/>
                    <a:pt x="69" y="80"/>
                  </a:cubicBezTo>
                  <a:cubicBezTo>
                    <a:pt x="69" y="60"/>
                    <a:pt x="69" y="60"/>
                    <a:pt x="69" y="60"/>
                  </a:cubicBezTo>
                  <a:cubicBezTo>
                    <a:pt x="54" y="63"/>
                    <a:pt x="43" y="64"/>
                    <a:pt x="37" y="65"/>
                  </a:cubicBezTo>
                  <a:cubicBezTo>
                    <a:pt x="35" y="65"/>
                    <a:pt x="34" y="64"/>
                    <a:pt x="33" y="62"/>
                  </a:cubicBezTo>
                  <a:cubicBezTo>
                    <a:pt x="33" y="60"/>
                    <a:pt x="34" y="58"/>
                    <a:pt x="36" y="58"/>
                  </a:cubicBezTo>
                  <a:cubicBezTo>
                    <a:pt x="37" y="58"/>
                    <a:pt x="39" y="57"/>
                    <a:pt x="42" y="57"/>
                  </a:cubicBezTo>
                  <a:cubicBezTo>
                    <a:pt x="53" y="55"/>
                    <a:pt x="62" y="54"/>
                    <a:pt x="69" y="53"/>
                  </a:cubicBezTo>
                  <a:cubicBezTo>
                    <a:pt x="69" y="5"/>
                    <a:pt x="69" y="5"/>
                    <a:pt x="69" y="5"/>
                  </a:cubicBezTo>
                  <a:cubicBezTo>
                    <a:pt x="69" y="3"/>
                    <a:pt x="70" y="2"/>
                    <a:pt x="72" y="2"/>
                  </a:cubicBezTo>
                  <a:cubicBezTo>
                    <a:pt x="74" y="2"/>
                    <a:pt x="75" y="3"/>
                    <a:pt x="76" y="4"/>
                  </a:cubicBezTo>
                  <a:close/>
                  <a:moveTo>
                    <a:pt x="47" y="26"/>
                  </a:moveTo>
                  <a:cubicBezTo>
                    <a:pt x="52" y="30"/>
                    <a:pt x="56" y="34"/>
                    <a:pt x="60" y="40"/>
                  </a:cubicBezTo>
                  <a:cubicBezTo>
                    <a:pt x="61" y="42"/>
                    <a:pt x="61" y="44"/>
                    <a:pt x="59" y="45"/>
                  </a:cubicBezTo>
                  <a:cubicBezTo>
                    <a:pt x="57" y="47"/>
                    <a:pt x="56" y="46"/>
                    <a:pt x="55" y="45"/>
                  </a:cubicBezTo>
                  <a:cubicBezTo>
                    <a:pt x="51" y="39"/>
                    <a:pt x="47" y="35"/>
                    <a:pt x="42" y="31"/>
                  </a:cubicBezTo>
                  <a:cubicBezTo>
                    <a:pt x="41" y="30"/>
                    <a:pt x="40" y="28"/>
                    <a:pt x="42" y="26"/>
                  </a:cubicBezTo>
                  <a:cubicBezTo>
                    <a:pt x="43" y="25"/>
                    <a:pt x="45" y="25"/>
                    <a:pt x="47" y="26"/>
                  </a:cubicBezTo>
                  <a:close/>
                  <a:moveTo>
                    <a:pt x="51" y="5"/>
                  </a:moveTo>
                  <a:cubicBezTo>
                    <a:pt x="56" y="10"/>
                    <a:pt x="61" y="15"/>
                    <a:pt x="65" y="21"/>
                  </a:cubicBezTo>
                  <a:cubicBezTo>
                    <a:pt x="66" y="23"/>
                    <a:pt x="66" y="25"/>
                    <a:pt x="64" y="26"/>
                  </a:cubicBezTo>
                  <a:cubicBezTo>
                    <a:pt x="63" y="27"/>
                    <a:pt x="61" y="27"/>
                    <a:pt x="60" y="25"/>
                  </a:cubicBezTo>
                  <a:cubicBezTo>
                    <a:pt x="56" y="20"/>
                    <a:pt x="51" y="15"/>
                    <a:pt x="46" y="10"/>
                  </a:cubicBezTo>
                  <a:cubicBezTo>
                    <a:pt x="45" y="9"/>
                    <a:pt x="44" y="7"/>
                    <a:pt x="46" y="5"/>
                  </a:cubicBezTo>
                  <a:cubicBezTo>
                    <a:pt x="47" y="4"/>
                    <a:pt x="49" y="4"/>
                    <a:pt x="51" y="5"/>
                  </a:cubicBezTo>
                  <a:close/>
                </a:path>
              </a:pathLst>
            </a:custGeom>
            <a:solidFill>
              <a:srgbClr val="EA550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dirty="0">
                <a:latin typeface="微软雅黑" panose="020B0503020204020204" pitchFamily="34" charset="-122"/>
                <a:ea typeface="微软雅黑" panose="020B0503020204020204" pitchFamily="34" charset="-122"/>
              </a:endParaRPr>
            </a:p>
          </p:txBody>
        </p:sp>
        <p:sp>
          <p:nvSpPr>
            <p:cNvPr id="21" name="Freeform 11"/>
            <p:cNvSpPr>
              <a:spLocks noEditPoints="1"/>
            </p:cNvSpPr>
            <p:nvPr/>
          </p:nvSpPr>
          <p:spPr bwMode="auto">
            <a:xfrm>
              <a:off x="1644650" y="896938"/>
              <a:ext cx="144463" cy="134937"/>
            </a:xfrm>
            <a:custGeom>
              <a:avLst/>
              <a:gdLst>
                <a:gd name="T0" fmla="*/ 20 w 88"/>
                <a:gd name="T1" fmla="*/ 17 h 82"/>
                <a:gd name="T2" fmla="*/ 30 w 88"/>
                <a:gd name="T3" fmla="*/ 20 h 82"/>
                <a:gd name="T4" fmla="*/ 20 w 88"/>
                <a:gd name="T5" fmla="*/ 23 h 82"/>
                <a:gd name="T6" fmla="*/ 26 w 88"/>
                <a:gd name="T7" fmla="*/ 38 h 82"/>
                <a:gd name="T8" fmla="*/ 30 w 88"/>
                <a:gd name="T9" fmla="*/ 43 h 82"/>
                <a:gd name="T10" fmla="*/ 20 w 88"/>
                <a:gd name="T11" fmla="*/ 75 h 82"/>
                <a:gd name="T12" fmla="*/ 3 w 88"/>
                <a:gd name="T13" fmla="*/ 76 h 82"/>
                <a:gd name="T14" fmla="*/ 13 w 88"/>
                <a:gd name="T15" fmla="*/ 72 h 82"/>
                <a:gd name="T16" fmla="*/ 9 w 88"/>
                <a:gd name="T17" fmla="*/ 52 h 82"/>
                <a:gd name="T18" fmla="*/ 0 w 88"/>
                <a:gd name="T19" fmla="*/ 52 h 82"/>
                <a:gd name="T20" fmla="*/ 5 w 88"/>
                <a:gd name="T21" fmla="*/ 47 h 82"/>
                <a:gd name="T22" fmla="*/ 13 w 88"/>
                <a:gd name="T23" fmla="*/ 23 h 82"/>
                <a:gd name="T24" fmla="*/ 2 w 88"/>
                <a:gd name="T25" fmla="*/ 20 h 82"/>
                <a:gd name="T26" fmla="*/ 13 w 88"/>
                <a:gd name="T27" fmla="*/ 17 h 82"/>
                <a:gd name="T28" fmla="*/ 17 w 88"/>
                <a:gd name="T29" fmla="*/ 1 h 82"/>
                <a:gd name="T30" fmla="*/ 58 w 88"/>
                <a:gd name="T31" fmla="*/ 3 h 82"/>
                <a:gd name="T32" fmla="*/ 81 w 88"/>
                <a:gd name="T33" fmla="*/ 8 h 82"/>
                <a:gd name="T34" fmla="*/ 81 w 88"/>
                <a:gd name="T35" fmla="*/ 15 h 82"/>
                <a:gd name="T36" fmla="*/ 58 w 88"/>
                <a:gd name="T37" fmla="*/ 28 h 82"/>
                <a:gd name="T38" fmla="*/ 80 w 88"/>
                <a:gd name="T39" fmla="*/ 38 h 82"/>
                <a:gd name="T40" fmla="*/ 85 w 88"/>
                <a:gd name="T41" fmla="*/ 75 h 82"/>
                <a:gd name="T42" fmla="*/ 82 w 88"/>
                <a:gd name="T43" fmla="*/ 82 h 82"/>
                <a:gd name="T44" fmla="*/ 29 w 88"/>
                <a:gd name="T45" fmla="*/ 81 h 82"/>
                <a:gd name="T46" fmla="*/ 26 w 88"/>
                <a:gd name="T47" fmla="*/ 74 h 82"/>
                <a:gd name="T48" fmla="*/ 34 w 88"/>
                <a:gd name="T49" fmla="*/ 40 h 82"/>
                <a:gd name="T50" fmla="*/ 33 w 88"/>
                <a:gd name="T51" fmla="*/ 35 h 82"/>
                <a:gd name="T52" fmla="*/ 34 w 88"/>
                <a:gd name="T53" fmla="*/ 28 h 82"/>
                <a:gd name="T54" fmla="*/ 51 w 88"/>
                <a:gd name="T55" fmla="*/ 15 h 82"/>
                <a:gd name="T56" fmla="*/ 28 w 88"/>
                <a:gd name="T57" fmla="*/ 12 h 82"/>
                <a:gd name="T58" fmla="*/ 51 w 88"/>
                <a:gd name="T59" fmla="*/ 8 h 82"/>
                <a:gd name="T60" fmla="*/ 55 w 88"/>
                <a:gd name="T61" fmla="*/ 0 h 82"/>
                <a:gd name="T62" fmla="*/ 70 w 88"/>
                <a:gd name="T63" fmla="*/ 35 h 82"/>
                <a:gd name="T64" fmla="*/ 40 w 88"/>
                <a:gd name="T65" fmla="*/ 36 h 82"/>
                <a:gd name="T66" fmla="*/ 72 w 88"/>
                <a:gd name="T67" fmla="*/ 38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8" h="82">
                  <a:moveTo>
                    <a:pt x="20" y="4"/>
                  </a:moveTo>
                  <a:cubicBezTo>
                    <a:pt x="20" y="17"/>
                    <a:pt x="20" y="17"/>
                    <a:pt x="20" y="17"/>
                  </a:cubicBezTo>
                  <a:cubicBezTo>
                    <a:pt x="27" y="17"/>
                    <a:pt x="27" y="17"/>
                    <a:pt x="27" y="17"/>
                  </a:cubicBezTo>
                  <a:cubicBezTo>
                    <a:pt x="29" y="17"/>
                    <a:pt x="30" y="18"/>
                    <a:pt x="30" y="20"/>
                  </a:cubicBezTo>
                  <a:cubicBezTo>
                    <a:pt x="30" y="22"/>
                    <a:pt x="29" y="23"/>
                    <a:pt x="27" y="23"/>
                  </a:cubicBezTo>
                  <a:cubicBezTo>
                    <a:pt x="20" y="23"/>
                    <a:pt x="20" y="23"/>
                    <a:pt x="20" y="23"/>
                  </a:cubicBezTo>
                  <a:cubicBezTo>
                    <a:pt x="20" y="41"/>
                    <a:pt x="20" y="41"/>
                    <a:pt x="20" y="41"/>
                  </a:cubicBezTo>
                  <a:cubicBezTo>
                    <a:pt x="22" y="40"/>
                    <a:pt x="24" y="39"/>
                    <a:pt x="26" y="38"/>
                  </a:cubicBezTo>
                  <a:cubicBezTo>
                    <a:pt x="28" y="37"/>
                    <a:pt x="29" y="38"/>
                    <a:pt x="30" y="39"/>
                  </a:cubicBezTo>
                  <a:cubicBezTo>
                    <a:pt x="31" y="41"/>
                    <a:pt x="31" y="42"/>
                    <a:pt x="30" y="43"/>
                  </a:cubicBezTo>
                  <a:cubicBezTo>
                    <a:pt x="28" y="44"/>
                    <a:pt x="25" y="46"/>
                    <a:pt x="20" y="48"/>
                  </a:cubicBezTo>
                  <a:cubicBezTo>
                    <a:pt x="20" y="75"/>
                    <a:pt x="20" y="75"/>
                    <a:pt x="20" y="75"/>
                  </a:cubicBezTo>
                  <a:cubicBezTo>
                    <a:pt x="19" y="80"/>
                    <a:pt x="15" y="82"/>
                    <a:pt x="6" y="80"/>
                  </a:cubicBezTo>
                  <a:cubicBezTo>
                    <a:pt x="4" y="80"/>
                    <a:pt x="3" y="78"/>
                    <a:pt x="3" y="76"/>
                  </a:cubicBezTo>
                  <a:cubicBezTo>
                    <a:pt x="4" y="74"/>
                    <a:pt x="5" y="73"/>
                    <a:pt x="7" y="74"/>
                  </a:cubicBezTo>
                  <a:cubicBezTo>
                    <a:pt x="12" y="75"/>
                    <a:pt x="14" y="75"/>
                    <a:pt x="13" y="72"/>
                  </a:cubicBezTo>
                  <a:cubicBezTo>
                    <a:pt x="13" y="51"/>
                    <a:pt x="13" y="51"/>
                    <a:pt x="13" y="51"/>
                  </a:cubicBezTo>
                  <a:cubicBezTo>
                    <a:pt x="13" y="51"/>
                    <a:pt x="11" y="52"/>
                    <a:pt x="9" y="52"/>
                  </a:cubicBezTo>
                  <a:cubicBezTo>
                    <a:pt x="7" y="53"/>
                    <a:pt x="5" y="54"/>
                    <a:pt x="5" y="54"/>
                  </a:cubicBezTo>
                  <a:cubicBezTo>
                    <a:pt x="2" y="55"/>
                    <a:pt x="1" y="54"/>
                    <a:pt x="0" y="52"/>
                  </a:cubicBezTo>
                  <a:cubicBezTo>
                    <a:pt x="0" y="50"/>
                    <a:pt x="0" y="49"/>
                    <a:pt x="2" y="48"/>
                  </a:cubicBezTo>
                  <a:cubicBezTo>
                    <a:pt x="3" y="48"/>
                    <a:pt x="4" y="48"/>
                    <a:pt x="5" y="47"/>
                  </a:cubicBezTo>
                  <a:cubicBezTo>
                    <a:pt x="8" y="46"/>
                    <a:pt x="11" y="45"/>
                    <a:pt x="13" y="44"/>
                  </a:cubicBezTo>
                  <a:cubicBezTo>
                    <a:pt x="13" y="23"/>
                    <a:pt x="13" y="23"/>
                    <a:pt x="13" y="23"/>
                  </a:cubicBezTo>
                  <a:cubicBezTo>
                    <a:pt x="5" y="23"/>
                    <a:pt x="5" y="23"/>
                    <a:pt x="5" y="23"/>
                  </a:cubicBezTo>
                  <a:cubicBezTo>
                    <a:pt x="3" y="23"/>
                    <a:pt x="2" y="22"/>
                    <a:pt x="2" y="20"/>
                  </a:cubicBezTo>
                  <a:cubicBezTo>
                    <a:pt x="2" y="18"/>
                    <a:pt x="3" y="17"/>
                    <a:pt x="5" y="17"/>
                  </a:cubicBezTo>
                  <a:cubicBezTo>
                    <a:pt x="13" y="17"/>
                    <a:pt x="13" y="17"/>
                    <a:pt x="13" y="17"/>
                  </a:cubicBezTo>
                  <a:cubicBezTo>
                    <a:pt x="13" y="4"/>
                    <a:pt x="13" y="4"/>
                    <a:pt x="13" y="4"/>
                  </a:cubicBezTo>
                  <a:cubicBezTo>
                    <a:pt x="13" y="2"/>
                    <a:pt x="14" y="1"/>
                    <a:pt x="17" y="1"/>
                  </a:cubicBezTo>
                  <a:cubicBezTo>
                    <a:pt x="19" y="1"/>
                    <a:pt x="20" y="2"/>
                    <a:pt x="20" y="4"/>
                  </a:cubicBezTo>
                  <a:close/>
                  <a:moveTo>
                    <a:pt x="58" y="3"/>
                  </a:moveTo>
                  <a:cubicBezTo>
                    <a:pt x="58" y="8"/>
                    <a:pt x="58" y="8"/>
                    <a:pt x="58" y="8"/>
                  </a:cubicBezTo>
                  <a:cubicBezTo>
                    <a:pt x="81" y="8"/>
                    <a:pt x="81" y="8"/>
                    <a:pt x="81" y="8"/>
                  </a:cubicBezTo>
                  <a:cubicBezTo>
                    <a:pt x="83" y="9"/>
                    <a:pt x="84" y="10"/>
                    <a:pt x="85" y="12"/>
                  </a:cubicBezTo>
                  <a:cubicBezTo>
                    <a:pt x="84" y="14"/>
                    <a:pt x="83" y="15"/>
                    <a:pt x="81" y="15"/>
                  </a:cubicBezTo>
                  <a:cubicBezTo>
                    <a:pt x="58" y="15"/>
                    <a:pt x="58" y="15"/>
                    <a:pt x="58" y="15"/>
                  </a:cubicBezTo>
                  <a:cubicBezTo>
                    <a:pt x="58" y="28"/>
                    <a:pt x="58" y="28"/>
                    <a:pt x="58" y="28"/>
                  </a:cubicBezTo>
                  <a:cubicBezTo>
                    <a:pt x="75" y="28"/>
                    <a:pt x="75" y="28"/>
                    <a:pt x="75" y="28"/>
                  </a:cubicBezTo>
                  <a:cubicBezTo>
                    <a:pt x="80" y="29"/>
                    <a:pt x="82" y="32"/>
                    <a:pt x="80" y="38"/>
                  </a:cubicBezTo>
                  <a:cubicBezTo>
                    <a:pt x="76" y="48"/>
                    <a:pt x="70" y="56"/>
                    <a:pt x="62" y="63"/>
                  </a:cubicBezTo>
                  <a:cubicBezTo>
                    <a:pt x="69" y="68"/>
                    <a:pt x="77" y="72"/>
                    <a:pt x="85" y="75"/>
                  </a:cubicBezTo>
                  <a:cubicBezTo>
                    <a:pt x="87" y="76"/>
                    <a:pt x="88" y="77"/>
                    <a:pt x="87" y="80"/>
                  </a:cubicBezTo>
                  <a:cubicBezTo>
                    <a:pt x="86" y="82"/>
                    <a:pt x="84" y="82"/>
                    <a:pt x="82" y="82"/>
                  </a:cubicBezTo>
                  <a:cubicBezTo>
                    <a:pt x="74" y="78"/>
                    <a:pt x="65" y="74"/>
                    <a:pt x="56" y="68"/>
                  </a:cubicBezTo>
                  <a:cubicBezTo>
                    <a:pt x="48" y="73"/>
                    <a:pt x="39" y="77"/>
                    <a:pt x="29" y="81"/>
                  </a:cubicBezTo>
                  <a:cubicBezTo>
                    <a:pt x="26" y="81"/>
                    <a:pt x="25" y="81"/>
                    <a:pt x="24" y="78"/>
                  </a:cubicBezTo>
                  <a:cubicBezTo>
                    <a:pt x="23" y="76"/>
                    <a:pt x="24" y="75"/>
                    <a:pt x="26" y="74"/>
                  </a:cubicBezTo>
                  <a:cubicBezTo>
                    <a:pt x="36" y="71"/>
                    <a:pt x="44" y="68"/>
                    <a:pt x="50" y="63"/>
                  </a:cubicBezTo>
                  <a:cubicBezTo>
                    <a:pt x="45" y="59"/>
                    <a:pt x="40" y="51"/>
                    <a:pt x="34" y="40"/>
                  </a:cubicBezTo>
                  <a:cubicBezTo>
                    <a:pt x="33" y="38"/>
                    <a:pt x="33" y="37"/>
                    <a:pt x="35" y="35"/>
                  </a:cubicBezTo>
                  <a:cubicBezTo>
                    <a:pt x="33" y="35"/>
                    <a:pt x="33" y="35"/>
                    <a:pt x="33" y="35"/>
                  </a:cubicBezTo>
                  <a:cubicBezTo>
                    <a:pt x="32" y="35"/>
                    <a:pt x="31" y="34"/>
                    <a:pt x="30" y="32"/>
                  </a:cubicBezTo>
                  <a:cubicBezTo>
                    <a:pt x="31" y="29"/>
                    <a:pt x="32" y="28"/>
                    <a:pt x="34" y="28"/>
                  </a:cubicBezTo>
                  <a:cubicBezTo>
                    <a:pt x="51" y="28"/>
                    <a:pt x="51" y="28"/>
                    <a:pt x="51" y="28"/>
                  </a:cubicBezTo>
                  <a:cubicBezTo>
                    <a:pt x="51" y="15"/>
                    <a:pt x="51" y="15"/>
                    <a:pt x="51" y="15"/>
                  </a:cubicBezTo>
                  <a:cubicBezTo>
                    <a:pt x="31" y="15"/>
                    <a:pt x="31" y="15"/>
                    <a:pt x="31" y="15"/>
                  </a:cubicBezTo>
                  <a:cubicBezTo>
                    <a:pt x="29" y="15"/>
                    <a:pt x="28" y="14"/>
                    <a:pt x="28" y="12"/>
                  </a:cubicBezTo>
                  <a:cubicBezTo>
                    <a:pt x="28" y="10"/>
                    <a:pt x="29" y="9"/>
                    <a:pt x="31" y="8"/>
                  </a:cubicBezTo>
                  <a:cubicBezTo>
                    <a:pt x="51" y="8"/>
                    <a:pt x="51" y="8"/>
                    <a:pt x="51" y="8"/>
                  </a:cubicBezTo>
                  <a:cubicBezTo>
                    <a:pt x="51" y="3"/>
                    <a:pt x="51" y="3"/>
                    <a:pt x="51" y="3"/>
                  </a:cubicBezTo>
                  <a:cubicBezTo>
                    <a:pt x="51" y="1"/>
                    <a:pt x="52" y="0"/>
                    <a:pt x="55" y="0"/>
                  </a:cubicBezTo>
                  <a:cubicBezTo>
                    <a:pt x="57" y="0"/>
                    <a:pt x="58" y="1"/>
                    <a:pt x="58" y="3"/>
                  </a:cubicBezTo>
                  <a:close/>
                  <a:moveTo>
                    <a:pt x="70" y="35"/>
                  </a:moveTo>
                  <a:cubicBezTo>
                    <a:pt x="39" y="35"/>
                    <a:pt x="39" y="35"/>
                    <a:pt x="39" y="35"/>
                  </a:cubicBezTo>
                  <a:cubicBezTo>
                    <a:pt x="39" y="36"/>
                    <a:pt x="39" y="36"/>
                    <a:pt x="40" y="36"/>
                  </a:cubicBezTo>
                  <a:cubicBezTo>
                    <a:pt x="47" y="47"/>
                    <a:pt x="52" y="55"/>
                    <a:pt x="56" y="58"/>
                  </a:cubicBezTo>
                  <a:cubicBezTo>
                    <a:pt x="63" y="52"/>
                    <a:pt x="68" y="46"/>
                    <a:pt x="72" y="38"/>
                  </a:cubicBezTo>
                  <a:cubicBezTo>
                    <a:pt x="72" y="37"/>
                    <a:pt x="72" y="36"/>
                    <a:pt x="70" y="35"/>
                  </a:cubicBezTo>
                  <a:close/>
                </a:path>
              </a:pathLst>
            </a:custGeom>
            <a:solidFill>
              <a:srgbClr val="EA550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dirty="0">
                <a:latin typeface="微软雅黑" panose="020B0503020204020204" pitchFamily="34" charset="-122"/>
                <a:ea typeface="微软雅黑" panose="020B0503020204020204" pitchFamily="34" charset="-122"/>
              </a:endParaRPr>
            </a:p>
          </p:txBody>
        </p:sp>
      </p:grpSp>
      <p:grpSp>
        <p:nvGrpSpPr>
          <p:cNvPr id="26" name="组合 25"/>
          <p:cNvGrpSpPr/>
          <p:nvPr userDrawn="1"/>
        </p:nvGrpSpPr>
        <p:grpSpPr>
          <a:xfrm>
            <a:off x="741424" y="4001310"/>
            <a:ext cx="5694681" cy="45719"/>
            <a:chOff x="777184" y="3817770"/>
            <a:chExt cx="5694681" cy="45719"/>
          </a:xfrm>
        </p:grpSpPr>
        <p:sp>
          <p:nvSpPr>
            <p:cNvPr id="27" name="矩形 26"/>
            <p:cNvSpPr/>
            <p:nvPr/>
          </p:nvSpPr>
          <p:spPr>
            <a:xfrm>
              <a:off x="777184" y="3817770"/>
              <a:ext cx="857551" cy="45719"/>
            </a:xfrm>
            <a:prstGeom prst="rect">
              <a:avLst/>
            </a:prstGeom>
            <a:solidFill>
              <a:srgbClr val="EA550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微软雅黑" panose="020B0503020204020204" pitchFamily="34" charset="-122"/>
                <a:ea typeface="微软雅黑" panose="020B0503020204020204" pitchFamily="34" charset="-122"/>
              </a:endParaRPr>
            </a:p>
          </p:txBody>
        </p:sp>
        <p:cxnSp>
          <p:nvCxnSpPr>
            <p:cNvPr id="28" name="直接连接符 27"/>
            <p:cNvCxnSpPr/>
            <p:nvPr/>
          </p:nvCxnSpPr>
          <p:spPr>
            <a:xfrm>
              <a:off x="1606260" y="3837412"/>
              <a:ext cx="4865605" cy="0"/>
            </a:xfrm>
            <a:prstGeom prst="line">
              <a:avLst/>
            </a:prstGeom>
            <a:ln w="22225">
              <a:gradFill flip="none" rotWithShape="1">
                <a:gsLst>
                  <a:gs pos="0">
                    <a:schemeClr val="accent1">
                      <a:lumMod val="5000"/>
                      <a:lumOff val="95000"/>
                      <a:alpha val="0"/>
                    </a:schemeClr>
                  </a:gs>
                  <a:gs pos="54000">
                    <a:schemeClr val="accent1">
                      <a:lumMod val="45000"/>
                      <a:lumOff val="55000"/>
                    </a:schemeClr>
                  </a:gs>
                  <a:gs pos="83000">
                    <a:srgbClr val="FB832D"/>
                  </a:gs>
                  <a:gs pos="100000">
                    <a:srgbClr val="EA5504"/>
                  </a:gs>
                </a:gsLst>
                <a:lin ang="10800000" scaled="1"/>
                <a:tileRect/>
              </a:gradFill>
            </a:ln>
          </p:spPr>
          <p:style>
            <a:lnRef idx="1">
              <a:schemeClr val="accent1"/>
            </a:lnRef>
            <a:fillRef idx="0">
              <a:schemeClr val="accent1"/>
            </a:fillRef>
            <a:effectRef idx="0">
              <a:schemeClr val="accent1"/>
            </a:effectRef>
            <a:fontRef idx="minor">
              <a:schemeClr val="tx1"/>
            </a:fontRef>
          </p:style>
        </p:cxnSp>
      </p:grpSp>
      <p:sp>
        <p:nvSpPr>
          <p:cNvPr id="30" name="任意多边形: 形状 29"/>
          <p:cNvSpPr/>
          <p:nvPr userDrawn="1"/>
        </p:nvSpPr>
        <p:spPr>
          <a:xfrm>
            <a:off x="6918699" y="3183037"/>
            <a:ext cx="3984653" cy="3682203"/>
          </a:xfrm>
          <a:custGeom>
            <a:avLst/>
            <a:gdLst>
              <a:gd name="connsiteX0" fmla="*/ 2696901 w 5266797"/>
              <a:gd name="connsiteY0" fmla="*/ 0 h 6875362"/>
              <a:gd name="connsiteX1" fmla="*/ 5266797 w 5266797"/>
              <a:gd name="connsiteY1" fmla="*/ 0 h 6875362"/>
              <a:gd name="connsiteX2" fmla="*/ 5266797 w 5266797"/>
              <a:gd name="connsiteY2" fmla="*/ 1408772 h 6875362"/>
              <a:gd name="connsiteX3" fmla="*/ 3126080 w 5266797"/>
              <a:gd name="connsiteY3" fmla="*/ 6866222 h 6875362"/>
              <a:gd name="connsiteX4" fmla="*/ 0 w 5266797"/>
              <a:gd name="connsiteY4" fmla="*/ 6875362 h 68753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66797" h="6875362">
                <a:moveTo>
                  <a:pt x="2696901" y="0"/>
                </a:moveTo>
                <a:lnTo>
                  <a:pt x="5266797" y="0"/>
                </a:lnTo>
                <a:lnTo>
                  <a:pt x="5266797" y="1408772"/>
                </a:lnTo>
                <a:lnTo>
                  <a:pt x="3126080" y="6866222"/>
                </a:lnTo>
                <a:lnTo>
                  <a:pt x="0" y="6875362"/>
                </a:lnTo>
                <a:close/>
              </a:path>
            </a:pathLst>
          </a:custGeom>
          <a:gradFill flip="none" rotWithShape="1">
            <a:gsLst>
              <a:gs pos="32000">
                <a:srgbClr val="FE832C"/>
              </a:gs>
              <a:gs pos="88000">
                <a:srgbClr val="FFCEAB"/>
              </a:gs>
              <a:gs pos="0">
                <a:srgbClr val="EA5504"/>
              </a:gs>
              <a:gs pos="100000">
                <a:srgbClr val="FBE9D5"/>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dirty="0">
              <a:latin typeface="微软雅黑" panose="020B0503020204020204" pitchFamily="34" charset="-122"/>
              <a:ea typeface="微软雅黑" panose="020B0503020204020204" pitchFamily="34" charset="-122"/>
            </a:endParaRPr>
          </a:p>
        </p:txBody>
      </p:sp>
      <p:sp>
        <p:nvSpPr>
          <p:cNvPr id="32" name="文本占位符 31"/>
          <p:cNvSpPr>
            <a:spLocks noGrp="1"/>
          </p:cNvSpPr>
          <p:nvPr>
            <p:ph type="body" sz="quarter" idx="10"/>
          </p:nvPr>
        </p:nvSpPr>
        <p:spPr>
          <a:xfrm>
            <a:off x="639824" y="1904099"/>
            <a:ext cx="6449229" cy="1851875"/>
          </a:xfrm>
          <a:prstGeom prst="rect">
            <a:avLst/>
          </a:prstGeom>
        </p:spPr>
        <p:txBody>
          <a:bodyPr anchor="b">
            <a:normAutofit/>
          </a:bodyPr>
          <a:lstStyle>
            <a:lvl1pPr marL="0" indent="0" algn="l" defTabSz="914400" rtl="0" eaLnBrk="1" latinLnBrk="0" hangingPunct="1">
              <a:buNone/>
              <a:defRPr lang="zh-CN" altLang="en-US" sz="4800" b="1" kern="2300" spc="240" dirty="0" smtClean="0">
                <a:ln w="15875">
                  <a:solidFill>
                    <a:schemeClr val="accent1"/>
                  </a:solidFill>
                </a:ln>
                <a:noFill/>
                <a:latin typeface="微软雅黑" panose="020B0503020204020204" pitchFamily="34" charset="-122"/>
                <a:ea typeface="微软雅黑" panose="020B0503020204020204" pitchFamily="34" charset="-122"/>
                <a:cs typeface="+mn-cs"/>
              </a:defRPr>
            </a:lvl1pPr>
            <a:lvl2pPr marL="457200" indent="0">
              <a:buNone/>
              <a:defRPr/>
            </a:lvl2pPr>
          </a:lstStyle>
          <a:p>
            <a:pPr marL="0" marR="0" lvl="0" indent="0" algn="l" defTabSz="914400" rtl="0" eaLnBrk="1" fontAlgn="auto" latinLnBrk="0" hangingPunct="1">
              <a:lnSpc>
                <a:spcPct val="90000"/>
              </a:lnSpc>
              <a:spcBef>
                <a:spcPts val="1000"/>
              </a:spcBef>
              <a:spcAft>
                <a:spcPts val="0"/>
              </a:spcAft>
              <a:buClrTx/>
              <a:buSzTx/>
              <a:buFont typeface="Arial" panose="020B0604020202090204" pitchFamily="34" charset="0"/>
              <a:buNone/>
              <a:defRPr/>
            </a:pPr>
            <a:endParaRPr lang="en-US" altLang="zh-CN" dirty="0"/>
          </a:p>
        </p:txBody>
      </p:sp>
      <p:sp>
        <p:nvSpPr>
          <p:cNvPr id="23" name="文本占位符 5"/>
          <p:cNvSpPr txBox="1"/>
          <p:nvPr userDrawn="1"/>
        </p:nvSpPr>
        <p:spPr>
          <a:xfrm>
            <a:off x="667674" y="4385323"/>
            <a:ext cx="3962401" cy="252249"/>
          </a:xfrm>
          <a:prstGeom prst="rect">
            <a:avLst/>
          </a:prstGeom>
        </p:spPr>
        <p:txBody>
          <a:bodyPr vert="horz" lIns="91440" tIns="45720" rIns="91440" bIns="45720" rtlCol="0" anchor="ctr"/>
          <a:lstStyle>
            <a:defPPr>
              <a:defRPr lang="zh-CN"/>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b="0" dirty="0">
                <a:solidFill>
                  <a:srgbClr val="8F8F8F"/>
                </a:solidFill>
              </a:rPr>
              <a:t>www.pingan</a:t>
            </a:r>
            <a:r>
              <a:rPr lang="en-US" altLang="zh-CN" b="0">
                <a:solidFill>
                  <a:srgbClr val="8F8F8F"/>
                </a:solidFill>
              </a:rPr>
              <a:t>.cn </a:t>
            </a:r>
            <a:endParaRPr lang="en-US" altLang="zh-CN" b="0" dirty="0">
              <a:solidFill>
                <a:srgbClr val="8F8F8F"/>
              </a:solidFill>
            </a:endParaRPr>
          </a:p>
        </p:txBody>
      </p:sp>
      <p:sp>
        <p:nvSpPr>
          <p:cNvPr id="24" name="文本框 23"/>
          <p:cNvSpPr txBox="1"/>
          <p:nvPr userDrawn="1"/>
        </p:nvSpPr>
        <p:spPr>
          <a:xfrm>
            <a:off x="634599" y="4203138"/>
            <a:ext cx="4051702" cy="252249"/>
          </a:xfrm>
          <a:prstGeom prst="rect">
            <a:avLst/>
          </a:prstGeom>
          <a:noFill/>
        </p:spPr>
        <p:txBody>
          <a:bodyPr wrap="square" rtlCol="0">
            <a:spAutoFit/>
          </a:bodyPr>
          <a:lstStyle/>
          <a:p>
            <a:pPr>
              <a:lnSpc>
                <a:spcPct val="70000"/>
              </a:lnSpc>
              <a:spcBef>
                <a:spcPts val="1000"/>
              </a:spcBef>
            </a:pPr>
            <a:r>
              <a:rPr lang="zh-CN" altLang="en-US" sz="1400" kern="800" spc="30">
                <a:solidFill>
                  <a:schemeClr val="bg1">
                    <a:lumMod val="50000"/>
                  </a:schemeClr>
                </a:solidFill>
                <a:latin typeface="微软雅黑" panose="020B0503020204020204" pitchFamily="34" charset="-122"/>
              </a:rPr>
              <a:t>专业，让生活更简单</a:t>
            </a:r>
            <a:endParaRPr lang="zh-CN" altLang="en-US" sz="1400" kern="800" spc="30" dirty="0">
              <a:solidFill>
                <a:schemeClr val="bg1">
                  <a:lumMod val="50000"/>
                </a:schemeClr>
              </a:solidFill>
              <a:latin typeface="微软雅黑" panose="020B0503020204020204" pitchFamily="34" charset="-122"/>
            </a:endParaRPr>
          </a:p>
        </p:txBody>
      </p:sp>
      <p:pic>
        <p:nvPicPr>
          <p:cNvPr id="25" name="图片 24"/>
          <p:cNvPicPr>
            <a:picLocks noChangeAspect="1"/>
          </p:cNvPicPr>
          <p:nvPr userDrawn="1"/>
        </p:nvPicPr>
        <p:blipFill rotWithShape="1">
          <a:blip r:embed="rId5">
            <a:extLst>
              <a:ext uri="{28A0092B-C50C-407E-A947-70E740481C1C}">
                <a14:useLocalDpi xmlns:a14="http://schemas.microsoft.com/office/drawing/2010/main" val="0"/>
              </a:ext>
            </a:extLst>
          </a:blip>
          <a:srcRect/>
          <a:stretch>
            <a:fillRect/>
          </a:stretch>
        </p:blipFill>
        <p:spPr>
          <a:xfrm flipH="1">
            <a:off x="6229392" y="1300480"/>
            <a:ext cx="5962607" cy="5557520"/>
          </a:xfrm>
          <a:prstGeom prst="rect">
            <a:avLst/>
          </a:prstGeom>
        </p:spPr>
      </p:pic>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8_标题幻灯片">
    <p:spTree>
      <p:nvGrpSpPr>
        <p:cNvPr id="1" name=""/>
        <p:cNvGrpSpPr/>
        <p:nvPr/>
      </p:nvGrpSpPr>
      <p:grpSpPr>
        <a:xfrm>
          <a:off x="0" y="0"/>
          <a:ext cx="0" cy="0"/>
          <a:chOff x="0" y="0"/>
          <a:chExt cx="0" cy="0"/>
        </a:xfrm>
      </p:grpSpPr>
      <p:sp>
        <p:nvSpPr>
          <p:cNvPr id="3" name="图片占位符 3"/>
          <p:cNvSpPr>
            <a:spLocks noGrp="1"/>
          </p:cNvSpPr>
          <p:nvPr>
            <p:ph type="pic" sz="quarter" idx="13" hasCustomPrompt="1"/>
          </p:nvPr>
        </p:nvSpPr>
        <p:spPr>
          <a:xfrm>
            <a:off x="1082839" y="654527"/>
            <a:ext cx="2160632" cy="1898542"/>
          </a:xfrm>
          <a:prstGeom prst="rect">
            <a:avLst/>
          </a:prstGeom>
          <a:pattFill prst="pct60">
            <a:fgClr>
              <a:schemeClr val="bg1"/>
            </a:fgClr>
            <a:bgClr>
              <a:schemeClr val="bg1">
                <a:lumMod val="85000"/>
              </a:schemeClr>
            </a:bgClr>
          </a:pattFill>
          <a:effectLst/>
        </p:spPr>
        <p:txBody>
          <a:bodyPr wrap="square" anchor="ctr">
            <a:noAutofit/>
          </a:bodyPr>
          <a:lstStyle>
            <a:lvl1pPr>
              <a:defRPr kumimoji="1" lang="zh-CN" altLang="en-US" sz="1800">
                <a:solidFill>
                  <a:schemeClr val="tx1">
                    <a:alpha val="73000"/>
                  </a:schemeClr>
                </a:solidFill>
              </a:defRPr>
            </a:lvl1pPr>
          </a:lstStyle>
          <a:p>
            <a:pPr marL="0" lvl="0" indent="0" algn="ctr">
              <a:buNone/>
            </a:pPr>
            <a:r>
              <a:rPr kumimoji="1" lang="zh-CN" altLang="en-US"/>
              <a:t>拖拽插入图片</a:t>
            </a:r>
            <a:endParaRPr kumimoji="1" lang="zh-CN" alt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标题">
    <p:spTree>
      <p:nvGrpSpPr>
        <p:cNvPr id="1" name=""/>
        <p:cNvGrpSpPr/>
        <p:nvPr/>
      </p:nvGrpSpPr>
      <p:grpSpPr>
        <a:xfrm>
          <a:off x="0" y="0"/>
          <a:ext cx="0" cy="0"/>
          <a:chOff x="0" y="0"/>
          <a:chExt cx="0" cy="0"/>
        </a:xfrm>
      </p:grpSpPr>
      <p:graphicFrame>
        <p:nvGraphicFramePr>
          <p:cNvPr id="7" name="对象 6"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Slide" r:id="rId3" imgW="0" imgH="0" progId="TCLayout.ActiveDocument.1">
                  <p:embed/>
                </p:oleObj>
              </mc:Choice>
              <mc:Fallback>
                <p:oleObj name="think-cell Slide" r:id="rId3" imgW="0" imgH="0" progId="TCLayout.ActiveDocument.1">
                  <p:embed/>
                  <p:pic>
                    <p:nvPicPr>
                      <p:cNvPr id="0" name="对象 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矩形 2" hidden="1"/>
          <p:cNvSpPr/>
          <p:nvPr userDrawn="1">
            <p:custDataLst>
              <p:tags r:id="rId5"/>
            </p:custDataLst>
          </p:nvPr>
        </p:nvSpPr>
        <p:spPr>
          <a:xfrm>
            <a:off x="0" y="0"/>
            <a:ext cx="158750" cy="158750"/>
          </a:xfrm>
          <a:prstGeom prst="rect">
            <a:avLst/>
          </a:prstGeom>
          <a:solidFill>
            <a:srgbClr val="DBCF4D">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defRPr/>
            </a:pPr>
            <a:endParaRPr kumimoji="0" lang="en-US" altLang="zh-CN" sz="2400" b="1" i="0" u="none" strike="noStrike" kern="1200" cap="none" spc="0" normalizeH="0" baseline="0" noProof="0" dirty="0">
              <a:ln>
                <a:noFill/>
              </a:ln>
              <a:solidFill>
                <a:srgbClr val="FFFFFF"/>
              </a:solidFill>
              <a:effectLst/>
              <a:uLnTx/>
              <a:uFillTx/>
              <a:latin typeface="Arial" panose="020B0604020202090204" pitchFamily="34" charset="0"/>
              <a:ea typeface="华文楷体" panose="02010600040101010101" pitchFamily="2" charset="-122"/>
              <a:cs typeface="+mn-cs"/>
              <a:sym typeface="Arial" panose="020B0604020202090204" pitchFamily="34" charset="0"/>
            </a:endParaRPr>
          </a:p>
        </p:txBody>
      </p:sp>
      <p:sp>
        <p:nvSpPr>
          <p:cNvPr id="19" name="灯片编号占位符 5"/>
          <p:cNvSpPr txBox="1"/>
          <p:nvPr userDrawn="1"/>
        </p:nvSpPr>
        <p:spPr>
          <a:xfrm>
            <a:off x="8869679" y="6395878"/>
            <a:ext cx="2909888" cy="206381"/>
          </a:xfrm>
          <a:prstGeom prst="rect">
            <a:avLst/>
          </a:prstGeom>
        </p:spPr>
        <p:txBody>
          <a:bodyPr vert="horz" lIns="91440" tIns="0" rIns="91440" bIns="45720" rtlCol="0" anchor="b" anchorCtr="0"/>
          <a:lstStyle>
            <a:defPPr>
              <a:defRPr lang="zh-CN"/>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defRPr/>
            </a:pPr>
            <a:fld id="{5DD3DB80-B894-403A-B48E-6FDC1A72010E}" type="slidenum">
              <a:rPr kumimoji="0" lang="zh-CN" altLang="en-US" sz="1200" b="1" i="0" u="none" strike="noStrike" kern="1200" cap="none" spc="0" normalizeH="0" baseline="0" noProof="0" smtClean="0">
                <a:ln>
                  <a:noFill/>
                </a:ln>
                <a:solidFill>
                  <a:srgbClr val="000000">
                    <a:lumMod val="50000"/>
                    <a:lumOff val="50000"/>
                  </a:srgbClr>
                </a:solidFill>
                <a:effectLst/>
                <a:uLnTx/>
                <a:uFillTx/>
                <a:latin typeface="Arial" panose="020B0604020202090204"/>
                <a:ea typeface="微软雅黑"/>
                <a:cs typeface="+mn-cs"/>
              </a:rPr>
            </a:fld>
            <a:endParaRPr kumimoji="0" lang="zh-CN" altLang="en-US" sz="1200" b="1" i="0" u="none" strike="noStrike" kern="1200" cap="none" spc="0" normalizeH="0" baseline="0" noProof="0" dirty="0">
              <a:ln>
                <a:noFill/>
              </a:ln>
              <a:solidFill>
                <a:srgbClr val="000000">
                  <a:lumMod val="50000"/>
                  <a:lumOff val="50000"/>
                </a:srgbClr>
              </a:solidFill>
              <a:effectLst/>
              <a:uLnTx/>
              <a:uFillTx/>
              <a:latin typeface="Arial" panose="020B0604020202090204"/>
              <a:ea typeface="微软雅黑"/>
              <a:cs typeface="+mn-cs"/>
            </a:endParaRPr>
          </a:p>
        </p:txBody>
      </p:sp>
      <p:cxnSp>
        <p:nvCxnSpPr>
          <p:cNvPr id="11" name="直接连接符 10"/>
          <p:cNvCxnSpPr/>
          <p:nvPr userDrawn="1"/>
        </p:nvCxnSpPr>
        <p:spPr>
          <a:xfrm>
            <a:off x="171507" y="824671"/>
            <a:ext cx="11822373"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2" name="标题 5"/>
          <p:cNvSpPr>
            <a:spLocks noGrp="1"/>
          </p:cNvSpPr>
          <p:nvPr>
            <p:ph type="title" hasCustomPrompt="1"/>
          </p:nvPr>
        </p:nvSpPr>
        <p:spPr>
          <a:xfrm>
            <a:off x="171507" y="103259"/>
            <a:ext cx="11822373" cy="537443"/>
          </a:xfrm>
          <a:prstGeom prst="rect">
            <a:avLst/>
          </a:prstGeom>
        </p:spPr>
        <p:txBody>
          <a:bodyPr anchor="b"/>
          <a:lstStyle>
            <a:lvl1pPr>
              <a:defRPr/>
            </a:lvl1pPr>
          </a:lstStyle>
          <a:p>
            <a:r>
              <a:rPr lang="zh-CN" altLang="en-US" dirty="0"/>
              <a:t>标题</a:t>
            </a:r>
            <a:endParaRPr lang="zh-CN" alt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0封面">
    <p:spTree>
      <p:nvGrpSpPr>
        <p:cNvPr id="1" name=""/>
        <p:cNvGrpSpPr/>
        <p:nvPr/>
      </p:nvGrpSpPr>
      <p:grpSpPr>
        <a:xfrm>
          <a:off x="0" y="0"/>
          <a:ext cx="0" cy="0"/>
          <a:chOff x="0" y="0"/>
          <a:chExt cx="0" cy="0"/>
        </a:xfrm>
      </p:grpSpPr>
      <p:pic>
        <p:nvPicPr>
          <p:cNvPr id="2" name="图片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0"/>
            <a:ext cx="12192000" cy="6850506"/>
          </a:xfrm>
          <a:prstGeom prst="rect">
            <a:avLst/>
          </a:prstGeom>
        </p:spPr>
      </p:pic>
      <p:sp>
        <p:nvSpPr>
          <p:cNvPr id="24" name="Rectangle 2"/>
          <p:cNvSpPr/>
          <p:nvPr userDrawn="1"/>
        </p:nvSpPr>
        <p:spPr bwMode="auto">
          <a:xfrm flipH="1">
            <a:off x="0" y="3073313"/>
            <a:ext cx="10920534" cy="2262324"/>
          </a:xfrm>
          <a:prstGeom prst="rect">
            <a:avLst/>
          </a:prstGeom>
          <a:gradFill flip="none" rotWithShape="1">
            <a:gsLst>
              <a:gs pos="0">
                <a:schemeClr val="accent1">
                  <a:lumMod val="0"/>
                  <a:lumOff val="100000"/>
                </a:schemeClr>
              </a:gs>
              <a:gs pos="95000">
                <a:schemeClr val="accent1">
                  <a:lumMod val="0"/>
                  <a:lumOff val="100000"/>
                  <a:alpha val="0"/>
                </a:schemeClr>
              </a:gs>
              <a:gs pos="44000">
                <a:schemeClr val="accent2">
                  <a:alpha val="80000"/>
                </a:schemeClr>
              </a:gs>
              <a:gs pos="0">
                <a:schemeClr val="accent1">
                  <a:alpha val="80000"/>
                </a:schemeClr>
              </a:gs>
            </a:gsLst>
            <a:lin ang="10800000" scaled="1"/>
            <a:tileRect/>
          </a:gradFill>
          <a:ln>
            <a:noFill/>
          </a:ln>
        </p:spPr>
        <p:txBody>
          <a:bodyPr lIns="0" tIns="0" rIns="0" bIns="0"/>
          <a:lstStyle/>
          <a:p>
            <a:pPr marL="0" marR="0" lvl="0" indent="0" algn="r" defTabSz="914400" rtl="0" eaLnBrk="1" fontAlgn="auto" latinLnBrk="0" hangingPunct="1">
              <a:lnSpc>
                <a:spcPct val="100000"/>
              </a:lnSpc>
              <a:spcBef>
                <a:spcPts val="0"/>
              </a:spcBef>
              <a:spcAft>
                <a:spcPts val="0"/>
              </a:spcAft>
              <a:buClrTx/>
              <a:buSzTx/>
              <a:buFontTx/>
              <a:buNone/>
              <a:defRPr/>
            </a:pPr>
            <a:endParaRPr kumimoji="0" lang="en-US" sz="2400" b="1" i="0" u="none" strike="noStrike" kern="0" cap="none" spc="0" normalizeH="0" baseline="0" noProof="0" dirty="0">
              <a:ln>
                <a:noFill/>
              </a:ln>
              <a:solidFill>
                <a:prstClr val="black"/>
              </a:solidFill>
              <a:effectLst/>
              <a:uLnTx/>
              <a:uFillTx/>
              <a:latin typeface="微软雅黑"/>
              <a:ea typeface="微软雅黑"/>
              <a:cs typeface="+mn-cs"/>
            </a:endParaRPr>
          </a:p>
        </p:txBody>
      </p:sp>
      <p:graphicFrame>
        <p:nvGraphicFramePr>
          <p:cNvPr id="4" name="对象 3" hidden="1"/>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 name="think-cell Slide" r:id="rId4" imgW="0" imgH="0" progId="TCLayout.ActiveDocument.1">
                  <p:embed/>
                </p:oleObj>
              </mc:Choice>
              <mc:Fallback>
                <p:oleObj name="think-cell Slide" r:id="rId4" imgW="0" imgH="0" progId="TCLayout.ActiveDocument.1">
                  <p:embed/>
                  <p:pic>
                    <p:nvPicPr>
                      <p:cNvPr id="0" name="对象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矩形 4" hidden="1"/>
          <p:cNvSpPr/>
          <p:nvPr userDrawn="1">
            <p:custDataLst>
              <p:tags r:id="rId6"/>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defRPr/>
            </a:pPr>
            <a:endParaRPr kumimoji="0" lang="en-US" altLang="zh-CN" sz="4000" b="1" i="0" u="none" strike="noStrike" kern="1200" cap="none" spc="0" normalizeH="0" baseline="0" noProof="0" dirty="0">
              <a:ln>
                <a:noFill/>
              </a:ln>
              <a:solidFill>
                <a:srgbClr val="FFFFFF"/>
              </a:solidFill>
              <a:effectLst/>
              <a:uLnTx/>
              <a:uFillTx/>
              <a:latin typeface="Arial" panose="020B0604020202090204" pitchFamily="34" charset="0"/>
              <a:ea typeface="微软雅黑" panose="020B0503020204020204" pitchFamily="34" charset="-122"/>
              <a:cs typeface="+mn-cs"/>
              <a:sym typeface="Arial" panose="020B0604020202090204" pitchFamily="34" charset="0"/>
            </a:endParaRPr>
          </a:p>
        </p:txBody>
      </p:sp>
      <p:sp>
        <p:nvSpPr>
          <p:cNvPr id="8" name="文本占位符 7"/>
          <p:cNvSpPr>
            <a:spLocks noGrp="1"/>
          </p:cNvSpPr>
          <p:nvPr>
            <p:ph type="body" sz="quarter" idx="10" hasCustomPrompt="1"/>
          </p:nvPr>
        </p:nvSpPr>
        <p:spPr>
          <a:xfrm>
            <a:off x="435184" y="3212976"/>
            <a:ext cx="7567612" cy="1080120"/>
          </a:xfrm>
          <a:prstGeom prst="rect">
            <a:avLst/>
          </a:prstGeom>
        </p:spPr>
        <p:txBody>
          <a:bodyPr lIns="0" tIns="0" rIns="0" bIns="0" anchor="ctr">
            <a:normAutofit/>
          </a:bodyPr>
          <a:lstStyle>
            <a:lvl1pPr marL="0" indent="0" algn="l">
              <a:buNone/>
              <a:defRPr sz="3600" b="1">
                <a:solidFill>
                  <a:schemeClr val="bg1"/>
                </a:solidFill>
              </a:defRPr>
            </a:lvl1pPr>
          </a:lstStyle>
          <a:p>
            <a:pPr lvl="0"/>
            <a:r>
              <a:rPr lang="zh-CN" altLang="en-US" dirty="0"/>
              <a:t>此处编辑标题</a:t>
            </a:r>
            <a:endParaRPr lang="zh-CN" altLang="en-US" dirty="0"/>
          </a:p>
        </p:txBody>
      </p:sp>
      <p:sp>
        <p:nvSpPr>
          <p:cNvPr id="10" name="文本占位符 9"/>
          <p:cNvSpPr>
            <a:spLocks noGrp="1"/>
          </p:cNvSpPr>
          <p:nvPr>
            <p:ph type="body" sz="quarter" idx="11" hasCustomPrompt="1"/>
          </p:nvPr>
        </p:nvSpPr>
        <p:spPr>
          <a:xfrm>
            <a:off x="435184" y="4444190"/>
            <a:ext cx="7567612" cy="785010"/>
          </a:xfrm>
          <a:prstGeom prst="rect">
            <a:avLst/>
          </a:prstGeom>
        </p:spPr>
        <p:txBody>
          <a:bodyPr lIns="0" tIns="0" rIns="0" bIns="0" anchor="ctr">
            <a:noAutofit/>
          </a:bodyPr>
          <a:lstStyle>
            <a:lvl1pPr marL="0" indent="0" algn="l">
              <a:buNone/>
              <a:defRPr sz="1800">
                <a:solidFill>
                  <a:schemeClr val="bg1"/>
                </a:solidFill>
              </a:defRPr>
            </a:lvl1pPr>
          </a:lstStyle>
          <a:p>
            <a:pPr lvl="0"/>
            <a:r>
              <a:rPr lang="zh-CN" altLang="en-US" dirty="0"/>
              <a:t>此处编辑副标题</a:t>
            </a:r>
            <a:endParaRPr lang="zh-CN" altLang="en-US" dirty="0"/>
          </a:p>
        </p:txBody>
      </p:sp>
      <p:sp>
        <p:nvSpPr>
          <p:cNvPr id="12" name="矩形 11"/>
          <p:cNvSpPr/>
          <p:nvPr userDrawn="1"/>
        </p:nvSpPr>
        <p:spPr>
          <a:xfrm>
            <a:off x="-1" y="5335637"/>
            <a:ext cx="12191999" cy="15223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400" b="0" i="0" u="none" strike="noStrike" kern="1200" cap="none" spc="0" normalizeH="0" baseline="0" noProof="0" dirty="0">
              <a:ln>
                <a:noFill/>
              </a:ln>
              <a:solidFill>
                <a:prstClr val="black"/>
              </a:solidFill>
              <a:effectLst/>
              <a:uLnTx/>
              <a:uFillTx/>
              <a:latin typeface="华文楷体" panose="02010600040101010101" pitchFamily="2" charset="-122"/>
              <a:ea typeface="华文楷体" panose="02010600040101010101" pitchFamily="2" charset="-122"/>
              <a:cs typeface="+mn-cs"/>
            </a:endParaRPr>
          </a:p>
        </p:txBody>
      </p:sp>
    </p:spTree>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自定义版式">
    <p:spTree>
      <p:nvGrpSpPr>
        <p:cNvPr id="1" name=""/>
        <p:cNvGrpSpPr/>
        <p:nvPr/>
      </p:nvGrpSpPr>
      <p:grpSpPr>
        <a:xfrm>
          <a:off x="0" y="0"/>
          <a:ext cx="0" cy="0"/>
          <a:chOff x="0" y="0"/>
          <a:chExt cx="0" cy="0"/>
        </a:xfrm>
      </p:grpSpPr>
      <p:sp>
        <p:nvSpPr>
          <p:cNvPr id="2" name="灯片编号占位符 5"/>
          <p:cNvSpPr>
            <a:spLocks noGrp="1"/>
          </p:cNvSpPr>
          <p:nvPr>
            <p:ph type="sldNum" sz="quarter" idx="4"/>
          </p:nvPr>
        </p:nvSpPr>
        <p:spPr>
          <a:xfrm>
            <a:off x="9300883" y="6381684"/>
            <a:ext cx="2743200" cy="365125"/>
          </a:xfrm>
        </p:spPr>
        <p:txBody>
          <a:bodyPr/>
          <a:lstStyle>
            <a:lvl1pPr algn="r">
              <a:defRPr sz="1600"/>
            </a:lvl1pPr>
          </a:lstStyle>
          <a:p>
            <a:fld id="{D174682D-7201-4549-AB46-A3B3CC68F057}" type="slidenum">
              <a:rPr lang="zh-CN" altLang="en-US" smtClean="0"/>
            </a:fld>
            <a:endParaRPr lang="zh-CN" altLang="en-US"/>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4封底">
    <p:spTree>
      <p:nvGrpSpPr>
        <p:cNvPr id="1" name=""/>
        <p:cNvGrpSpPr/>
        <p:nvPr/>
      </p:nvGrpSpPr>
      <p:grpSpPr>
        <a:xfrm>
          <a:off x="0" y="0"/>
          <a:ext cx="0" cy="0"/>
          <a:chOff x="0" y="0"/>
          <a:chExt cx="0" cy="0"/>
        </a:xfrm>
      </p:grpSpPr>
      <p:pic>
        <p:nvPicPr>
          <p:cNvPr id="2" name="图片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4" name="Rectangle 2"/>
          <p:cNvSpPr/>
          <p:nvPr userDrawn="1"/>
        </p:nvSpPr>
        <p:spPr bwMode="auto">
          <a:xfrm flipH="1">
            <a:off x="4493" y="2451820"/>
            <a:ext cx="12190413" cy="1985292"/>
          </a:xfrm>
          <a:prstGeom prst="rect">
            <a:avLst/>
          </a:prstGeom>
          <a:solidFill>
            <a:schemeClr val="accent1">
              <a:alpha val="40000"/>
            </a:schemeClr>
          </a:solidFill>
          <a:ln>
            <a:noFill/>
          </a:ln>
        </p:spPr>
        <p:txBody>
          <a:bodyPr lIns="0" tIns="0" rIns="0" bIns="0"/>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2400" b="1" i="0" u="none" strike="noStrike" kern="0" cap="none" spc="0" normalizeH="0" baseline="0" noProof="0" dirty="0">
              <a:ln>
                <a:noFill/>
              </a:ln>
              <a:solidFill>
                <a:prstClr val="black"/>
              </a:solidFill>
              <a:effectLst/>
              <a:uLnTx/>
              <a:uFillTx/>
              <a:latin typeface="微软雅黑"/>
              <a:ea typeface="微软雅黑"/>
              <a:cs typeface="+mn-cs"/>
            </a:endParaRPr>
          </a:p>
        </p:txBody>
      </p:sp>
      <p:graphicFrame>
        <p:nvGraphicFramePr>
          <p:cNvPr id="4" name="对象 3" hidden="1"/>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 name="think-cell Slide" r:id="rId4" imgW="0" imgH="0" progId="TCLayout.ActiveDocument.1">
                  <p:embed/>
                </p:oleObj>
              </mc:Choice>
              <mc:Fallback>
                <p:oleObj name="think-cell Slide" r:id="rId4" imgW="0" imgH="0" progId="TCLayout.ActiveDocument.1">
                  <p:embed/>
                  <p:pic>
                    <p:nvPicPr>
                      <p:cNvPr id="0" name="对象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矩形 4" hidden="1"/>
          <p:cNvSpPr/>
          <p:nvPr userDrawn="1">
            <p:custDataLst>
              <p:tags r:id="rId6"/>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defRPr/>
            </a:pPr>
            <a:endParaRPr kumimoji="0" lang="en-US" altLang="zh-CN" sz="4000" b="1" i="0" u="none" strike="noStrike" kern="1200" cap="none" spc="0" normalizeH="0" baseline="0" noProof="0" dirty="0">
              <a:ln>
                <a:noFill/>
              </a:ln>
              <a:solidFill>
                <a:srgbClr val="FFFFFF"/>
              </a:solidFill>
              <a:effectLst/>
              <a:uLnTx/>
              <a:uFillTx/>
              <a:latin typeface="Arial" panose="020B0604020202090204" pitchFamily="34" charset="0"/>
              <a:ea typeface="微软雅黑" panose="020B0503020204020204" pitchFamily="34" charset="-122"/>
              <a:cs typeface="+mn-cs"/>
              <a:sym typeface="Arial" panose="020B0604020202090204" pitchFamily="34" charset="0"/>
            </a:endParaRPr>
          </a:p>
        </p:txBody>
      </p:sp>
      <p:sp>
        <p:nvSpPr>
          <p:cNvPr id="8" name="文本占位符 7"/>
          <p:cNvSpPr>
            <a:spLocks noGrp="1"/>
          </p:cNvSpPr>
          <p:nvPr>
            <p:ph type="body" sz="quarter" idx="10" hasCustomPrompt="1"/>
          </p:nvPr>
        </p:nvSpPr>
        <p:spPr>
          <a:xfrm>
            <a:off x="4495" y="2970699"/>
            <a:ext cx="12190413" cy="947535"/>
          </a:xfrm>
          <a:prstGeom prst="rect">
            <a:avLst/>
          </a:prstGeom>
        </p:spPr>
        <p:txBody>
          <a:bodyPr anchor="ctr">
            <a:normAutofit/>
          </a:bodyPr>
          <a:lstStyle>
            <a:lvl1pPr marL="0" indent="0" algn="ctr">
              <a:buNone/>
              <a:defRPr sz="4000" b="1">
                <a:solidFill>
                  <a:schemeClr val="bg1"/>
                </a:solidFill>
              </a:defRPr>
            </a:lvl1pPr>
          </a:lstStyle>
          <a:p>
            <a:pPr lvl="0"/>
            <a:r>
              <a:rPr lang="zh-CN" altLang="en-US"/>
              <a:t>谢谢</a:t>
            </a:r>
            <a:endParaRPr lang="zh-CN" altLang="en-US" dirty="0"/>
          </a:p>
        </p:txBody>
      </p:sp>
    </p:spTree>
  </p:cSld>
  <p:clrMapOvr>
    <a:overrideClrMapping bg1="lt1" tx1="dk1" bg2="lt2" tx2="dk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仅标题">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 name="think-cell 幻灯片" r:id="rId3" imgW="0" imgH="0" progId="TCLayout.ActiveDocument.1">
                  <p:embed/>
                </p:oleObj>
              </mc:Choice>
              <mc:Fallback>
                <p:oleObj name="think-cell 幻灯片" r:id="rId3" imgW="0" imgH="0" progId="TCLayout.ActiveDocument.1">
                  <p:embed/>
                  <p:pic>
                    <p:nvPicPr>
                      <p:cNvPr id="0" name="对象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ooterSimple" hidden="1"/>
          <p:cNvSpPr txBox="1"/>
          <p:nvPr userDrawn="1">
            <p:custDataLst>
              <p:tags r:id="rId5"/>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altLang="zh-CN" sz="700">
                <a:solidFill>
                  <a:schemeClr val="bg1">
                    <a:lumMod val="50000"/>
                  </a:schemeClr>
                </a:solidFill>
                <a:latin typeface="+mn-lt"/>
                <a:sym typeface="Trebuchet MS" panose="020B0703020202090204" pitchFamily="34" charset="0"/>
              </a:rPr>
              <a:t>202105 TED Sample Slides WhiteV13_Gaoliao.pptx</a:t>
            </a:r>
            <a:endParaRPr lang="en-US" sz="700" dirty="0">
              <a:solidFill>
                <a:schemeClr val="bg1">
                  <a:lumMod val="50000"/>
                </a:schemeClr>
              </a:solidFill>
              <a:latin typeface="+mn-lt"/>
              <a:sym typeface="Trebuchet MS" panose="020B0703020202090204" pitchFamily="34" charset="0"/>
            </a:endParaRPr>
          </a:p>
        </p:txBody>
      </p:sp>
      <p:sp>
        <p:nvSpPr>
          <p:cNvPr id="7" name="Title Placeholder 1"/>
          <p:cNvSpPr>
            <a:spLocks noGrp="1"/>
          </p:cNvSpPr>
          <p:nvPr>
            <p:ph type="title" hasCustomPrompt="1"/>
          </p:nvPr>
        </p:nvSpPr>
        <p:spPr>
          <a:xfrm>
            <a:off x="360000" y="140399"/>
            <a:ext cx="10934700" cy="720000"/>
          </a:xfrm>
          <a:prstGeom prst="rect">
            <a:avLst/>
          </a:prstGeom>
        </p:spPr>
        <p:txBody>
          <a:bodyPr vert="horz" wrap="square" lIns="0" tIns="0" rIns="0" bIns="0" rtlCol="0" anchor="ctr">
            <a:noAutofit/>
          </a:bodyPr>
          <a:lstStyle>
            <a:lvl1pPr>
              <a:lnSpc>
                <a:spcPct val="100000"/>
              </a:lnSpc>
              <a:defRPr b="1"/>
            </a:lvl1pPr>
          </a:lstStyle>
          <a:p>
            <a:r>
              <a:rPr lang="en-US" altLang="zh-CN" dirty="0"/>
              <a:t>Click to add title</a:t>
            </a:r>
            <a:endParaRPr lang="en-US" dirty="0"/>
          </a:p>
        </p:txBody>
      </p:sp>
      <p:sp>
        <p:nvSpPr>
          <p:cNvPr id="8" name="文本占位符 6"/>
          <p:cNvSpPr>
            <a:spLocks noGrp="1"/>
          </p:cNvSpPr>
          <p:nvPr>
            <p:ph type="body" sz="quarter" idx="11" hasCustomPrompt="1"/>
          </p:nvPr>
        </p:nvSpPr>
        <p:spPr>
          <a:xfrm>
            <a:off x="360000" y="6408210"/>
            <a:ext cx="10934700" cy="422275"/>
          </a:xfrm>
        </p:spPr>
        <p:txBody>
          <a:bodyPr tIns="0" bIns="0" anchor="b"/>
          <a:lstStyle>
            <a:lvl1pPr marL="0" marR="0" indent="0" algn="l" defTabSz="914400" rtl="0" eaLnBrk="1" fontAlgn="auto" latinLnBrk="0" hangingPunct="1">
              <a:lnSpc>
                <a:spcPct val="100000"/>
              </a:lnSpc>
              <a:spcBef>
                <a:spcPts val="0"/>
              </a:spcBef>
              <a:spcAft>
                <a:spcPts val="0"/>
              </a:spcAft>
              <a:buClrTx/>
              <a:buSzTx/>
              <a:buFont typeface="Arial" panose="020B0604020202090204" pitchFamily="34" charset="0"/>
              <a:buNone/>
              <a:defRPr sz="1000" b="0" baseline="0">
                <a:solidFill>
                  <a:schemeClr val="tx1">
                    <a:lumMod val="65000"/>
                    <a:lumOff val="35000"/>
                  </a:schemeClr>
                </a:solidFill>
                <a:latin typeface="+mn-lt"/>
                <a:ea typeface="+mn-ea"/>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90204" pitchFamily="34" charset="0"/>
              <a:buNone/>
              <a:defRPr/>
            </a:pPr>
            <a:r>
              <a:rPr lang="en-US" altLang="zh-CN" dirty="0"/>
              <a:t>Note:</a:t>
            </a:r>
            <a:br>
              <a:rPr lang="en-US" altLang="zh-CN" dirty="0"/>
            </a:br>
            <a:r>
              <a:rPr lang="en-US" altLang="zh-CN" dirty="0"/>
              <a:t>Source:</a:t>
            </a:r>
            <a:endParaRPr lang="zh-CN" altLang="en-US"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3_仅标题">
    <p:spTree>
      <p:nvGrpSpPr>
        <p:cNvPr id="1" name=""/>
        <p:cNvGrpSpPr/>
        <p:nvPr/>
      </p:nvGrpSpPr>
      <p:grpSpPr>
        <a:xfrm>
          <a:off x="0" y="0"/>
          <a:ext cx="0" cy="0"/>
          <a:chOff x="0" y="0"/>
          <a:chExt cx="0" cy="0"/>
        </a:xfrm>
      </p:grpSpPr>
      <p:pic>
        <p:nvPicPr>
          <p:cNvPr id="5" name="Picture 13" descr="1321321.jpg"/>
          <p:cNvPicPr>
            <a:picLocks noChangeAspect="1"/>
          </p:cNvPicPr>
          <p:nvPr userDrawn="1"/>
        </p:nvPicPr>
        <p:blipFill rotWithShape="1">
          <a:blip r:embed="rId2">
            <a:extLst>
              <a:ext uri="{28A0092B-C50C-407E-A947-70E740481C1C}">
                <a14:useLocalDpi xmlns:a14="http://schemas.microsoft.com/office/drawing/2010/main" val="0"/>
              </a:ext>
            </a:extLst>
          </a:blip>
          <a:srcRect l="6729" t="-11413" r="28311" b="-8087"/>
          <a:stretch>
            <a:fillRect/>
          </a:stretch>
        </p:blipFill>
        <p:spPr bwMode="auto">
          <a:xfrm>
            <a:off x="-2" y="6537324"/>
            <a:ext cx="12192001" cy="335915"/>
          </a:xfrm>
          <a:prstGeom prst="rect">
            <a:avLst/>
          </a:prstGeom>
          <a:noFill/>
          <a:ln>
            <a:noFill/>
          </a:ln>
          <a:effectLst>
            <a:glow>
              <a:schemeClr val="accent1">
                <a:alpha val="40000"/>
              </a:schemeClr>
            </a:glow>
            <a:outerShdw blurRad="50800" dist="50800" dir="5400000" algn="ctr" rotWithShape="0">
              <a:srgbClr val="000000">
                <a:alpha val="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标题 1"/>
          <p:cNvSpPr txBox="1"/>
          <p:nvPr userDrawn="1"/>
        </p:nvSpPr>
        <p:spPr>
          <a:xfrm>
            <a:off x="335360" y="241511"/>
            <a:ext cx="11390032" cy="431136"/>
          </a:xfrm>
          <a:prstGeom prst="rect">
            <a:avLst/>
          </a:prstGeom>
        </p:spPr>
        <p:txBody>
          <a:bodyPr lIns="0" rIns="47997" anchor="ctr">
            <a:noAutofit/>
          </a:bodyPr>
          <a:lstStyle>
            <a:lvl1pPr algn="l" rtl="0" eaLnBrk="0" fontAlgn="base" hangingPunct="0">
              <a:spcBef>
                <a:spcPct val="0"/>
              </a:spcBef>
              <a:spcAft>
                <a:spcPct val="0"/>
              </a:spcAft>
              <a:defRPr sz="2400" b="1" kern="1200">
                <a:solidFill>
                  <a:schemeClr val="tx1"/>
                </a:solidFill>
                <a:latin typeface="+mj-lt"/>
                <a:ea typeface="华文楷体" panose="02010600040101010101" pitchFamily="2" charset="-122"/>
                <a:cs typeface="+mj-cs"/>
              </a:defRPr>
            </a:lvl1pPr>
            <a:lvl2pPr algn="ctr" rtl="0" eaLnBrk="0" fontAlgn="base" hangingPunct="0">
              <a:spcBef>
                <a:spcPct val="0"/>
              </a:spcBef>
              <a:spcAft>
                <a:spcPct val="0"/>
              </a:spcAft>
              <a:defRPr sz="5865">
                <a:solidFill>
                  <a:schemeClr val="tx1"/>
                </a:solidFill>
                <a:latin typeface="Calibri" pitchFamily="34" charset="0"/>
                <a:ea typeface="宋体" pitchFamily="2" charset="-122"/>
              </a:defRPr>
            </a:lvl2pPr>
            <a:lvl3pPr algn="ctr" rtl="0" eaLnBrk="0" fontAlgn="base" hangingPunct="0">
              <a:spcBef>
                <a:spcPct val="0"/>
              </a:spcBef>
              <a:spcAft>
                <a:spcPct val="0"/>
              </a:spcAft>
              <a:defRPr sz="5865">
                <a:solidFill>
                  <a:schemeClr val="tx1"/>
                </a:solidFill>
                <a:latin typeface="Calibri" pitchFamily="34" charset="0"/>
                <a:ea typeface="宋体" pitchFamily="2" charset="-122"/>
              </a:defRPr>
            </a:lvl3pPr>
            <a:lvl4pPr algn="ctr" rtl="0" eaLnBrk="0" fontAlgn="base" hangingPunct="0">
              <a:spcBef>
                <a:spcPct val="0"/>
              </a:spcBef>
              <a:spcAft>
                <a:spcPct val="0"/>
              </a:spcAft>
              <a:defRPr sz="5865">
                <a:solidFill>
                  <a:schemeClr val="tx1"/>
                </a:solidFill>
                <a:latin typeface="Calibri" pitchFamily="34" charset="0"/>
                <a:ea typeface="宋体" pitchFamily="2" charset="-122"/>
              </a:defRPr>
            </a:lvl4pPr>
            <a:lvl5pPr algn="ctr" rtl="0" eaLnBrk="0" fontAlgn="base" hangingPunct="0">
              <a:spcBef>
                <a:spcPct val="0"/>
              </a:spcBef>
              <a:spcAft>
                <a:spcPct val="0"/>
              </a:spcAft>
              <a:defRPr sz="5865">
                <a:solidFill>
                  <a:schemeClr val="tx1"/>
                </a:solidFill>
                <a:latin typeface="Calibri" pitchFamily="34" charset="0"/>
                <a:ea typeface="宋体" pitchFamily="2" charset="-122"/>
              </a:defRPr>
            </a:lvl5pPr>
            <a:lvl6pPr marL="609600" algn="ctr" rtl="0" fontAlgn="base">
              <a:spcBef>
                <a:spcPct val="0"/>
              </a:spcBef>
              <a:spcAft>
                <a:spcPct val="0"/>
              </a:spcAft>
              <a:defRPr sz="5865">
                <a:solidFill>
                  <a:schemeClr val="tx1"/>
                </a:solidFill>
                <a:latin typeface="Calibri" pitchFamily="34" charset="0"/>
                <a:ea typeface="宋体" pitchFamily="2" charset="-122"/>
              </a:defRPr>
            </a:lvl6pPr>
            <a:lvl7pPr marL="1219200" algn="ctr" rtl="0" fontAlgn="base">
              <a:spcBef>
                <a:spcPct val="0"/>
              </a:spcBef>
              <a:spcAft>
                <a:spcPct val="0"/>
              </a:spcAft>
              <a:defRPr sz="5865">
                <a:solidFill>
                  <a:schemeClr val="tx1"/>
                </a:solidFill>
                <a:latin typeface="Calibri" pitchFamily="34" charset="0"/>
                <a:ea typeface="宋体" pitchFamily="2" charset="-122"/>
              </a:defRPr>
            </a:lvl7pPr>
            <a:lvl8pPr marL="1828800" algn="ctr" rtl="0" fontAlgn="base">
              <a:spcBef>
                <a:spcPct val="0"/>
              </a:spcBef>
              <a:spcAft>
                <a:spcPct val="0"/>
              </a:spcAft>
              <a:defRPr sz="5865">
                <a:solidFill>
                  <a:schemeClr val="tx1"/>
                </a:solidFill>
                <a:latin typeface="Calibri" pitchFamily="34" charset="0"/>
                <a:ea typeface="宋体" pitchFamily="2" charset="-122"/>
              </a:defRPr>
            </a:lvl8pPr>
            <a:lvl9pPr marL="2438400" algn="ctr" rtl="0" fontAlgn="base">
              <a:spcBef>
                <a:spcPct val="0"/>
              </a:spcBef>
              <a:spcAft>
                <a:spcPct val="0"/>
              </a:spcAft>
              <a:defRPr sz="5865">
                <a:solidFill>
                  <a:schemeClr val="tx1"/>
                </a:solidFill>
                <a:latin typeface="Calibri" pitchFamily="34" charset="0"/>
                <a:ea typeface="宋体" pitchFamily="2" charset="-122"/>
              </a:defRPr>
            </a:lvl9pPr>
          </a:lstStyle>
          <a:p>
            <a:pPr marL="0" marR="0" lvl="0" indent="0" algn="l" defTabSz="914400" rtl="0" eaLnBrk="0" fontAlgn="base" latinLnBrk="0" hangingPunct="0">
              <a:lnSpc>
                <a:spcPct val="100000"/>
              </a:lnSpc>
              <a:spcBef>
                <a:spcPct val="0"/>
              </a:spcBef>
              <a:spcAft>
                <a:spcPct val="0"/>
              </a:spcAft>
              <a:buClrTx/>
              <a:buSzTx/>
              <a:buFontTx/>
              <a:buNone/>
              <a:defRPr/>
            </a:pPr>
            <a:endParaRPr kumimoji="0" lang="zh-CN" altLang="en-US" sz="2400" b="1" i="0" u="none" strike="noStrike" kern="1200" cap="none" spc="0" normalizeH="0" baseline="0" noProof="0" dirty="0">
              <a:ln>
                <a:noFill/>
              </a:ln>
              <a:solidFill>
                <a:srgbClr val="000000"/>
              </a:solidFill>
              <a:effectLst/>
              <a:uLnTx/>
              <a:uFillTx/>
              <a:latin typeface="华文楷体" panose="02010600040101010101" pitchFamily="2" charset="-122"/>
              <a:ea typeface="华文楷体" panose="02010600040101010101" pitchFamily="2" charset="-122"/>
              <a:cs typeface="+mj-cs"/>
            </a:endParaRPr>
          </a:p>
        </p:txBody>
      </p:sp>
      <p:sp>
        <p:nvSpPr>
          <p:cNvPr id="8" name="灯片编号占位符 3"/>
          <p:cNvSpPr>
            <a:spLocks noGrp="1"/>
          </p:cNvSpPr>
          <p:nvPr>
            <p:ph type="sldNum" sz="quarter" idx="4"/>
          </p:nvPr>
        </p:nvSpPr>
        <p:spPr>
          <a:xfrm>
            <a:off x="9342967" y="6534854"/>
            <a:ext cx="2844800" cy="365125"/>
          </a:xfrm>
          <a:prstGeom prst="rect">
            <a:avLst/>
          </a:prstGeom>
        </p:spPr>
        <p:txBody>
          <a:bodyPr/>
          <a:lstStyle>
            <a:lvl1pPr>
              <a:defRPr sz="1400">
                <a:solidFill>
                  <a:schemeClr val="bg1"/>
                </a:solidFill>
                <a:latin typeface="华文楷体" panose="02010600040101010101" pitchFamily="2" charset="-122"/>
                <a:ea typeface="华文楷体" panose="02010600040101010101" pitchFamily="2" charset="-122"/>
              </a:defRPr>
            </a:lvl1pPr>
          </a:lstStyle>
          <a:p>
            <a:pPr algn="r">
              <a:defRPr/>
            </a:pPr>
            <a:r>
              <a:rPr lang="zh-CN" altLang="en-US"/>
              <a:t>第</a:t>
            </a:r>
            <a:fld id="{05D54425-7CA0-47B8-BF13-C0F370DB0253}" type="slidenum">
              <a:rPr lang="zh-CN" altLang="en-US" smtClean="0"/>
            </a:fld>
            <a:r>
              <a:rPr lang="zh-CN" altLang="en-US"/>
              <a:t>页</a:t>
            </a:r>
            <a:endParaRPr lang="zh-CN" altLang="en-US" dirty="0"/>
          </a:p>
        </p:txBody>
      </p:sp>
      <p:pic>
        <p:nvPicPr>
          <p:cNvPr id="9" name="Picture 21" descr="Logo"/>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70325" y="6644961"/>
            <a:ext cx="1387290" cy="1271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2_标题幻灯片">
    <p:spTree>
      <p:nvGrpSpPr>
        <p:cNvPr id="1" name=""/>
        <p:cNvGrpSpPr/>
        <p:nvPr/>
      </p:nvGrpSpPr>
      <p:grpSpPr>
        <a:xfrm>
          <a:off x="0" y="0"/>
          <a:ext cx="0" cy="0"/>
          <a:chOff x="0" y="0"/>
          <a:chExt cx="0" cy="0"/>
        </a:xfrm>
      </p:grpSpPr>
      <p:sp>
        <p:nvSpPr>
          <p:cNvPr id="5" name="图片占位符 3"/>
          <p:cNvSpPr>
            <a:spLocks noGrp="1"/>
          </p:cNvSpPr>
          <p:nvPr>
            <p:ph type="pic" sz="quarter" idx="12" hasCustomPrompt="1"/>
          </p:nvPr>
        </p:nvSpPr>
        <p:spPr>
          <a:xfrm>
            <a:off x="791727" y="4113203"/>
            <a:ext cx="3285901" cy="1765813"/>
          </a:xfrm>
          <a:prstGeom prst="rect">
            <a:avLst/>
          </a:prstGeom>
          <a:pattFill prst="pct60">
            <a:fgClr>
              <a:schemeClr val="bg1"/>
            </a:fgClr>
            <a:bgClr>
              <a:schemeClr val="bg1">
                <a:lumMod val="85000"/>
              </a:schemeClr>
            </a:bgClr>
          </a:pattFill>
          <a:effectLst/>
        </p:spPr>
        <p:txBody>
          <a:bodyPr wrap="square" anchor="ctr">
            <a:noAutofit/>
          </a:bodyPr>
          <a:lstStyle>
            <a:lvl1pPr>
              <a:defRPr kumimoji="1" lang="zh-CN" altLang="en-US" sz="1800">
                <a:solidFill>
                  <a:schemeClr val="tx1">
                    <a:alpha val="73000"/>
                  </a:schemeClr>
                </a:solidFill>
              </a:defRPr>
            </a:lvl1pPr>
          </a:lstStyle>
          <a:p>
            <a:pPr marL="0" lvl="0" indent="0" algn="ctr">
              <a:buNone/>
            </a:pPr>
            <a:r>
              <a:rPr kumimoji="1" lang="zh-CN" altLang="en-US"/>
              <a:t>拖拽插入图片</a:t>
            </a:r>
            <a:endParaRPr kumimoji="1" lang="zh-CN" altLang="en-US"/>
          </a:p>
        </p:txBody>
      </p:sp>
      <p:sp>
        <p:nvSpPr>
          <p:cNvPr id="6" name="图片占位符 3"/>
          <p:cNvSpPr>
            <a:spLocks noGrp="1"/>
          </p:cNvSpPr>
          <p:nvPr>
            <p:ph type="pic" sz="quarter" idx="13" hasCustomPrompt="1"/>
          </p:nvPr>
        </p:nvSpPr>
        <p:spPr>
          <a:xfrm>
            <a:off x="4453048" y="4113203"/>
            <a:ext cx="3285901" cy="1765813"/>
          </a:xfrm>
          <a:prstGeom prst="rect">
            <a:avLst/>
          </a:prstGeom>
          <a:pattFill prst="pct60">
            <a:fgClr>
              <a:schemeClr val="bg1"/>
            </a:fgClr>
            <a:bgClr>
              <a:schemeClr val="bg1">
                <a:lumMod val="85000"/>
              </a:schemeClr>
            </a:bgClr>
          </a:pattFill>
          <a:effectLst/>
        </p:spPr>
        <p:txBody>
          <a:bodyPr wrap="square" anchor="ctr">
            <a:noAutofit/>
          </a:bodyPr>
          <a:lstStyle>
            <a:lvl1pPr>
              <a:defRPr kumimoji="1" lang="zh-CN" altLang="en-US" sz="1800">
                <a:solidFill>
                  <a:schemeClr val="tx1">
                    <a:alpha val="73000"/>
                  </a:schemeClr>
                </a:solidFill>
              </a:defRPr>
            </a:lvl1pPr>
          </a:lstStyle>
          <a:p>
            <a:pPr marL="0" lvl="0" indent="0" algn="ctr">
              <a:buNone/>
            </a:pPr>
            <a:r>
              <a:rPr kumimoji="1" lang="zh-CN" altLang="en-US"/>
              <a:t>拖拽插入图片</a:t>
            </a:r>
            <a:endParaRPr kumimoji="1" lang="zh-CN" altLang="en-US"/>
          </a:p>
        </p:txBody>
      </p:sp>
      <p:sp>
        <p:nvSpPr>
          <p:cNvPr id="7" name="图片占位符 3"/>
          <p:cNvSpPr>
            <a:spLocks noGrp="1"/>
          </p:cNvSpPr>
          <p:nvPr>
            <p:ph type="pic" sz="quarter" idx="14" hasCustomPrompt="1"/>
          </p:nvPr>
        </p:nvSpPr>
        <p:spPr>
          <a:xfrm>
            <a:off x="8114371" y="4113203"/>
            <a:ext cx="3285901" cy="1765813"/>
          </a:xfrm>
          <a:prstGeom prst="rect">
            <a:avLst/>
          </a:prstGeom>
          <a:pattFill prst="pct60">
            <a:fgClr>
              <a:schemeClr val="bg1"/>
            </a:fgClr>
            <a:bgClr>
              <a:schemeClr val="bg1">
                <a:lumMod val="85000"/>
              </a:schemeClr>
            </a:bgClr>
          </a:pattFill>
          <a:effectLst/>
        </p:spPr>
        <p:txBody>
          <a:bodyPr wrap="square" anchor="ctr">
            <a:noAutofit/>
          </a:bodyPr>
          <a:lstStyle>
            <a:lvl1pPr>
              <a:defRPr kumimoji="1" lang="zh-CN" altLang="en-US" sz="1800">
                <a:solidFill>
                  <a:schemeClr val="tx1">
                    <a:alpha val="73000"/>
                  </a:schemeClr>
                </a:solidFill>
              </a:defRPr>
            </a:lvl1pPr>
          </a:lstStyle>
          <a:p>
            <a:pPr marL="0" lvl="0" indent="0" algn="ctr">
              <a:buNone/>
            </a:pPr>
            <a:r>
              <a:rPr kumimoji="1" lang="zh-CN" altLang="en-US"/>
              <a:t>拖拽插入图片</a:t>
            </a:r>
            <a:endParaRPr kumimoji="1" lang="zh-CN" altLang="en-US"/>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标题幻灯片">
    <p:spTree>
      <p:nvGrpSpPr>
        <p:cNvPr id="1" name=""/>
        <p:cNvGrpSpPr/>
        <p:nvPr/>
      </p:nvGrpSpPr>
      <p:grpSpPr>
        <a:xfrm>
          <a:off x="0" y="0"/>
          <a:ext cx="0" cy="0"/>
          <a:chOff x="0" y="0"/>
          <a:chExt cx="0" cy="0"/>
        </a:xfrm>
      </p:grpSpPr>
      <p:sp>
        <p:nvSpPr>
          <p:cNvPr id="3" name="图片占位符 3"/>
          <p:cNvSpPr>
            <a:spLocks noGrp="1"/>
          </p:cNvSpPr>
          <p:nvPr>
            <p:ph type="pic" sz="quarter" idx="12" hasCustomPrompt="1"/>
          </p:nvPr>
        </p:nvSpPr>
        <p:spPr>
          <a:xfrm>
            <a:off x="0" y="0"/>
            <a:ext cx="12192000" cy="6858000"/>
          </a:xfrm>
          <a:prstGeom prst="rect">
            <a:avLst/>
          </a:prstGeom>
          <a:pattFill prst="pct60">
            <a:fgClr>
              <a:schemeClr val="bg1"/>
            </a:fgClr>
            <a:bgClr>
              <a:schemeClr val="bg1">
                <a:lumMod val="85000"/>
              </a:schemeClr>
            </a:bgClr>
          </a:pattFill>
          <a:effectLst/>
        </p:spPr>
        <p:txBody>
          <a:bodyPr wrap="square" anchor="ctr">
            <a:noAutofit/>
          </a:bodyPr>
          <a:lstStyle>
            <a:lvl1pPr>
              <a:defRPr kumimoji="1" lang="zh-CN" altLang="en-US" sz="1800">
                <a:solidFill>
                  <a:schemeClr val="tx1">
                    <a:alpha val="73000"/>
                  </a:schemeClr>
                </a:solidFill>
              </a:defRPr>
            </a:lvl1pPr>
          </a:lstStyle>
          <a:p>
            <a:pPr marL="0" lvl="0" indent="0" algn="ctr">
              <a:buNone/>
            </a:pPr>
            <a:r>
              <a:rPr kumimoji="1" lang="zh-CN" altLang="en-US"/>
              <a:t>拖拽插入图片</a:t>
            </a:r>
            <a:endParaRPr kumimoji="1" lang="zh-CN" alt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标题">
    <p:spTree>
      <p:nvGrpSpPr>
        <p:cNvPr id="1" name=""/>
        <p:cNvGrpSpPr/>
        <p:nvPr/>
      </p:nvGrpSpPr>
      <p:grpSpPr>
        <a:xfrm>
          <a:off x="0" y="0"/>
          <a:ext cx="0" cy="0"/>
          <a:chOff x="0" y="0"/>
          <a:chExt cx="0" cy="0"/>
        </a:xfrm>
      </p:grpSpPr>
      <p:graphicFrame>
        <p:nvGraphicFramePr>
          <p:cNvPr id="7" name="对象 6"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Slide" r:id="rId3" imgW="0" imgH="0" progId="TCLayout.ActiveDocument.1">
                  <p:embed/>
                </p:oleObj>
              </mc:Choice>
              <mc:Fallback>
                <p:oleObj name="think-cell Slide" r:id="rId3" imgW="0" imgH="0" progId="TCLayout.ActiveDocument.1">
                  <p:embed/>
                  <p:pic>
                    <p:nvPicPr>
                      <p:cNvPr id="0" name="对象 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矩形 2" hidden="1"/>
          <p:cNvSpPr/>
          <p:nvPr userDrawn="1">
            <p:custDataLst>
              <p:tags r:id="rId5"/>
            </p:custDataLst>
          </p:nvPr>
        </p:nvSpPr>
        <p:spPr>
          <a:xfrm>
            <a:off x="0" y="0"/>
            <a:ext cx="158750" cy="158750"/>
          </a:xfrm>
          <a:prstGeom prst="rect">
            <a:avLst/>
          </a:prstGeom>
          <a:solidFill>
            <a:srgbClr val="DBCF4D">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pPr>
            <a:endParaRPr kumimoji="0" lang="en-US" altLang="zh-CN" sz="2400" b="1" i="0" u="none" strike="noStrike" kern="1200" cap="none" spc="0" normalizeH="0" baseline="0" noProof="0" dirty="0">
              <a:ln>
                <a:noFill/>
              </a:ln>
              <a:solidFill>
                <a:srgbClr val="FFFFFF"/>
              </a:solidFill>
              <a:effectLst/>
              <a:uLnTx/>
              <a:uFillTx/>
              <a:latin typeface="Arial" panose="020B0604020202090204" pitchFamily="34" charset="0"/>
              <a:ea typeface="华文楷体" panose="02010600040101010101" pitchFamily="2" charset="-122"/>
              <a:cs typeface="+mj-cs"/>
              <a:sym typeface="Arial" panose="020B0604020202090204" pitchFamily="34" charset="0"/>
            </a:endParaRPr>
          </a:p>
        </p:txBody>
      </p:sp>
      <p:sp>
        <p:nvSpPr>
          <p:cNvPr id="19" name="灯片编号占位符 5"/>
          <p:cNvSpPr txBox="1"/>
          <p:nvPr userDrawn="1"/>
        </p:nvSpPr>
        <p:spPr>
          <a:xfrm>
            <a:off x="8869679" y="6395878"/>
            <a:ext cx="2909888" cy="206381"/>
          </a:xfrm>
          <a:prstGeom prst="rect">
            <a:avLst/>
          </a:prstGeom>
        </p:spPr>
        <p:txBody>
          <a:bodyPr vert="horz" lIns="91440" tIns="0" rIns="91440" bIns="45720" rtlCol="0" anchor="b" anchorCtr="0"/>
          <a:lstStyle>
            <a:defPPr>
              <a:defRPr lang="zh-CN"/>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5DD3DB80-B894-403A-B48E-6FDC1A72010E}" type="slidenum">
              <a:rPr lang="zh-CN" altLang="en-US" sz="1200" b="1" smtClean="0">
                <a:solidFill>
                  <a:srgbClr val="000000">
                    <a:lumMod val="50000"/>
                    <a:lumOff val="50000"/>
                  </a:srgbClr>
                </a:solidFill>
                <a:latin typeface="Arial" panose="020B0604020202090204"/>
                <a:ea typeface="微软雅黑"/>
              </a:rPr>
            </a:fld>
            <a:endParaRPr lang="zh-CN" altLang="en-US" sz="1200" b="1" dirty="0">
              <a:solidFill>
                <a:srgbClr val="000000">
                  <a:lumMod val="50000"/>
                  <a:lumOff val="50000"/>
                </a:srgbClr>
              </a:solidFill>
              <a:latin typeface="Arial" panose="020B0604020202090204"/>
              <a:ea typeface="微软雅黑"/>
            </a:endParaRPr>
          </a:p>
        </p:txBody>
      </p:sp>
      <p:cxnSp>
        <p:nvCxnSpPr>
          <p:cNvPr id="11" name="直接连接符 10"/>
          <p:cNvCxnSpPr/>
          <p:nvPr userDrawn="1"/>
        </p:nvCxnSpPr>
        <p:spPr>
          <a:xfrm>
            <a:off x="171507" y="1028700"/>
            <a:ext cx="11822373"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2" name="标题 5"/>
          <p:cNvSpPr>
            <a:spLocks noGrp="1"/>
          </p:cNvSpPr>
          <p:nvPr>
            <p:ph type="title" hasCustomPrompt="1"/>
          </p:nvPr>
        </p:nvSpPr>
        <p:spPr>
          <a:xfrm>
            <a:off x="171507" y="121920"/>
            <a:ext cx="11822373" cy="845820"/>
          </a:xfrm>
          <a:prstGeom prst="rect">
            <a:avLst/>
          </a:prstGeom>
        </p:spPr>
        <p:txBody>
          <a:bodyPr anchor="b"/>
          <a:lstStyle>
            <a:lvl1pPr>
              <a:defRPr/>
            </a:lvl1pPr>
          </a:lstStyle>
          <a:p>
            <a:r>
              <a:rPr lang="zh-CN" altLang="en-US" dirty="0"/>
              <a:t>标题</a:t>
            </a:r>
            <a:endParaRPr lang="zh-CN" altLang="en-US"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showMasterSp="0">
  <p:cSld name="Cover page">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 name="think-cell 幻灯片" r:id="rId3" imgW="0" imgH="0" progId="TCLayout.ActiveDocument.1">
                  <p:embed/>
                </p:oleObj>
              </mc:Choice>
              <mc:Fallback>
                <p:oleObj name="think-cell 幻灯片" r:id="rId3" imgW="0" imgH="0" progId="TCLayout.ActiveDocument.1">
                  <p:embed/>
                  <p:pic>
                    <p:nvPicPr>
                      <p:cNvPr id="0" name="对象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矩形 3"/>
          <p:cNvSpPr/>
          <p:nvPr/>
        </p:nvSpPr>
        <p:spPr>
          <a:xfrm>
            <a:off x="0" y="0"/>
            <a:ext cx="129309" cy="6858000"/>
          </a:xfrm>
          <a:prstGeom prst="rect">
            <a:avLst/>
          </a:prstGeom>
          <a:solidFill>
            <a:schemeClr val="accent1">
              <a:lumMod val="7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endParaRPr lang="en-US" sz="1400" dirty="0">
              <a:solidFill>
                <a:schemeClr val="tx1"/>
              </a:solidFill>
            </a:endParaRPr>
          </a:p>
        </p:txBody>
      </p:sp>
      <p:pic>
        <p:nvPicPr>
          <p:cNvPr id="13" name="Picture 2"/>
          <p:cNvPicPr>
            <a:picLocks noChangeAspect="1" noChangeArrowheads="1"/>
          </p:cNvPicPr>
          <p:nvPr/>
        </p:nvPicPr>
        <p:blipFill rotWithShape="1">
          <a:blip r:embed="rId5" cstate="email"/>
          <a:srcRect r="6177"/>
          <a:stretch>
            <a:fillRect/>
          </a:stretch>
        </p:blipFill>
        <p:spPr bwMode="auto">
          <a:xfrm>
            <a:off x="295564" y="0"/>
            <a:ext cx="11896436"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1" name="Rectangle 20"/>
          <p:cNvSpPr/>
          <p:nvPr/>
        </p:nvSpPr>
        <p:spPr bwMode="black">
          <a:xfrm>
            <a:off x="115021" y="2004291"/>
            <a:ext cx="9415624" cy="2292405"/>
          </a:xfrm>
          <a:prstGeom prst="rect">
            <a:avLst/>
          </a:prstGeom>
          <a:solidFill>
            <a:srgbClr val="EA5404">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703020202090204" pitchFamily="34" charset="0"/>
            </a:endParaRPr>
          </a:p>
        </p:txBody>
      </p:sp>
      <p:sp>
        <p:nvSpPr>
          <p:cNvPr id="22" name="Text Placeholder 6"/>
          <p:cNvSpPr>
            <a:spLocks noGrp="1"/>
          </p:cNvSpPr>
          <p:nvPr>
            <p:ph type="body" sz="quarter" idx="12" hasCustomPrompt="1"/>
          </p:nvPr>
        </p:nvSpPr>
        <p:spPr bwMode="black">
          <a:xfrm>
            <a:off x="7305368" y="6207842"/>
            <a:ext cx="4681760" cy="327148"/>
          </a:xfrm>
          <a:prstGeom prst="rect">
            <a:avLst/>
          </a:prstGeom>
          <a:noFill/>
        </p:spPr>
        <p:txBody>
          <a:bodyPr anchor="ctr"/>
          <a:lstStyle>
            <a:lvl1pPr algn="r">
              <a:lnSpc>
                <a:spcPct val="110000"/>
              </a:lnSpc>
              <a:buNone/>
              <a:defRPr sz="1600" b="1" cap="all" baseline="0">
                <a:solidFill>
                  <a:srgbClr val="FFFFFF"/>
                </a:solidFill>
                <a:latin typeface="+mn-lt"/>
                <a:sym typeface="Trebuchet MS" panose="020B070302020209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endParaRPr lang="en-US" dirty="0"/>
          </a:p>
        </p:txBody>
      </p:sp>
      <p:sp>
        <p:nvSpPr>
          <p:cNvPr id="26" name="Subtitle 2"/>
          <p:cNvSpPr>
            <a:spLocks noGrp="1"/>
          </p:cNvSpPr>
          <p:nvPr>
            <p:ph type="subTitle" idx="1" hasCustomPrompt="1"/>
          </p:nvPr>
        </p:nvSpPr>
        <p:spPr bwMode="white">
          <a:xfrm>
            <a:off x="957600" y="3834054"/>
            <a:ext cx="7607902" cy="436195"/>
          </a:xfrm>
          <a:prstGeom prst="rect">
            <a:avLst/>
          </a:prstGeom>
        </p:spPr>
        <p:txBody>
          <a:bodyPr anchor="ctr"/>
          <a:lstStyle>
            <a:lvl1pPr marL="0" indent="0" algn="l">
              <a:lnSpc>
                <a:spcPct val="110000"/>
              </a:lnSpc>
              <a:buNone/>
              <a:defRPr sz="2000" b="0" baseline="0">
                <a:solidFill>
                  <a:schemeClr val="bg1"/>
                </a:solidFill>
                <a:latin typeface="+mn-lt"/>
                <a:sym typeface="Trebuchet MS" panose="020B070302020209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endParaRPr lang="en-US" dirty="0"/>
          </a:p>
        </p:txBody>
      </p:sp>
      <p:sp>
        <p:nvSpPr>
          <p:cNvPr id="27" name="Title 1"/>
          <p:cNvSpPr>
            <a:spLocks noGrp="1"/>
          </p:cNvSpPr>
          <p:nvPr>
            <p:ph type="ctrTitle" hasCustomPrompt="1"/>
          </p:nvPr>
        </p:nvSpPr>
        <p:spPr bwMode="ltGray">
          <a:xfrm>
            <a:off x="957600" y="2257799"/>
            <a:ext cx="7607902" cy="1431161"/>
          </a:xfrm>
          <a:prstGeom prst="rect">
            <a:avLst/>
          </a:prstGeom>
        </p:spPr>
        <p:txBody>
          <a:bodyPr vert="horz" wrap="square" anchor="ctr">
            <a:noAutofit/>
          </a:bodyPr>
          <a:lstStyle>
            <a:lvl1pPr algn="l">
              <a:lnSpc>
                <a:spcPct val="93000"/>
              </a:lnSpc>
              <a:defRPr sz="5000" b="1" baseline="0">
                <a:solidFill>
                  <a:schemeClr val="bg1"/>
                </a:solidFill>
                <a:latin typeface="+mj-lt"/>
                <a:sym typeface="Trebuchet MS" panose="020B0703020202090204" pitchFamily="34" charset="0"/>
              </a:defRPr>
            </a:lvl1pPr>
          </a:lstStyle>
          <a:p>
            <a:r>
              <a:rPr lang="en-US" altLang="zh-CN" dirty="0"/>
              <a:t>Title in Title Case</a:t>
            </a:r>
            <a:endParaRPr lang="en-US" dirty="0"/>
          </a:p>
        </p:txBody>
      </p:sp>
      <p:grpSp>
        <p:nvGrpSpPr>
          <p:cNvPr id="16" name="组合 15"/>
          <p:cNvGrpSpPr>
            <a:grpSpLocks noChangeAspect="1"/>
          </p:cNvGrpSpPr>
          <p:nvPr/>
        </p:nvGrpSpPr>
        <p:grpSpPr>
          <a:xfrm>
            <a:off x="652637" y="297259"/>
            <a:ext cx="1150838" cy="432048"/>
            <a:chOff x="13103547" y="829734"/>
            <a:chExt cx="2203232" cy="827288"/>
          </a:xfrm>
        </p:grpSpPr>
        <p:pic>
          <p:nvPicPr>
            <p:cNvPr id="17" name="图片 16"/>
            <p:cNvPicPr>
              <a:picLocks noChangeAspect="1"/>
            </p:cNvPicPr>
            <p:nvPr/>
          </p:nvPicPr>
          <p:blipFill>
            <a:blip r:embed="rId6" cstate="email"/>
            <a:stretch>
              <a:fillRect/>
            </a:stretch>
          </p:blipFill>
          <p:spPr>
            <a:xfrm>
              <a:off x="13586494" y="885667"/>
              <a:ext cx="1720285" cy="720000"/>
            </a:xfrm>
            <a:prstGeom prst="rect">
              <a:avLst/>
            </a:prstGeom>
          </p:spPr>
        </p:pic>
        <p:grpSp>
          <p:nvGrpSpPr>
            <p:cNvPr id="19" name="组合 18"/>
            <p:cNvGrpSpPr/>
            <p:nvPr userDrawn="1"/>
          </p:nvGrpSpPr>
          <p:grpSpPr>
            <a:xfrm>
              <a:off x="13103547" y="829734"/>
              <a:ext cx="171450" cy="827288"/>
              <a:chOff x="12841961" y="829734"/>
              <a:chExt cx="171450" cy="827288"/>
            </a:xfrm>
          </p:grpSpPr>
          <p:cxnSp>
            <p:nvCxnSpPr>
              <p:cNvPr id="28" name="直接连接符 27"/>
              <p:cNvCxnSpPr/>
              <p:nvPr userDrawn="1"/>
            </p:nvCxnSpPr>
            <p:spPr>
              <a:xfrm>
                <a:off x="12841961" y="829734"/>
                <a:ext cx="0" cy="827288"/>
              </a:xfrm>
              <a:prstGeom prst="line">
                <a:avLst/>
              </a:prstGeom>
              <a:ln w="57150">
                <a:solidFill>
                  <a:srgbClr val="EA5404"/>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p:nvPr userDrawn="1"/>
            </p:nvCxnSpPr>
            <p:spPr>
              <a:xfrm>
                <a:off x="13013411" y="829734"/>
                <a:ext cx="0" cy="827288"/>
              </a:xfrm>
              <a:prstGeom prst="line">
                <a:avLst/>
              </a:prstGeom>
              <a:ln w="25400">
                <a:solidFill>
                  <a:srgbClr val="EA5404"/>
                </a:solidFill>
              </a:ln>
            </p:spPr>
            <p:style>
              <a:lnRef idx="1">
                <a:schemeClr val="accent1"/>
              </a:lnRef>
              <a:fillRef idx="0">
                <a:schemeClr val="accent1"/>
              </a:fillRef>
              <a:effectRef idx="0">
                <a:schemeClr val="accent1"/>
              </a:effectRef>
              <a:fontRef idx="minor">
                <a:schemeClr val="tx1"/>
              </a:fontRef>
            </p:style>
          </p:cxnSp>
        </p:grpSp>
      </p:grpSp>
      <p:cxnSp>
        <p:nvCxnSpPr>
          <p:cNvPr id="5" name="直接连接符 4"/>
          <p:cNvCxnSpPr/>
          <p:nvPr/>
        </p:nvCxnSpPr>
        <p:spPr>
          <a:xfrm>
            <a:off x="953729" y="3762866"/>
            <a:ext cx="8603226" cy="0"/>
          </a:xfrm>
          <a:prstGeom prst="line">
            <a:avLst/>
          </a:prstGeom>
          <a:ln w="9525" cap="rnd">
            <a:solidFill>
              <a:schemeClr val="bg1"/>
            </a:solidFill>
            <a:prstDash val="solid"/>
            <a:round/>
          </a:ln>
        </p:spPr>
        <p:style>
          <a:lnRef idx="1">
            <a:schemeClr val="accent1"/>
          </a:lnRef>
          <a:fillRef idx="0">
            <a:schemeClr val="accent1"/>
          </a:fillRef>
          <a:effectRef idx="0">
            <a:schemeClr val="accent1"/>
          </a:effectRef>
          <a:fontRef idx="minor">
            <a:schemeClr val="tx1"/>
          </a:fontRef>
        </p:style>
      </p:cxnSp>
      <p:cxnSp>
        <p:nvCxnSpPr>
          <p:cNvPr id="7" name="直接连接符 6"/>
          <p:cNvCxnSpPr/>
          <p:nvPr/>
        </p:nvCxnSpPr>
        <p:spPr>
          <a:xfrm>
            <a:off x="203200" y="0"/>
            <a:ext cx="0" cy="6858000"/>
          </a:xfrm>
          <a:prstGeom prst="line">
            <a:avLst/>
          </a:prstGeom>
          <a:ln w="9525" cap="rnd">
            <a:solidFill>
              <a:schemeClr val="accent1">
                <a:lumMod val="75000"/>
              </a:schemeClr>
            </a:solidFill>
            <a:prstDash val="solid"/>
            <a:round/>
          </a:ln>
        </p:spPr>
        <p:style>
          <a:lnRef idx="1">
            <a:schemeClr val="accent1"/>
          </a:lnRef>
          <a:fillRef idx="0">
            <a:schemeClr val="accent1"/>
          </a:fillRef>
          <a:effectRef idx="0">
            <a:schemeClr val="accent1"/>
          </a:effectRef>
          <a:fontRef idx="minor">
            <a:schemeClr val="tx1"/>
          </a:fontRef>
        </p:style>
      </p:cxnSp>
    </p:spTree>
  </p:cSld>
  <p:clrMapOvr>
    <a:masterClrMapping/>
  </p:clrMapOvr>
  <p:hf hdr="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Agenda">
    <p:bg>
      <p:bgRef idx="1001">
        <a:schemeClr val="bg1"/>
      </p:bgRef>
    </p:bg>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 name="think-cell 幻灯片" r:id="rId3" imgW="0" imgH="0" progId="TCLayout.ActiveDocument.1">
                  <p:embed/>
                </p:oleObj>
              </mc:Choice>
              <mc:Fallback>
                <p:oleObj name="think-cell 幻灯片" r:id="rId3" imgW="0" imgH="0" progId="TCLayout.ActiveDocument.1">
                  <p:embed/>
                  <p:pic>
                    <p:nvPicPr>
                      <p:cNvPr id="0" name="对象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ooterSimple" hidden="1"/>
          <p:cNvSpPr txBox="1"/>
          <p:nvPr>
            <p:custDataLst>
              <p:tags r:id="rId5"/>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altLang="zh-CN" sz="700">
                <a:solidFill>
                  <a:schemeClr val="bg1">
                    <a:lumMod val="50000"/>
                  </a:schemeClr>
                </a:solidFill>
                <a:latin typeface="+mn-lt"/>
                <a:sym typeface="Trebuchet MS" panose="020B0703020202090204" pitchFamily="34" charset="0"/>
              </a:rPr>
              <a:t>202105 TED Sample Slides WhiteV13_Gaoliao.pptx</a:t>
            </a:r>
            <a:endParaRPr lang="en-US" sz="700" dirty="0">
              <a:solidFill>
                <a:schemeClr val="bg1">
                  <a:lumMod val="50000"/>
                </a:schemeClr>
              </a:solidFill>
              <a:latin typeface="+mn-lt"/>
              <a:sym typeface="Trebuchet MS" panose="020B0703020202090204" pitchFamily="34" charset="0"/>
            </a:endParaRPr>
          </a:p>
        </p:txBody>
      </p:sp>
      <p:sp>
        <p:nvSpPr>
          <p:cNvPr id="7" name="Title Placeholder 1"/>
          <p:cNvSpPr>
            <a:spLocks noGrp="1"/>
          </p:cNvSpPr>
          <p:nvPr>
            <p:ph type="title" hasCustomPrompt="1"/>
          </p:nvPr>
        </p:nvSpPr>
        <p:spPr>
          <a:xfrm>
            <a:off x="360000" y="140399"/>
            <a:ext cx="10934700" cy="720000"/>
          </a:xfrm>
          <a:prstGeom prst="rect">
            <a:avLst/>
          </a:prstGeom>
        </p:spPr>
        <p:txBody>
          <a:bodyPr vert="horz" wrap="square" lIns="0" tIns="0" rIns="0" bIns="0" rtlCol="0" anchor="ctr">
            <a:noAutofit/>
          </a:bodyPr>
          <a:lstStyle>
            <a:lvl1pPr>
              <a:lnSpc>
                <a:spcPct val="100000"/>
              </a:lnSpc>
              <a:defRPr b="1">
                <a:solidFill>
                  <a:schemeClr val="tx1"/>
                </a:solidFill>
              </a:defRPr>
            </a:lvl1pPr>
          </a:lstStyle>
          <a:p>
            <a:r>
              <a:rPr lang="en-US" dirty="0"/>
              <a:t>Agenda </a:t>
            </a:r>
            <a:r>
              <a:rPr lang="en-US" altLang="zh-CN" dirty="0"/>
              <a:t>page</a:t>
            </a:r>
            <a:endParaRPr lang="en-US" dirty="0"/>
          </a:p>
        </p:txBody>
      </p:sp>
      <p:pic>
        <p:nvPicPr>
          <p:cNvPr id="4" name="图片 3"/>
          <p:cNvPicPr>
            <a:picLocks noChangeAspect="1"/>
          </p:cNvPicPr>
          <p:nvPr/>
        </p:nvPicPr>
        <p:blipFill rotWithShape="1">
          <a:blip r:embed="rId6" cstate="email"/>
          <a:srcRect r="570"/>
          <a:stretch>
            <a:fillRect/>
          </a:stretch>
        </p:blipFill>
        <p:spPr>
          <a:xfrm>
            <a:off x="0" y="1260057"/>
            <a:ext cx="12192000" cy="4876049"/>
          </a:xfrm>
          <a:prstGeom prst="rect">
            <a:avLst/>
          </a:prstGeom>
        </p:spPr>
      </p:pic>
    </p:spTree>
  </p:cSld>
  <p:clrMapOvr>
    <a:overrideClrMapping bg1="lt1" tx1="dk1" bg2="lt2" tx2="dk2" accent1="accent1" accent2="accent2" accent3="accent3" accent4="accent4" accent5="accent5" accent6="accent6" hlink="hlink" folHlink="folHlink"/>
  </p:clrMapOvr>
  <p:hf hdr="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仅标题">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 name="think-cell 幻灯片" r:id="rId3" imgW="0" imgH="0" progId="TCLayout.ActiveDocument.1">
                  <p:embed/>
                </p:oleObj>
              </mc:Choice>
              <mc:Fallback>
                <p:oleObj name="think-cell 幻灯片" r:id="rId3" imgW="0" imgH="0" progId="TCLayout.ActiveDocument.1">
                  <p:embed/>
                  <p:pic>
                    <p:nvPicPr>
                      <p:cNvPr id="0" name="对象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ooterSimple" hidden="1"/>
          <p:cNvSpPr txBox="1"/>
          <p:nvPr>
            <p:custDataLst>
              <p:tags r:id="rId5"/>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altLang="zh-CN" sz="700">
                <a:solidFill>
                  <a:schemeClr val="bg1">
                    <a:lumMod val="50000"/>
                  </a:schemeClr>
                </a:solidFill>
                <a:latin typeface="+mn-lt"/>
                <a:sym typeface="Trebuchet MS" panose="020B0703020202090204" pitchFamily="34" charset="0"/>
              </a:rPr>
              <a:t>202105 TED Sample Slides WhiteV13_Gaoliao.pptx</a:t>
            </a:r>
            <a:endParaRPr lang="en-US" sz="700" dirty="0">
              <a:solidFill>
                <a:schemeClr val="bg1">
                  <a:lumMod val="50000"/>
                </a:schemeClr>
              </a:solidFill>
              <a:latin typeface="+mn-lt"/>
              <a:sym typeface="Trebuchet MS" panose="020B0703020202090204" pitchFamily="34" charset="0"/>
            </a:endParaRPr>
          </a:p>
        </p:txBody>
      </p:sp>
      <p:sp>
        <p:nvSpPr>
          <p:cNvPr id="7" name="Title Placeholder 1"/>
          <p:cNvSpPr>
            <a:spLocks noGrp="1"/>
          </p:cNvSpPr>
          <p:nvPr>
            <p:ph type="title" hasCustomPrompt="1"/>
          </p:nvPr>
        </p:nvSpPr>
        <p:spPr>
          <a:xfrm>
            <a:off x="360000" y="140399"/>
            <a:ext cx="10934700" cy="720000"/>
          </a:xfrm>
          <a:prstGeom prst="rect">
            <a:avLst/>
          </a:prstGeom>
        </p:spPr>
        <p:txBody>
          <a:bodyPr vert="horz" wrap="square" lIns="0" tIns="0" rIns="0" bIns="0" rtlCol="0" anchor="ctr">
            <a:noAutofit/>
          </a:bodyPr>
          <a:lstStyle>
            <a:lvl1pPr>
              <a:lnSpc>
                <a:spcPct val="100000"/>
              </a:lnSpc>
              <a:defRPr b="1"/>
            </a:lvl1pPr>
          </a:lstStyle>
          <a:p>
            <a:r>
              <a:rPr lang="en-US" altLang="zh-CN" dirty="0"/>
              <a:t>Click to add title</a:t>
            </a:r>
            <a:endParaRPr lang="en-US" dirty="0"/>
          </a:p>
        </p:txBody>
      </p:sp>
      <p:sp>
        <p:nvSpPr>
          <p:cNvPr id="8" name="文本占位符 6"/>
          <p:cNvSpPr>
            <a:spLocks noGrp="1"/>
          </p:cNvSpPr>
          <p:nvPr>
            <p:ph type="body" sz="quarter" idx="11" hasCustomPrompt="1"/>
          </p:nvPr>
        </p:nvSpPr>
        <p:spPr>
          <a:xfrm>
            <a:off x="360000" y="6408210"/>
            <a:ext cx="10934700" cy="422275"/>
          </a:xfrm>
        </p:spPr>
        <p:txBody>
          <a:bodyPr tIns="0" bIns="0" anchor="b"/>
          <a:lstStyle>
            <a:lvl1pPr marL="0" marR="0" indent="0" algn="l" defTabSz="914400" rtl="0" eaLnBrk="1" fontAlgn="auto" latinLnBrk="0" hangingPunct="1">
              <a:lnSpc>
                <a:spcPct val="100000"/>
              </a:lnSpc>
              <a:spcBef>
                <a:spcPts val="0"/>
              </a:spcBef>
              <a:spcAft>
                <a:spcPts val="0"/>
              </a:spcAft>
              <a:buClrTx/>
              <a:buSzTx/>
              <a:buFont typeface="Arial" panose="020B0604020202090204" pitchFamily="34" charset="0"/>
              <a:buNone/>
              <a:defRPr sz="1000" b="0" baseline="0">
                <a:solidFill>
                  <a:schemeClr val="tx1">
                    <a:lumMod val="65000"/>
                    <a:lumOff val="35000"/>
                  </a:schemeClr>
                </a:solidFill>
                <a:latin typeface="+mn-lt"/>
                <a:ea typeface="+mn-ea"/>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90204" pitchFamily="34" charset="0"/>
              <a:buNone/>
              <a:defRPr/>
            </a:pPr>
            <a:r>
              <a:rPr lang="en-US" altLang="zh-CN" dirty="0"/>
              <a:t>Note:</a:t>
            </a:r>
            <a:br>
              <a:rPr lang="en-US" altLang="zh-CN" dirty="0"/>
            </a:br>
            <a:r>
              <a:rPr lang="en-US" altLang="zh-CN" dirty="0"/>
              <a:t>Source:</a:t>
            </a:r>
            <a:endParaRPr lang="zh-CN" altLang="en-US" dirty="0"/>
          </a:p>
        </p:txBody>
      </p:sp>
      <p:graphicFrame>
        <p:nvGraphicFramePr>
          <p:cNvPr id="6" name="对象 5" hidden="1"/>
          <p:cNvGraphicFramePr>
            <a:graphicFrameLocks noChangeAspect="1"/>
          </p:cNvGraphicFramePr>
          <p:nvPr userDrawn="1">
            <p:custDataLst>
              <p:tags r:id="rId6"/>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 name="think-cell 幻灯片" r:id="rId7" imgW="0" imgH="0" progId="TCLayout.ActiveDocument.1">
                  <p:embed/>
                </p:oleObj>
              </mc:Choice>
              <mc:Fallback>
                <p:oleObj name="think-cell 幻灯片" r:id="rId7" imgW="0" imgH="0" progId="TCLayout.ActiveDocument.1">
                  <p:embed/>
                  <p:pic>
                    <p:nvPicPr>
                      <p:cNvPr id="0" name="对象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FooterSimple" hidden="1"/>
          <p:cNvSpPr txBox="1"/>
          <p:nvPr userDrawn="1">
            <p:custDataLst>
              <p:tags r:id="rId8"/>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altLang="zh-CN" sz="700">
                <a:solidFill>
                  <a:schemeClr val="bg1">
                    <a:lumMod val="50000"/>
                  </a:schemeClr>
                </a:solidFill>
                <a:latin typeface="+mn-lt"/>
                <a:sym typeface="Trebuchet MS" panose="020B0703020202090204" pitchFamily="34" charset="0"/>
              </a:rPr>
              <a:t>202105 TED Sample Slides WhiteV13_Gaoliao.pptx</a:t>
            </a:r>
            <a:endParaRPr lang="en-US" sz="700" dirty="0">
              <a:solidFill>
                <a:schemeClr val="bg1">
                  <a:lumMod val="50000"/>
                </a:schemeClr>
              </a:solidFill>
              <a:latin typeface="+mn-lt"/>
              <a:sym typeface="Trebuchet MS" panose="020B0703020202090204" pitchFamily="34" charset="0"/>
            </a:endParaRP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showMasterSp="0">
  <p:cSld name="End page">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 name="think-cell 幻灯片" r:id="rId3" imgW="0" imgH="0" progId="TCLayout.ActiveDocument.1">
                  <p:embed/>
                </p:oleObj>
              </mc:Choice>
              <mc:Fallback>
                <p:oleObj name="think-cell 幻灯片" r:id="rId3" imgW="0" imgH="0" progId="TCLayout.ActiveDocument.1">
                  <p:embed/>
                  <p:pic>
                    <p:nvPicPr>
                      <p:cNvPr id="0" name="对象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8" name="Picture 2"/>
          <p:cNvPicPr>
            <a:picLocks noChangeAspect="1" noChangeArrowheads="1"/>
          </p:cNvPicPr>
          <p:nvPr/>
        </p:nvPicPr>
        <p:blipFill>
          <a:blip r:embed="rId5" cstate="email"/>
          <a:srcRect/>
          <a:stretch>
            <a:fillRect/>
          </a:stretch>
        </p:blipFill>
        <p:spPr bwMode="auto">
          <a:xfrm>
            <a:off x="-2377" y="2383"/>
            <a:ext cx="12194377" cy="68523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矩形 3"/>
          <p:cNvSpPr/>
          <p:nvPr/>
        </p:nvSpPr>
        <p:spPr>
          <a:xfrm>
            <a:off x="-3174" y="2287437"/>
            <a:ext cx="12195173" cy="2282287"/>
          </a:xfrm>
          <a:prstGeom prst="rect">
            <a:avLst/>
          </a:prstGeom>
          <a:solidFill>
            <a:schemeClr val="accent1">
              <a:lumMod val="75000"/>
              <a:alpha val="85098"/>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endParaRPr lang="zh-CN" altLang="en-US" sz="1200" dirty="0" err="1">
              <a:solidFill>
                <a:srgbClr val="FFFFFF"/>
              </a:solidFill>
            </a:endParaRPr>
          </a:p>
        </p:txBody>
      </p:sp>
      <p:sp>
        <p:nvSpPr>
          <p:cNvPr id="7" name="文本占位符 6"/>
          <p:cNvSpPr>
            <a:spLocks noGrp="1"/>
          </p:cNvSpPr>
          <p:nvPr>
            <p:ph type="body" sz="quarter" idx="11" hasCustomPrompt="1"/>
          </p:nvPr>
        </p:nvSpPr>
        <p:spPr>
          <a:xfrm>
            <a:off x="2215356" y="2457030"/>
            <a:ext cx="7758113" cy="1943100"/>
          </a:xfrm>
        </p:spPr>
        <p:txBody>
          <a:bodyPr anchor="ctr"/>
          <a:lstStyle>
            <a:lvl1pPr algn="ctr">
              <a:defRPr sz="4400" b="1">
                <a:solidFill>
                  <a:srgbClr val="FFFFFF"/>
                </a:solidFill>
              </a:defRPr>
            </a:lvl1pPr>
          </a:lstStyle>
          <a:p>
            <a:pPr lvl="0"/>
            <a:r>
              <a:rPr lang="en-US" altLang="zh-CN" dirty="0"/>
              <a:t>Click to add content</a:t>
            </a:r>
            <a:endParaRPr lang="zh-CN" altLang="en-US" dirty="0"/>
          </a:p>
        </p:txBody>
      </p:sp>
      <p:cxnSp>
        <p:nvCxnSpPr>
          <p:cNvPr id="6" name="直接连接符 5"/>
          <p:cNvCxnSpPr/>
          <p:nvPr/>
        </p:nvCxnSpPr>
        <p:spPr>
          <a:xfrm flipH="1">
            <a:off x="-3174" y="4643437"/>
            <a:ext cx="12195173" cy="0"/>
          </a:xfrm>
          <a:prstGeom prst="line">
            <a:avLst/>
          </a:prstGeom>
          <a:ln w="9525" cap="rnd">
            <a:solidFill>
              <a:schemeClr val="accent1">
                <a:lumMod val="75000"/>
              </a:schemeClr>
            </a:solidFill>
            <a:prstDash val="solid"/>
            <a:round/>
          </a:ln>
        </p:spPr>
        <p:style>
          <a:lnRef idx="1">
            <a:schemeClr val="accent1"/>
          </a:lnRef>
          <a:fillRef idx="0">
            <a:schemeClr val="accent1"/>
          </a:fillRef>
          <a:effectRef idx="0">
            <a:schemeClr val="accent1"/>
          </a:effectRef>
          <a:fontRef idx="minor">
            <a:schemeClr val="tx1"/>
          </a:fontRef>
        </p:style>
      </p:cxnSp>
    </p:spTree>
  </p:cSld>
  <p:clrMapOvr>
    <a:masterClrMapping/>
  </p:clrMapOvr>
  <p:hf hdr="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showMasterSp="0">
  <p:cSld name="Cover page">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 name="think-cell 幻灯片" r:id="rId3" imgW="0" imgH="0" progId="TCLayout.ActiveDocument.1">
                  <p:embed/>
                </p:oleObj>
              </mc:Choice>
              <mc:Fallback>
                <p:oleObj name="think-cell 幻灯片" r:id="rId3" imgW="0" imgH="0" progId="TCLayout.ActiveDocument.1">
                  <p:embed/>
                  <p:pic>
                    <p:nvPicPr>
                      <p:cNvPr id="0" name="对象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矩形 3"/>
          <p:cNvSpPr/>
          <p:nvPr/>
        </p:nvSpPr>
        <p:spPr>
          <a:xfrm>
            <a:off x="0" y="0"/>
            <a:ext cx="129309" cy="6858000"/>
          </a:xfrm>
          <a:prstGeom prst="rect">
            <a:avLst/>
          </a:prstGeom>
          <a:solidFill>
            <a:schemeClr val="accent1">
              <a:lumMod val="7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endParaRPr lang="en-US" sz="1400" dirty="0">
              <a:solidFill>
                <a:schemeClr val="tx1"/>
              </a:solidFill>
            </a:endParaRPr>
          </a:p>
        </p:txBody>
      </p:sp>
      <p:pic>
        <p:nvPicPr>
          <p:cNvPr id="13" name="Picture 2"/>
          <p:cNvPicPr>
            <a:picLocks noChangeAspect="1" noChangeArrowheads="1"/>
          </p:cNvPicPr>
          <p:nvPr/>
        </p:nvPicPr>
        <p:blipFill rotWithShape="1">
          <a:blip r:embed="rId5" cstate="email"/>
          <a:srcRect r="6177"/>
          <a:stretch>
            <a:fillRect/>
          </a:stretch>
        </p:blipFill>
        <p:spPr bwMode="auto">
          <a:xfrm>
            <a:off x="295564" y="0"/>
            <a:ext cx="11896436"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1" name="Rectangle 20"/>
          <p:cNvSpPr/>
          <p:nvPr/>
        </p:nvSpPr>
        <p:spPr bwMode="black">
          <a:xfrm>
            <a:off x="115021" y="2004291"/>
            <a:ext cx="9415624" cy="2292405"/>
          </a:xfrm>
          <a:prstGeom prst="rect">
            <a:avLst/>
          </a:prstGeom>
          <a:solidFill>
            <a:srgbClr val="EA5404">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703020202090204" pitchFamily="34" charset="0"/>
            </a:endParaRPr>
          </a:p>
        </p:txBody>
      </p:sp>
      <p:sp>
        <p:nvSpPr>
          <p:cNvPr id="22" name="Text Placeholder 6"/>
          <p:cNvSpPr>
            <a:spLocks noGrp="1"/>
          </p:cNvSpPr>
          <p:nvPr>
            <p:ph type="body" sz="quarter" idx="12" hasCustomPrompt="1"/>
          </p:nvPr>
        </p:nvSpPr>
        <p:spPr bwMode="black">
          <a:xfrm>
            <a:off x="7305368" y="6207842"/>
            <a:ext cx="4681760" cy="327148"/>
          </a:xfrm>
          <a:prstGeom prst="rect">
            <a:avLst/>
          </a:prstGeom>
          <a:noFill/>
        </p:spPr>
        <p:txBody>
          <a:bodyPr anchor="ctr"/>
          <a:lstStyle>
            <a:lvl1pPr algn="r">
              <a:lnSpc>
                <a:spcPct val="110000"/>
              </a:lnSpc>
              <a:buNone/>
              <a:defRPr sz="1600" b="1" cap="all" baseline="0">
                <a:solidFill>
                  <a:srgbClr val="FFFFFF"/>
                </a:solidFill>
                <a:latin typeface="+mn-lt"/>
                <a:sym typeface="Trebuchet MS" panose="020B070302020209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endParaRPr lang="en-US" dirty="0"/>
          </a:p>
        </p:txBody>
      </p:sp>
      <p:sp>
        <p:nvSpPr>
          <p:cNvPr id="26" name="Subtitle 2"/>
          <p:cNvSpPr>
            <a:spLocks noGrp="1"/>
          </p:cNvSpPr>
          <p:nvPr>
            <p:ph type="subTitle" idx="1" hasCustomPrompt="1"/>
          </p:nvPr>
        </p:nvSpPr>
        <p:spPr bwMode="white">
          <a:xfrm>
            <a:off x="957600" y="3834054"/>
            <a:ext cx="7607902" cy="436195"/>
          </a:xfrm>
          <a:prstGeom prst="rect">
            <a:avLst/>
          </a:prstGeom>
        </p:spPr>
        <p:txBody>
          <a:bodyPr anchor="ctr"/>
          <a:lstStyle>
            <a:lvl1pPr marL="0" indent="0" algn="l">
              <a:lnSpc>
                <a:spcPct val="110000"/>
              </a:lnSpc>
              <a:buNone/>
              <a:defRPr sz="2000" b="0" baseline="0">
                <a:solidFill>
                  <a:schemeClr val="bg1"/>
                </a:solidFill>
                <a:latin typeface="+mn-lt"/>
                <a:sym typeface="Trebuchet MS" panose="020B070302020209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endParaRPr lang="en-US" dirty="0"/>
          </a:p>
        </p:txBody>
      </p:sp>
      <p:sp>
        <p:nvSpPr>
          <p:cNvPr id="27" name="Title 1"/>
          <p:cNvSpPr>
            <a:spLocks noGrp="1"/>
          </p:cNvSpPr>
          <p:nvPr>
            <p:ph type="ctrTitle" hasCustomPrompt="1"/>
          </p:nvPr>
        </p:nvSpPr>
        <p:spPr bwMode="ltGray">
          <a:xfrm>
            <a:off x="957600" y="2257799"/>
            <a:ext cx="7607902" cy="1431161"/>
          </a:xfrm>
          <a:prstGeom prst="rect">
            <a:avLst/>
          </a:prstGeom>
        </p:spPr>
        <p:txBody>
          <a:bodyPr vert="horz" wrap="square" anchor="ctr">
            <a:noAutofit/>
          </a:bodyPr>
          <a:lstStyle>
            <a:lvl1pPr algn="l">
              <a:lnSpc>
                <a:spcPct val="93000"/>
              </a:lnSpc>
              <a:defRPr sz="5000" b="1" baseline="0">
                <a:solidFill>
                  <a:schemeClr val="bg1"/>
                </a:solidFill>
                <a:latin typeface="+mj-lt"/>
                <a:sym typeface="Trebuchet MS" panose="020B0703020202090204" pitchFamily="34" charset="0"/>
              </a:defRPr>
            </a:lvl1pPr>
          </a:lstStyle>
          <a:p>
            <a:r>
              <a:rPr lang="en-US" altLang="zh-CN" dirty="0"/>
              <a:t>Title in Title Case</a:t>
            </a:r>
            <a:endParaRPr lang="en-US" dirty="0"/>
          </a:p>
        </p:txBody>
      </p:sp>
      <p:grpSp>
        <p:nvGrpSpPr>
          <p:cNvPr id="16" name="组合 15"/>
          <p:cNvGrpSpPr>
            <a:grpSpLocks noChangeAspect="1"/>
          </p:cNvGrpSpPr>
          <p:nvPr/>
        </p:nvGrpSpPr>
        <p:grpSpPr>
          <a:xfrm>
            <a:off x="652637" y="297259"/>
            <a:ext cx="1150838" cy="432048"/>
            <a:chOff x="13103547" y="829734"/>
            <a:chExt cx="2203232" cy="827288"/>
          </a:xfrm>
        </p:grpSpPr>
        <p:pic>
          <p:nvPicPr>
            <p:cNvPr id="17" name="图片 16"/>
            <p:cNvPicPr>
              <a:picLocks noChangeAspect="1"/>
            </p:cNvPicPr>
            <p:nvPr/>
          </p:nvPicPr>
          <p:blipFill>
            <a:blip r:embed="rId6" cstate="email"/>
            <a:stretch>
              <a:fillRect/>
            </a:stretch>
          </p:blipFill>
          <p:spPr>
            <a:xfrm>
              <a:off x="13586494" y="885667"/>
              <a:ext cx="1720285" cy="720000"/>
            </a:xfrm>
            <a:prstGeom prst="rect">
              <a:avLst/>
            </a:prstGeom>
          </p:spPr>
        </p:pic>
        <p:grpSp>
          <p:nvGrpSpPr>
            <p:cNvPr id="19" name="组合 18"/>
            <p:cNvGrpSpPr/>
            <p:nvPr userDrawn="1"/>
          </p:nvGrpSpPr>
          <p:grpSpPr>
            <a:xfrm>
              <a:off x="13103547" y="829734"/>
              <a:ext cx="171450" cy="827288"/>
              <a:chOff x="12841961" y="829734"/>
              <a:chExt cx="171450" cy="827288"/>
            </a:xfrm>
          </p:grpSpPr>
          <p:cxnSp>
            <p:nvCxnSpPr>
              <p:cNvPr id="28" name="直接连接符 27"/>
              <p:cNvCxnSpPr/>
              <p:nvPr userDrawn="1"/>
            </p:nvCxnSpPr>
            <p:spPr>
              <a:xfrm>
                <a:off x="12841961" y="829734"/>
                <a:ext cx="0" cy="827288"/>
              </a:xfrm>
              <a:prstGeom prst="line">
                <a:avLst/>
              </a:prstGeom>
              <a:ln w="57150">
                <a:solidFill>
                  <a:srgbClr val="EA5404"/>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p:nvPr userDrawn="1"/>
            </p:nvCxnSpPr>
            <p:spPr>
              <a:xfrm>
                <a:off x="13013411" y="829734"/>
                <a:ext cx="0" cy="827288"/>
              </a:xfrm>
              <a:prstGeom prst="line">
                <a:avLst/>
              </a:prstGeom>
              <a:ln w="25400">
                <a:solidFill>
                  <a:srgbClr val="EA5404"/>
                </a:solidFill>
              </a:ln>
            </p:spPr>
            <p:style>
              <a:lnRef idx="1">
                <a:schemeClr val="accent1"/>
              </a:lnRef>
              <a:fillRef idx="0">
                <a:schemeClr val="accent1"/>
              </a:fillRef>
              <a:effectRef idx="0">
                <a:schemeClr val="accent1"/>
              </a:effectRef>
              <a:fontRef idx="minor">
                <a:schemeClr val="tx1"/>
              </a:fontRef>
            </p:style>
          </p:cxnSp>
        </p:grpSp>
      </p:grpSp>
      <p:cxnSp>
        <p:nvCxnSpPr>
          <p:cNvPr id="5" name="直接连接符 4"/>
          <p:cNvCxnSpPr/>
          <p:nvPr/>
        </p:nvCxnSpPr>
        <p:spPr>
          <a:xfrm>
            <a:off x="953729" y="3762866"/>
            <a:ext cx="8603226" cy="0"/>
          </a:xfrm>
          <a:prstGeom prst="line">
            <a:avLst/>
          </a:prstGeom>
          <a:ln w="9525" cap="rnd">
            <a:solidFill>
              <a:schemeClr val="bg1"/>
            </a:solidFill>
            <a:prstDash val="solid"/>
            <a:round/>
          </a:ln>
        </p:spPr>
        <p:style>
          <a:lnRef idx="1">
            <a:schemeClr val="accent1"/>
          </a:lnRef>
          <a:fillRef idx="0">
            <a:schemeClr val="accent1"/>
          </a:fillRef>
          <a:effectRef idx="0">
            <a:schemeClr val="accent1"/>
          </a:effectRef>
          <a:fontRef idx="minor">
            <a:schemeClr val="tx1"/>
          </a:fontRef>
        </p:style>
      </p:cxnSp>
      <p:cxnSp>
        <p:nvCxnSpPr>
          <p:cNvPr id="7" name="直接连接符 6"/>
          <p:cNvCxnSpPr/>
          <p:nvPr/>
        </p:nvCxnSpPr>
        <p:spPr>
          <a:xfrm>
            <a:off x="203200" y="0"/>
            <a:ext cx="0" cy="6858000"/>
          </a:xfrm>
          <a:prstGeom prst="line">
            <a:avLst/>
          </a:prstGeom>
          <a:ln w="9525" cap="rnd">
            <a:solidFill>
              <a:schemeClr val="accent1">
                <a:lumMod val="75000"/>
              </a:schemeClr>
            </a:solidFill>
            <a:prstDash val="solid"/>
            <a:round/>
          </a:ln>
        </p:spPr>
        <p:style>
          <a:lnRef idx="1">
            <a:schemeClr val="accent1"/>
          </a:lnRef>
          <a:fillRef idx="0">
            <a:schemeClr val="accent1"/>
          </a:fillRef>
          <a:effectRef idx="0">
            <a:schemeClr val="accent1"/>
          </a:effectRef>
          <a:fontRef idx="minor">
            <a:schemeClr val="tx1"/>
          </a:fontRef>
        </p:style>
      </p:cxnSp>
    </p:spTree>
  </p:cSld>
  <p:clrMapOvr>
    <a:masterClrMapping/>
  </p:clrMapOvr>
  <p:hf hdr="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Agenda">
    <p:bg>
      <p:bgRef idx="1001">
        <a:schemeClr val="bg1"/>
      </p:bgRef>
    </p:bg>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 name="think-cell 幻灯片" r:id="rId3" imgW="0" imgH="0" progId="TCLayout.ActiveDocument.1">
                  <p:embed/>
                </p:oleObj>
              </mc:Choice>
              <mc:Fallback>
                <p:oleObj name="think-cell 幻灯片" r:id="rId3" imgW="0" imgH="0" progId="TCLayout.ActiveDocument.1">
                  <p:embed/>
                  <p:pic>
                    <p:nvPicPr>
                      <p:cNvPr id="0" name="对象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ooterSimple" hidden="1"/>
          <p:cNvSpPr txBox="1"/>
          <p:nvPr>
            <p:custDataLst>
              <p:tags r:id="rId5"/>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altLang="zh-CN" sz="700">
                <a:solidFill>
                  <a:schemeClr val="bg1">
                    <a:lumMod val="50000"/>
                  </a:schemeClr>
                </a:solidFill>
                <a:latin typeface="+mn-lt"/>
                <a:sym typeface="Trebuchet MS" panose="020B0703020202090204" pitchFamily="34" charset="0"/>
              </a:rPr>
              <a:t>202105 TED Sample Slides WhiteV13_Gaoliao.pptx</a:t>
            </a:r>
            <a:endParaRPr lang="en-US" sz="700" dirty="0">
              <a:solidFill>
                <a:schemeClr val="bg1">
                  <a:lumMod val="50000"/>
                </a:schemeClr>
              </a:solidFill>
              <a:latin typeface="+mn-lt"/>
              <a:sym typeface="Trebuchet MS" panose="020B0703020202090204" pitchFamily="34" charset="0"/>
            </a:endParaRPr>
          </a:p>
        </p:txBody>
      </p:sp>
      <p:sp>
        <p:nvSpPr>
          <p:cNvPr id="7" name="Title Placeholder 1"/>
          <p:cNvSpPr>
            <a:spLocks noGrp="1"/>
          </p:cNvSpPr>
          <p:nvPr>
            <p:ph type="title" hasCustomPrompt="1"/>
          </p:nvPr>
        </p:nvSpPr>
        <p:spPr>
          <a:xfrm>
            <a:off x="360000" y="140399"/>
            <a:ext cx="10934700" cy="720000"/>
          </a:xfrm>
          <a:prstGeom prst="rect">
            <a:avLst/>
          </a:prstGeom>
        </p:spPr>
        <p:txBody>
          <a:bodyPr vert="horz" wrap="square" lIns="0" tIns="0" rIns="0" bIns="0" rtlCol="0" anchor="ctr">
            <a:noAutofit/>
          </a:bodyPr>
          <a:lstStyle>
            <a:lvl1pPr>
              <a:lnSpc>
                <a:spcPct val="100000"/>
              </a:lnSpc>
              <a:defRPr b="1">
                <a:solidFill>
                  <a:schemeClr val="tx1"/>
                </a:solidFill>
              </a:defRPr>
            </a:lvl1pPr>
          </a:lstStyle>
          <a:p>
            <a:r>
              <a:rPr lang="en-US" dirty="0"/>
              <a:t>Agenda </a:t>
            </a:r>
            <a:r>
              <a:rPr lang="en-US" altLang="zh-CN" dirty="0"/>
              <a:t>page</a:t>
            </a:r>
            <a:endParaRPr lang="en-US" dirty="0"/>
          </a:p>
        </p:txBody>
      </p:sp>
      <p:pic>
        <p:nvPicPr>
          <p:cNvPr id="4" name="图片 3"/>
          <p:cNvPicPr>
            <a:picLocks noChangeAspect="1"/>
          </p:cNvPicPr>
          <p:nvPr/>
        </p:nvPicPr>
        <p:blipFill rotWithShape="1">
          <a:blip r:embed="rId6" cstate="email"/>
          <a:srcRect r="570"/>
          <a:stretch>
            <a:fillRect/>
          </a:stretch>
        </p:blipFill>
        <p:spPr>
          <a:xfrm>
            <a:off x="0" y="1260057"/>
            <a:ext cx="12192000" cy="4876049"/>
          </a:xfrm>
          <a:prstGeom prst="rect">
            <a:avLst/>
          </a:prstGeom>
        </p:spPr>
      </p:pic>
    </p:spTree>
  </p:cSld>
  <p:clrMapOvr>
    <a:overrideClrMapping bg1="lt1" tx1="dk1" bg2="lt2" tx2="dk2" accent1="accent1" accent2="accent2" accent3="accent3" accent4="accent4" accent5="accent5" accent6="accent6" hlink="hlink" folHlink="folHlink"/>
  </p:clrMapOvr>
  <p:hf hdr="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仅标题">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 name="think-cell 幻灯片" r:id="rId3" imgW="0" imgH="0" progId="TCLayout.ActiveDocument.1">
                  <p:embed/>
                </p:oleObj>
              </mc:Choice>
              <mc:Fallback>
                <p:oleObj name="think-cell 幻灯片" r:id="rId3" imgW="0" imgH="0" progId="TCLayout.ActiveDocument.1">
                  <p:embed/>
                  <p:pic>
                    <p:nvPicPr>
                      <p:cNvPr id="0" name="对象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ooterSimple" hidden="1"/>
          <p:cNvSpPr txBox="1"/>
          <p:nvPr>
            <p:custDataLst>
              <p:tags r:id="rId5"/>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altLang="zh-CN" sz="700">
                <a:solidFill>
                  <a:schemeClr val="bg1">
                    <a:lumMod val="50000"/>
                  </a:schemeClr>
                </a:solidFill>
                <a:latin typeface="+mn-lt"/>
                <a:sym typeface="Trebuchet MS" panose="020B0703020202090204" pitchFamily="34" charset="0"/>
              </a:rPr>
              <a:t>202105 TED Sample Slides WhiteV13_Gaoliao.pptx</a:t>
            </a:r>
            <a:endParaRPr lang="en-US" sz="700" dirty="0">
              <a:solidFill>
                <a:schemeClr val="bg1">
                  <a:lumMod val="50000"/>
                </a:schemeClr>
              </a:solidFill>
              <a:latin typeface="+mn-lt"/>
              <a:sym typeface="Trebuchet MS" panose="020B0703020202090204" pitchFamily="34" charset="0"/>
            </a:endParaRPr>
          </a:p>
        </p:txBody>
      </p:sp>
      <p:sp>
        <p:nvSpPr>
          <p:cNvPr id="7" name="Title Placeholder 1"/>
          <p:cNvSpPr>
            <a:spLocks noGrp="1"/>
          </p:cNvSpPr>
          <p:nvPr>
            <p:ph type="title" hasCustomPrompt="1"/>
          </p:nvPr>
        </p:nvSpPr>
        <p:spPr>
          <a:xfrm>
            <a:off x="360000" y="140399"/>
            <a:ext cx="10934700" cy="720000"/>
          </a:xfrm>
          <a:prstGeom prst="rect">
            <a:avLst/>
          </a:prstGeom>
        </p:spPr>
        <p:txBody>
          <a:bodyPr vert="horz" wrap="square" lIns="0" tIns="0" rIns="0" bIns="0" rtlCol="0" anchor="ctr">
            <a:noAutofit/>
          </a:bodyPr>
          <a:lstStyle>
            <a:lvl1pPr>
              <a:lnSpc>
                <a:spcPct val="100000"/>
              </a:lnSpc>
              <a:defRPr b="1"/>
            </a:lvl1pPr>
          </a:lstStyle>
          <a:p>
            <a:r>
              <a:rPr lang="en-US" altLang="zh-CN" dirty="0"/>
              <a:t>Click to add title</a:t>
            </a:r>
            <a:endParaRPr lang="en-US" dirty="0"/>
          </a:p>
        </p:txBody>
      </p:sp>
      <p:sp>
        <p:nvSpPr>
          <p:cNvPr id="8" name="文本占位符 6"/>
          <p:cNvSpPr>
            <a:spLocks noGrp="1"/>
          </p:cNvSpPr>
          <p:nvPr>
            <p:ph type="body" sz="quarter" idx="11" hasCustomPrompt="1"/>
          </p:nvPr>
        </p:nvSpPr>
        <p:spPr>
          <a:xfrm>
            <a:off x="360000" y="6408210"/>
            <a:ext cx="10934700" cy="422275"/>
          </a:xfrm>
        </p:spPr>
        <p:txBody>
          <a:bodyPr tIns="0" bIns="0" anchor="b"/>
          <a:lstStyle>
            <a:lvl1pPr marL="0" marR="0" indent="0" algn="l" defTabSz="914400" rtl="0" eaLnBrk="1" fontAlgn="auto" latinLnBrk="0" hangingPunct="1">
              <a:lnSpc>
                <a:spcPct val="100000"/>
              </a:lnSpc>
              <a:spcBef>
                <a:spcPts val="0"/>
              </a:spcBef>
              <a:spcAft>
                <a:spcPts val="0"/>
              </a:spcAft>
              <a:buClrTx/>
              <a:buSzTx/>
              <a:buFont typeface="Arial" panose="020B0604020202090204" pitchFamily="34" charset="0"/>
              <a:buNone/>
              <a:defRPr sz="1000" b="0" baseline="0">
                <a:solidFill>
                  <a:schemeClr val="tx1">
                    <a:lumMod val="65000"/>
                    <a:lumOff val="35000"/>
                  </a:schemeClr>
                </a:solidFill>
                <a:latin typeface="+mn-lt"/>
                <a:ea typeface="+mn-ea"/>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90204" pitchFamily="34" charset="0"/>
              <a:buNone/>
              <a:defRPr/>
            </a:pPr>
            <a:r>
              <a:rPr lang="en-US" altLang="zh-CN" dirty="0"/>
              <a:t>Note:</a:t>
            </a:r>
            <a:br>
              <a:rPr lang="en-US" altLang="zh-CN" dirty="0"/>
            </a:br>
            <a:r>
              <a:rPr lang="en-US" altLang="zh-CN" dirty="0"/>
              <a:t>Source:</a:t>
            </a:r>
            <a:endParaRPr lang="zh-CN" altLang="en-US" dirty="0"/>
          </a:p>
        </p:txBody>
      </p:sp>
      <p:graphicFrame>
        <p:nvGraphicFramePr>
          <p:cNvPr id="6" name="对象 5" hidden="1"/>
          <p:cNvGraphicFramePr>
            <a:graphicFrameLocks noChangeAspect="1"/>
          </p:cNvGraphicFramePr>
          <p:nvPr userDrawn="1">
            <p:custDataLst>
              <p:tags r:id="rId6"/>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 name="think-cell 幻灯片" r:id="rId7" imgW="0" imgH="0" progId="TCLayout.ActiveDocument.1">
                  <p:embed/>
                </p:oleObj>
              </mc:Choice>
              <mc:Fallback>
                <p:oleObj name="think-cell 幻灯片" r:id="rId7" imgW="0" imgH="0" progId="TCLayout.ActiveDocument.1">
                  <p:embed/>
                  <p:pic>
                    <p:nvPicPr>
                      <p:cNvPr id="0" name="对象 5"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FooterSimple" hidden="1"/>
          <p:cNvSpPr txBox="1"/>
          <p:nvPr userDrawn="1">
            <p:custDataLst>
              <p:tags r:id="rId8"/>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altLang="zh-CN" sz="700">
                <a:solidFill>
                  <a:schemeClr val="bg1">
                    <a:lumMod val="50000"/>
                  </a:schemeClr>
                </a:solidFill>
                <a:latin typeface="+mn-lt"/>
                <a:sym typeface="Trebuchet MS" panose="020B0703020202090204" pitchFamily="34" charset="0"/>
              </a:rPr>
              <a:t>202105 TED Sample Slides WhiteV13_Gaoliao.pptx</a:t>
            </a:r>
            <a:endParaRPr lang="en-US" sz="700" dirty="0">
              <a:solidFill>
                <a:schemeClr val="bg1">
                  <a:lumMod val="50000"/>
                </a:schemeClr>
              </a:solidFill>
              <a:latin typeface="+mn-lt"/>
              <a:sym typeface="Trebuchet MS" panose="020B0703020202090204" pitchFamily="34" charset="0"/>
            </a:endParaRP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showMasterSp="0">
  <p:cSld name="End page">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 name="think-cell 幻灯片" r:id="rId3" imgW="0" imgH="0" progId="TCLayout.ActiveDocument.1">
                  <p:embed/>
                </p:oleObj>
              </mc:Choice>
              <mc:Fallback>
                <p:oleObj name="think-cell 幻灯片" r:id="rId3" imgW="0" imgH="0" progId="TCLayout.ActiveDocument.1">
                  <p:embed/>
                  <p:pic>
                    <p:nvPicPr>
                      <p:cNvPr id="0" name="对象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8" name="Picture 2"/>
          <p:cNvPicPr>
            <a:picLocks noChangeAspect="1" noChangeArrowheads="1"/>
          </p:cNvPicPr>
          <p:nvPr/>
        </p:nvPicPr>
        <p:blipFill>
          <a:blip r:embed="rId5" cstate="email"/>
          <a:srcRect/>
          <a:stretch>
            <a:fillRect/>
          </a:stretch>
        </p:blipFill>
        <p:spPr bwMode="auto">
          <a:xfrm>
            <a:off x="-2377" y="2383"/>
            <a:ext cx="12194377" cy="68523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矩形 3"/>
          <p:cNvSpPr/>
          <p:nvPr/>
        </p:nvSpPr>
        <p:spPr>
          <a:xfrm>
            <a:off x="-3174" y="2287437"/>
            <a:ext cx="12195173" cy="2282287"/>
          </a:xfrm>
          <a:prstGeom prst="rect">
            <a:avLst/>
          </a:prstGeom>
          <a:solidFill>
            <a:schemeClr val="accent1">
              <a:lumMod val="75000"/>
              <a:alpha val="85098"/>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endParaRPr lang="zh-CN" altLang="en-US" sz="1200" dirty="0" err="1">
              <a:solidFill>
                <a:srgbClr val="FFFFFF"/>
              </a:solidFill>
            </a:endParaRPr>
          </a:p>
        </p:txBody>
      </p:sp>
      <p:sp>
        <p:nvSpPr>
          <p:cNvPr id="7" name="文本占位符 6"/>
          <p:cNvSpPr>
            <a:spLocks noGrp="1"/>
          </p:cNvSpPr>
          <p:nvPr>
            <p:ph type="body" sz="quarter" idx="11" hasCustomPrompt="1"/>
          </p:nvPr>
        </p:nvSpPr>
        <p:spPr>
          <a:xfrm>
            <a:off x="2215356" y="2457030"/>
            <a:ext cx="7758113" cy="1943100"/>
          </a:xfrm>
        </p:spPr>
        <p:txBody>
          <a:bodyPr anchor="ctr"/>
          <a:lstStyle>
            <a:lvl1pPr algn="ctr">
              <a:defRPr sz="4400" b="1">
                <a:solidFill>
                  <a:srgbClr val="FFFFFF"/>
                </a:solidFill>
              </a:defRPr>
            </a:lvl1pPr>
          </a:lstStyle>
          <a:p>
            <a:pPr lvl="0"/>
            <a:r>
              <a:rPr lang="en-US" altLang="zh-CN" dirty="0"/>
              <a:t>Click to add content</a:t>
            </a:r>
            <a:endParaRPr lang="zh-CN" altLang="en-US" dirty="0"/>
          </a:p>
        </p:txBody>
      </p:sp>
      <p:cxnSp>
        <p:nvCxnSpPr>
          <p:cNvPr id="6" name="直接连接符 5"/>
          <p:cNvCxnSpPr/>
          <p:nvPr/>
        </p:nvCxnSpPr>
        <p:spPr>
          <a:xfrm flipH="1">
            <a:off x="-3174" y="4643437"/>
            <a:ext cx="12195173" cy="0"/>
          </a:xfrm>
          <a:prstGeom prst="line">
            <a:avLst/>
          </a:prstGeom>
          <a:ln w="9525" cap="rnd">
            <a:solidFill>
              <a:schemeClr val="accent1">
                <a:lumMod val="75000"/>
              </a:schemeClr>
            </a:solidFill>
            <a:prstDash val="solid"/>
            <a:round/>
          </a:ln>
        </p:spPr>
        <p:style>
          <a:lnRef idx="1">
            <a:schemeClr val="accent1"/>
          </a:lnRef>
          <a:fillRef idx="0">
            <a:schemeClr val="accent1"/>
          </a:fillRef>
          <a:effectRef idx="0">
            <a:schemeClr val="accent1"/>
          </a:effectRef>
          <a:fontRef idx="minor">
            <a:schemeClr val="tx1"/>
          </a:fontRef>
        </p:style>
      </p:cxnSp>
    </p:spTree>
  </p:cSld>
  <p:clrMapOvr>
    <a:masterClrMapping/>
  </p:clrMapOvr>
  <p:hf hdr="0"/>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showMasterSp="0" userDrawn="1">
  <p:cSld name="0封面">
    <p:bg>
      <p:bgPr>
        <a:solidFill>
          <a:schemeClr val="bg1"/>
        </a:solidFill>
        <a:effectLst/>
      </p:bgPr>
    </p:bg>
    <p:spTree>
      <p:nvGrpSpPr>
        <p:cNvPr id="1" name=""/>
        <p:cNvGrpSpPr/>
        <p:nvPr/>
      </p:nvGrpSpPr>
      <p:grpSpPr>
        <a:xfrm>
          <a:off x="0" y="0"/>
          <a:ext cx="0" cy="0"/>
          <a:chOff x="0" y="0"/>
          <a:chExt cx="0" cy="0"/>
        </a:xfrm>
      </p:grpSpPr>
      <p:sp>
        <p:nvSpPr>
          <p:cNvPr id="24" name="Rectangle 2"/>
          <p:cNvSpPr/>
          <p:nvPr userDrawn="1"/>
        </p:nvSpPr>
        <p:spPr bwMode="auto">
          <a:xfrm flipH="1">
            <a:off x="0" y="3073313"/>
            <a:ext cx="10920534" cy="2262324"/>
          </a:xfrm>
          <a:prstGeom prst="rect">
            <a:avLst/>
          </a:prstGeom>
          <a:noFill/>
          <a:ln>
            <a:noFill/>
          </a:ln>
        </p:spPr>
        <p:txBody>
          <a:bodyPr lIns="0" tIns="0" rIns="0" bIns="0"/>
          <a:lstStyle/>
          <a:p>
            <a:pPr marL="0" marR="0" lvl="0" indent="0" algn="r" defTabSz="914400" rtl="0" eaLnBrk="1" fontAlgn="auto" latinLnBrk="0" hangingPunct="1">
              <a:lnSpc>
                <a:spcPct val="100000"/>
              </a:lnSpc>
              <a:spcBef>
                <a:spcPts val="0"/>
              </a:spcBef>
              <a:spcAft>
                <a:spcPts val="0"/>
              </a:spcAft>
              <a:buClrTx/>
              <a:buSzTx/>
              <a:buFontTx/>
              <a:buNone/>
              <a:defRPr/>
            </a:pPr>
            <a:endParaRPr kumimoji="0" lang="en-US" sz="2400" b="1" i="0" u="none" strike="noStrike" kern="0" cap="none" spc="0" normalizeH="0" baseline="0" noProof="0" dirty="0">
              <a:ln>
                <a:noFill/>
              </a:ln>
              <a:solidFill>
                <a:prstClr val="black"/>
              </a:solidFill>
              <a:effectLst/>
              <a:uLnTx/>
              <a:uFillTx/>
              <a:latin typeface="微软雅黑"/>
              <a:ea typeface="微软雅黑"/>
              <a:cs typeface="+mn-cs"/>
            </a:endParaRPr>
          </a:p>
        </p:txBody>
      </p:sp>
      <p:graphicFrame>
        <p:nvGraphicFramePr>
          <p:cNvPr id="4" name="对象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Slide" r:id="rId3" imgW="0" imgH="0" progId="TCLayout.ActiveDocument.1">
                  <p:embed/>
                </p:oleObj>
              </mc:Choice>
              <mc:Fallback>
                <p:oleObj name="think-cell Slide" r:id="rId3" imgW="0" imgH="0" progId="TCLayout.ActiveDocument.1">
                  <p:embed/>
                  <p:pic>
                    <p:nvPicPr>
                      <p:cNvPr id="0" name="对象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矩形 2" hidden="1"/>
          <p:cNvSpPr/>
          <p:nvPr userDrawn="1">
            <p:custDataLst>
              <p:tags r:id="rId5"/>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defRPr/>
            </a:pPr>
            <a:endParaRPr kumimoji="0" lang="en-US" altLang="zh-CN" sz="4000" b="1" i="0" u="none" strike="noStrike" kern="1200" cap="none" spc="0" normalizeH="0" baseline="0" noProof="0" dirty="0">
              <a:ln>
                <a:noFill/>
              </a:ln>
              <a:solidFill>
                <a:srgbClr val="FFFFFF"/>
              </a:solidFill>
              <a:effectLst/>
              <a:uLnTx/>
              <a:uFillTx/>
              <a:latin typeface="Arial" panose="020B0604020202090204" pitchFamily="34" charset="0"/>
              <a:ea typeface="微软雅黑" panose="020B0503020204020204" pitchFamily="34" charset="-122"/>
              <a:cs typeface="+mn-cs"/>
              <a:sym typeface="Arial" panose="020B0604020202090204" pitchFamily="34" charset="0"/>
            </a:endParaRPr>
          </a:p>
        </p:txBody>
      </p:sp>
      <p:sp>
        <p:nvSpPr>
          <p:cNvPr id="12" name="矩形 11"/>
          <p:cNvSpPr/>
          <p:nvPr userDrawn="1"/>
        </p:nvSpPr>
        <p:spPr>
          <a:xfrm>
            <a:off x="-1" y="5335637"/>
            <a:ext cx="12191999" cy="15223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400" b="0" i="0" u="none" strike="noStrike" kern="1200" cap="none" spc="0" normalizeH="0" baseline="0" noProof="0" dirty="0">
              <a:ln>
                <a:noFill/>
              </a:ln>
              <a:solidFill>
                <a:prstClr val="black"/>
              </a:solidFill>
              <a:effectLst/>
              <a:uLnTx/>
              <a:uFillTx/>
              <a:latin typeface="华文楷体" panose="02010600040101010101" pitchFamily="2" charset="-122"/>
              <a:ea typeface="华文楷体" panose="02010600040101010101" pitchFamily="2" charset="-122"/>
              <a:cs typeface="+mn-cs"/>
            </a:endParaRPr>
          </a:p>
        </p:txBody>
      </p:sp>
      <p:cxnSp>
        <p:nvCxnSpPr>
          <p:cNvPr id="6" name="直接连接符 5"/>
          <p:cNvCxnSpPr/>
          <p:nvPr userDrawn="1"/>
        </p:nvCxnSpPr>
        <p:spPr>
          <a:xfrm>
            <a:off x="171507" y="1028700"/>
            <a:ext cx="11822373"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8" name="灯片编号占位符 5"/>
          <p:cNvSpPr txBox="1"/>
          <p:nvPr userDrawn="1"/>
        </p:nvSpPr>
        <p:spPr>
          <a:xfrm>
            <a:off x="8869679" y="6395878"/>
            <a:ext cx="2909888" cy="206381"/>
          </a:xfrm>
          <a:prstGeom prst="rect">
            <a:avLst/>
          </a:prstGeom>
        </p:spPr>
        <p:txBody>
          <a:bodyPr vert="horz" lIns="91440" tIns="0" rIns="91440" bIns="45720" rtlCol="0" anchor="b" anchorCtr="0"/>
          <a:lstStyle>
            <a:defPPr>
              <a:defRPr lang="zh-CN"/>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defRPr/>
            </a:pPr>
            <a:fld id="{5DD3DB80-B894-403A-B48E-6FDC1A72010E}" type="slidenum">
              <a:rPr kumimoji="0" lang="zh-CN" altLang="en-US" sz="1200" b="1" i="0" u="none" strike="noStrike" kern="1200" cap="none" spc="0" normalizeH="0" baseline="0" noProof="0" smtClean="0">
                <a:ln>
                  <a:noFill/>
                </a:ln>
                <a:solidFill>
                  <a:srgbClr val="000000">
                    <a:lumMod val="50000"/>
                    <a:lumOff val="50000"/>
                  </a:srgbClr>
                </a:solidFill>
                <a:effectLst/>
                <a:uLnTx/>
                <a:uFillTx/>
                <a:latin typeface="Arial" panose="020B0604020202090204"/>
                <a:ea typeface="微软雅黑"/>
                <a:cs typeface="+mn-cs"/>
              </a:rPr>
            </a:fld>
            <a:endParaRPr kumimoji="0" lang="zh-CN" altLang="en-US" sz="1200" b="1" i="0" u="none" strike="noStrike" kern="1200" cap="none" spc="0" normalizeH="0" baseline="0" noProof="0" dirty="0">
              <a:ln>
                <a:noFill/>
              </a:ln>
              <a:solidFill>
                <a:srgbClr val="000000">
                  <a:lumMod val="50000"/>
                  <a:lumOff val="50000"/>
                </a:srgbClr>
              </a:solidFill>
              <a:effectLst/>
              <a:uLnTx/>
              <a:uFillTx/>
              <a:latin typeface="Arial" panose="020B0604020202090204"/>
              <a:ea typeface="微软雅黑"/>
              <a:cs typeface="+mn-cs"/>
            </a:endParaRPr>
          </a:p>
        </p:txBody>
      </p:sp>
    </p:spTree>
  </p:cSld>
  <p:clrMapOvr>
    <a:overrideClrMapping bg1="lt1" tx1="dk1" bg2="lt2" tx2="dk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标题">
    <p:spTree>
      <p:nvGrpSpPr>
        <p:cNvPr id="1" name=""/>
        <p:cNvGrpSpPr/>
        <p:nvPr/>
      </p:nvGrpSpPr>
      <p:grpSpPr>
        <a:xfrm>
          <a:off x="0" y="0"/>
          <a:ext cx="0" cy="0"/>
          <a:chOff x="0" y="0"/>
          <a:chExt cx="0" cy="0"/>
        </a:xfrm>
      </p:grpSpPr>
      <p:graphicFrame>
        <p:nvGraphicFramePr>
          <p:cNvPr id="7" name="对象 6"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Slide" r:id="rId3" imgW="0" imgH="0" progId="TCLayout.ActiveDocument.1">
                  <p:embed/>
                </p:oleObj>
              </mc:Choice>
              <mc:Fallback>
                <p:oleObj name="think-cell Slide" r:id="rId3" imgW="0" imgH="0" progId="TCLayout.ActiveDocument.1">
                  <p:embed/>
                  <p:pic>
                    <p:nvPicPr>
                      <p:cNvPr id="0" name="对象 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矩形 2" hidden="1"/>
          <p:cNvSpPr/>
          <p:nvPr userDrawn="1">
            <p:custDataLst>
              <p:tags r:id="rId5"/>
            </p:custDataLst>
          </p:nvPr>
        </p:nvSpPr>
        <p:spPr>
          <a:xfrm>
            <a:off x="0" y="0"/>
            <a:ext cx="158750" cy="158750"/>
          </a:xfrm>
          <a:prstGeom prst="rect">
            <a:avLst/>
          </a:prstGeom>
          <a:solidFill>
            <a:srgbClr val="DBCF4D">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defRPr/>
            </a:pPr>
            <a:endParaRPr kumimoji="0" lang="en-US" altLang="zh-CN" sz="2400" b="1" i="0" u="none" strike="noStrike" kern="1200" cap="none" spc="0" normalizeH="0" baseline="0" noProof="0" dirty="0">
              <a:ln>
                <a:noFill/>
              </a:ln>
              <a:solidFill>
                <a:srgbClr val="FFFFFF"/>
              </a:solidFill>
              <a:effectLst/>
              <a:uLnTx/>
              <a:uFillTx/>
              <a:latin typeface="Arial" panose="020B0604020202090204" pitchFamily="34" charset="0"/>
              <a:ea typeface="华文楷体" panose="02010600040101010101" pitchFamily="2" charset="-122"/>
              <a:cs typeface="+mn-cs"/>
              <a:sym typeface="Arial" panose="020B0604020202090204" pitchFamily="34" charset="0"/>
            </a:endParaRPr>
          </a:p>
        </p:txBody>
      </p:sp>
      <p:sp>
        <p:nvSpPr>
          <p:cNvPr id="19" name="灯片编号占位符 5"/>
          <p:cNvSpPr txBox="1"/>
          <p:nvPr userDrawn="1"/>
        </p:nvSpPr>
        <p:spPr>
          <a:xfrm>
            <a:off x="8869679" y="6395878"/>
            <a:ext cx="2909888" cy="206381"/>
          </a:xfrm>
          <a:prstGeom prst="rect">
            <a:avLst/>
          </a:prstGeom>
        </p:spPr>
        <p:txBody>
          <a:bodyPr vert="horz" lIns="91440" tIns="0" rIns="91440" bIns="45720" rtlCol="0" anchor="b" anchorCtr="0"/>
          <a:lstStyle>
            <a:defPPr>
              <a:defRPr lang="zh-CN"/>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defRPr/>
            </a:pPr>
            <a:fld id="{5DD3DB80-B894-403A-B48E-6FDC1A72010E}" type="slidenum">
              <a:rPr kumimoji="0" lang="zh-CN" altLang="en-US" sz="1200" b="1" i="0" u="none" strike="noStrike" kern="1200" cap="none" spc="0" normalizeH="0" baseline="0" noProof="0" smtClean="0">
                <a:ln>
                  <a:noFill/>
                </a:ln>
                <a:solidFill>
                  <a:srgbClr val="000000">
                    <a:lumMod val="50000"/>
                    <a:lumOff val="50000"/>
                  </a:srgbClr>
                </a:solidFill>
                <a:effectLst/>
                <a:uLnTx/>
                <a:uFillTx/>
                <a:latin typeface="Arial" panose="020B0604020202090204"/>
                <a:ea typeface="微软雅黑"/>
                <a:cs typeface="+mn-cs"/>
              </a:rPr>
            </a:fld>
            <a:endParaRPr kumimoji="0" lang="zh-CN" altLang="en-US" sz="1200" b="1" i="0" u="none" strike="noStrike" kern="1200" cap="none" spc="0" normalizeH="0" baseline="0" noProof="0" dirty="0">
              <a:ln>
                <a:noFill/>
              </a:ln>
              <a:solidFill>
                <a:srgbClr val="000000">
                  <a:lumMod val="50000"/>
                  <a:lumOff val="50000"/>
                </a:srgbClr>
              </a:solidFill>
              <a:effectLst/>
              <a:uLnTx/>
              <a:uFillTx/>
              <a:latin typeface="Arial" panose="020B0604020202090204"/>
              <a:ea typeface="微软雅黑"/>
              <a:cs typeface="+mn-cs"/>
            </a:endParaRPr>
          </a:p>
        </p:txBody>
      </p:sp>
      <p:cxnSp>
        <p:nvCxnSpPr>
          <p:cNvPr id="11" name="直接连接符 10"/>
          <p:cNvCxnSpPr/>
          <p:nvPr userDrawn="1"/>
        </p:nvCxnSpPr>
        <p:spPr>
          <a:xfrm>
            <a:off x="171507" y="824671"/>
            <a:ext cx="11822373"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2" name="标题 5"/>
          <p:cNvSpPr>
            <a:spLocks noGrp="1"/>
          </p:cNvSpPr>
          <p:nvPr>
            <p:ph type="title" hasCustomPrompt="1"/>
          </p:nvPr>
        </p:nvSpPr>
        <p:spPr>
          <a:xfrm>
            <a:off x="171507" y="103259"/>
            <a:ext cx="11822373" cy="537443"/>
          </a:xfrm>
          <a:prstGeom prst="rect">
            <a:avLst/>
          </a:prstGeom>
        </p:spPr>
        <p:txBody>
          <a:bodyPr anchor="b"/>
          <a:lstStyle>
            <a:lvl1pPr>
              <a:defRPr/>
            </a:lvl1pPr>
          </a:lstStyle>
          <a:p>
            <a:r>
              <a:rPr lang="zh-CN" altLang="en-US" dirty="0"/>
              <a:t>标题</a:t>
            </a:r>
            <a:endParaRPr lang="zh-CN" alt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标题和内容">
    <p:spTree>
      <p:nvGrpSpPr>
        <p:cNvPr id="1" name=""/>
        <p:cNvGrpSpPr/>
        <p:nvPr/>
      </p:nvGrpSpPr>
      <p:grpSpPr>
        <a:xfrm>
          <a:off x="0" y="0"/>
          <a:ext cx="0" cy="0"/>
          <a:chOff x="0" y="0"/>
          <a:chExt cx="0" cy="0"/>
        </a:xfrm>
      </p:grpSpPr>
      <p:pic>
        <p:nvPicPr>
          <p:cNvPr id="5" name="72d2fdfb8da93606a4b836a6cf30fcbf570dc6d9178c0b-ai3vDw.jpeg" descr="72d2fdfb8da93606a4b836a6cf30fcbf570dc6d9178c0b-ai3vDw.jpeg"/>
          <p:cNvPicPr>
            <a:picLocks noChangeAspect="1"/>
          </p:cNvPicPr>
          <p:nvPr userDrawn="1"/>
        </p:nvPicPr>
        <p:blipFill rotWithShape="1">
          <a:blip r:embed="rId2"/>
          <a:srcRect b="4492"/>
          <a:stretch>
            <a:fillRect/>
          </a:stretch>
        </p:blipFill>
        <p:spPr>
          <a:xfrm>
            <a:off x="0" y="1"/>
            <a:ext cx="12231566" cy="6858000"/>
          </a:xfrm>
          <a:prstGeom prst="rect">
            <a:avLst/>
          </a:prstGeom>
          <a:ln w="12700">
            <a:miter lim="400000"/>
            <a:headEnd/>
            <a:tailEnd/>
          </a:ln>
        </p:spPr>
      </p:pic>
      <p:sp>
        <p:nvSpPr>
          <p:cNvPr id="6" name="矩形"/>
          <p:cNvSpPr/>
          <p:nvPr userDrawn="1"/>
        </p:nvSpPr>
        <p:spPr>
          <a:xfrm>
            <a:off x="0" y="10581"/>
            <a:ext cx="12231566" cy="6847420"/>
          </a:xfrm>
          <a:prstGeom prst="rect">
            <a:avLst/>
          </a:prstGeom>
          <a:solidFill>
            <a:srgbClr val="000000">
              <a:alpha val="30174"/>
            </a:srgbClr>
          </a:solidFill>
          <a:ln w="12700">
            <a:miter lim="400000"/>
          </a:ln>
        </p:spPr>
        <p:txBody>
          <a:bodyPr lIns="45719" rIns="45719" anchor="ctr"/>
          <a:lstStyle/>
          <a:p>
            <a:pPr marL="0" marR="0" lvl="0" indent="0" algn="l" defTabSz="914400" rtl="0" eaLnBrk="1" fontAlgn="auto" latinLnBrk="0" hangingPunct="0">
              <a:lnSpc>
                <a:spcPct val="100000"/>
              </a:lnSpc>
              <a:spcBef>
                <a:spcPts val="0"/>
              </a:spcBef>
              <a:spcAft>
                <a:spcPts val="0"/>
              </a:spcAft>
              <a:buClrTx/>
              <a:buSzTx/>
              <a:buFontTx/>
              <a:buNone/>
              <a:defRPr/>
            </a:pPr>
            <a:endParaRPr kumimoji="0" sz="1800" b="0" i="0" u="none" strike="noStrike" kern="0" cap="none" spc="0" normalizeH="0" baseline="0" noProof="0">
              <a:ln>
                <a:noFill/>
              </a:ln>
              <a:solidFill>
                <a:srgbClr val="000000"/>
              </a:solidFill>
              <a:effectLst/>
              <a:uLnTx/>
              <a:uFillTx/>
              <a:latin typeface="DengXian"/>
              <a:ea typeface="DengXian"/>
              <a:sym typeface="DengXian"/>
            </a:endParaRPr>
          </a:p>
        </p:txBody>
      </p:sp>
    </p:spTree>
  </p:cSld>
  <p:clrMapOvr>
    <a:masterClrMapping/>
  </p:clrMapOvr>
  <p:transition spd="med"/>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标题和内容">
    <p:spTree>
      <p:nvGrpSpPr>
        <p:cNvPr id="1" name=""/>
        <p:cNvGrpSpPr/>
        <p:nvPr/>
      </p:nvGrpSpPr>
      <p:grpSpPr>
        <a:xfrm>
          <a:off x="0" y="0"/>
          <a:ext cx="0" cy="0"/>
          <a:chOff x="0" y="0"/>
          <a:chExt cx="0" cy="0"/>
        </a:xfrm>
      </p:grpSpPr>
      <p:pic>
        <p:nvPicPr>
          <p:cNvPr id="5" name="72d2fdfb8da93606a4b836a6cf30fcbf570dc6d9178c0b-ai3vDw.jpeg" descr="72d2fdfb8da93606a4b836a6cf30fcbf570dc6d9178c0b-ai3vDw.jpeg"/>
          <p:cNvPicPr>
            <a:picLocks noChangeAspect="1"/>
          </p:cNvPicPr>
          <p:nvPr userDrawn="1"/>
        </p:nvPicPr>
        <p:blipFill rotWithShape="1">
          <a:blip r:embed="rId2"/>
          <a:srcRect b="4492"/>
          <a:stretch>
            <a:fillRect/>
          </a:stretch>
        </p:blipFill>
        <p:spPr>
          <a:xfrm>
            <a:off x="0" y="1"/>
            <a:ext cx="12231566" cy="6858000"/>
          </a:xfrm>
          <a:prstGeom prst="rect">
            <a:avLst/>
          </a:prstGeom>
          <a:ln w="12700">
            <a:miter lim="400000"/>
            <a:headEnd/>
            <a:tailEnd/>
          </a:ln>
        </p:spPr>
      </p:pic>
      <p:sp>
        <p:nvSpPr>
          <p:cNvPr id="6" name="矩形"/>
          <p:cNvSpPr/>
          <p:nvPr userDrawn="1"/>
        </p:nvSpPr>
        <p:spPr>
          <a:xfrm>
            <a:off x="0" y="10581"/>
            <a:ext cx="12231566" cy="6847420"/>
          </a:xfrm>
          <a:prstGeom prst="rect">
            <a:avLst/>
          </a:prstGeom>
          <a:solidFill>
            <a:srgbClr val="000000">
              <a:alpha val="30174"/>
            </a:srgbClr>
          </a:solidFill>
          <a:ln w="12700">
            <a:miter lim="400000"/>
          </a:ln>
        </p:spPr>
        <p:txBody>
          <a:bodyPr lIns="45719" rIns="45719" anchor="ctr"/>
          <a:lstStyle/>
          <a:p>
            <a:pPr marL="0" marR="0" lvl="0" indent="0" algn="l" defTabSz="914400" rtl="0" eaLnBrk="1" fontAlgn="auto" latinLnBrk="0" hangingPunct="0">
              <a:lnSpc>
                <a:spcPct val="100000"/>
              </a:lnSpc>
              <a:spcBef>
                <a:spcPts val="0"/>
              </a:spcBef>
              <a:spcAft>
                <a:spcPts val="0"/>
              </a:spcAft>
              <a:buClrTx/>
              <a:buSzTx/>
              <a:buFontTx/>
              <a:buNone/>
              <a:defRPr/>
            </a:pPr>
            <a:endParaRPr kumimoji="0" sz="1800" b="0" i="0" u="none" strike="noStrike" kern="0" cap="none" spc="0" normalizeH="0" baseline="0" noProof="0">
              <a:ln>
                <a:noFill/>
              </a:ln>
              <a:solidFill>
                <a:srgbClr val="000000"/>
              </a:solidFill>
              <a:effectLst/>
              <a:uLnTx/>
              <a:uFillTx/>
              <a:latin typeface="DengXian"/>
              <a:ea typeface="DengXian"/>
              <a:cs typeface="+mn-cs"/>
              <a:sym typeface="DengXian"/>
            </a:endParaRPr>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仅标题">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3" name="think-cell Slide" r:id="rId3" imgW="0" imgH="0" progId="TCLayout.ActiveDocument.1">
                  <p:embed/>
                </p:oleObj>
              </mc:Choice>
              <mc:Fallback>
                <p:oleObj name="think-cell Slide" r:id="rId3" imgW="0" imgH="0" progId="TCLayout.ActiveDocument.1">
                  <p:embed/>
                  <p:pic>
                    <p:nvPicPr>
                      <p:cNvPr id="0" name="对象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10" name="FooterSimple" hidden="1"/>
          <p:cNvSpPr txBox="1"/>
          <p:nvPr userDrawn="1">
            <p:custDataLst>
              <p:tags r:id="rId5"/>
            </p:custDataLst>
          </p:nvPr>
        </p:nvSpPr>
        <p:spPr>
          <a:xfrm rot="16200000">
            <a:off x="10561320" y="5117886"/>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defRPr/>
            </a:pPr>
            <a:r>
              <a:rPr kumimoji="0" lang="en-US" altLang="zh-CN" sz="700" b="0" i="0" u="none" strike="noStrike" kern="1200" cap="none" spc="0" normalizeH="0" baseline="0" noProof="0">
                <a:ln>
                  <a:noFill/>
                </a:ln>
                <a:solidFill>
                  <a:prstClr val="white">
                    <a:lumMod val="50000"/>
                  </a:prstClr>
                </a:solidFill>
                <a:effectLst/>
                <a:uLnTx/>
                <a:uFillTx/>
                <a:latin typeface="Arial" panose="020B0604020202090204"/>
                <a:ea typeface="华文楷体" panose="02010600040101010101" pitchFamily="2" charset="-122"/>
                <a:cs typeface="+mn-cs"/>
                <a:sym typeface="Trebuchet MS" panose="020B0703020202090204" pitchFamily="34" charset="0"/>
              </a:rPr>
              <a:t>【</a:t>
            </a:r>
            <a:r>
              <a:rPr kumimoji="0" lang="zh-CN" altLang="en-US" sz="700" b="0" i="0" u="none" strike="noStrike" kern="1200" cap="none" spc="0" normalizeH="0" baseline="0" noProof="0">
                <a:ln>
                  <a:noFill/>
                </a:ln>
                <a:solidFill>
                  <a:prstClr val="white">
                    <a:lumMod val="50000"/>
                  </a:prstClr>
                </a:solidFill>
                <a:effectLst/>
                <a:uLnTx/>
                <a:uFillTx/>
                <a:latin typeface="Arial" panose="020B0604020202090204"/>
                <a:ea typeface="华文楷体" panose="02010600040101010101" pitchFamily="2" charset="-122"/>
                <a:cs typeface="+mn-cs"/>
                <a:sym typeface="Trebuchet MS" panose="020B0703020202090204" pitchFamily="34" charset="0"/>
              </a:rPr>
              <a:t>材料汇总</a:t>
            </a:r>
            <a:r>
              <a:rPr kumimoji="0" lang="en-US" altLang="zh-CN" sz="700" b="0" i="0" u="none" strike="noStrike" kern="1200" cap="none" spc="0" normalizeH="0" baseline="0" noProof="0">
                <a:ln>
                  <a:noFill/>
                </a:ln>
                <a:solidFill>
                  <a:prstClr val="white">
                    <a:lumMod val="50000"/>
                  </a:prstClr>
                </a:solidFill>
                <a:effectLst/>
                <a:uLnTx/>
                <a:uFillTx/>
                <a:latin typeface="Arial" panose="020B0604020202090204"/>
                <a:ea typeface="华文楷体" panose="02010600040101010101" pitchFamily="2" charset="-122"/>
                <a:cs typeface="+mn-cs"/>
                <a:sym typeface="Trebuchet MS" panose="020B0703020202090204" pitchFamily="34" charset="0"/>
              </a:rPr>
              <a:t>】201809CIO office sample sldies v5.pptx</a:t>
            </a:r>
            <a:endParaRPr kumimoji="0" lang="en-US" sz="700" b="0" i="0" u="none" strike="noStrike" kern="1200" cap="none" spc="0" normalizeH="0" baseline="0" noProof="0" dirty="0">
              <a:ln>
                <a:noFill/>
              </a:ln>
              <a:solidFill>
                <a:prstClr val="white">
                  <a:lumMod val="50000"/>
                </a:prstClr>
              </a:solidFill>
              <a:effectLst/>
              <a:uLnTx/>
              <a:uFillTx/>
              <a:latin typeface="Arial" panose="020B0604020202090204"/>
              <a:ea typeface="华文楷体" panose="02010600040101010101" pitchFamily="2" charset="-122"/>
              <a:cs typeface="+mn-cs"/>
              <a:sym typeface="Trebuchet MS" panose="020B0703020202090204" pitchFamily="34" charset="0"/>
            </a:endParaRPr>
          </a:p>
        </p:txBody>
      </p:sp>
      <p:sp>
        <p:nvSpPr>
          <p:cNvPr id="7" name="Title Placeholder 1"/>
          <p:cNvSpPr>
            <a:spLocks noGrp="1"/>
          </p:cNvSpPr>
          <p:nvPr>
            <p:ph type="title" hasCustomPrompt="1"/>
          </p:nvPr>
        </p:nvSpPr>
        <p:spPr>
          <a:xfrm>
            <a:off x="360001" y="140399"/>
            <a:ext cx="10934700" cy="720000"/>
          </a:xfrm>
          <a:prstGeom prst="rect">
            <a:avLst/>
          </a:prstGeom>
        </p:spPr>
        <p:txBody>
          <a:bodyPr vert="horz" wrap="square" lIns="0" tIns="0" rIns="0" bIns="0" rtlCol="0" anchor="ctr">
            <a:noAutofit/>
          </a:bodyPr>
          <a:lstStyle>
            <a:lvl1pPr>
              <a:lnSpc>
                <a:spcPct val="100000"/>
              </a:lnSpc>
              <a:defRPr b="1"/>
            </a:lvl1pPr>
          </a:lstStyle>
          <a:p>
            <a:r>
              <a:rPr lang="en-US" altLang="zh-CN" dirty="0"/>
              <a:t>Click to add title</a:t>
            </a:r>
            <a:endParaRPr lang="en-US" dirty="0"/>
          </a:p>
        </p:txBody>
      </p:sp>
      <p:sp>
        <p:nvSpPr>
          <p:cNvPr id="6" name="矩形 5"/>
          <p:cNvSpPr/>
          <p:nvPr userDrawn="1"/>
        </p:nvSpPr>
        <p:spPr>
          <a:xfrm>
            <a:off x="203223" y="6461080"/>
            <a:ext cx="11051664" cy="2974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200" b="0" i="0" u="none" strike="noStrike" kern="1200" cap="none" spc="0" normalizeH="0" baseline="0" noProof="0" dirty="0">
                <a:ln>
                  <a:noFill/>
                </a:ln>
                <a:solidFill>
                  <a:srgbClr val="7F7F7F"/>
                </a:solidFill>
                <a:effectLst/>
                <a:uLnTx/>
                <a:uFillTx/>
                <a:latin typeface="华文楷体" panose="02010600040101010101" pitchFamily="2" charset="-122"/>
                <a:ea typeface="华文楷体" panose="02010600040101010101" pitchFamily="2" charset="-122"/>
                <a:cs typeface="+mn-cs"/>
                <a:sym typeface="Trebuchet MS" panose="020B0703020202090204" pitchFamily="34" charset="0"/>
              </a:rPr>
              <a:t>申明：本材料仅供集团内部学习交流使用，严禁出于商业目的使用，以避免不必要的纠纷。</a:t>
            </a:r>
            <a:r>
              <a:rPr kumimoji="0" lang="en-US" altLang="zh-CN" sz="1335" b="0" i="0" u="none" strike="noStrike" kern="1200" cap="none" spc="0" normalizeH="0" baseline="0" noProof="0" dirty="0">
                <a:ln>
                  <a:noFill/>
                </a:ln>
                <a:solidFill>
                  <a:srgbClr val="FF0000"/>
                </a:solidFill>
                <a:effectLst/>
                <a:uLnTx/>
                <a:uFillTx/>
                <a:latin typeface="华文楷体" panose="02010600040101010101" pitchFamily="2" charset="-122"/>
                <a:ea typeface="华文楷体" panose="02010600040101010101" pitchFamily="2" charset="-122"/>
                <a:cs typeface="+mn-cs"/>
                <a:sym typeface="Trebuchet MS" panose="020B0703020202090204" pitchFamily="34" charset="0"/>
              </a:rPr>
              <a:t>		</a:t>
            </a:r>
            <a:endParaRPr kumimoji="0" lang="zh-CN" altLang="en-US" sz="1335" b="0" i="0" u="none" strike="noStrike" kern="1200" cap="none" spc="0" normalizeH="0" baseline="0" noProof="0" dirty="0">
              <a:ln>
                <a:noFill/>
              </a:ln>
              <a:solidFill>
                <a:srgbClr val="7F7F7F"/>
              </a:solidFill>
              <a:effectLst/>
              <a:uLnTx/>
              <a:uFillTx/>
              <a:latin typeface="华文楷体" panose="02010600040101010101" pitchFamily="2" charset="-122"/>
              <a:ea typeface="华文楷体" panose="02010600040101010101" pitchFamily="2" charset="-122"/>
              <a:cs typeface="+mn-cs"/>
              <a:sym typeface="Trebuchet MS" panose="020B0703020202090204" pitchFamily="34" charset="0"/>
            </a:endParaRPr>
          </a:p>
        </p:txBody>
      </p:sp>
      <p:sp>
        <p:nvSpPr>
          <p:cNvPr id="8" name="灯片编号占位符 5"/>
          <p:cNvSpPr txBox="1"/>
          <p:nvPr userDrawn="1"/>
        </p:nvSpPr>
        <p:spPr>
          <a:xfrm>
            <a:off x="8869679" y="6395878"/>
            <a:ext cx="2909888" cy="206381"/>
          </a:xfrm>
          <a:prstGeom prst="rect">
            <a:avLst/>
          </a:prstGeom>
        </p:spPr>
        <p:txBody>
          <a:bodyPr vert="horz" lIns="91440" tIns="0" rIns="91440" bIns="45720" rtlCol="0" anchor="b" anchorCtr="0"/>
          <a:lstStyle>
            <a:defPPr>
              <a:defRPr lang="zh-CN"/>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defRPr/>
            </a:pPr>
            <a:fld id="{5DD3DB80-B894-403A-B48E-6FDC1A72010E}" type="slidenum">
              <a:rPr kumimoji="0" lang="zh-CN" altLang="en-US" sz="1200" b="1" i="0" u="none" strike="noStrike" kern="1200" cap="none" spc="0" normalizeH="0" baseline="0" noProof="0" smtClean="0">
                <a:ln>
                  <a:noFill/>
                </a:ln>
                <a:solidFill>
                  <a:srgbClr val="000000">
                    <a:lumMod val="50000"/>
                    <a:lumOff val="50000"/>
                  </a:srgbClr>
                </a:solidFill>
                <a:effectLst/>
                <a:uLnTx/>
                <a:uFillTx/>
                <a:latin typeface="Arial" panose="020B0604020202090204"/>
                <a:ea typeface="微软雅黑"/>
                <a:cs typeface="+mn-cs"/>
              </a:rPr>
            </a:fld>
            <a:endParaRPr kumimoji="0" lang="zh-CN" altLang="en-US" sz="1200" b="1" i="0" u="none" strike="noStrike" kern="1200" cap="none" spc="0" normalizeH="0" baseline="0" noProof="0" dirty="0">
              <a:ln>
                <a:noFill/>
              </a:ln>
              <a:solidFill>
                <a:srgbClr val="000000">
                  <a:lumMod val="50000"/>
                  <a:lumOff val="50000"/>
                </a:srgbClr>
              </a:solidFill>
              <a:effectLst/>
              <a:uLnTx/>
              <a:uFillTx/>
              <a:latin typeface="Arial" panose="020B0604020202090204"/>
              <a:ea typeface="微软雅黑"/>
              <a:cs typeface="+mn-cs"/>
            </a:endParaRPr>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userDrawn="1">
  <p:cSld name="1-封面">
    <p:spTree>
      <p:nvGrpSpPr>
        <p:cNvPr id="1" name=""/>
        <p:cNvGrpSpPr/>
        <p:nvPr/>
      </p:nvGrpSpPr>
      <p:grpSpPr>
        <a:xfrm>
          <a:off x="0" y="0"/>
          <a:ext cx="0" cy="0"/>
          <a:chOff x="0" y="0"/>
          <a:chExt cx="0" cy="0"/>
        </a:xfrm>
      </p:grpSpPr>
      <p:pic>
        <p:nvPicPr>
          <p:cNvPr id="7" name="图片 6"/>
          <p:cNvPicPr>
            <a:picLocks noChangeAspect="1"/>
          </p:cNvPicPr>
          <p:nvPr userDrawn="1"/>
        </p:nvPicPr>
        <p:blipFill>
          <a:blip r:embed="rId2">
            <a:extLst>
              <a:ext uri="{BEBA8EAE-BF5A-486C-A8C5-ECC9F3942E4B}">
                <a14:imgProps xmlns:a14="http://schemas.microsoft.com/office/drawing/2010/main">
                  <a14:imgLayer r:embed="rId3">
                    <a14:imgEffect>
                      <a14:artisticBlur/>
                    </a14:imgEffect>
                  </a14:imgLayer>
                </a14:imgProps>
              </a:ext>
              <a:ext uri="{28A0092B-C50C-407E-A947-70E740481C1C}">
                <a14:useLocalDpi xmlns:a14="http://schemas.microsoft.com/office/drawing/2010/main" val="0"/>
              </a:ext>
            </a:extLst>
          </a:blip>
          <a:srcRect t="42" b="42"/>
          <a:stretch>
            <a:fillRect/>
          </a:stretch>
        </p:blipFill>
        <p:spPr>
          <a:xfrm>
            <a:off x="1016697" y="10123"/>
            <a:ext cx="11168799" cy="6844996"/>
          </a:xfrm>
          <a:prstGeom prst="rect">
            <a:avLst/>
          </a:prstGeom>
          <a:ln w="12700">
            <a:miter lim="400000"/>
            <a:headEnd/>
            <a:tailEnd/>
          </a:ln>
        </p:spPr>
      </p:pic>
      <p:pic>
        <p:nvPicPr>
          <p:cNvPr id="4" name="图片 3"/>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45815" y="0"/>
            <a:ext cx="11146185" cy="6858000"/>
          </a:xfrm>
          <a:prstGeom prst="rect">
            <a:avLst/>
          </a:prstGeom>
        </p:spPr>
      </p:pic>
      <p:sp>
        <p:nvSpPr>
          <p:cNvPr id="8" name="矩形 7"/>
          <p:cNvSpPr/>
          <p:nvPr userDrawn="1"/>
        </p:nvSpPr>
        <p:spPr>
          <a:xfrm>
            <a:off x="0" y="0"/>
            <a:ext cx="12192000" cy="6858000"/>
          </a:xfrm>
          <a:prstGeom prst="rect">
            <a:avLst/>
          </a:prstGeom>
          <a:gradFill flip="none" rotWithShape="1">
            <a:gsLst>
              <a:gs pos="15000">
                <a:srgbClr val="FDF1ED">
                  <a:alpha val="97647"/>
                </a:srgbClr>
              </a:gs>
              <a:gs pos="27000">
                <a:srgbClr val="FEF8F6">
                  <a:alpha val="86000"/>
                </a:srgbClr>
              </a:gs>
              <a:gs pos="56000">
                <a:schemeClr val="bg1">
                  <a:alpha val="86000"/>
                </a:schemeClr>
              </a:gs>
              <a:gs pos="0">
                <a:srgbClr val="FDEAE3"/>
              </a:gs>
              <a:gs pos="100000">
                <a:schemeClr val="bg1">
                  <a:alpha val="6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30" name="任意多边形: 形状 29"/>
          <p:cNvSpPr/>
          <p:nvPr userDrawn="1"/>
        </p:nvSpPr>
        <p:spPr>
          <a:xfrm>
            <a:off x="6918699" y="3183037"/>
            <a:ext cx="3984653" cy="3682203"/>
          </a:xfrm>
          <a:custGeom>
            <a:avLst/>
            <a:gdLst>
              <a:gd name="connsiteX0" fmla="*/ 2696901 w 5266797"/>
              <a:gd name="connsiteY0" fmla="*/ 0 h 6875362"/>
              <a:gd name="connsiteX1" fmla="*/ 5266797 w 5266797"/>
              <a:gd name="connsiteY1" fmla="*/ 0 h 6875362"/>
              <a:gd name="connsiteX2" fmla="*/ 5266797 w 5266797"/>
              <a:gd name="connsiteY2" fmla="*/ 1408772 h 6875362"/>
              <a:gd name="connsiteX3" fmla="*/ 3126080 w 5266797"/>
              <a:gd name="connsiteY3" fmla="*/ 6866222 h 6875362"/>
              <a:gd name="connsiteX4" fmla="*/ 0 w 5266797"/>
              <a:gd name="connsiteY4" fmla="*/ 6875362 h 68753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66797" h="6875362">
                <a:moveTo>
                  <a:pt x="2696901" y="0"/>
                </a:moveTo>
                <a:lnTo>
                  <a:pt x="5266797" y="0"/>
                </a:lnTo>
                <a:lnTo>
                  <a:pt x="5266797" y="1408772"/>
                </a:lnTo>
                <a:lnTo>
                  <a:pt x="3126080" y="6866222"/>
                </a:lnTo>
                <a:lnTo>
                  <a:pt x="0" y="6875362"/>
                </a:lnTo>
                <a:close/>
              </a:path>
            </a:pathLst>
          </a:custGeom>
          <a:gradFill flip="none" rotWithShape="1">
            <a:gsLst>
              <a:gs pos="32000">
                <a:srgbClr val="FE832C"/>
              </a:gs>
              <a:gs pos="88000">
                <a:srgbClr val="FFCEAB"/>
              </a:gs>
              <a:gs pos="0">
                <a:srgbClr val="EA5504"/>
              </a:gs>
              <a:gs pos="100000">
                <a:srgbClr val="FBE9D5"/>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pic>
        <p:nvPicPr>
          <p:cNvPr id="12" name="图片 11"/>
          <p:cNvPicPr>
            <a:picLocks noChangeAspect="1"/>
          </p:cNvPicPr>
          <p:nvPr userDrawn="1"/>
        </p:nvPicPr>
        <p:blipFill rotWithShape="1">
          <a:blip r:embed="rId5">
            <a:extLst>
              <a:ext uri="{28A0092B-C50C-407E-A947-70E740481C1C}">
                <a14:useLocalDpi xmlns:a14="http://schemas.microsoft.com/office/drawing/2010/main" val="0"/>
              </a:ext>
            </a:extLst>
          </a:blip>
          <a:srcRect/>
          <a:stretch>
            <a:fillRect/>
          </a:stretch>
        </p:blipFill>
        <p:spPr>
          <a:xfrm flipH="1">
            <a:off x="6229392" y="1300480"/>
            <a:ext cx="5962607" cy="5557520"/>
          </a:xfrm>
          <a:prstGeom prst="rect">
            <a:avLst/>
          </a:prstGeom>
        </p:spPr>
      </p:pic>
      <p:sp>
        <p:nvSpPr>
          <p:cNvPr id="13" name="任意多边形: 形状 12"/>
          <p:cNvSpPr/>
          <p:nvPr userDrawn="1"/>
        </p:nvSpPr>
        <p:spPr>
          <a:xfrm>
            <a:off x="0" y="0"/>
            <a:ext cx="690654" cy="745871"/>
          </a:xfrm>
          <a:custGeom>
            <a:avLst/>
            <a:gdLst>
              <a:gd name="connsiteX0" fmla="*/ 590479 w 631437"/>
              <a:gd name="connsiteY0" fmla="*/ 600003 h 681919"/>
              <a:gd name="connsiteX1" fmla="*/ 631437 w 631437"/>
              <a:gd name="connsiteY1" fmla="*/ 640961 h 681919"/>
              <a:gd name="connsiteX2" fmla="*/ 590479 w 631437"/>
              <a:gd name="connsiteY2" fmla="*/ 681919 h 681919"/>
              <a:gd name="connsiteX3" fmla="*/ 549521 w 631437"/>
              <a:gd name="connsiteY3" fmla="*/ 640961 h 681919"/>
              <a:gd name="connsiteX4" fmla="*/ 590479 w 631437"/>
              <a:gd name="connsiteY4" fmla="*/ 600003 h 681919"/>
              <a:gd name="connsiteX5" fmla="*/ 448555 w 631437"/>
              <a:gd name="connsiteY5" fmla="*/ 600003 h 681919"/>
              <a:gd name="connsiteX6" fmla="*/ 489513 w 631437"/>
              <a:gd name="connsiteY6" fmla="*/ 640961 h 681919"/>
              <a:gd name="connsiteX7" fmla="*/ 448555 w 631437"/>
              <a:gd name="connsiteY7" fmla="*/ 681919 h 681919"/>
              <a:gd name="connsiteX8" fmla="*/ 407597 w 631437"/>
              <a:gd name="connsiteY8" fmla="*/ 640961 h 681919"/>
              <a:gd name="connsiteX9" fmla="*/ 448555 w 631437"/>
              <a:gd name="connsiteY9" fmla="*/ 600003 h 681919"/>
              <a:gd name="connsiteX10" fmla="*/ 306633 w 631437"/>
              <a:gd name="connsiteY10" fmla="*/ 600003 h 681919"/>
              <a:gd name="connsiteX11" fmla="*/ 347591 w 631437"/>
              <a:gd name="connsiteY11" fmla="*/ 640961 h 681919"/>
              <a:gd name="connsiteX12" fmla="*/ 306633 w 631437"/>
              <a:gd name="connsiteY12" fmla="*/ 681919 h 681919"/>
              <a:gd name="connsiteX13" fmla="*/ 265675 w 631437"/>
              <a:gd name="connsiteY13" fmla="*/ 640961 h 681919"/>
              <a:gd name="connsiteX14" fmla="*/ 306633 w 631437"/>
              <a:gd name="connsiteY14" fmla="*/ 600003 h 681919"/>
              <a:gd name="connsiteX15" fmla="*/ 164711 w 631437"/>
              <a:gd name="connsiteY15" fmla="*/ 600003 h 681919"/>
              <a:gd name="connsiteX16" fmla="*/ 205669 w 631437"/>
              <a:gd name="connsiteY16" fmla="*/ 640961 h 681919"/>
              <a:gd name="connsiteX17" fmla="*/ 164711 w 631437"/>
              <a:gd name="connsiteY17" fmla="*/ 681919 h 681919"/>
              <a:gd name="connsiteX18" fmla="*/ 123753 w 631437"/>
              <a:gd name="connsiteY18" fmla="*/ 640961 h 681919"/>
              <a:gd name="connsiteX19" fmla="*/ 164711 w 631437"/>
              <a:gd name="connsiteY19" fmla="*/ 600003 h 681919"/>
              <a:gd name="connsiteX20" fmla="*/ 22789 w 631437"/>
              <a:gd name="connsiteY20" fmla="*/ 600003 h 681919"/>
              <a:gd name="connsiteX21" fmla="*/ 63747 w 631437"/>
              <a:gd name="connsiteY21" fmla="*/ 640961 h 681919"/>
              <a:gd name="connsiteX22" fmla="*/ 22789 w 631437"/>
              <a:gd name="connsiteY22" fmla="*/ 681919 h 681919"/>
              <a:gd name="connsiteX23" fmla="*/ 0 w 631437"/>
              <a:gd name="connsiteY23" fmla="*/ 672479 h 681919"/>
              <a:gd name="connsiteX24" fmla="*/ 0 w 631437"/>
              <a:gd name="connsiteY24" fmla="*/ 609443 h 681919"/>
              <a:gd name="connsiteX25" fmla="*/ 590479 w 631437"/>
              <a:gd name="connsiteY25" fmla="*/ 441888 h 681919"/>
              <a:gd name="connsiteX26" fmla="*/ 631437 w 631437"/>
              <a:gd name="connsiteY26" fmla="*/ 482846 h 681919"/>
              <a:gd name="connsiteX27" fmla="*/ 590479 w 631437"/>
              <a:gd name="connsiteY27" fmla="*/ 523804 h 681919"/>
              <a:gd name="connsiteX28" fmla="*/ 549521 w 631437"/>
              <a:gd name="connsiteY28" fmla="*/ 482846 h 681919"/>
              <a:gd name="connsiteX29" fmla="*/ 590479 w 631437"/>
              <a:gd name="connsiteY29" fmla="*/ 441888 h 681919"/>
              <a:gd name="connsiteX30" fmla="*/ 448555 w 631437"/>
              <a:gd name="connsiteY30" fmla="*/ 441888 h 681919"/>
              <a:gd name="connsiteX31" fmla="*/ 489513 w 631437"/>
              <a:gd name="connsiteY31" fmla="*/ 482846 h 681919"/>
              <a:gd name="connsiteX32" fmla="*/ 448555 w 631437"/>
              <a:gd name="connsiteY32" fmla="*/ 523804 h 681919"/>
              <a:gd name="connsiteX33" fmla="*/ 407597 w 631437"/>
              <a:gd name="connsiteY33" fmla="*/ 482846 h 681919"/>
              <a:gd name="connsiteX34" fmla="*/ 448555 w 631437"/>
              <a:gd name="connsiteY34" fmla="*/ 441888 h 681919"/>
              <a:gd name="connsiteX35" fmla="*/ 306633 w 631437"/>
              <a:gd name="connsiteY35" fmla="*/ 441888 h 681919"/>
              <a:gd name="connsiteX36" fmla="*/ 347591 w 631437"/>
              <a:gd name="connsiteY36" fmla="*/ 482846 h 681919"/>
              <a:gd name="connsiteX37" fmla="*/ 306633 w 631437"/>
              <a:gd name="connsiteY37" fmla="*/ 523804 h 681919"/>
              <a:gd name="connsiteX38" fmla="*/ 265675 w 631437"/>
              <a:gd name="connsiteY38" fmla="*/ 482846 h 681919"/>
              <a:gd name="connsiteX39" fmla="*/ 306633 w 631437"/>
              <a:gd name="connsiteY39" fmla="*/ 441888 h 681919"/>
              <a:gd name="connsiteX40" fmla="*/ 164711 w 631437"/>
              <a:gd name="connsiteY40" fmla="*/ 441888 h 681919"/>
              <a:gd name="connsiteX41" fmla="*/ 205669 w 631437"/>
              <a:gd name="connsiteY41" fmla="*/ 482846 h 681919"/>
              <a:gd name="connsiteX42" fmla="*/ 164711 w 631437"/>
              <a:gd name="connsiteY42" fmla="*/ 523804 h 681919"/>
              <a:gd name="connsiteX43" fmla="*/ 123753 w 631437"/>
              <a:gd name="connsiteY43" fmla="*/ 482846 h 681919"/>
              <a:gd name="connsiteX44" fmla="*/ 164711 w 631437"/>
              <a:gd name="connsiteY44" fmla="*/ 441888 h 681919"/>
              <a:gd name="connsiteX45" fmla="*/ 22789 w 631437"/>
              <a:gd name="connsiteY45" fmla="*/ 441888 h 681919"/>
              <a:gd name="connsiteX46" fmla="*/ 63747 w 631437"/>
              <a:gd name="connsiteY46" fmla="*/ 482846 h 681919"/>
              <a:gd name="connsiteX47" fmla="*/ 22789 w 631437"/>
              <a:gd name="connsiteY47" fmla="*/ 523804 h 681919"/>
              <a:gd name="connsiteX48" fmla="*/ 0 w 631437"/>
              <a:gd name="connsiteY48" fmla="*/ 514364 h 681919"/>
              <a:gd name="connsiteX49" fmla="*/ 0 w 631437"/>
              <a:gd name="connsiteY49" fmla="*/ 451328 h 681919"/>
              <a:gd name="connsiteX50" fmla="*/ 590479 w 631437"/>
              <a:gd name="connsiteY50" fmla="*/ 283773 h 681919"/>
              <a:gd name="connsiteX51" fmla="*/ 631437 w 631437"/>
              <a:gd name="connsiteY51" fmla="*/ 324731 h 681919"/>
              <a:gd name="connsiteX52" fmla="*/ 590479 w 631437"/>
              <a:gd name="connsiteY52" fmla="*/ 365689 h 681919"/>
              <a:gd name="connsiteX53" fmla="*/ 549521 w 631437"/>
              <a:gd name="connsiteY53" fmla="*/ 324731 h 681919"/>
              <a:gd name="connsiteX54" fmla="*/ 590479 w 631437"/>
              <a:gd name="connsiteY54" fmla="*/ 283773 h 681919"/>
              <a:gd name="connsiteX55" fmla="*/ 448555 w 631437"/>
              <a:gd name="connsiteY55" fmla="*/ 283773 h 681919"/>
              <a:gd name="connsiteX56" fmla="*/ 489513 w 631437"/>
              <a:gd name="connsiteY56" fmla="*/ 324731 h 681919"/>
              <a:gd name="connsiteX57" fmla="*/ 448555 w 631437"/>
              <a:gd name="connsiteY57" fmla="*/ 365689 h 681919"/>
              <a:gd name="connsiteX58" fmla="*/ 407597 w 631437"/>
              <a:gd name="connsiteY58" fmla="*/ 324731 h 681919"/>
              <a:gd name="connsiteX59" fmla="*/ 448555 w 631437"/>
              <a:gd name="connsiteY59" fmla="*/ 283773 h 681919"/>
              <a:gd name="connsiteX60" fmla="*/ 306633 w 631437"/>
              <a:gd name="connsiteY60" fmla="*/ 283773 h 681919"/>
              <a:gd name="connsiteX61" fmla="*/ 347591 w 631437"/>
              <a:gd name="connsiteY61" fmla="*/ 324731 h 681919"/>
              <a:gd name="connsiteX62" fmla="*/ 306633 w 631437"/>
              <a:gd name="connsiteY62" fmla="*/ 365689 h 681919"/>
              <a:gd name="connsiteX63" fmla="*/ 265675 w 631437"/>
              <a:gd name="connsiteY63" fmla="*/ 324731 h 681919"/>
              <a:gd name="connsiteX64" fmla="*/ 306633 w 631437"/>
              <a:gd name="connsiteY64" fmla="*/ 283773 h 681919"/>
              <a:gd name="connsiteX65" fmla="*/ 164711 w 631437"/>
              <a:gd name="connsiteY65" fmla="*/ 283773 h 681919"/>
              <a:gd name="connsiteX66" fmla="*/ 205669 w 631437"/>
              <a:gd name="connsiteY66" fmla="*/ 324731 h 681919"/>
              <a:gd name="connsiteX67" fmla="*/ 164711 w 631437"/>
              <a:gd name="connsiteY67" fmla="*/ 365689 h 681919"/>
              <a:gd name="connsiteX68" fmla="*/ 123753 w 631437"/>
              <a:gd name="connsiteY68" fmla="*/ 324731 h 681919"/>
              <a:gd name="connsiteX69" fmla="*/ 164711 w 631437"/>
              <a:gd name="connsiteY69" fmla="*/ 283773 h 681919"/>
              <a:gd name="connsiteX70" fmla="*/ 22789 w 631437"/>
              <a:gd name="connsiteY70" fmla="*/ 283773 h 681919"/>
              <a:gd name="connsiteX71" fmla="*/ 63747 w 631437"/>
              <a:gd name="connsiteY71" fmla="*/ 324731 h 681919"/>
              <a:gd name="connsiteX72" fmla="*/ 22789 w 631437"/>
              <a:gd name="connsiteY72" fmla="*/ 365689 h 681919"/>
              <a:gd name="connsiteX73" fmla="*/ 0 w 631437"/>
              <a:gd name="connsiteY73" fmla="*/ 356249 h 681919"/>
              <a:gd name="connsiteX74" fmla="*/ 0 w 631437"/>
              <a:gd name="connsiteY74" fmla="*/ 293213 h 681919"/>
              <a:gd name="connsiteX75" fmla="*/ 448555 w 631437"/>
              <a:gd name="connsiteY75" fmla="*/ 125658 h 681919"/>
              <a:gd name="connsiteX76" fmla="*/ 489513 w 631437"/>
              <a:gd name="connsiteY76" fmla="*/ 166616 h 681919"/>
              <a:gd name="connsiteX77" fmla="*/ 448555 w 631437"/>
              <a:gd name="connsiteY77" fmla="*/ 207574 h 681919"/>
              <a:gd name="connsiteX78" fmla="*/ 407597 w 631437"/>
              <a:gd name="connsiteY78" fmla="*/ 166616 h 681919"/>
              <a:gd name="connsiteX79" fmla="*/ 448555 w 631437"/>
              <a:gd name="connsiteY79" fmla="*/ 125658 h 681919"/>
              <a:gd name="connsiteX80" fmla="*/ 306633 w 631437"/>
              <a:gd name="connsiteY80" fmla="*/ 125658 h 681919"/>
              <a:gd name="connsiteX81" fmla="*/ 347591 w 631437"/>
              <a:gd name="connsiteY81" fmla="*/ 166616 h 681919"/>
              <a:gd name="connsiteX82" fmla="*/ 306633 w 631437"/>
              <a:gd name="connsiteY82" fmla="*/ 207574 h 681919"/>
              <a:gd name="connsiteX83" fmla="*/ 265675 w 631437"/>
              <a:gd name="connsiteY83" fmla="*/ 166616 h 681919"/>
              <a:gd name="connsiteX84" fmla="*/ 306633 w 631437"/>
              <a:gd name="connsiteY84" fmla="*/ 125658 h 681919"/>
              <a:gd name="connsiteX85" fmla="*/ 164711 w 631437"/>
              <a:gd name="connsiteY85" fmla="*/ 125658 h 681919"/>
              <a:gd name="connsiteX86" fmla="*/ 205669 w 631437"/>
              <a:gd name="connsiteY86" fmla="*/ 166616 h 681919"/>
              <a:gd name="connsiteX87" fmla="*/ 164711 w 631437"/>
              <a:gd name="connsiteY87" fmla="*/ 207574 h 681919"/>
              <a:gd name="connsiteX88" fmla="*/ 123753 w 631437"/>
              <a:gd name="connsiteY88" fmla="*/ 166616 h 681919"/>
              <a:gd name="connsiteX89" fmla="*/ 164711 w 631437"/>
              <a:gd name="connsiteY89" fmla="*/ 125658 h 681919"/>
              <a:gd name="connsiteX90" fmla="*/ 22789 w 631437"/>
              <a:gd name="connsiteY90" fmla="*/ 125658 h 681919"/>
              <a:gd name="connsiteX91" fmla="*/ 63747 w 631437"/>
              <a:gd name="connsiteY91" fmla="*/ 166616 h 681919"/>
              <a:gd name="connsiteX92" fmla="*/ 22789 w 631437"/>
              <a:gd name="connsiteY92" fmla="*/ 207574 h 681919"/>
              <a:gd name="connsiteX93" fmla="*/ 0 w 631437"/>
              <a:gd name="connsiteY93" fmla="*/ 198134 h 681919"/>
              <a:gd name="connsiteX94" fmla="*/ 0 w 631437"/>
              <a:gd name="connsiteY94" fmla="*/ 135098 h 681919"/>
              <a:gd name="connsiteX95" fmla="*/ 590479 w 631437"/>
              <a:gd name="connsiteY95" fmla="*/ 125658 h 681919"/>
              <a:gd name="connsiteX96" fmla="*/ 631437 w 631437"/>
              <a:gd name="connsiteY96" fmla="*/ 166616 h 681919"/>
              <a:gd name="connsiteX97" fmla="*/ 590479 w 631437"/>
              <a:gd name="connsiteY97" fmla="*/ 207574 h 681919"/>
              <a:gd name="connsiteX98" fmla="*/ 549521 w 631437"/>
              <a:gd name="connsiteY98" fmla="*/ 166616 h 681919"/>
              <a:gd name="connsiteX99" fmla="*/ 590479 w 631437"/>
              <a:gd name="connsiteY99" fmla="*/ 125658 h 681919"/>
              <a:gd name="connsiteX100" fmla="*/ 553042 w 631437"/>
              <a:gd name="connsiteY100" fmla="*/ 0 h 681919"/>
              <a:gd name="connsiteX101" fmla="*/ 627916 w 631437"/>
              <a:gd name="connsiteY101" fmla="*/ 0 h 681919"/>
              <a:gd name="connsiteX102" fmla="*/ 631437 w 631437"/>
              <a:gd name="connsiteY102" fmla="*/ 8501 h 681919"/>
              <a:gd name="connsiteX103" fmla="*/ 590479 w 631437"/>
              <a:gd name="connsiteY103" fmla="*/ 49459 h 681919"/>
              <a:gd name="connsiteX104" fmla="*/ 549521 w 631437"/>
              <a:gd name="connsiteY104" fmla="*/ 8501 h 681919"/>
              <a:gd name="connsiteX105" fmla="*/ 411118 w 631437"/>
              <a:gd name="connsiteY105" fmla="*/ 0 h 681919"/>
              <a:gd name="connsiteX106" fmla="*/ 485992 w 631437"/>
              <a:gd name="connsiteY106" fmla="*/ 0 h 681919"/>
              <a:gd name="connsiteX107" fmla="*/ 489513 w 631437"/>
              <a:gd name="connsiteY107" fmla="*/ 8501 h 681919"/>
              <a:gd name="connsiteX108" fmla="*/ 448555 w 631437"/>
              <a:gd name="connsiteY108" fmla="*/ 49459 h 681919"/>
              <a:gd name="connsiteX109" fmla="*/ 407597 w 631437"/>
              <a:gd name="connsiteY109" fmla="*/ 8501 h 681919"/>
              <a:gd name="connsiteX110" fmla="*/ 269196 w 631437"/>
              <a:gd name="connsiteY110" fmla="*/ 0 h 681919"/>
              <a:gd name="connsiteX111" fmla="*/ 344070 w 631437"/>
              <a:gd name="connsiteY111" fmla="*/ 0 h 681919"/>
              <a:gd name="connsiteX112" fmla="*/ 347591 w 631437"/>
              <a:gd name="connsiteY112" fmla="*/ 8501 h 681919"/>
              <a:gd name="connsiteX113" fmla="*/ 306633 w 631437"/>
              <a:gd name="connsiteY113" fmla="*/ 49459 h 681919"/>
              <a:gd name="connsiteX114" fmla="*/ 265675 w 631437"/>
              <a:gd name="connsiteY114" fmla="*/ 8501 h 681919"/>
              <a:gd name="connsiteX115" fmla="*/ 127274 w 631437"/>
              <a:gd name="connsiteY115" fmla="*/ 0 h 681919"/>
              <a:gd name="connsiteX116" fmla="*/ 202148 w 631437"/>
              <a:gd name="connsiteY116" fmla="*/ 0 h 681919"/>
              <a:gd name="connsiteX117" fmla="*/ 205669 w 631437"/>
              <a:gd name="connsiteY117" fmla="*/ 8501 h 681919"/>
              <a:gd name="connsiteX118" fmla="*/ 164711 w 631437"/>
              <a:gd name="connsiteY118" fmla="*/ 49459 h 681919"/>
              <a:gd name="connsiteX119" fmla="*/ 123753 w 631437"/>
              <a:gd name="connsiteY119" fmla="*/ 8501 h 681919"/>
              <a:gd name="connsiteX120" fmla="*/ 0 w 631437"/>
              <a:gd name="connsiteY120" fmla="*/ 0 h 681919"/>
              <a:gd name="connsiteX121" fmla="*/ 60226 w 631437"/>
              <a:gd name="connsiteY121" fmla="*/ 0 h 681919"/>
              <a:gd name="connsiteX122" fmla="*/ 63747 w 631437"/>
              <a:gd name="connsiteY122" fmla="*/ 8501 h 681919"/>
              <a:gd name="connsiteX123" fmla="*/ 22789 w 631437"/>
              <a:gd name="connsiteY123" fmla="*/ 49459 h 681919"/>
              <a:gd name="connsiteX124" fmla="*/ 0 w 631437"/>
              <a:gd name="connsiteY124" fmla="*/ 40019 h 681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Lst>
            <a:rect l="l" t="t" r="r" b="b"/>
            <a:pathLst>
              <a:path w="631437" h="681919">
                <a:moveTo>
                  <a:pt x="590479" y="600003"/>
                </a:moveTo>
                <a:cubicBezTo>
                  <a:pt x="613099" y="600003"/>
                  <a:pt x="631437" y="618341"/>
                  <a:pt x="631437" y="640961"/>
                </a:cubicBezTo>
                <a:cubicBezTo>
                  <a:pt x="631437" y="663581"/>
                  <a:pt x="613099" y="681919"/>
                  <a:pt x="590479" y="681919"/>
                </a:cubicBezTo>
                <a:cubicBezTo>
                  <a:pt x="567859" y="681919"/>
                  <a:pt x="549521" y="663581"/>
                  <a:pt x="549521" y="640961"/>
                </a:cubicBezTo>
                <a:cubicBezTo>
                  <a:pt x="549521" y="618341"/>
                  <a:pt x="567859" y="600003"/>
                  <a:pt x="590479" y="600003"/>
                </a:cubicBezTo>
                <a:close/>
                <a:moveTo>
                  <a:pt x="448555" y="600003"/>
                </a:moveTo>
                <a:cubicBezTo>
                  <a:pt x="471175" y="600003"/>
                  <a:pt x="489513" y="618341"/>
                  <a:pt x="489513" y="640961"/>
                </a:cubicBezTo>
                <a:cubicBezTo>
                  <a:pt x="489513" y="663581"/>
                  <a:pt x="471175" y="681919"/>
                  <a:pt x="448555" y="681919"/>
                </a:cubicBezTo>
                <a:cubicBezTo>
                  <a:pt x="425935" y="681919"/>
                  <a:pt x="407597" y="663581"/>
                  <a:pt x="407597" y="640961"/>
                </a:cubicBezTo>
                <a:cubicBezTo>
                  <a:pt x="407597" y="618341"/>
                  <a:pt x="425935" y="600003"/>
                  <a:pt x="448555" y="600003"/>
                </a:cubicBezTo>
                <a:close/>
                <a:moveTo>
                  <a:pt x="306633" y="600003"/>
                </a:moveTo>
                <a:cubicBezTo>
                  <a:pt x="329253" y="600003"/>
                  <a:pt x="347591" y="618341"/>
                  <a:pt x="347591" y="640961"/>
                </a:cubicBezTo>
                <a:cubicBezTo>
                  <a:pt x="347591" y="663581"/>
                  <a:pt x="329253" y="681919"/>
                  <a:pt x="306633" y="681919"/>
                </a:cubicBezTo>
                <a:cubicBezTo>
                  <a:pt x="284013" y="681919"/>
                  <a:pt x="265675" y="663581"/>
                  <a:pt x="265675" y="640961"/>
                </a:cubicBezTo>
                <a:cubicBezTo>
                  <a:pt x="265675" y="618341"/>
                  <a:pt x="284013" y="600003"/>
                  <a:pt x="306633" y="600003"/>
                </a:cubicBezTo>
                <a:close/>
                <a:moveTo>
                  <a:pt x="164711" y="600003"/>
                </a:moveTo>
                <a:cubicBezTo>
                  <a:pt x="187331" y="600003"/>
                  <a:pt x="205669" y="618341"/>
                  <a:pt x="205669" y="640961"/>
                </a:cubicBezTo>
                <a:cubicBezTo>
                  <a:pt x="205669" y="663581"/>
                  <a:pt x="187331" y="681919"/>
                  <a:pt x="164711" y="681919"/>
                </a:cubicBezTo>
                <a:cubicBezTo>
                  <a:pt x="142091" y="681919"/>
                  <a:pt x="123753" y="663581"/>
                  <a:pt x="123753" y="640961"/>
                </a:cubicBezTo>
                <a:cubicBezTo>
                  <a:pt x="123753" y="618341"/>
                  <a:pt x="142091" y="600003"/>
                  <a:pt x="164711" y="600003"/>
                </a:cubicBezTo>
                <a:close/>
                <a:moveTo>
                  <a:pt x="22789" y="600003"/>
                </a:moveTo>
                <a:cubicBezTo>
                  <a:pt x="45409" y="600003"/>
                  <a:pt x="63747" y="618341"/>
                  <a:pt x="63747" y="640961"/>
                </a:cubicBezTo>
                <a:cubicBezTo>
                  <a:pt x="63747" y="663581"/>
                  <a:pt x="45409" y="681919"/>
                  <a:pt x="22789" y="681919"/>
                </a:cubicBezTo>
                <a:lnTo>
                  <a:pt x="0" y="672479"/>
                </a:lnTo>
                <a:lnTo>
                  <a:pt x="0" y="609443"/>
                </a:lnTo>
                <a:close/>
                <a:moveTo>
                  <a:pt x="590479" y="441888"/>
                </a:moveTo>
                <a:cubicBezTo>
                  <a:pt x="613099" y="441888"/>
                  <a:pt x="631437" y="460226"/>
                  <a:pt x="631437" y="482846"/>
                </a:cubicBezTo>
                <a:cubicBezTo>
                  <a:pt x="631437" y="505466"/>
                  <a:pt x="613099" y="523804"/>
                  <a:pt x="590479" y="523804"/>
                </a:cubicBezTo>
                <a:cubicBezTo>
                  <a:pt x="567859" y="523804"/>
                  <a:pt x="549521" y="505466"/>
                  <a:pt x="549521" y="482846"/>
                </a:cubicBezTo>
                <a:cubicBezTo>
                  <a:pt x="549521" y="460226"/>
                  <a:pt x="567859" y="441888"/>
                  <a:pt x="590479" y="441888"/>
                </a:cubicBezTo>
                <a:close/>
                <a:moveTo>
                  <a:pt x="448555" y="441888"/>
                </a:moveTo>
                <a:cubicBezTo>
                  <a:pt x="471175" y="441888"/>
                  <a:pt x="489513" y="460226"/>
                  <a:pt x="489513" y="482846"/>
                </a:cubicBezTo>
                <a:cubicBezTo>
                  <a:pt x="489513" y="505466"/>
                  <a:pt x="471175" y="523804"/>
                  <a:pt x="448555" y="523804"/>
                </a:cubicBezTo>
                <a:cubicBezTo>
                  <a:pt x="425935" y="523804"/>
                  <a:pt x="407597" y="505466"/>
                  <a:pt x="407597" y="482846"/>
                </a:cubicBezTo>
                <a:cubicBezTo>
                  <a:pt x="407597" y="460226"/>
                  <a:pt x="425935" y="441888"/>
                  <a:pt x="448555" y="441888"/>
                </a:cubicBezTo>
                <a:close/>
                <a:moveTo>
                  <a:pt x="306633" y="441888"/>
                </a:moveTo>
                <a:cubicBezTo>
                  <a:pt x="329253" y="441888"/>
                  <a:pt x="347591" y="460226"/>
                  <a:pt x="347591" y="482846"/>
                </a:cubicBezTo>
                <a:cubicBezTo>
                  <a:pt x="347591" y="505466"/>
                  <a:pt x="329253" y="523804"/>
                  <a:pt x="306633" y="523804"/>
                </a:cubicBezTo>
                <a:cubicBezTo>
                  <a:pt x="284013" y="523804"/>
                  <a:pt x="265675" y="505466"/>
                  <a:pt x="265675" y="482846"/>
                </a:cubicBezTo>
                <a:cubicBezTo>
                  <a:pt x="265675" y="460226"/>
                  <a:pt x="284013" y="441888"/>
                  <a:pt x="306633" y="441888"/>
                </a:cubicBezTo>
                <a:close/>
                <a:moveTo>
                  <a:pt x="164711" y="441888"/>
                </a:moveTo>
                <a:cubicBezTo>
                  <a:pt x="187331" y="441888"/>
                  <a:pt x="205669" y="460226"/>
                  <a:pt x="205669" y="482846"/>
                </a:cubicBezTo>
                <a:cubicBezTo>
                  <a:pt x="205669" y="505466"/>
                  <a:pt x="187331" y="523804"/>
                  <a:pt x="164711" y="523804"/>
                </a:cubicBezTo>
                <a:cubicBezTo>
                  <a:pt x="142091" y="523804"/>
                  <a:pt x="123753" y="505466"/>
                  <a:pt x="123753" y="482846"/>
                </a:cubicBezTo>
                <a:cubicBezTo>
                  <a:pt x="123753" y="460226"/>
                  <a:pt x="142091" y="441888"/>
                  <a:pt x="164711" y="441888"/>
                </a:cubicBezTo>
                <a:close/>
                <a:moveTo>
                  <a:pt x="22789" y="441888"/>
                </a:moveTo>
                <a:cubicBezTo>
                  <a:pt x="45409" y="441888"/>
                  <a:pt x="63747" y="460226"/>
                  <a:pt x="63747" y="482846"/>
                </a:cubicBezTo>
                <a:cubicBezTo>
                  <a:pt x="63747" y="505466"/>
                  <a:pt x="45409" y="523804"/>
                  <a:pt x="22789" y="523804"/>
                </a:cubicBezTo>
                <a:lnTo>
                  <a:pt x="0" y="514364"/>
                </a:lnTo>
                <a:lnTo>
                  <a:pt x="0" y="451328"/>
                </a:lnTo>
                <a:close/>
                <a:moveTo>
                  <a:pt x="590479" y="283773"/>
                </a:moveTo>
                <a:cubicBezTo>
                  <a:pt x="613099" y="283773"/>
                  <a:pt x="631437" y="302111"/>
                  <a:pt x="631437" y="324731"/>
                </a:cubicBezTo>
                <a:cubicBezTo>
                  <a:pt x="631437" y="347351"/>
                  <a:pt x="613099" y="365689"/>
                  <a:pt x="590479" y="365689"/>
                </a:cubicBezTo>
                <a:cubicBezTo>
                  <a:pt x="567859" y="365689"/>
                  <a:pt x="549521" y="347351"/>
                  <a:pt x="549521" y="324731"/>
                </a:cubicBezTo>
                <a:cubicBezTo>
                  <a:pt x="549521" y="302111"/>
                  <a:pt x="567859" y="283773"/>
                  <a:pt x="590479" y="283773"/>
                </a:cubicBezTo>
                <a:close/>
                <a:moveTo>
                  <a:pt x="448555" y="283773"/>
                </a:moveTo>
                <a:cubicBezTo>
                  <a:pt x="471175" y="283773"/>
                  <a:pt x="489513" y="302111"/>
                  <a:pt x="489513" y="324731"/>
                </a:cubicBezTo>
                <a:cubicBezTo>
                  <a:pt x="489513" y="347351"/>
                  <a:pt x="471175" y="365689"/>
                  <a:pt x="448555" y="365689"/>
                </a:cubicBezTo>
                <a:cubicBezTo>
                  <a:pt x="425935" y="365689"/>
                  <a:pt x="407597" y="347351"/>
                  <a:pt x="407597" y="324731"/>
                </a:cubicBezTo>
                <a:cubicBezTo>
                  <a:pt x="407597" y="302111"/>
                  <a:pt x="425935" y="283773"/>
                  <a:pt x="448555" y="283773"/>
                </a:cubicBezTo>
                <a:close/>
                <a:moveTo>
                  <a:pt x="306633" y="283773"/>
                </a:moveTo>
                <a:cubicBezTo>
                  <a:pt x="329253" y="283773"/>
                  <a:pt x="347591" y="302111"/>
                  <a:pt x="347591" y="324731"/>
                </a:cubicBezTo>
                <a:cubicBezTo>
                  <a:pt x="347591" y="347351"/>
                  <a:pt x="329253" y="365689"/>
                  <a:pt x="306633" y="365689"/>
                </a:cubicBezTo>
                <a:cubicBezTo>
                  <a:pt x="284013" y="365689"/>
                  <a:pt x="265675" y="347351"/>
                  <a:pt x="265675" y="324731"/>
                </a:cubicBezTo>
                <a:cubicBezTo>
                  <a:pt x="265675" y="302111"/>
                  <a:pt x="284013" y="283773"/>
                  <a:pt x="306633" y="283773"/>
                </a:cubicBezTo>
                <a:close/>
                <a:moveTo>
                  <a:pt x="164711" y="283773"/>
                </a:moveTo>
                <a:cubicBezTo>
                  <a:pt x="187331" y="283773"/>
                  <a:pt x="205669" y="302111"/>
                  <a:pt x="205669" y="324731"/>
                </a:cubicBezTo>
                <a:cubicBezTo>
                  <a:pt x="205669" y="347351"/>
                  <a:pt x="187331" y="365689"/>
                  <a:pt x="164711" y="365689"/>
                </a:cubicBezTo>
                <a:cubicBezTo>
                  <a:pt x="142091" y="365689"/>
                  <a:pt x="123753" y="347351"/>
                  <a:pt x="123753" y="324731"/>
                </a:cubicBezTo>
                <a:cubicBezTo>
                  <a:pt x="123753" y="302111"/>
                  <a:pt x="142091" y="283773"/>
                  <a:pt x="164711" y="283773"/>
                </a:cubicBezTo>
                <a:close/>
                <a:moveTo>
                  <a:pt x="22789" y="283773"/>
                </a:moveTo>
                <a:cubicBezTo>
                  <a:pt x="45409" y="283773"/>
                  <a:pt x="63747" y="302111"/>
                  <a:pt x="63747" y="324731"/>
                </a:cubicBezTo>
                <a:cubicBezTo>
                  <a:pt x="63747" y="347351"/>
                  <a:pt x="45409" y="365689"/>
                  <a:pt x="22789" y="365689"/>
                </a:cubicBezTo>
                <a:lnTo>
                  <a:pt x="0" y="356249"/>
                </a:lnTo>
                <a:lnTo>
                  <a:pt x="0" y="293213"/>
                </a:lnTo>
                <a:close/>
                <a:moveTo>
                  <a:pt x="448555" y="125658"/>
                </a:moveTo>
                <a:cubicBezTo>
                  <a:pt x="471175" y="125658"/>
                  <a:pt x="489513" y="143996"/>
                  <a:pt x="489513" y="166616"/>
                </a:cubicBezTo>
                <a:cubicBezTo>
                  <a:pt x="489513" y="189236"/>
                  <a:pt x="471175" y="207574"/>
                  <a:pt x="448555" y="207574"/>
                </a:cubicBezTo>
                <a:cubicBezTo>
                  <a:pt x="425935" y="207574"/>
                  <a:pt x="407597" y="189236"/>
                  <a:pt x="407597" y="166616"/>
                </a:cubicBezTo>
                <a:cubicBezTo>
                  <a:pt x="407597" y="143996"/>
                  <a:pt x="425935" y="125658"/>
                  <a:pt x="448555" y="125658"/>
                </a:cubicBezTo>
                <a:close/>
                <a:moveTo>
                  <a:pt x="306633" y="125658"/>
                </a:moveTo>
                <a:cubicBezTo>
                  <a:pt x="329253" y="125658"/>
                  <a:pt x="347591" y="143996"/>
                  <a:pt x="347591" y="166616"/>
                </a:cubicBezTo>
                <a:cubicBezTo>
                  <a:pt x="347591" y="189236"/>
                  <a:pt x="329253" y="207574"/>
                  <a:pt x="306633" y="207574"/>
                </a:cubicBezTo>
                <a:cubicBezTo>
                  <a:pt x="284013" y="207574"/>
                  <a:pt x="265675" y="189236"/>
                  <a:pt x="265675" y="166616"/>
                </a:cubicBezTo>
                <a:cubicBezTo>
                  <a:pt x="265675" y="143996"/>
                  <a:pt x="284013" y="125658"/>
                  <a:pt x="306633" y="125658"/>
                </a:cubicBezTo>
                <a:close/>
                <a:moveTo>
                  <a:pt x="164711" y="125658"/>
                </a:moveTo>
                <a:cubicBezTo>
                  <a:pt x="187331" y="125658"/>
                  <a:pt x="205669" y="143996"/>
                  <a:pt x="205669" y="166616"/>
                </a:cubicBezTo>
                <a:cubicBezTo>
                  <a:pt x="205669" y="189236"/>
                  <a:pt x="187331" y="207574"/>
                  <a:pt x="164711" y="207574"/>
                </a:cubicBezTo>
                <a:cubicBezTo>
                  <a:pt x="142091" y="207574"/>
                  <a:pt x="123753" y="189236"/>
                  <a:pt x="123753" y="166616"/>
                </a:cubicBezTo>
                <a:cubicBezTo>
                  <a:pt x="123753" y="143996"/>
                  <a:pt x="142091" y="125658"/>
                  <a:pt x="164711" y="125658"/>
                </a:cubicBezTo>
                <a:close/>
                <a:moveTo>
                  <a:pt x="22789" y="125658"/>
                </a:moveTo>
                <a:cubicBezTo>
                  <a:pt x="45409" y="125658"/>
                  <a:pt x="63747" y="143996"/>
                  <a:pt x="63747" y="166616"/>
                </a:cubicBezTo>
                <a:cubicBezTo>
                  <a:pt x="63747" y="189236"/>
                  <a:pt x="45409" y="207574"/>
                  <a:pt x="22789" y="207574"/>
                </a:cubicBezTo>
                <a:lnTo>
                  <a:pt x="0" y="198134"/>
                </a:lnTo>
                <a:lnTo>
                  <a:pt x="0" y="135098"/>
                </a:lnTo>
                <a:close/>
                <a:moveTo>
                  <a:pt x="590479" y="125658"/>
                </a:moveTo>
                <a:cubicBezTo>
                  <a:pt x="613099" y="125658"/>
                  <a:pt x="631437" y="143996"/>
                  <a:pt x="631437" y="166616"/>
                </a:cubicBezTo>
                <a:cubicBezTo>
                  <a:pt x="631437" y="189236"/>
                  <a:pt x="613099" y="207574"/>
                  <a:pt x="590479" y="207574"/>
                </a:cubicBezTo>
                <a:cubicBezTo>
                  <a:pt x="567859" y="207574"/>
                  <a:pt x="549521" y="189236"/>
                  <a:pt x="549521" y="166616"/>
                </a:cubicBezTo>
                <a:cubicBezTo>
                  <a:pt x="549521" y="143996"/>
                  <a:pt x="567859" y="125658"/>
                  <a:pt x="590479" y="125658"/>
                </a:cubicBezTo>
                <a:close/>
                <a:moveTo>
                  <a:pt x="553042" y="0"/>
                </a:moveTo>
                <a:lnTo>
                  <a:pt x="627916" y="0"/>
                </a:lnTo>
                <a:lnTo>
                  <a:pt x="631437" y="8501"/>
                </a:lnTo>
                <a:cubicBezTo>
                  <a:pt x="631437" y="31121"/>
                  <a:pt x="613099" y="49459"/>
                  <a:pt x="590479" y="49459"/>
                </a:cubicBezTo>
                <a:cubicBezTo>
                  <a:pt x="567859" y="49459"/>
                  <a:pt x="549521" y="31121"/>
                  <a:pt x="549521" y="8501"/>
                </a:cubicBezTo>
                <a:close/>
                <a:moveTo>
                  <a:pt x="411118" y="0"/>
                </a:moveTo>
                <a:lnTo>
                  <a:pt x="485992" y="0"/>
                </a:lnTo>
                <a:lnTo>
                  <a:pt x="489513" y="8501"/>
                </a:lnTo>
                <a:cubicBezTo>
                  <a:pt x="489513" y="31121"/>
                  <a:pt x="471175" y="49459"/>
                  <a:pt x="448555" y="49459"/>
                </a:cubicBezTo>
                <a:cubicBezTo>
                  <a:pt x="425935" y="49459"/>
                  <a:pt x="407597" y="31121"/>
                  <a:pt x="407597" y="8501"/>
                </a:cubicBezTo>
                <a:close/>
                <a:moveTo>
                  <a:pt x="269196" y="0"/>
                </a:moveTo>
                <a:lnTo>
                  <a:pt x="344070" y="0"/>
                </a:lnTo>
                <a:lnTo>
                  <a:pt x="347591" y="8501"/>
                </a:lnTo>
                <a:cubicBezTo>
                  <a:pt x="347591" y="31121"/>
                  <a:pt x="329253" y="49459"/>
                  <a:pt x="306633" y="49459"/>
                </a:cubicBezTo>
                <a:cubicBezTo>
                  <a:pt x="284013" y="49459"/>
                  <a:pt x="265675" y="31121"/>
                  <a:pt x="265675" y="8501"/>
                </a:cubicBezTo>
                <a:close/>
                <a:moveTo>
                  <a:pt x="127274" y="0"/>
                </a:moveTo>
                <a:lnTo>
                  <a:pt x="202148" y="0"/>
                </a:lnTo>
                <a:lnTo>
                  <a:pt x="205669" y="8501"/>
                </a:lnTo>
                <a:cubicBezTo>
                  <a:pt x="205669" y="31121"/>
                  <a:pt x="187331" y="49459"/>
                  <a:pt x="164711" y="49459"/>
                </a:cubicBezTo>
                <a:cubicBezTo>
                  <a:pt x="142091" y="49459"/>
                  <a:pt x="123753" y="31121"/>
                  <a:pt x="123753" y="8501"/>
                </a:cubicBezTo>
                <a:close/>
                <a:moveTo>
                  <a:pt x="0" y="0"/>
                </a:moveTo>
                <a:lnTo>
                  <a:pt x="60226" y="0"/>
                </a:lnTo>
                <a:lnTo>
                  <a:pt x="63747" y="8501"/>
                </a:lnTo>
                <a:cubicBezTo>
                  <a:pt x="63747" y="31121"/>
                  <a:pt x="45409" y="49459"/>
                  <a:pt x="22789" y="49459"/>
                </a:cubicBezTo>
                <a:lnTo>
                  <a:pt x="0" y="40019"/>
                </a:lnTo>
                <a:close/>
              </a:path>
            </a:pathLst>
          </a:custGeom>
          <a:gradFill flip="none" rotWithShape="1">
            <a:gsLst>
              <a:gs pos="6000">
                <a:srgbClr val="FE832C"/>
              </a:gs>
              <a:gs pos="61000">
                <a:srgbClr val="FFCEAB"/>
              </a:gs>
              <a:gs pos="0">
                <a:srgbClr val="EA5504"/>
              </a:gs>
              <a:gs pos="100000">
                <a:srgbClr val="FBE9D5"/>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grpSp>
        <p:nvGrpSpPr>
          <p:cNvPr id="14" name="组合 13"/>
          <p:cNvGrpSpPr/>
          <p:nvPr userDrawn="1"/>
        </p:nvGrpSpPr>
        <p:grpSpPr>
          <a:xfrm>
            <a:off x="741424" y="571834"/>
            <a:ext cx="2812005" cy="468667"/>
            <a:chOff x="660400" y="492126"/>
            <a:chExt cx="3257550" cy="542924"/>
          </a:xfrm>
        </p:grpSpPr>
        <p:sp>
          <p:nvSpPr>
            <p:cNvPr id="15" name="Freeform 5"/>
            <p:cNvSpPr>
              <a:spLocks noEditPoints="1"/>
            </p:cNvSpPr>
            <p:nvPr/>
          </p:nvSpPr>
          <p:spPr bwMode="auto">
            <a:xfrm>
              <a:off x="660400" y="492126"/>
              <a:ext cx="3257550" cy="285750"/>
            </a:xfrm>
            <a:custGeom>
              <a:avLst/>
              <a:gdLst>
                <a:gd name="T0" fmla="*/ 1282 w 1998"/>
                <a:gd name="T1" fmla="*/ 16 h 174"/>
                <a:gd name="T2" fmla="*/ 1247 w 1998"/>
                <a:gd name="T3" fmla="*/ 166 h 174"/>
                <a:gd name="T4" fmla="*/ 1376 w 1998"/>
                <a:gd name="T5" fmla="*/ 167 h 174"/>
                <a:gd name="T6" fmla="*/ 1409 w 1998"/>
                <a:gd name="T7" fmla="*/ 17 h 174"/>
                <a:gd name="T8" fmla="*/ 1184 w 1998"/>
                <a:gd name="T9" fmla="*/ 166 h 174"/>
                <a:gd name="T10" fmla="*/ 1214 w 1998"/>
                <a:gd name="T11" fmla="*/ 13 h 174"/>
                <a:gd name="T12" fmla="*/ 1122 w 1998"/>
                <a:gd name="T13" fmla="*/ 41 h 174"/>
                <a:gd name="T14" fmla="*/ 1007 w 1998"/>
                <a:gd name="T15" fmla="*/ 17 h 174"/>
                <a:gd name="T16" fmla="*/ 1042 w 1998"/>
                <a:gd name="T17" fmla="*/ 122 h 174"/>
                <a:gd name="T18" fmla="*/ 1994 w 1998"/>
                <a:gd name="T19" fmla="*/ 13 h 174"/>
                <a:gd name="T20" fmla="*/ 1863 w 1998"/>
                <a:gd name="T21" fmla="*/ 13 h 174"/>
                <a:gd name="T22" fmla="*/ 1840 w 1998"/>
                <a:gd name="T23" fmla="*/ 170 h 174"/>
                <a:gd name="T24" fmla="*/ 1971 w 1998"/>
                <a:gd name="T25" fmla="*/ 170 h 174"/>
                <a:gd name="T26" fmla="*/ 1994 w 1998"/>
                <a:gd name="T27" fmla="*/ 13 h 174"/>
                <a:gd name="T28" fmla="*/ 1488 w 1998"/>
                <a:gd name="T29" fmla="*/ 172 h 174"/>
                <a:gd name="T30" fmla="*/ 1513 w 1998"/>
                <a:gd name="T31" fmla="*/ 104 h 174"/>
                <a:gd name="T32" fmla="*/ 1471 w 1998"/>
                <a:gd name="T33" fmla="*/ 142 h 174"/>
                <a:gd name="T34" fmla="*/ 1562 w 1998"/>
                <a:gd name="T35" fmla="*/ 44 h 174"/>
                <a:gd name="T36" fmla="*/ 1596 w 1998"/>
                <a:gd name="T37" fmla="*/ 58 h 174"/>
                <a:gd name="T38" fmla="*/ 767 w 1998"/>
                <a:gd name="T39" fmla="*/ 112 h 174"/>
                <a:gd name="T40" fmla="*/ 894 w 1998"/>
                <a:gd name="T41" fmla="*/ 65 h 174"/>
                <a:gd name="T42" fmla="*/ 832 w 1998"/>
                <a:gd name="T43" fmla="*/ 51 h 174"/>
                <a:gd name="T44" fmla="*/ 731 w 1998"/>
                <a:gd name="T45" fmla="*/ 48 h 174"/>
                <a:gd name="T46" fmla="*/ 692 w 1998"/>
                <a:gd name="T47" fmla="*/ 85 h 174"/>
                <a:gd name="T48" fmla="*/ 767 w 1998"/>
                <a:gd name="T49" fmla="*/ 138 h 174"/>
                <a:gd name="T50" fmla="*/ 700 w 1998"/>
                <a:gd name="T51" fmla="*/ 170 h 174"/>
                <a:gd name="T52" fmla="*/ 859 w 1998"/>
                <a:gd name="T53" fmla="*/ 170 h 174"/>
                <a:gd name="T54" fmla="*/ 859 w 1998"/>
                <a:gd name="T55" fmla="*/ 146 h 174"/>
                <a:gd name="T56" fmla="*/ 894 w 1998"/>
                <a:gd name="T57" fmla="*/ 89 h 174"/>
                <a:gd name="T58" fmla="*/ 1740 w 1998"/>
                <a:gd name="T59" fmla="*/ 13 h 174"/>
                <a:gd name="T60" fmla="*/ 1663 w 1998"/>
                <a:gd name="T61" fmla="*/ 170 h 174"/>
                <a:gd name="T62" fmla="*/ 1816 w 1998"/>
                <a:gd name="T63" fmla="*/ 170 h 174"/>
                <a:gd name="T64" fmla="*/ 597 w 1998"/>
                <a:gd name="T65" fmla="*/ 98 h 174"/>
                <a:gd name="T66" fmla="*/ 654 w 1998"/>
                <a:gd name="T67" fmla="*/ 46 h 174"/>
                <a:gd name="T68" fmla="*/ 416 w 1998"/>
                <a:gd name="T69" fmla="*/ 28 h 174"/>
                <a:gd name="T70" fmla="*/ 239 w 1998"/>
                <a:gd name="T71" fmla="*/ 148 h 174"/>
                <a:gd name="T72" fmla="*/ 423 w 1998"/>
                <a:gd name="T73" fmla="*/ 6 h 174"/>
                <a:gd name="T74" fmla="*/ 872 w 1998"/>
                <a:gd name="T75" fmla="*/ 34 h 174"/>
                <a:gd name="T76" fmla="*/ 897 w 1998"/>
                <a:gd name="T77" fmla="*/ 32 h 174"/>
                <a:gd name="T78" fmla="*/ 782 w 1998"/>
                <a:gd name="T79" fmla="*/ 0 h 174"/>
                <a:gd name="T80" fmla="*/ 693 w 1998"/>
                <a:gd name="T81" fmla="*/ 45 h 174"/>
                <a:gd name="T82" fmla="*/ 179 w 1998"/>
                <a:gd name="T83" fmla="*/ 49 h 174"/>
                <a:gd name="T84" fmla="*/ 88 w 1998"/>
                <a:gd name="T85" fmla="*/ 49 h 174"/>
                <a:gd name="T86" fmla="*/ 118 w 1998"/>
                <a:gd name="T87" fmla="*/ 1 h 174"/>
                <a:gd name="T88" fmla="*/ 0 w 1998"/>
                <a:gd name="T89" fmla="*/ 46 h 174"/>
                <a:gd name="T90" fmla="*/ 91 w 1998"/>
                <a:gd name="T91" fmla="*/ 174 h 174"/>
                <a:gd name="T92" fmla="*/ 210 w 1998"/>
                <a:gd name="T93" fmla="*/ 118 h 174"/>
                <a:gd name="T94" fmla="*/ 379 w 1998"/>
                <a:gd name="T95" fmla="*/ 112 h 174"/>
                <a:gd name="T96" fmla="*/ 357 w 1998"/>
                <a:gd name="T97" fmla="*/ 75 h 174"/>
                <a:gd name="T98" fmla="*/ 284 w 1998"/>
                <a:gd name="T99" fmla="*/ 61 h 174"/>
                <a:gd name="T100" fmla="*/ 328 w 1998"/>
                <a:gd name="T101" fmla="*/ 93 h 174"/>
                <a:gd name="T102" fmla="*/ 401 w 1998"/>
                <a:gd name="T103" fmla="*/ 104 h 174"/>
                <a:gd name="T104" fmla="*/ 512 w 1998"/>
                <a:gd name="T105" fmla="*/ 46 h 174"/>
                <a:gd name="T106" fmla="*/ 669 w 1998"/>
                <a:gd name="T107" fmla="*/ 115 h 174"/>
                <a:gd name="T108" fmla="*/ 666 w 1998"/>
                <a:gd name="T109" fmla="*/ 14 h 174"/>
                <a:gd name="T110" fmla="*/ 479 w 1998"/>
                <a:gd name="T111" fmla="*/ 33 h 174"/>
                <a:gd name="T112" fmla="*/ 469 w 1998"/>
                <a:gd name="T113" fmla="*/ 135 h 174"/>
                <a:gd name="T114" fmla="*/ 583 w 1998"/>
                <a:gd name="T115" fmla="*/ 174 h 174"/>
                <a:gd name="T116" fmla="*/ 673 w 1998"/>
                <a:gd name="T117" fmla="*/ 119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98" h="174">
                  <a:moveTo>
                    <a:pt x="1405" y="13"/>
                  </a:moveTo>
                  <a:cubicBezTo>
                    <a:pt x="1382" y="13"/>
                    <a:pt x="1382" y="13"/>
                    <a:pt x="1382" y="13"/>
                  </a:cubicBezTo>
                  <a:cubicBezTo>
                    <a:pt x="1379" y="13"/>
                    <a:pt x="1378" y="15"/>
                    <a:pt x="1378" y="17"/>
                  </a:cubicBezTo>
                  <a:cubicBezTo>
                    <a:pt x="1378" y="125"/>
                    <a:pt x="1378" y="125"/>
                    <a:pt x="1378" y="125"/>
                  </a:cubicBezTo>
                  <a:cubicBezTo>
                    <a:pt x="1365" y="111"/>
                    <a:pt x="1284" y="18"/>
                    <a:pt x="1282" y="16"/>
                  </a:cubicBezTo>
                  <a:cubicBezTo>
                    <a:pt x="1279" y="13"/>
                    <a:pt x="1276" y="13"/>
                    <a:pt x="1275" y="13"/>
                  </a:cubicBezTo>
                  <a:cubicBezTo>
                    <a:pt x="1275" y="13"/>
                    <a:pt x="1275" y="13"/>
                    <a:pt x="1275" y="13"/>
                  </a:cubicBezTo>
                  <a:cubicBezTo>
                    <a:pt x="1251" y="13"/>
                    <a:pt x="1251" y="13"/>
                    <a:pt x="1251" y="13"/>
                  </a:cubicBezTo>
                  <a:cubicBezTo>
                    <a:pt x="1249" y="13"/>
                    <a:pt x="1247" y="15"/>
                    <a:pt x="1247" y="17"/>
                  </a:cubicBezTo>
                  <a:cubicBezTo>
                    <a:pt x="1247" y="166"/>
                    <a:pt x="1247" y="166"/>
                    <a:pt x="1247" y="166"/>
                  </a:cubicBezTo>
                  <a:cubicBezTo>
                    <a:pt x="1247" y="168"/>
                    <a:pt x="1249" y="170"/>
                    <a:pt x="1251" y="170"/>
                  </a:cubicBezTo>
                  <a:cubicBezTo>
                    <a:pt x="1275" y="170"/>
                    <a:pt x="1275" y="170"/>
                    <a:pt x="1275" y="170"/>
                  </a:cubicBezTo>
                  <a:cubicBezTo>
                    <a:pt x="1277" y="170"/>
                    <a:pt x="1279" y="168"/>
                    <a:pt x="1279" y="166"/>
                  </a:cubicBezTo>
                  <a:cubicBezTo>
                    <a:pt x="1279" y="57"/>
                    <a:pt x="1279" y="57"/>
                    <a:pt x="1279" y="57"/>
                  </a:cubicBezTo>
                  <a:cubicBezTo>
                    <a:pt x="1287" y="67"/>
                    <a:pt x="1373" y="165"/>
                    <a:pt x="1376" y="167"/>
                  </a:cubicBezTo>
                  <a:cubicBezTo>
                    <a:pt x="1378" y="169"/>
                    <a:pt x="1381" y="170"/>
                    <a:pt x="1383" y="170"/>
                  </a:cubicBezTo>
                  <a:cubicBezTo>
                    <a:pt x="1383" y="170"/>
                    <a:pt x="1383" y="170"/>
                    <a:pt x="1383" y="170"/>
                  </a:cubicBezTo>
                  <a:cubicBezTo>
                    <a:pt x="1405" y="170"/>
                    <a:pt x="1405" y="170"/>
                    <a:pt x="1405" y="170"/>
                  </a:cubicBezTo>
                  <a:cubicBezTo>
                    <a:pt x="1407" y="170"/>
                    <a:pt x="1409" y="168"/>
                    <a:pt x="1409" y="166"/>
                  </a:cubicBezTo>
                  <a:cubicBezTo>
                    <a:pt x="1409" y="17"/>
                    <a:pt x="1409" y="17"/>
                    <a:pt x="1409" y="17"/>
                  </a:cubicBezTo>
                  <a:cubicBezTo>
                    <a:pt x="1409" y="15"/>
                    <a:pt x="1407" y="13"/>
                    <a:pt x="1405" y="13"/>
                  </a:cubicBezTo>
                  <a:moveTo>
                    <a:pt x="1214" y="13"/>
                  </a:moveTo>
                  <a:cubicBezTo>
                    <a:pt x="1188" y="13"/>
                    <a:pt x="1188" y="13"/>
                    <a:pt x="1188" y="13"/>
                  </a:cubicBezTo>
                  <a:cubicBezTo>
                    <a:pt x="1186" y="13"/>
                    <a:pt x="1184" y="15"/>
                    <a:pt x="1184" y="17"/>
                  </a:cubicBezTo>
                  <a:cubicBezTo>
                    <a:pt x="1184" y="166"/>
                    <a:pt x="1184" y="166"/>
                    <a:pt x="1184" y="166"/>
                  </a:cubicBezTo>
                  <a:cubicBezTo>
                    <a:pt x="1184" y="168"/>
                    <a:pt x="1186" y="170"/>
                    <a:pt x="1188" y="170"/>
                  </a:cubicBezTo>
                  <a:cubicBezTo>
                    <a:pt x="1214" y="170"/>
                    <a:pt x="1214" y="170"/>
                    <a:pt x="1214" y="170"/>
                  </a:cubicBezTo>
                  <a:cubicBezTo>
                    <a:pt x="1216" y="170"/>
                    <a:pt x="1218" y="168"/>
                    <a:pt x="1218" y="166"/>
                  </a:cubicBezTo>
                  <a:cubicBezTo>
                    <a:pt x="1218" y="17"/>
                    <a:pt x="1218" y="17"/>
                    <a:pt x="1218" y="17"/>
                  </a:cubicBezTo>
                  <a:cubicBezTo>
                    <a:pt x="1218" y="15"/>
                    <a:pt x="1216" y="13"/>
                    <a:pt x="1214" y="13"/>
                  </a:cubicBezTo>
                  <a:moveTo>
                    <a:pt x="1125" y="91"/>
                  </a:moveTo>
                  <a:cubicBezTo>
                    <a:pt x="1125" y="93"/>
                    <a:pt x="1124" y="94"/>
                    <a:pt x="1122" y="94"/>
                  </a:cubicBezTo>
                  <a:cubicBezTo>
                    <a:pt x="1042" y="94"/>
                    <a:pt x="1042" y="94"/>
                    <a:pt x="1042" y="94"/>
                  </a:cubicBezTo>
                  <a:cubicBezTo>
                    <a:pt x="1042" y="41"/>
                    <a:pt x="1042" y="41"/>
                    <a:pt x="1042" y="41"/>
                  </a:cubicBezTo>
                  <a:cubicBezTo>
                    <a:pt x="1122" y="41"/>
                    <a:pt x="1122" y="41"/>
                    <a:pt x="1122" y="41"/>
                  </a:cubicBezTo>
                  <a:cubicBezTo>
                    <a:pt x="1124" y="41"/>
                    <a:pt x="1125" y="42"/>
                    <a:pt x="1125" y="44"/>
                  </a:cubicBezTo>
                  <a:lnTo>
                    <a:pt x="1125" y="91"/>
                  </a:lnTo>
                  <a:close/>
                  <a:moveTo>
                    <a:pt x="1108" y="13"/>
                  </a:moveTo>
                  <a:cubicBezTo>
                    <a:pt x="1011" y="13"/>
                    <a:pt x="1011" y="13"/>
                    <a:pt x="1011" y="13"/>
                  </a:cubicBezTo>
                  <a:cubicBezTo>
                    <a:pt x="1009" y="13"/>
                    <a:pt x="1007" y="15"/>
                    <a:pt x="1007" y="17"/>
                  </a:cubicBezTo>
                  <a:cubicBezTo>
                    <a:pt x="1007" y="166"/>
                    <a:pt x="1007" y="166"/>
                    <a:pt x="1007" y="166"/>
                  </a:cubicBezTo>
                  <a:cubicBezTo>
                    <a:pt x="1007" y="168"/>
                    <a:pt x="1009" y="170"/>
                    <a:pt x="1011" y="170"/>
                  </a:cubicBezTo>
                  <a:cubicBezTo>
                    <a:pt x="1038" y="170"/>
                    <a:pt x="1038" y="170"/>
                    <a:pt x="1038" y="170"/>
                  </a:cubicBezTo>
                  <a:cubicBezTo>
                    <a:pt x="1040" y="170"/>
                    <a:pt x="1042" y="168"/>
                    <a:pt x="1042" y="166"/>
                  </a:cubicBezTo>
                  <a:cubicBezTo>
                    <a:pt x="1042" y="122"/>
                    <a:pt x="1042" y="122"/>
                    <a:pt x="1042" y="122"/>
                  </a:cubicBezTo>
                  <a:cubicBezTo>
                    <a:pt x="1108" y="122"/>
                    <a:pt x="1108" y="122"/>
                    <a:pt x="1108" y="122"/>
                  </a:cubicBezTo>
                  <a:cubicBezTo>
                    <a:pt x="1137" y="122"/>
                    <a:pt x="1161" y="104"/>
                    <a:pt x="1161" y="78"/>
                  </a:cubicBezTo>
                  <a:cubicBezTo>
                    <a:pt x="1161" y="61"/>
                    <a:pt x="1161" y="61"/>
                    <a:pt x="1161" y="61"/>
                  </a:cubicBezTo>
                  <a:cubicBezTo>
                    <a:pt x="1161" y="34"/>
                    <a:pt x="1137" y="13"/>
                    <a:pt x="1108" y="13"/>
                  </a:cubicBezTo>
                  <a:moveTo>
                    <a:pt x="1994" y="13"/>
                  </a:moveTo>
                  <a:cubicBezTo>
                    <a:pt x="1970" y="13"/>
                    <a:pt x="1970" y="13"/>
                    <a:pt x="1970" y="13"/>
                  </a:cubicBezTo>
                  <a:cubicBezTo>
                    <a:pt x="1968" y="13"/>
                    <a:pt x="1967" y="15"/>
                    <a:pt x="1967" y="17"/>
                  </a:cubicBezTo>
                  <a:cubicBezTo>
                    <a:pt x="1967" y="125"/>
                    <a:pt x="1967" y="125"/>
                    <a:pt x="1967" y="125"/>
                  </a:cubicBezTo>
                  <a:cubicBezTo>
                    <a:pt x="1954" y="111"/>
                    <a:pt x="1872" y="18"/>
                    <a:pt x="1870" y="16"/>
                  </a:cubicBezTo>
                  <a:cubicBezTo>
                    <a:pt x="1868" y="13"/>
                    <a:pt x="1865" y="13"/>
                    <a:pt x="1863" y="13"/>
                  </a:cubicBezTo>
                  <a:cubicBezTo>
                    <a:pt x="1863" y="13"/>
                    <a:pt x="1863" y="13"/>
                    <a:pt x="1863" y="13"/>
                  </a:cubicBezTo>
                  <a:cubicBezTo>
                    <a:pt x="1840" y="13"/>
                    <a:pt x="1840" y="13"/>
                    <a:pt x="1840" y="13"/>
                  </a:cubicBezTo>
                  <a:cubicBezTo>
                    <a:pt x="1838" y="13"/>
                    <a:pt x="1836" y="15"/>
                    <a:pt x="1836" y="17"/>
                  </a:cubicBezTo>
                  <a:cubicBezTo>
                    <a:pt x="1836" y="166"/>
                    <a:pt x="1836" y="166"/>
                    <a:pt x="1836" y="166"/>
                  </a:cubicBezTo>
                  <a:cubicBezTo>
                    <a:pt x="1836" y="168"/>
                    <a:pt x="1838" y="170"/>
                    <a:pt x="1840" y="170"/>
                  </a:cubicBezTo>
                  <a:cubicBezTo>
                    <a:pt x="1864" y="170"/>
                    <a:pt x="1864" y="170"/>
                    <a:pt x="1864" y="170"/>
                  </a:cubicBezTo>
                  <a:cubicBezTo>
                    <a:pt x="1866" y="170"/>
                    <a:pt x="1867" y="168"/>
                    <a:pt x="1867" y="166"/>
                  </a:cubicBezTo>
                  <a:cubicBezTo>
                    <a:pt x="1867" y="57"/>
                    <a:pt x="1867" y="57"/>
                    <a:pt x="1867" y="57"/>
                  </a:cubicBezTo>
                  <a:cubicBezTo>
                    <a:pt x="1876" y="67"/>
                    <a:pt x="1962" y="165"/>
                    <a:pt x="1964" y="167"/>
                  </a:cubicBezTo>
                  <a:cubicBezTo>
                    <a:pt x="1967" y="169"/>
                    <a:pt x="1969" y="170"/>
                    <a:pt x="1971" y="170"/>
                  </a:cubicBezTo>
                  <a:cubicBezTo>
                    <a:pt x="1971" y="170"/>
                    <a:pt x="1971" y="170"/>
                    <a:pt x="1971" y="170"/>
                  </a:cubicBezTo>
                  <a:cubicBezTo>
                    <a:pt x="1994" y="170"/>
                    <a:pt x="1994" y="170"/>
                    <a:pt x="1994" y="170"/>
                  </a:cubicBezTo>
                  <a:cubicBezTo>
                    <a:pt x="1996" y="170"/>
                    <a:pt x="1998" y="168"/>
                    <a:pt x="1998" y="166"/>
                  </a:cubicBezTo>
                  <a:cubicBezTo>
                    <a:pt x="1998" y="17"/>
                    <a:pt x="1998" y="17"/>
                    <a:pt x="1998" y="17"/>
                  </a:cubicBezTo>
                  <a:cubicBezTo>
                    <a:pt x="1998" y="15"/>
                    <a:pt x="1996" y="13"/>
                    <a:pt x="1994" y="13"/>
                  </a:cubicBezTo>
                  <a:moveTo>
                    <a:pt x="1542" y="11"/>
                  </a:moveTo>
                  <a:cubicBezTo>
                    <a:pt x="1488" y="11"/>
                    <a:pt x="1488" y="11"/>
                    <a:pt x="1488" y="11"/>
                  </a:cubicBezTo>
                  <a:cubicBezTo>
                    <a:pt x="1458" y="11"/>
                    <a:pt x="1434" y="32"/>
                    <a:pt x="1434" y="58"/>
                  </a:cubicBezTo>
                  <a:cubicBezTo>
                    <a:pt x="1434" y="124"/>
                    <a:pt x="1434" y="124"/>
                    <a:pt x="1434" y="124"/>
                  </a:cubicBezTo>
                  <a:cubicBezTo>
                    <a:pt x="1434" y="150"/>
                    <a:pt x="1458" y="172"/>
                    <a:pt x="1488" y="172"/>
                  </a:cubicBezTo>
                  <a:cubicBezTo>
                    <a:pt x="1542" y="172"/>
                    <a:pt x="1542" y="172"/>
                    <a:pt x="1542" y="172"/>
                  </a:cubicBezTo>
                  <a:cubicBezTo>
                    <a:pt x="1572" y="172"/>
                    <a:pt x="1596" y="150"/>
                    <a:pt x="1596" y="124"/>
                  </a:cubicBezTo>
                  <a:cubicBezTo>
                    <a:pt x="1596" y="82"/>
                    <a:pt x="1596" y="82"/>
                    <a:pt x="1596" y="82"/>
                  </a:cubicBezTo>
                  <a:cubicBezTo>
                    <a:pt x="1513" y="82"/>
                    <a:pt x="1513" y="82"/>
                    <a:pt x="1513" y="82"/>
                  </a:cubicBezTo>
                  <a:cubicBezTo>
                    <a:pt x="1513" y="104"/>
                    <a:pt x="1513" y="104"/>
                    <a:pt x="1513" y="104"/>
                  </a:cubicBezTo>
                  <a:cubicBezTo>
                    <a:pt x="1513" y="106"/>
                    <a:pt x="1515" y="108"/>
                    <a:pt x="1517" y="108"/>
                  </a:cubicBezTo>
                  <a:cubicBezTo>
                    <a:pt x="1562" y="108"/>
                    <a:pt x="1562" y="108"/>
                    <a:pt x="1562" y="108"/>
                  </a:cubicBezTo>
                  <a:cubicBezTo>
                    <a:pt x="1562" y="138"/>
                    <a:pt x="1562" y="138"/>
                    <a:pt x="1562" y="138"/>
                  </a:cubicBezTo>
                  <a:cubicBezTo>
                    <a:pt x="1562" y="140"/>
                    <a:pt x="1560" y="142"/>
                    <a:pt x="1558" y="142"/>
                  </a:cubicBezTo>
                  <a:cubicBezTo>
                    <a:pt x="1471" y="142"/>
                    <a:pt x="1471" y="142"/>
                    <a:pt x="1471" y="142"/>
                  </a:cubicBezTo>
                  <a:cubicBezTo>
                    <a:pt x="1469" y="142"/>
                    <a:pt x="1468" y="140"/>
                    <a:pt x="1468" y="138"/>
                  </a:cubicBezTo>
                  <a:cubicBezTo>
                    <a:pt x="1468" y="44"/>
                    <a:pt x="1468" y="44"/>
                    <a:pt x="1468" y="44"/>
                  </a:cubicBezTo>
                  <a:cubicBezTo>
                    <a:pt x="1468" y="42"/>
                    <a:pt x="1469" y="41"/>
                    <a:pt x="1471" y="41"/>
                  </a:cubicBezTo>
                  <a:cubicBezTo>
                    <a:pt x="1558" y="41"/>
                    <a:pt x="1558" y="41"/>
                    <a:pt x="1558" y="41"/>
                  </a:cubicBezTo>
                  <a:cubicBezTo>
                    <a:pt x="1560" y="41"/>
                    <a:pt x="1562" y="42"/>
                    <a:pt x="1562" y="44"/>
                  </a:cubicBezTo>
                  <a:cubicBezTo>
                    <a:pt x="1562" y="62"/>
                    <a:pt x="1562" y="62"/>
                    <a:pt x="1562" y="62"/>
                  </a:cubicBezTo>
                  <a:cubicBezTo>
                    <a:pt x="1562" y="64"/>
                    <a:pt x="1564" y="66"/>
                    <a:pt x="1566" y="66"/>
                  </a:cubicBezTo>
                  <a:cubicBezTo>
                    <a:pt x="1592" y="66"/>
                    <a:pt x="1592" y="66"/>
                    <a:pt x="1592" y="66"/>
                  </a:cubicBezTo>
                  <a:cubicBezTo>
                    <a:pt x="1594" y="66"/>
                    <a:pt x="1596" y="64"/>
                    <a:pt x="1596" y="62"/>
                  </a:cubicBezTo>
                  <a:cubicBezTo>
                    <a:pt x="1596" y="58"/>
                    <a:pt x="1596" y="58"/>
                    <a:pt x="1596" y="58"/>
                  </a:cubicBezTo>
                  <a:cubicBezTo>
                    <a:pt x="1596" y="32"/>
                    <a:pt x="1572" y="11"/>
                    <a:pt x="1542" y="11"/>
                  </a:cubicBezTo>
                  <a:moveTo>
                    <a:pt x="832" y="96"/>
                  </a:moveTo>
                  <a:cubicBezTo>
                    <a:pt x="832" y="103"/>
                    <a:pt x="831" y="108"/>
                    <a:pt x="823" y="112"/>
                  </a:cubicBezTo>
                  <a:cubicBezTo>
                    <a:pt x="816" y="115"/>
                    <a:pt x="805" y="121"/>
                    <a:pt x="795" y="125"/>
                  </a:cubicBezTo>
                  <a:cubicBezTo>
                    <a:pt x="785" y="121"/>
                    <a:pt x="774" y="115"/>
                    <a:pt x="767" y="112"/>
                  </a:cubicBezTo>
                  <a:cubicBezTo>
                    <a:pt x="758" y="108"/>
                    <a:pt x="757" y="103"/>
                    <a:pt x="757" y="96"/>
                  </a:cubicBezTo>
                  <a:cubicBezTo>
                    <a:pt x="757" y="89"/>
                    <a:pt x="757" y="89"/>
                    <a:pt x="757" y="89"/>
                  </a:cubicBezTo>
                  <a:cubicBezTo>
                    <a:pt x="832" y="89"/>
                    <a:pt x="832" y="89"/>
                    <a:pt x="832" y="89"/>
                  </a:cubicBezTo>
                  <a:lnTo>
                    <a:pt x="832" y="96"/>
                  </a:lnTo>
                  <a:close/>
                  <a:moveTo>
                    <a:pt x="894" y="65"/>
                  </a:moveTo>
                  <a:cubicBezTo>
                    <a:pt x="862" y="65"/>
                    <a:pt x="862" y="65"/>
                    <a:pt x="862" y="65"/>
                  </a:cubicBezTo>
                  <a:cubicBezTo>
                    <a:pt x="862" y="51"/>
                    <a:pt x="862" y="51"/>
                    <a:pt x="862" y="51"/>
                  </a:cubicBezTo>
                  <a:cubicBezTo>
                    <a:pt x="862" y="49"/>
                    <a:pt x="860" y="48"/>
                    <a:pt x="858" y="48"/>
                  </a:cubicBezTo>
                  <a:cubicBezTo>
                    <a:pt x="836" y="48"/>
                    <a:pt x="836" y="48"/>
                    <a:pt x="836" y="48"/>
                  </a:cubicBezTo>
                  <a:cubicBezTo>
                    <a:pt x="834" y="48"/>
                    <a:pt x="832" y="49"/>
                    <a:pt x="832" y="51"/>
                  </a:cubicBezTo>
                  <a:cubicBezTo>
                    <a:pt x="832" y="65"/>
                    <a:pt x="832" y="65"/>
                    <a:pt x="832" y="65"/>
                  </a:cubicBezTo>
                  <a:cubicBezTo>
                    <a:pt x="757" y="65"/>
                    <a:pt x="757" y="65"/>
                    <a:pt x="757" y="65"/>
                  </a:cubicBezTo>
                  <a:cubicBezTo>
                    <a:pt x="757" y="51"/>
                    <a:pt x="757" y="51"/>
                    <a:pt x="757" y="51"/>
                  </a:cubicBezTo>
                  <a:cubicBezTo>
                    <a:pt x="757" y="49"/>
                    <a:pt x="755" y="48"/>
                    <a:pt x="753" y="48"/>
                  </a:cubicBezTo>
                  <a:cubicBezTo>
                    <a:pt x="731" y="48"/>
                    <a:pt x="731" y="48"/>
                    <a:pt x="731" y="48"/>
                  </a:cubicBezTo>
                  <a:cubicBezTo>
                    <a:pt x="729" y="48"/>
                    <a:pt x="728" y="49"/>
                    <a:pt x="728" y="51"/>
                  </a:cubicBezTo>
                  <a:cubicBezTo>
                    <a:pt x="728" y="65"/>
                    <a:pt x="728" y="65"/>
                    <a:pt x="728" y="65"/>
                  </a:cubicBezTo>
                  <a:cubicBezTo>
                    <a:pt x="695" y="65"/>
                    <a:pt x="695" y="65"/>
                    <a:pt x="695" y="65"/>
                  </a:cubicBezTo>
                  <a:cubicBezTo>
                    <a:pt x="693" y="65"/>
                    <a:pt x="692" y="67"/>
                    <a:pt x="692" y="69"/>
                  </a:cubicBezTo>
                  <a:cubicBezTo>
                    <a:pt x="692" y="85"/>
                    <a:pt x="692" y="85"/>
                    <a:pt x="692" y="85"/>
                  </a:cubicBezTo>
                  <a:cubicBezTo>
                    <a:pt x="692" y="87"/>
                    <a:pt x="693" y="89"/>
                    <a:pt x="695" y="89"/>
                  </a:cubicBezTo>
                  <a:cubicBezTo>
                    <a:pt x="727" y="89"/>
                    <a:pt x="727" y="89"/>
                    <a:pt x="727" y="89"/>
                  </a:cubicBezTo>
                  <a:cubicBezTo>
                    <a:pt x="727" y="99"/>
                    <a:pt x="727" y="99"/>
                    <a:pt x="727" y="99"/>
                  </a:cubicBezTo>
                  <a:cubicBezTo>
                    <a:pt x="727" y="111"/>
                    <a:pt x="733" y="122"/>
                    <a:pt x="747" y="129"/>
                  </a:cubicBezTo>
                  <a:cubicBezTo>
                    <a:pt x="753" y="132"/>
                    <a:pt x="760" y="135"/>
                    <a:pt x="767" y="138"/>
                  </a:cubicBezTo>
                  <a:cubicBezTo>
                    <a:pt x="754" y="143"/>
                    <a:pt x="743" y="146"/>
                    <a:pt x="731" y="146"/>
                  </a:cubicBezTo>
                  <a:cubicBezTo>
                    <a:pt x="700" y="146"/>
                    <a:pt x="700" y="146"/>
                    <a:pt x="700" y="146"/>
                  </a:cubicBezTo>
                  <a:cubicBezTo>
                    <a:pt x="698" y="146"/>
                    <a:pt x="696" y="148"/>
                    <a:pt x="696" y="150"/>
                  </a:cubicBezTo>
                  <a:cubicBezTo>
                    <a:pt x="696" y="166"/>
                    <a:pt x="696" y="166"/>
                    <a:pt x="696" y="166"/>
                  </a:cubicBezTo>
                  <a:cubicBezTo>
                    <a:pt x="696" y="168"/>
                    <a:pt x="698" y="170"/>
                    <a:pt x="700" y="170"/>
                  </a:cubicBezTo>
                  <a:cubicBezTo>
                    <a:pt x="730" y="170"/>
                    <a:pt x="730" y="170"/>
                    <a:pt x="730" y="170"/>
                  </a:cubicBezTo>
                  <a:cubicBezTo>
                    <a:pt x="742" y="170"/>
                    <a:pt x="757" y="167"/>
                    <a:pt x="769" y="162"/>
                  </a:cubicBezTo>
                  <a:cubicBezTo>
                    <a:pt x="774" y="161"/>
                    <a:pt x="784" y="156"/>
                    <a:pt x="795" y="151"/>
                  </a:cubicBezTo>
                  <a:cubicBezTo>
                    <a:pt x="806" y="156"/>
                    <a:pt x="815" y="161"/>
                    <a:pt x="820" y="162"/>
                  </a:cubicBezTo>
                  <a:cubicBezTo>
                    <a:pt x="833" y="167"/>
                    <a:pt x="847" y="170"/>
                    <a:pt x="859" y="170"/>
                  </a:cubicBezTo>
                  <a:cubicBezTo>
                    <a:pt x="889" y="170"/>
                    <a:pt x="889" y="170"/>
                    <a:pt x="889" y="170"/>
                  </a:cubicBezTo>
                  <a:cubicBezTo>
                    <a:pt x="891" y="170"/>
                    <a:pt x="893" y="168"/>
                    <a:pt x="893" y="166"/>
                  </a:cubicBezTo>
                  <a:cubicBezTo>
                    <a:pt x="893" y="150"/>
                    <a:pt x="893" y="150"/>
                    <a:pt x="893" y="150"/>
                  </a:cubicBezTo>
                  <a:cubicBezTo>
                    <a:pt x="893" y="148"/>
                    <a:pt x="891" y="146"/>
                    <a:pt x="889" y="146"/>
                  </a:cubicBezTo>
                  <a:cubicBezTo>
                    <a:pt x="859" y="146"/>
                    <a:pt x="859" y="146"/>
                    <a:pt x="859" y="146"/>
                  </a:cubicBezTo>
                  <a:cubicBezTo>
                    <a:pt x="847" y="146"/>
                    <a:pt x="835" y="143"/>
                    <a:pt x="823" y="138"/>
                  </a:cubicBezTo>
                  <a:cubicBezTo>
                    <a:pt x="830" y="135"/>
                    <a:pt x="837" y="132"/>
                    <a:pt x="842" y="129"/>
                  </a:cubicBezTo>
                  <a:cubicBezTo>
                    <a:pt x="857" y="122"/>
                    <a:pt x="862" y="111"/>
                    <a:pt x="862" y="99"/>
                  </a:cubicBezTo>
                  <a:cubicBezTo>
                    <a:pt x="862" y="89"/>
                    <a:pt x="862" y="89"/>
                    <a:pt x="862" y="89"/>
                  </a:cubicBezTo>
                  <a:cubicBezTo>
                    <a:pt x="894" y="89"/>
                    <a:pt x="894" y="89"/>
                    <a:pt x="894" y="89"/>
                  </a:cubicBezTo>
                  <a:cubicBezTo>
                    <a:pt x="896" y="89"/>
                    <a:pt x="898" y="87"/>
                    <a:pt x="898" y="85"/>
                  </a:cubicBezTo>
                  <a:cubicBezTo>
                    <a:pt x="898" y="69"/>
                    <a:pt x="898" y="69"/>
                    <a:pt x="898" y="69"/>
                  </a:cubicBezTo>
                  <a:cubicBezTo>
                    <a:pt x="898" y="67"/>
                    <a:pt x="896" y="65"/>
                    <a:pt x="894" y="65"/>
                  </a:cubicBezTo>
                  <a:moveTo>
                    <a:pt x="1747" y="17"/>
                  </a:moveTo>
                  <a:cubicBezTo>
                    <a:pt x="1745" y="14"/>
                    <a:pt x="1743" y="13"/>
                    <a:pt x="1740" y="13"/>
                  </a:cubicBezTo>
                  <a:cubicBezTo>
                    <a:pt x="1716" y="13"/>
                    <a:pt x="1716" y="13"/>
                    <a:pt x="1716" y="13"/>
                  </a:cubicBezTo>
                  <a:cubicBezTo>
                    <a:pt x="1713" y="13"/>
                    <a:pt x="1711" y="14"/>
                    <a:pt x="1710" y="17"/>
                  </a:cubicBezTo>
                  <a:cubicBezTo>
                    <a:pt x="1636" y="162"/>
                    <a:pt x="1636" y="162"/>
                    <a:pt x="1636" y="162"/>
                  </a:cubicBezTo>
                  <a:cubicBezTo>
                    <a:pt x="1634" y="167"/>
                    <a:pt x="1636" y="170"/>
                    <a:pt x="1640" y="170"/>
                  </a:cubicBezTo>
                  <a:cubicBezTo>
                    <a:pt x="1663" y="170"/>
                    <a:pt x="1663" y="170"/>
                    <a:pt x="1663" y="170"/>
                  </a:cubicBezTo>
                  <a:cubicBezTo>
                    <a:pt x="1667" y="170"/>
                    <a:pt x="1668" y="169"/>
                    <a:pt x="1670" y="165"/>
                  </a:cubicBezTo>
                  <a:cubicBezTo>
                    <a:pt x="1728" y="49"/>
                    <a:pt x="1728" y="49"/>
                    <a:pt x="1728" y="49"/>
                  </a:cubicBezTo>
                  <a:cubicBezTo>
                    <a:pt x="1786" y="165"/>
                    <a:pt x="1786" y="165"/>
                    <a:pt x="1786" y="165"/>
                  </a:cubicBezTo>
                  <a:cubicBezTo>
                    <a:pt x="1788" y="169"/>
                    <a:pt x="1789" y="170"/>
                    <a:pt x="1793" y="170"/>
                  </a:cubicBezTo>
                  <a:cubicBezTo>
                    <a:pt x="1816" y="170"/>
                    <a:pt x="1816" y="170"/>
                    <a:pt x="1816" y="170"/>
                  </a:cubicBezTo>
                  <a:cubicBezTo>
                    <a:pt x="1820" y="170"/>
                    <a:pt x="1823" y="167"/>
                    <a:pt x="1820" y="162"/>
                  </a:cubicBezTo>
                  <a:lnTo>
                    <a:pt x="1747" y="17"/>
                  </a:lnTo>
                  <a:close/>
                  <a:moveTo>
                    <a:pt x="629" y="46"/>
                  </a:moveTo>
                  <a:cubicBezTo>
                    <a:pt x="626" y="46"/>
                    <a:pt x="623" y="48"/>
                    <a:pt x="622" y="49"/>
                  </a:cubicBezTo>
                  <a:cubicBezTo>
                    <a:pt x="597" y="98"/>
                    <a:pt x="597" y="98"/>
                    <a:pt x="597" y="98"/>
                  </a:cubicBezTo>
                  <a:cubicBezTo>
                    <a:pt x="596" y="100"/>
                    <a:pt x="597" y="102"/>
                    <a:pt x="599" y="102"/>
                  </a:cubicBezTo>
                  <a:cubicBezTo>
                    <a:pt x="625" y="102"/>
                    <a:pt x="625" y="102"/>
                    <a:pt x="625" y="102"/>
                  </a:cubicBezTo>
                  <a:cubicBezTo>
                    <a:pt x="628" y="102"/>
                    <a:pt x="630" y="100"/>
                    <a:pt x="631" y="98"/>
                  </a:cubicBezTo>
                  <a:cubicBezTo>
                    <a:pt x="656" y="49"/>
                    <a:pt x="656" y="49"/>
                    <a:pt x="656" y="49"/>
                  </a:cubicBezTo>
                  <a:cubicBezTo>
                    <a:pt x="657" y="48"/>
                    <a:pt x="656" y="46"/>
                    <a:pt x="654" y="46"/>
                  </a:cubicBezTo>
                  <a:lnTo>
                    <a:pt x="629" y="46"/>
                  </a:lnTo>
                  <a:close/>
                  <a:moveTo>
                    <a:pt x="416" y="146"/>
                  </a:moveTo>
                  <a:cubicBezTo>
                    <a:pt x="269" y="146"/>
                    <a:pt x="269" y="146"/>
                    <a:pt x="269" y="146"/>
                  </a:cubicBezTo>
                  <a:cubicBezTo>
                    <a:pt x="269" y="28"/>
                    <a:pt x="269" y="28"/>
                    <a:pt x="269" y="28"/>
                  </a:cubicBezTo>
                  <a:cubicBezTo>
                    <a:pt x="416" y="28"/>
                    <a:pt x="416" y="28"/>
                    <a:pt x="416" y="28"/>
                  </a:cubicBezTo>
                  <a:lnTo>
                    <a:pt x="416" y="146"/>
                  </a:lnTo>
                  <a:close/>
                  <a:moveTo>
                    <a:pt x="423" y="6"/>
                  </a:moveTo>
                  <a:cubicBezTo>
                    <a:pt x="261" y="6"/>
                    <a:pt x="261" y="6"/>
                    <a:pt x="261" y="6"/>
                  </a:cubicBezTo>
                  <a:cubicBezTo>
                    <a:pt x="249" y="6"/>
                    <a:pt x="239" y="16"/>
                    <a:pt x="239" y="28"/>
                  </a:cubicBezTo>
                  <a:cubicBezTo>
                    <a:pt x="239" y="148"/>
                    <a:pt x="239" y="148"/>
                    <a:pt x="239" y="148"/>
                  </a:cubicBezTo>
                  <a:cubicBezTo>
                    <a:pt x="239" y="160"/>
                    <a:pt x="249" y="169"/>
                    <a:pt x="261" y="169"/>
                  </a:cubicBezTo>
                  <a:cubicBezTo>
                    <a:pt x="423" y="169"/>
                    <a:pt x="423" y="169"/>
                    <a:pt x="423" y="169"/>
                  </a:cubicBezTo>
                  <a:cubicBezTo>
                    <a:pt x="435" y="169"/>
                    <a:pt x="445" y="160"/>
                    <a:pt x="445" y="148"/>
                  </a:cubicBezTo>
                  <a:cubicBezTo>
                    <a:pt x="445" y="28"/>
                    <a:pt x="445" y="28"/>
                    <a:pt x="445" y="28"/>
                  </a:cubicBezTo>
                  <a:cubicBezTo>
                    <a:pt x="445" y="16"/>
                    <a:pt x="435" y="6"/>
                    <a:pt x="423" y="6"/>
                  </a:cubicBezTo>
                  <a:moveTo>
                    <a:pt x="697" y="49"/>
                  </a:moveTo>
                  <a:cubicBezTo>
                    <a:pt x="714" y="49"/>
                    <a:pt x="714" y="49"/>
                    <a:pt x="714" y="49"/>
                  </a:cubicBezTo>
                  <a:cubicBezTo>
                    <a:pt x="716" y="49"/>
                    <a:pt x="718" y="47"/>
                    <a:pt x="718" y="45"/>
                  </a:cubicBezTo>
                  <a:cubicBezTo>
                    <a:pt x="718" y="34"/>
                    <a:pt x="718" y="34"/>
                    <a:pt x="718" y="34"/>
                  </a:cubicBezTo>
                  <a:cubicBezTo>
                    <a:pt x="872" y="34"/>
                    <a:pt x="872" y="34"/>
                    <a:pt x="872" y="34"/>
                  </a:cubicBezTo>
                  <a:cubicBezTo>
                    <a:pt x="872" y="45"/>
                    <a:pt x="872" y="45"/>
                    <a:pt x="872" y="45"/>
                  </a:cubicBezTo>
                  <a:cubicBezTo>
                    <a:pt x="872" y="47"/>
                    <a:pt x="873" y="49"/>
                    <a:pt x="875" y="49"/>
                  </a:cubicBezTo>
                  <a:cubicBezTo>
                    <a:pt x="893" y="49"/>
                    <a:pt x="893" y="49"/>
                    <a:pt x="893" y="49"/>
                  </a:cubicBezTo>
                  <a:cubicBezTo>
                    <a:pt x="895" y="49"/>
                    <a:pt x="897" y="47"/>
                    <a:pt x="897" y="45"/>
                  </a:cubicBezTo>
                  <a:cubicBezTo>
                    <a:pt x="897" y="32"/>
                    <a:pt x="897" y="32"/>
                    <a:pt x="897" y="32"/>
                  </a:cubicBezTo>
                  <a:cubicBezTo>
                    <a:pt x="897" y="22"/>
                    <a:pt x="888" y="13"/>
                    <a:pt x="877" y="13"/>
                  </a:cubicBezTo>
                  <a:cubicBezTo>
                    <a:pt x="811" y="13"/>
                    <a:pt x="811" y="13"/>
                    <a:pt x="811" y="13"/>
                  </a:cubicBezTo>
                  <a:cubicBezTo>
                    <a:pt x="811" y="4"/>
                    <a:pt x="811" y="4"/>
                    <a:pt x="811" y="4"/>
                  </a:cubicBezTo>
                  <a:cubicBezTo>
                    <a:pt x="811" y="2"/>
                    <a:pt x="809" y="0"/>
                    <a:pt x="807" y="0"/>
                  </a:cubicBezTo>
                  <a:cubicBezTo>
                    <a:pt x="782" y="0"/>
                    <a:pt x="782" y="0"/>
                    <a:pt x="782" y="0"/>
                  </a:cubicBezTo>
                  <a:cubicBezTo>
                    <a:pt x="780" y="0"/>
                    <a:pt x="778" y="2"/>
                    <a:pt x="778" y="4"/>
                  </a:cubicBezTo>
                  <a:cubicBezTo>
                    <a:pt x="778" y="13"/>
                    <a:pt x="778" y="13"/>
                    <a:pt x="778" y="13"/>
                  </a:cubicBezTo>
                  <a:cubicBezTo>
                    <a:pt x="712" y="13"/>
                    <a:pt x="712" y="13"/>
                    <a:pt x="712" y="13"/>
                  </a:cubicBezTo>
                  <a:cubicBezTo>
                    <a:pt x="702" y="13"/>
                    <a:pt x="693" y="22"/>
                    <a:pt x="693" y="32"/>
                  </a:cubicBezTo>
                  <a:cubicBezTo>
                    <a:pt x="693" y="45"/>
                    <a:pt x="693" y="45"/>
                    <a:pt x="693" y="45"/>
                  </a:cubicBezTo>
                  <a:cubicBezTo>
                    <a:pt x="693" y="47"/>
                    <a:pt x="695" y="49"/>
                    <a:pt x="697" y="49"/>
                  </a:cubicBezTo>
                  <a:moveTo>
                    <a:pt x="179" y="115"/>
                  </a:moveTo>
                  <a:cubicBezTo>
                    <a:pt x="122" y="115"/>
                    <a:pt x="122" y="115"/>
                    <a:pt x="122" y="115"/>
                  </a:cubicBezTo>
                  <a:cubicBezTo>
                    <a:pt x="122" y="49"/>
                    <a:pt x="122" y="49"/>
                    <a:pt x="122" y="49"/>
                  </a:cubicBezTo>
                  <a:cubicBezTo>
                    <a:pt x="179" y="49"/>
                    <a:pt x="179" y="49"/>
                    <a:pt x="179" y="49"/>
                  </a:cubicBezTo>
                  <a:lnTo>
                    <a:pt x="179" y="115"/>
                  </a:lnTo>
                  <a:close/>
                  <a:moveTo>
                    <a:pt x="88" y="115"/>
                  </a:moveTo>
                  <a:cubicBezTo>
                    <a:pt x="31" y="115"/>
                    <a:pt x="31" y="115"/>
                    <a:pt x="31" y="115"/>
                  </a:cubicBezTo>
                  <a:cubicBezTo>
                    <a:pt x="31" y="49"/>
                    <a:pt x="31" y="49"/>
                    <a:pt x="31" y="49"/>
                  </a:cubicBezTo>
                  <a:cubicBezTo>
                    <a:pt x="88" y="49"/>
                    <a:pt x="88" y="49"/>
                    <a:pt x="88" y="49"/>
                  </a:cubicBezTo>
                  <a:lnTo>
                    <a:pt x="88" y="115"/>
                  </a:lnTo>
                  <a:close/>
                  <a:moveTo>
                    <a:pt x="188" y="24"/>
                  </a:moveTo>
                  <a:cubicBezTo>
                    <a:pt x="122" y="24"/>
                    <a:pt x="122" y="24"/>
                    <a:pt x="122" y="24"/>
                  </a:cubicBezTo>
                  <a:cubicBezTo>
                    <a:pt x="122" y="5"/>
                    <a:pt x="122" y="5"/>
                    <a:pt x="122" y="5"/>
                  </a:cubicBezTo>
                  <a:cubicBezTo>
                    <a:pt x="122" y="3"/>
                    <a:pt x="120" y="1"/>
                    <a:pt x="118" y="1"/>
                  </a:cubicBezTo>
                  <a:cubicBezTo>
                    <a:pt x="91" y="1"/>
                    <a:pt x="91" y="1"/>
                    <a:pt x="91" y="1"/>
                  </a:cubicBezTo>
                  <a:cubicBezTo>
                    <a:pt x="89" y="1"/>
                    <a:pt x="88" y="3"/>
                    <a:pt x="88" y="5"/>
                  </a:cubicBezTo>
                  <a:cubicBezTo>
                    <a:pt x="88" y="24"/>
                    <a:pt x="88" y="24"/>
                    <a:pt x="88" y="24"/>
                  </a:cubicBezTo>
                  <a:cubicBezTo>
                    <a:pt x="22" y="24"/>
                    <a:pt x="22" y="24"/>
                    <a:pt x="22" y="24"/>
                  </a:cubicBezTo>
                  <a:cubicBezTo>
                    <a:pt x="10" y="24"/>
                    <a:pt x="0" y="34"/>
                    <a:pt x="0" y="46"/>
                  </a:cubicBezTo>
                  <a:cubicBezTo>
                    <a:pt x="0" y="118"/>
                    <a:pt x="0" y="118"/>
                    <a:pt x="0" y="118"/>
                  </a:cubicBezTo>
                  <a:cubicBezTo>
                    <a:pt x="0" y="130"/>
                    <a:pt x="10" y="140"/>
                    <a:pt x="22" y="140"/>
                  </a:cubicBezTo>
                  <a:cubicBezTo>
                    <a:pt x="88" y="140"/>
                    <a:pt x="88" y="140"/>
                    <a:pt x="88" y="140"/>
                  </a:cubicBezTo>
                  <a:cubicBezTo>
                    <a:pt x="88" y="171"/>
                    <a:pt x="88" y="171"/>
                    <a:pt x="88" y="171"/>
                  </a:cubicBezTo>
                  <a:cubicBezTo>
                    <a:pt x="88" y="173"/>
                    <a:pt x="89" y="174"/>
                    <a:pt x="91" y="174"/>
                  </a:cubicBezTo>
                  <a:cubicBezTo>
                    <a:pt x="118" y="174"/>
                    <a:pt x="118" y="174"/>
                    <a:pt x="118" y="174"/>
                  </a:cubicBezTo>
                  <a:cubicBezTo>
                    <a:pt x="120" y="174"/>
                    <a:pt x="122" y="173"/>
                    <a:pt x="122" y="171"/>
                  </a:cubicBezTo>
                  <a:cubicBezTo>
                    <a:pt x="122" y="140"/>
                    <a:pt x="122" y="140"/>
                    <a:pt x="122" y="140"/>
                  </a:cubicBezTo>
                  <a:cubicBezTo>
                    <a:pt x="188" y="140"/>
                    <a:pt x="188" y="140"/>
                    <a:pt x="188" y="140"/>
                  </a:cubicBezTo>
                  <a:cubicBezTo>
                    <a:pt x="200" y="140"/>
                    <a:pt x="210" y="130"/>
                    <a:pt x="210" y="118"/>
                  </a:cubicBezTo>
                  <a:cubicBezTo>
                    <a:pt x="210" y="46"/>
                    <a:pt x="210" y="46"/>
                    <a:pt x="210" y="46"/>
                  </a:cubicBezTo>
                  <a:cubicBezTo>
                    <a:pt x="210" y="34"/>
                    <a:pt x="200" y="24"/>
                    <a:pt x="188" y="24"/>
                  </a:cubicBezTo>
                  <a:moveTo>
                    <a:pt x="401" y="104"/>
                  </a:moveTo>
                  <a:cubicBezTo>
                    <a:pt x="379" y="104"/>
                    <a:pt x="379" y="104"/>
                    <a:pt x="379" y="104"/>
                  </a:cubicBezTo>
                  <a:cubicBezTo>
                    <a:pt x="379" y="112"/>
                    <a:pt x="379" y="112"/>
                    <a:pt x="379" y="112"/>
                  </a:cubicBezTo>
                  <a:cubicBezTo>
                    <a:pt x="357" y="112"/>
                    <a:pt x="357" y="112"/>
                    <a:pt x="357" y="112"/>
                  </a:cubicBezTo>
                  <a:cubicBezTo>
                    <a:pt x="357" y="93"/>
                    <a:pt x="357" y="93"/>
                    <a:pt x="357" y="93"/>
                  </a:cubicBezTo>
                  <a:cubicBezTo>
                    <a:pt x="395" y="93"/>
                    <a:pt x="395" y="93"/>
                    <a:pt x="395" y="93"/>
                  </a:cubicBezTo>
                  <a:cubicBezTo>
                    <a:pt x="395" y="75"/>
                    <a:pt x="395" y="75"/>
                    <a:pt x="395" y="75"/>
                  </a:cubicBezTo>
                  <a:cubicBezTo>
                    <a:pt x="357" y="75"/>
                    <a:pt x="357" y="75"/>
                    <a:pt x="357" y="75"/>
                  </a:cubicBezTo>
                  <a:cubicBezTo>
                    <a:pt x="357" y="61"/>
                    <a:pt x="357" y="61"/>
                    <a:pt x="357" y="61"/>
                  </a:cubicBezTo>
                  <a:cubicBezTo>
                    <a:pt x="401" y="61"/>
                    <a:pt x="401" y="61"/>
                    <a:pt x="401" y="61"/>
                  </a:cubicBezTo>
                  <a:cubicBezTo>
                    <a:pt x="401" y="41"/>
                    <a:pt x="401" y="41"/>
                    <a:pt x="401" y="41"/>
                  </a:cubicBezTo>
                  <a:cubicBezTo>
                    <a:pt x="284" y="41"/>
                    <a:pt x="284" y="41"/>
                    <a:pt x="284" y="41"/>
                  </a:cubicBezTo>
                  <a:cubicBezTo>
                    <a:pt x="284" y="61"/>
                    <a:pt x="284" y="61"/>
                    <a:pt x="284" y="61"/>
                  </a:cubicBezTo>
                  <a:cubicBezTo>
                    <a:pt x="328" y="61"/>
                    <a:pt x="328" y="61"/>
                    <a:pt x="328" y="61"/>
                  </a:cubicBezTo>
                  <a:cubicBezTo>
                    <a:pt x="328" y="75"/>
                    <a:pt x="328" y="75"/>
                    <a:pt x="328" y="75"/>
                  </a:cubicBezTo>
                  <a:cubicBezTo>
                    <a:pt x="290" y="75"/>
                    <a:pt x="290" y="75"/>
                    <a:pt x="290" y="75"/>
                  </a:cubicBezTo>
                  <a:cubicBezTo>
                    <a:pt x="290" y="93"/>
                    <a:pt x="290" y="93"/>
                    <a:pt x="290" y="93"/>
                  </a:cubicBezTo>
                  <a:cubicBezTo>
                    <a:pt x="328" y="93"/>
                    <a:pt x="328" y="93"/>
                    <a:pt x="328" y="93"/>
                  </a:cubicBezTo>
                  <a:cubicBezTo>
                    <a:pt x="328" y="112"/>
                    <a:pt x="328" y="112"/>
                    <a:pt x="328" y="112"/>
                  </a:cubicBezTo>
                  <a:cubicBezTo>
                    <a:pt x="284" y="112"/>
                    <a:pt x="284" y="112"/>
                    <a:pt x="284" y="112"/>
                  </a:cubicBezTo>
                  <a:cubicBezTo>
                    <a:pt x="284" y="132"/>
                    <a:pt x="284" y="132"/>
                    <a:pt x="284" y="132"/>
                  </a:cubicBezTo>
                  <a:cubicBezTo>
                    <a:pt x="401" y="132"/>
                    <a:pt x="401" y="132"/>
                    <a:pt x="401" y="132"/>
                  </a:cubicBezTo>
                  <a:lnTo>
                    <a:pt x="401" y="104"/>
                  </a:lnTo>
                  <a:close/>
                  <a:moveTo>
                    <a:pt x="516" y="102"/>
                  </a:moveTo>
                  <a:cubicBezTo>
                    <a:pt x="542" y="102"/>
                    <a:pt x="542" y="102"/>
                    <a:pt x="542" y="102"/>
                  </a:cubicBezTo>
                  <a:cubicBezTo>
                    <a:pt x="544" y="102"/>
                    <a:pt x="545" y="100"/>
                    <a:pt x="544" y="98"/>
                  </a:cubicBezTo>
                  <a:cubicBezTo>
                    <a:pt x="519" y="49"/>
                    <a:pt x="519" y="49"/>
                    <a:pt x="519" y="49"/>
                  </a:cubicBezTo>
                  <a:cubicBezTo>
                    <a:pt x="518" y="48"/>
                    <a:pt x="515" y="46"/>
                    <a:pt x="512" y="46"/>
                  </a:cubicBezTo>
                  <a:cubicBezTo>
                    <a:pt x="487" y="46"/>
                    <a:pt x="487" y="46"/>
                    <a:pt x="487" y="46"/>
                  </a:cubicBezTo>
                  <a:cubicBezTo>
                    <a:pt x="485" y="46"/>
                    <a:pt x="484" y="48"/>
                    <a:pt x="485" y="49"/>
                  </a:cubicBezTo>
                  <a:cubicBezTo>
                    <a:pt x="510" y="98"/>
                    <a:pt x="510" y="98"/>
                    <a:pt x="510" y="98"/>
                  </a:cubicBezTo>
                  <a:cubicBezTo>
                    <a:pt x="511" y="100"/>
                    <a:pt x="513" y="102"/>
                    <a:pt x="516" y="102"/>
                  </a:cubicBezTo>
                  <a:moveTo>
                    <a:pt x="669" y="115"/>
                  </a:moveTo>
                  <a:cubicBezTo>
                    <a:pt x="587" y="115"/>
                    <a:pt x="587" y="115"/>
                    <a:pt x="587" y="115"/>
                  </a:cubicBezTo>
                  <a:cubicBezTo>
                    <a:pt x="587" y="33"/>
                    <a:pt x="587" y="33"/>
                    <a:pt x="587" y="33"/>
                  </a:cubicBezTo>
                  <a:cubicBezTo>
                    <a:pt x="662" y="33"/>
                    <a:pt x="662" y="33"/>
                    <a:pt x="662" y="33"/>
                  </a:cubicBezTo>
                  <a:cubicBezTo>
                    <a:pt x="664" y="33"/>
                    <a:pt x="666" y="31"/>
                    <a:pt x="666" y="29"/>
                  </a:cubicBezTo>
                  <a:cubicBezTo>
                    <a:pt x="666" y="14"/>
                    <a:pt x="666" y="14"/>
                    <a:pt x="666" y="14"/>
                  </a:cubicBezTo>
                  <a:cubicBezTo>
                    <a:pt x="666" y="11"/>
                    <a:pt x="664" y="10"/>
                    <a:pt x="662" y="10"/>
                  </a:cubicBezTo>
                  <a:cubicBezTo>
                    <a:pt x="479" y="10"/>
                    <a:pt x="479" y="10"/>
                    <a:pt x="479" y="10"/>
                  </a:cubicBezTo>
                  <a:cubicBezTo>
                    <a:pt x="477" y="10"/>
                    <a:pt x="475" y="11"/>
                    <a:pt x="475" y="14"/>
                  </a:cubicBezTo>
                  <a:cubicBezTo>
                    <a:pt x="475" y="29"/>
                    <a:pt x="475" y="29"/>
                    <a:pt x="475" y="29"/>
                  </a:cubicBezTo>
                  <a:cubicBezTo>
                    <a:pt x="475" y="31"/>
                    <a:pt x="477" y="33"/>
                    <a:pt x="479" y="33"/>
                  </a:cubicBezTo>
                  <a:cubicBezTo>
                    <a:pt x="554" y="33"/>
                    <a:pt x="554" y="33"/>
                    <a:pt x="554" y="33"/>
                  </a:cubicBezTo>
                  <a:cubicBezTo>
                    <a:pt x="554" y="115"/>
                    <a:pt x="554" y="115"/>
                    <a:pt x="554" y="115"/>
                  </a:cubicBezTo>
                  <a:cubicBezTo>
                    <a:pt x="472" y="115"/>
                    <a:pt x="472" y="115"/>
                    <a:pt x="472" y="115"/>
                  </a:cubicBezTo>
                  <a:cubicBezTo>
                    <a:pt x="470" y="115"/>
                    <a:pt x="469" y="117"/>
                    <a:pt x="469" y="119"/>
                  </a:cubicBezTo>
                  <a:cubicBezTo>
                    <a:pt x="469" y="135"/>
                    <a:pt x="469" y="135"/>
                    <a:pt x="469" y="135"/>
                  </a:cubicBezTo>
                  <a:cubicBezTo>
                    <a:pt x="469" y="137"/>
                    <a:pt x="470" y="139"/>
                    <a:pt x="472" y="139"/>
                  </a:cubicBezTo>
                  <a:cubicBezTo>
                    <a:pt x="554" y="139"/>
                    <a:pt x="554" y="139"/>
                    <a:pt x="554" y="139"/>
                  </a:cubicBezTo>
                  <a:cubicBezTo>
                    <a:pt x="554" y="171"/>
                    <a:pt x="554" y="171"/>
                    <a:pt x="554" y="171"/>
                  </a:cubicBezTo>
                  <a:cubicBezTo>
                    <a:pt x="554" y="173"/>
                    <a:pt x="556" y="174"/>
                    <a:pt x="558" y="174"/>
                  </a:cubicBezTo>
                  <a:cubicBezTo>
                    <a:pt x="583" y="174"/>
                    <a:pt x="583" y="174"/>
                    <a:pt x="583" y="174"/>
                  </a:cubicBezTo>
                  <a:cubicBezTo>
                    <a:pt x="585" y="174"/>
                    <a:pt x="587" y="173"/>
                    <a:pt x="587" y="171"/>
                  </a:cubicBezTo>
                  <a:cubicBezTo>
                    <a:pt x="587" y="139"/>
                    <a:pt x="587" y="139"/>
                    <a:pt x="587" y="139"/>
                  </a:cubicBezTo>
                  <a:cubicBezTo>
                    <a:pt x="669" y="139"/>
                    <a:pt x="669" y="139"/>
                    <a:pt x="669" y="139"/>
                  </a:cubicBezTo>
                  <a:cubicBezTo>
                    <a:pt x="671" y="139"/>
                    <a:pt x="673" y="137"/>
                    <a:pt x="673" y="135"/>
                  </a:cubicBezTo>
                  <a:cubicBezTo>
                    <a:pt x="673" y="119"/>
                    <a:pt x="673" y="119"/>
                    <a:pt x="673" y="119"/>
                  </a:cubicBezTo>
                  <a:cubicBezTo>
                    <a:pt x="673" y="117"/>
                    <a:pt x="671" y="115"/>
                    <a:pt x="669" y="115"/>
                  </a:cubicBezTo>
                </a:path>
              </a:pathLst>
            </a:custGeom>
            <a:solidFill>
              <a:srgbClr val="EA550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16" name="Freeform 6"/>
            <p:cNvSpPr/>
            <p:nvPr/>
          </p:nvSpPr>
          <p:spPr bwMode="auto">
            <a:xfrm>
              <a:off x="3438525" y="693738"/>
              <a:ext cx="77788" cy="76200"/>
            </a:xfrm>
            <a:custGeom>
              <a:avLst/>
              <a:gdLst>
                <a:gd name="T0" fmla="*/ 44 w 48"/>
                <a:gd name="T1" fmla="*/ 0 h 46"/>
                <a:gd name="T2" fmla="*/ 4 w 48"/>
                <a:gd name="T3" fmla="*/ 0 h 46"/>
                <a:gd name="T4" fmla="*/ 0 w 48"/>
                <a:gd name="T5" fmla="*/ 3 h 46"/>
                <a:gd name="T6" fmla="*/ 0 w 48"/>
                <a:gd name="T7" fmla="*/ 43 h 46"/>
                <a:gd name="T8" fmla="*/ 4 w 48"/>
                <a:gd name="T9" fmla="*/ 46 h 46"/>
                <a:gd name="T10" fmla="*/ 44 w 48"/>
                <a:gd name="T11" fmla="*/ 46 h 46"/>
                <a:gd name="T12" fmla="*/ 48 w 48"/>
                <a:gd name="T13" fmla="*/ 43 h 46"/>
                <a:gd name="T14" fmla="*/ 48 w 48"/>
                <a:gd name="T15" fmla="*/ 3 h 46"/>
                <a:gd name="T16" fmla="*/ 44 w 48"/>
                <a:gd name="T1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46">
                  <a:moveTo>
                    <a:pt x="44" y="0"/>
                  </a:moveTo>
                  <a:cubicBezTo>
                    <a:pt x="4" y="0"/>
                    <a:pt x="4" y="0"/>
                    <a:pt x="4" y="0"/>
                  </a:cubicBezTo>
                  <a:cubicBezTo>
                    <a:pt x="2" y="0"/>
                    <a:pt x="0" y="1"/>
                    <a:pt x="0" y="3"/>
                  </a:cubicBezTo>
                  <a:cubicBezTo>
                    <a:pt x="0" y="43"/>
                    <a:pt x="0" y="43"/>
                    <a:pt x="0" y="43"/>
                  </a:cubicBezTo>
                  <a:cubicBezTo>
                    <a:pt x="0" y="45"/>
                    <a:pt x="2" y="46"/>
                    <a:pt x="4" y="46"/>
                  </a:cubicBezTo>
                  <a:cubicBezTo>
                    <a:pt x="44" y="46"/>
                    <a:pt x="44" y="46"/>
                    <a:pt x="44" y="46"/>
                  </a:cubicBezTo>
                  <a:cubicBezTo>
                    <a:pt x="46" y="46"/>
                    <a:pt x="48" y="45"/>
                    <a:pt x="48" y="43"/>
                  </a:cubicBezTo>
                  <a:cubicBezTo>
                    <a:pt x="48" y="3"/>
                    <a:pt x="48" y="3"/>
                    <a:pt x="48" y="3"/>
                  </a:cubicBezTo>
                  <a:cubicBezTo>
                    <a:pt x="48" y="1"/>
                    <a:pt x="46" y="0"/>
                    <a:pt x="44" y="0"/>
                  </a:cubicBezTo>
                </a:path>
              </a:pathLst>
            </a:custGeom>
            <a:solidFill>
              <a:srgbClr val="005E3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17" name="Oval 7"/>
            <p:cNvSpPr>
              <a:spLocks noChangeArrowheads="1"/>
            </p:cNvSpPr>
            <p:nvPr/>
          </p:nvSpPr>
          <p:spPr bwMode="auto">
            <a:xfrm>
              <a:off x="1385888" y="952500"/>
              <a:ext cx="17463" cy="20637"/>
            </a:xfrm>
            <a:prstGeom prst="ellipse">
              <a:avLst/>
            </a:prstGeom>
            <a:solidFill>
              <a:srgbClr val="EA550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18" name="Freeform 8"/>
            <p:cNvSpPr>
              <a:spLocks noEditPoints="1"/>
            </p:cNvSpPr>
            <p:nvPr/>
          </p:nvSpPr>
          <p:spPr bwMode="auto">
            <a:xfrm>
              <a:off x="1001713" y="893763"/>
              <a:ext cx="142875" cy="133350"/>
            </a:xfrm>
            <a:custGeom>
              <a:avLst/>
              <a:gdLst>
                <a:gd name="T0" fmla="*/ 43 w 88"/>
                <a:gd name="T1" fmla="*/ 0 h 81"/>
                <a:gd name="T2" fmla="*/ 51 w 88"/>
                <a:gd name="T3" fmla="*/ 4 h 81"/>
                <a:gd name="T4" fmla="*/ 84 w 88"/>
                <a:gd name="T5" fmla="*/ 22 h 81"/>
                <a:gd name="T6" fmla="*/ 87 w 88"/>
                <a:gd name="T7" fmla="*/ 28 h 81"/>
                <a:gd name="T8" fmla="*/ 82 w 88"/>
                <a:gd name="T9" fmla="*/ 29 h 81"/>
                <a:gd name="T10" fmla="*/ 49 w 88"/>
                <a:gd name="T11" fmla="*/ 12 h 81"/>
                <a:gd name="T12" fmla="*/ 43 w 88"/>
                <a:gd name="T13" fmla="*/ 8 h 81"/>
                <a:gd name="T14" fmla="*/ 38 w 88"/>
                <a:gd name="T15" fmla="*/ 11 h 81"/>
                <a:gd name="T16" fmla="*/ 6 w 88"/>
                <a:gd name="T17" fmla="*/ 30 h 81"/>
                <a:gd name="T18" fmla="*/ 1 w 88"/>
                <a:gd name="T19" fmla="*/ 28 h 81"/>
                <a:gd name="T20" fmla="*/ 3 w 88"/>
                <a:gd name="T21" fmla="*/ 23 h 81"/>
                <a:gd name="T22" fmla="*/ 35 w 88"/>
                <a:gd name="T23" fmla="*/ 5 h 81"/>
                <a:gd name="T24" fmla="*/ 43 w 88"/>
                <a:gd name="T25" fmla="*/ 0 h 81"/>
                <a:gd name="T26" fmla="*/ 21 w 88"/>
                <a:gd name="T27" fmla="*/ 25 h 81"/>
                <a:gd name="T28" fmla="*/ 68 w 88"/>
                <a:gd name="T29" fmla="*/ 25 h 81"/>
                <a:gd name="T30" fmla="*/ 71 w 88"/>
                <a:gd name="T31" fmla="*/ 28 h 81"/>
                <a:gd name="T32" fmla="*/ 68 w 88"/>
                <a:gd name="T33" fmla="*/ 31 h 81"/>
                <a:gd name="T34" fmla="*/ 48 w 88"/>
                <a:gd name="T35" fmla="*/ 31 h 81"/>
                <a:gd name="T36" fmla="*/ 48 w 88"/>
                <a:gd name="T37" fmla="*/ 42 h 81"/>
                <a:gd name="T38" fmla="*/ 80 w 88"/>
                <a:gd name="T39" fmla="*/ 42 h 81"/>
                <a:gd name="T40" fmla="*/ 83 w 88"/>
                <a:gd name="T41" fmla="*/ 46 h 81"/>
                <a:gd name="T42" fmla="*/ 80 w 88"/>
                <a:gd name="T43" fmla="*/ 49 h 81"/>
                <a:gd name="T44" fmla="*/ 48 w 88"/>
                <a:gd name="T45" fmla="*/ 49 h 81"/>
                <a:gd name="T46" fmla="*/ 48 w 88"/>
                <a:gd name="T47" fmla="*/ 74 h 81"/>
                <a:gd name="T48" fmla="*/ 61 w 88"/>
                <a:gd name="T49" fmla="*/ 74 h 81"/>
                <a:gd name="T50" fmla="*/ 60 w 88"/>
                <a:gd name="T51" fmla="*/ 70 h 81"/>
                <a:gd name="T52" fmla="*/ 70 w 88"/>
                <a:gd name="T53" fmla="*/ 53 h 81"/>
                <a:gd name="T54" fmla="*/ 75 w 88"/>
                <a:gd name="T55" fmla="*/ 51 h 81"/>
                <a:gd name="T56" fmla="*/ 76 w 88"/>
                <a:gd name="T57" fmla="*/ 56 h 81"/>
                <a:gd name="T58" fmla="*/ 66 w 88"/>
                <a:gd name="T59" fmla="*/ 73 h 81"/>
                <a:gd name="T60" fmla="*/ 64 w 88"/>
                <a:gd name="T61" fmla="*/ 74 h 81"/>
                <a:gd name="T62" fmla="*/ 84 w 88"/>
                <a:gd name="T63" fmla="*/ 74 h 81"/>
                <a:gd name="T64" fmla="*/ 87 w 88"/>
                <a:gd name="T65" fmla="*/ 77 h 81"/>
                <a:gd name="T66" fmla="*/ 84 w 88"/>
                <a:gd name="T67" fmla="*/ 81 h 81"/>
                <a:gd name="T68" fmla="*/ 6 w 88"/>
                <a:gd name="T69" fmla="*/ 81 h 81"/>
                <a:gd name="T70" fmla="*/ 2 w 88"/>
                <a:gd name="T71" fmla="*/ 77 h 81"/>
                <a:gd name="T72" fmla="*/ 6 w 88"/>
                <a:gd name="T73" fmla="*/ 74 h 81"/>
                <a:gd name="T74" fmla="*/ 40 w 88"/>
                <a:gd name="T75" fmla="*/ 74 h 81"/>
                <a:gd name="T76" fmla="*/ 40 w 88"/>
                <a:gd name="T77" fmla="*/ 49 h 81"/>
                <a:gd name="T78" fmla="*/ 9 w 88"/>
                <a:gd name="T79" fmla="*/ 49 h 81"/>
                <a:gd name="T80" fmla="*/ 6 w 88"/>
                <a:gd name="T81" fmla="*/ 46 h 81"/>
                <a:gd name="T82" fmla="*/ 9 w 88"/>
                <a:gd name="T83" fmla="*/ 42 h 81"/>
                <a:gd name="T84" fmla="*/ 40 w 88"/>
                <a:gd name="T85" fmla="*/ 42 h 81"/>
                <a:gd name="T86" fmla="*/ 40 w 88"/>
                <a:gd name="T87" fmla="*/ 31 h 81"/>
                <a:gd name="T88" fmla="*/ 21 w 88"/>
                <a:gd name="T89" fmla="*/ 31 h 81"/>
                <a:gd name="T90" fmla="*/ 18 w 88"/>
                <a:gd name="T91" fmla="*/ 28 h 81"/>
                <a:gd name="T92" fmla="*/ 21 w 88"/>
                <a:gd name="T93" fmla="*/ 25 h 81"/>
                <a:gd name="T94" fmla="*/ 20 w 88"/>
                <a:gd name="T95" fmla="*/ 54 h 81"/>
                <a:gd name="T96" fmla="*/ 27 w 88"/>
                <a:gd name="T97" fmla="*/ 67 h 81"/>
                <a:gd name="T98" fmla="*/ 26 w 88"/>
                <a:gd name="T99" fmla="*/ 72 h 81"/>
                <a:gd name="T100" fmla="*/ 21 w 88"/>
                <a:gd name="T101" fmla="*/ 71 h 81"/>
                <a:gd name="T102" fmla="*/ 14 w 88"/>
                <a:gd name="T103" fmla="*/ 57 h 81"/>
                <a:gd name="T104" fmla="*/ 14 w 88"/>
                <a:gd name="T105" fmla="*/ 53 h 81"/>
                <a:gd name="T106" fmla="*/ 20 w 88"/>
                <a:gd name="T107" fmla="*/ 5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8" h="81">
                  <a:moveTo>
                    <a:pt x="43" y="0"/>
                  </a:moveTo>
                  <a:cubicBezTo>
                    <a:pt x="44" y="0"/>
                    <a:pt x="47" y="1"/>
                    <a:pt x="51" y="4"/>
                  </a:cubicBezTo>
                  <a:cubicBezTo>
                    <a:pt x="61" y="12"/>
                    <a:pt x="72" y="18"/>
                    <a:pt x="84" y="22"/>
                  </a:cubicBezTo>
                  <a:cubicBezTo>
                    <a:pt x="87" y="23"/>
                    <a:pt x="88" y="25"/>
                    <a:pt x="87" y="28"/>
                  </a:cubicBezTo>
                  <a:cubicBezTo>
                    <a:pt x="86" y="30"/>
                    <a:pt x="85" y="30"/>
                    <a:pt x="82" y="29"/>
                  </a:cubicBezTo>
                  <a:cubicBezTo>
                    <a:pt x="70" y="25"/>
                    <a:pt x="59" y="19"/>
                    <a:pt x="49" y="12"/>
                  </a:cubicBezTo>
                  <a:cubicBezTo>
                    <a:pt x="46" y="10"/>
                    <a:pt x="44" y="8"/>
                    <a:pt x="43" y="8"/>
                  </a:cubicBezTo>
                  <a:cubicBezTo>
                    <a:pt x="43" y="8"/>
                    <a:pt x="41" y="9"/>
                    <a:pt x="38" y="11"/>
                  </a:cubicBezTo>
                  <a:cubicBezTo>
                    <a:pt x="28" y="19"/>
                    <a:pt x="18" y="25"/>
                    <a:pt x="6" y="30"/>
                  </a:cubicBezTo>
                  <a:cubicBezTo>
                    <a:pt x="4" y="31"/>
                    <a:pt x="2" y="30"/>
                    <a:pt x="1" y="28"/>
                  </a:cubicBezTo>
                  <a:cubicBezTo>
                    <a:pt x="0" y="26"/>
                    <a:pt x="1" y="24"/>
                    <a:pt x="3" y="23"/>
                  </a:cubicBezTo>
                  <a:cubicBezTo>
                    <a:pt x="15" y="19"/>
                    <a:pt x="26" y="13"/>
                    <a:pt x="35" y="5"/>
                  </a:cubicBezTo>
                  <a:cubicBezTo>
                    <a:pt x="39" y="2"/>
                    <a:pt x="42" y="0"/>
                    <a:pt x="43" y="0"/>
                  </a:cubicBezTo>
                  <a:close/>
                  <a:moveTo>
                    <a:pt x="21" y="25"/>
                  </a:moveTo>
                  <a:cubicBezTo>
                    <a:pt x="68" y="25"/>
                    <a:pt x="68" y="25"/>
                    <a:pt x="68" y="25"/>
                  </a:cubicBezTo>
                  <a:cubicBezTo>
                    <a:pt x="70" y="25"/>
                    <a:pt x="71" y="26"/>
                    <a:pt x="71" y="28"/>
                  </a:cubicBezTo>
                  <a:cubicBezTo>
                    <a:pt x="71" y="30"/>
                    <a:pt x="70" y="31"/>
                    <a:pt x="68" y="31"/>
                  </a:cubicBezTo>
                  <a:cubicBezTo>
                    <a:pt x="48" y="31"/>
                    <a:pt x="48" y="31"/>
                    <a:pt x="48" y="31"/>
                  </a:cubicBezTo>
                  <a:cubicBezTo>
                    <a:pt x="48" y="42"/>
                    <a:pt x="48" y="42"/>
                    <a:pt x="48" y="42"/>
                  </a:cubicBezTo>
                  <a:cubicBezTo>
                    <a:pt x="80" y="42"/>
                    <a:pt x="80" y="42"/>
                    <a:pt x="80" y="42"/>
                  </a:cubicBezTo>
                  <a:cubicBezTo>
                    <a:pt x="82" y="42"/>
                    <a:pt x="83" y="43"/>
                    <a:pt x="83" y="46"/>
                  </a:cubicBezTo>
                  <a:cubicBezTo>
                    <a:pt x="83" y="48"/>
                    <a:pt x="82" y="49"/>
                    <a:pt x="80" y="49"/>
                  </a:cubicBezTo>
                  <a:cubicBezTo>
                    <a:pt x="48" y="49"/>
                    <a:pt x="48" y="49"/>
                    <a:pt x="48" y="49"/>
                  </a:cubicBezTo>
                  <a:cubicBezTo>
                    <a:pt x="48" y="74"/>
                    <a:pt x="48" y="74"/>
                    <a:pt x="48" y="74"/>
                  </a:cubicBezTo>
                  <a:cubicBezTo>
                    <a:pt x="61" y="74"/>
                    <a:pt x="61" y="74"/>
                    <a:pt x="61" y="74"/>
                  </a:cubicBezTo>
                  <a:cubicBezTo>
                    <a:pt x="59" y="73"/>
                    <a:pt x="59" y="72"/>
                    <a:pt x="60" y="70"/>
                  </a:cubicBezTo>
                  <a:cubicBezTo>
                    <a:pt x="64" y="64"/>
                    <a:pt x="67" y="59"/>
                    <a:pt x="70" y="53"/>
                  </a:cubicBezTo>
                  <a:cubicBezTo>
                    <a:pt x="71" y="51"/>
                    <a:pt x="73" y="50"/>
                    <a:pt x="75" y="51"/>
                  </a:cubicBezTo>
                  <a:cubicBezTo>
                    <a:pt x="76" y="52"/>
                    <a:pt x="77" y="54"/>
                    <a:pt x="76" y="56"/>
                  </a:cubicBezTo>
                  <a:cubicBezTo>
                    <a:pt x="72" y="65"/>
                    <a:pt x="69" y="70"/>
                    <a:pt x="66" y="73"/>
                  </a:cubicBezTo>
                  <a:cubicBezTo>
                    <a:pt x="65" y="74"/>
                    <a:pt x="65" y="74"/>
                    <a:pt x="64" y="74"/>
                  </a:cubicBezTo>
                  <a:cubicBezTo>
                    <a:pt x="84" y="74"/>
                    <a:pt x="84" y="74"/>
                    <a:pt x="84" y="74"/>
                  </a:cubicBezTo>
                  <a:cubicBezTo>
                    <a:pt x="86" y="74"/>
                    <a:pt x="87" y="75"/>
                    <a:pt x="87" y="77"/>
                  </a:cubicBezTo>
                  <a:cubicBezTo>
                    <a:pt x="87" y="79"/>
                    <a:pt x="86" y="81"/>
                    <a:pt x="84" y="81"/>
                  </a:cubicBezTo>
                  <a:cubicBezTo>
                    <a:pt x="6" y="81"/>
                    <a:pt x="6" y="81"/>
                    <a:pt x="6" y="81"/>
                  </a:cubicBezTo>
                  <a:cubicBezTo>
                    <a:pt x="3" y="81"/>
                    <a:pt x="2" y="79"/>
                    <a:pt x="2" y="77"/>
                  </a:cubicBezTo>
                  <a:cubicBezTo>
                    <a:pt x="2" y="75"/>
                    <a:pt x="3" y="74"/>
                    <a:pt x="6" y="74"/>
                  </a:cubicBezTo>
                  <a:cubicBezTo>
                    <a:pt x="40" y="74"/>
                    <a:pt x="40" y="74"/>
                    <a:pt x="40" y="74"/>
                  </a:cubicBezTo>
                  <a:cubicBezTo>
                    <a:pt x="40" y="49"/>
                    <a:pt x="40" y="49"/>
                    <a:pt x="40" y="49"/>
                  </a:cubicBezTo>
                  <a:cubicBezTo>
                    <a:pt x="9" y="49"/>
                    <a:pt x="9" y="49"/>
                    <a:pt x="9" y="49"/>
                  </a:cubicBezTo>
                  <a:cubicBezTo>
                    <a:pt x="7" y="49"/>
                    <a:pt x="6" y="48"/>
                    <a:pt x="6" y="46"/>
                  </a:cubicBezTo>
                  <a:cubicBezTo>
                    <a:pt x="6" y="43"/>
                    <a:pt x="7" y="42"/>
                    <a:pt x="9" y="42"/>
                  </a:cubicBezTo>
                  <a:cubicBezTo>
                    <a:pt x="40" y="42"/>
                    <a:pt x="40" y="42"/>
                    <a:pt x="40" y="42"/>
                  </a:cubicBezTo>
                  <a:cubicBezTo>
                    <a:pt x="40" y="31"/>
                    <a:pt x="40" y="31"/>
                    <a:pt x="40" y="31"/>
                  </a:cubicBezTo>
                  <a:cubicBezTo>
                    <a:pt x="21" y="31"/>
                    <a:pt x="21" y="31"/>
                    <a:pt x="21" y="31"/>
                  </a:cubicBezTo>
                  <a:cubicBezTo>
                    <a:pt x="19" y="31"/>
                    <a:pt x="18" y="30"/>
                    <a:pt x="18" y="28"/>
                  </a:cubicBezTo>
                  <a:cubicBezTo>
                    <a:pt x="18" y="26"/>
                    <a:pt x="19" y="25"/>
                    <a:pt x="21" y="25"/>
                  </a:cubicBezTo>
                  <a:close/>
                  <a:moveTo>
                    <a:pt x="20" y="54"/>
                  </a:moveTo>
                  <a:cubicBezTo>
                    <a:pt x="23" y="58"/>
                    <a:pt x="25" y="63"/>
                    <a:pt x="27" y="67"/>
                  </a:cubicBezTo>
                  <a:cubicBezTo>
                    <a:pt x="28" y="69"/>
                    <a:pt x="28" y="71"/>
                    <a:pt x="26" y="72"/>
                  </a:cubicBezTo>
                  <a:cubicBezTo>
                    <a:pt x="24" y="73"/>
                    <a:pt x="23" y="73"/>
                    <a:pt x="21" y="71"/>
                  </a:cubicBezTo>
                  <a:cubicBezTo>
                    <a:pt x="19" y="67"/>
                    <a:pt x="17" y="62"/>
                    <a:pt x="14" y="57"/>
                  </a:cubicBezTo>
                  <a:cubicBezTo>
                    <a:pt x="12" y="55"/>
                    <a:pt x="13" y="54"/>
                    <a:pt x="14" y="53"/>
                  </a:cubicBezTo>
                  <a:cubicBezTo>
                    <a:pt x="16" y="52"/>
                    <a:pt x="18" y="52"/>
                    <a:pt x="20" y="54"/>
                  </a:cubicBezTo>
                  <a:close/>
                </a:path>
              </a:pathLst>
            </a:custGeom>
            <a:solidFill>
              <a:srgbClr val="EA550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19" name="Freeform 9"/>
            <p:cNvSpPr>
              <a:spLocks noEditPoints="1"/>
            </p:cNvSpPr>
            <p:nvPr/>
          </p:nvSpPr>
          <p:spPr bwMode="auto">
            <a:xfrm>
              <a:off x="1168400" y="895350"/>
              <a:ext cx="136525" cy="139700"/>
            </a:xfrm>
            <a:custGeom>
              <a:avLst/>
              <a:gdLst>
                <a:gd name="T0" fmla="*/ 39 w 83"/>
                <a:gd name="T1" fmla="*/ 1 h 85"/>
                <a:gd name="T2" fmla="*/ 39 w 83"/>
                <a:gd name="T3" fmla="*/ 7 h 85"/>
                <a:gd name="T4" fmla="*/ 0 w 83"/>
                <a:gd name="T5" fmla="*/ 4 h 85"/>
                <a:gd name="T6" fmla="*/ 6 w 83"/>
                <a:gd name="T7" fmla="*/ 35 h 85"/>
                <a:gd name="T8" fmla="*/ 42 w 83"/>
                <a:gd name="T9" fmla="*/ 41 h 85"/>
                <a:gd name="T10" fmla="*/ 28 w 83"/>
                <a:gd name="T11" fmla="*/ 80 h 85"/>
                <a:gd name="T12" fmla="*/ 30 w 83"/>
                <a:gd name="T13" fmla="*/ 74 h 85"/>
                <a:gd name="T14" fmla="*/ 36 w 83"/>
                <a:gd name="T15" fmla="*/ 42 h 85"/>
                <a:gd name="T16" fmla="*/ 8 w 83"/>
                <a:gd name="T17" fmla="*/ 40 h 85"/>
                <a:gd name="T18" fmla="*/ 6 w 83"/>
                <a:gd name="T19" fmla="*/ 79 h 85"/>
                <a:gd name="T20" fmla="*/ 0 w 83"/>
                <a:gd name="T21" fmla="*/ 79 h 85"/>
                <a:gd name="T22" fmla="*/ 6 w 83"/>
                <a:gd name="T23" fmla="*/ 35 h 85"/>
                <a:gd name="T24" fmla="*/ 32 w 83"/>
                <a:gd name="T25" fmla="*/ 11 h 85"/>
                <a:gd name="T26" fmla="*/ 37 w 83"/>
                <a:gd name="T27" fmla="*/ 23 h 85"/>
                <a:gd name="T28" fmla="*/ 9 w 83"/>
                <a:gd name="T29" fmla="*/ 29 h 85"/>
                <a:gd name="T30" fmla="*/ 4 w 83"/>
                <a:gd name="T31" fmla="*/ 17 h 85"/>
                <a:gd name="T32" fmla="*/ 10 w 83"/>
                <a:gd name="T33" fmla="*/ 56 h 85"/>
                <a:gd name="T34" fmla="*/ 23 w 83"/>
                <a:gd name="T35" fmla="*/ 53 h 85"/>
                <a:gd name="T36" fmla="*/ 31 w 83"/>
                <a:gd name="T37" fmla="*/ 41 h 85"/>
                <a:gd name="T38" fmla="*/ 31 w 83"/>
                <a:gd name="T39" fmla="*/ 48 h 85"/>
                <a:gd name="T40" fmla="*/ 32 w 83"/>
                <a:gd name="T41" fmla="*/ 56 h 85"/>
                <a:gd name="T42" fmla="*/ 32 w 83"/>
                <a:gd name="T43" fmla="*/ 61 h 85"/>
                <a:gd name="T44" fmla="*/ 24 w 83"/>
                <a:gd name="T45" fmla="*/ 76 h 85"/>
                <a:gd name="T46" fmla="*/ 18 w 83"/>
                <a:gd name="T47" fmla="*/ 76 h 85"/>
                <a:gd name="T48" fmla="*/ 10 w 83"/>
                <a:gd name="T49" fmla="*/ 61 h 85"/>
                <a:gd name="T50" fmla="*/ 10 w 83"/>
                <a:gd name="T51" fmla="*/ 56 h 85"/>
                <a:gd name="T52" fmla="*/ 17 w 83"/>
                <a:gd name="T53" fmla="*/ 46 h 85"/>
                <a:gd name="T54" fmla="*/ 17 w 83"/>
                <a:gd name="T55" fmla="*/ 55 h 85"/>
                <a:gd name="T56" fmla="*/ 11 w 83"/>
                <a:gd name="T57" fmla="*/ 50 h 85"/>
                <a:gd name="T58" fmla="*/ 11 w 83"/>
                <a:gd name="T59" fmla="*/ 42 h 85"/>
                <a:gd name="T60" fmla="*/ 30 w 83"/>
                <a:gd name="T61" fmla="*/ 17 h 85"/>
                <a:gd name="T62" fmla="*/ 10 w 83"/>
                <a:gd name="T63" fmla="*/ 19 h 85"/>
                <a:gd name="T64" fmla="*/ 12 w 83"/>
                <a:gd name="T65" fmla="*/ 23 h 85"/>
                <a:gd name="T66" fmla="*/ 31 w 83"/>
                <a:gd name="T67" fmla="*/ 21 h 85"/>
                <a:gd name="T68" fmla="*/ 30 w 83"/>
                <a:gd name="T69" fmla="*/ 17 h 85"/>
                <a:gd name="T70" fmla="*/ 66 w 83"/>
                <a:gd name="T71" fmla="*/ 11 h 85"/>
                <a:gd name="T72" fmla="*/ 79 w 83"/>
                <a:gd name="T73" fmla="*/ 16 h 85"/>
                <a:gd name="T74" fmla="*/ 75 w 83"/>
                <a:gd name="T75" fmla="*/ 54 h 85"/>
                <a:gd name="T76" fmla="*/ 66 w 83"/>
                <a:gd name="T77" fmla="*/ 73 h 85"/>
                <a:gd name="T78" fmla="*/ 71 w 83"/>
                <a:gd name="T79" fmla="*/ 63 h 85"/>
                <a:gd name="T80" fmla="*/ 77 w 83"/>
                <a:gd name="T81" fmla="*/ 61 h 85"/>
                <a:gd name="T82" fmla="*/ 81 w 83"/>
                <a:gd name="T83" fmla="*/ 84 h 85"/>
                <a:gd name="T84" fmla="*/ 75 w 83"/>
                <a:gd name="T85" fmla="*/ 77 h 85"/>
                <a:gd name="T86" fmla="*/ 44 w 83"/>
                <a:gd name="T87" fmla="*/ 78 h 85"/>
                <a:gd name="T88" fmla="*/ 59 w 83"/>
                <a:gd name="T89" fmla="*/ 73 h 85"/>
                <a:gd name="T90" fmla="*/ 52 w 83"/>
                <a:gd name="T91" fmla="*/ 54 h 85"/>
                <a:gd name="T92" fmla="*/ 46 w 83"/>
                <a:gd name="T93" fmla="*/ 16 h 85"/>
                <a:gd name="T94" fmla="*/ 59 w 83"/>
                <a:gd name="T95" fmla="*/ 11 h 85"/>
                <a:gd name="T96" fmla="*/ 62 w 83"/>
                <a:gd name="T97" fmla="*/ 0 h 85"/>
                <a:gd name="T98" fmla="*/ 55 w 83"/>
                <a:gd name="T99" fmla="*/ 17 h 85"/>
                <a:gd name="T100" fmla="*/ 52 w 83"/>
                <a:gd name="T101" fmla="*/ 46 h 85"/>
                <a:gd name="T102" fmla="*/ 59 w 83"/>
                <a:gd name="T103" fmla="*/ 47 h 85"/>
                <a:gd name="T104" fmla="*/ 55 w 83"/>
                <a:gd name="T105" fmla="*/ 17 h 85"/>
                <a:gd name="T106" fmla="*/ 66 w 83"/>
                <a:gd name="T107" fmla="*/ 17 h 85"/>
                <a:gd name="T108" fmla="*/ 71 w 83"/>
                <a:gd name="T109" fmla="*/ 47 h 85"/>
                <a:gd name="T110" fmla="*/ 73 w 83"/>
                <a:gd name="T111" fmla="*/ 2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3" h="85">
                  <a:moveTo>
                    <a:pt x="4" y="1"/>
                  </a:moveTo>
                  <a:cubicBezTo>
                    <a:pt x="39" y="1"/>
                    <a:pt x="39" y="1"/>
                    <a:pt x="39" y="1"/>
                  </a:cubicBezTo>
                  <a:cubicBezTo>
                    <a:pt x="41" y="1"/>
                    <a:pt x="42" y="2"/>
                    <a:pt x="42" y="4"/>
                  </a:cubicBezTo>
                  <a:cubicBezTo>
                    <a:pt x="42" y="6"/>
                    <a:pt x="41" y="7"/>
                    <a:pt x="39" y="7"/>
                  </a:cubicBezTo>
                  <a:cubicBezTo>
                    <a:pt x="4" y="7"/>
                    <a:pt x="4" y="7"/>
                    <a:pt x="4" y="7"/>
                  </a:cubicBezTo>
                  <a:cubicBezTo>
                    <a:pt x="1" y="7"/>
                    <a:pt x="0" y="6"/>
                    <a:pt x="0" y="4"/>
                  </a:cubicBezTo>
                  <a:cubicBezTo>
                    <a:pt x="0" y="2"/>
                    <a:pt x="1" y="1"/>
                    <a:pt x="4" y="1"/>
                  </a:cubicBezTo>
                  <a:close/>
                  <a:moveTo>
                    <a:pt x="6" y="35"/>
                  </a:moveTo>
                  <a:cubicBezTo>
                    <a:pt x="35" y="35"/>
                    <a:pt x="35" y="35"/>
                    <a:pt x="35" y="35"/>
                  </a:cubicBezTo>
                  <a:cubicBezTo>
                    <a:pt x="40" y="35"/>
                    <a:pt x="43" y="37"/>
                    <a:pt x="42" y="41"/>
                  </a:cubicBezTo>
                  <a:cubicBezTo>
                    <a:pt x="42" y="74"/>
                    <a:pt x="42" y="74"/>
                    <a:pt x="42" y="74"/>
                  </a:cubicBezTo>
                  <a:cubicBezTo>
                    <a:pt x="42" y="81"/>
                    <a:pt x="37" y="82"/>
                    <a:pt x="28" y="80"/>
                  </a:cubicBezTo>
                  <a:cubicBezTo>
                    <a:pt x="26" y="79"/>
                    <a:pt x="26" y="78"/>
                    <a:pt x="26" y="76"/>
                  </a:cubicBezTo>
                  <a:cubicBezTo>
                    <a:pt x="27" y="74"/>
                    <a:pt x="28" y="74"/>
                    <a:pt x="30" y="74"/>
                  </a:cubicBezTo>
                  <a:cubicBezTo>
                    <a:pt x="34" y="76"/>
                    <a:pt x="36" y="76"/>
                    <a:pt x="36" y="73"/>
                  </a:cubicBezTo>
                  <a:cubicBezTo>
                    <a:pt x="36" y="42"/>
                    <a:pt x="36" y="42"/>
                    <a:pt x="36" y="42"/>
                  </a:cubicBezTo>
                  <a:cubicBezTo>
                    <a:pt x="36" y="41"/>
                    <a:pt x="36" y="40"/>
                    <a:pt x="35" y="40"/>
                  </a:cubicBezTo>
                  <a:cubicBezTo>
                    <a:pt x="8" y="40"/>
                    <a:pt x="8" y="40"/>
                    <a:pt x="8" y="40"/>
                  </a:cubicBezTo>
                  <a:cubicBezTo>
                    <a:pt x="6" y="40"/>
                    <a:pt x="5" y="41"/>
                    <a:pt x="6" y="43"/>
                  </a:cubicBezTo>
                  <a:cubicBezTo>
                    <a:pt x="6" y="79"/>
                    <a:pt x="6" y="79"/>
                    <a:pt x="6" y="79"/>
                  </a:cubicBezTo>
                  <a:cubicBezTo>
                    <a:pt x="5" y="81"/>
                    <a:pt x="4" y="82"/>
                    <a:pt x="3" y="82"/>
                  </a:cubicBezTo>
                  <a:cubicBezTo>
                    <a:pt x="1" y="82"/>
                    <a:pt x="0" y="81"/>
                    <a:pt x="0" y="79"/>
                  </a:cubicBezTo>
                  <a:cubicBezTo>
                    <a:pt x="0" y="40"/>
                    <a:pt x="0" y="40"/>
                    <a:pt x="0" y="40"/>
                  </a:cubicBezTo>
                  <a:cubicBezTo>
                    <a:pt x="0" y="37"/>
                    <a:pt x="2" y="35"/>
                    <a:pt x="6" y="35"/>
                  </a:cubicBezTo>
                  <a:close/>
                  <a:moveTo>
                    <a:pt x="9" y="11"/>
                  </a:moveTo>
                  <a:cubicBezTo>
                    <a:pt x="32" y="11"/>
                    <a:pt x="32" y="11"/>
                    <a:pt x="32" y="11"/>
                  </a:cubicBezTo>
                  <a:cubicBezTo>
                    <a:pt x="36" y="11"/>
                    <a:pt x="38" y="13"/>
                    <a:pt x="37" y="17"/>
                  </a:cubicBezTo>
                  <a:cubicBezTo>
                    <a:pt x="37" y="23"/>
                    <a:pt x="37" y="23"/>
                    <a:pt x="37" y="23"/>
                  </a:cubicBezTo>
                  <a:cubicBezTo>
                    <a:pt x="38" y="28"/>
                    <a:pt x="36" y="30"/>
                    <a:pt x="32" y="29"/>
                  </a:cubicBezTo>
                  <a:cubicBezTo>
                    <a:pt x="9" y="29"/>
                    <a:pt x="9" y="29"/>
                    <a:pt x="9" y="29"/>
                  </a:cubicBezTo>
                  <a:cubicBezTo>
                    <a:pt x="5" y="29"/>
                    <a:pt x="4" y="27"/>
                    <a:pt x="4" y="23"/>
                  </a:cubicBezTo>
                  <a:cubicBezTo>
                    <a:pt x="4" y="17"/>
                    <a:pt x="4" y="17"/>
                    <a:pt x="4" y="17"/>
                  </a:cubicBezTo>
                  <a:cubicBezTo>
                    <a:pt x="3" y="13"/>
                    <a:pt x="5" y="11"/>
                    <a:pt x="9" y="11"/>
                  </a:cubicBezTo>
                  <a:close/>
                  <a:moveTo>
                    <a:pt x="10" y="56"/>
                  </a:moveTo>
                  <a:cubicBezTo>
                    <a:pt x="22" y="56"/>
                    <a:pt x="22" y="56"/>
                    <a:pt x="22" y="56"/>
                  </a:cubicBezTo>
                  <a:cubicBezTo>
                    <a:pt x="22" y="55"/>
                    <a:pt x="22" y="54"/>
                    <a:pt x="23" y="53"/>
                  </a:cubicBezTo>
                  <a:cubicBezTo>
                    <a:pt x="24" y="50"/>
                    <a:pt x="26" y="46"/>
                    <a:pt x="27" y="43"/>
                  </a:cubicBezTo>
                  <a:cubicBezTo>
                    <a:pt x="28" y="41"/>
                    <a:pt x="29" y="41"/>
                    <a:pt x="31" y="41"/>
                  </a:cubicBezTo>
                  <a:cubicBezTo>
                    <a:pt x="33" y="42"/>
                    <a:pt x="33" y="44"/>
                    <a:pt x="33" y="46"/>
                  </a:cubicBezTo>
                  <a:cubicBezTo>
                    <a:pt x="32" y="47"/>
                    <a:pt x="32" y="47"/>
                    <a:pt x="31" y="48"/>
                  </a:cubicBezTo>
                  <a:cubicBezTo>
                    <a:pt x="30" y="52"/>
                    <a:pt x="29" y="54"/>
                    <a:pt x="28" y="56"/>
                  </a:cubicBezTo>
                  <a:cubicBezTo>
                    <a:pt x="32" y="56"/>
                    <a:pt x="32" y="56"/>
                    <a:pt x="32" y="56"/>
                  </a:cubicBezTo>
                  <a:cubicBezTo>
                    <a:pt x="33" y="56"/>
                    <a:pt x="34" y="57"/>
                    <a:pt x="34" y="59"/>
                  </a:cubicBezTo>
                  <a:cubicBezTo>
                    <a:pt x="34" y="61"/>
                    <a:pt x="33" y="61"/>
                    <a:pt x="32" y="61"/>
                  </a:cubicBezTo>
                  <a:cubicBezTo>
                    <a:pt x="24" y="61"/>
                    <a:pt x="24" y="61"/>
                    <a:pt x="24" y="61"/>
                  </a:cubicBezTo>
                  <a:cubicBezTo>
                    <a:pt x="24" y="76"/>
                    <a:pt x="24" y="76"/>
                    <a:pt x="24" y="76"/>
                  </a:cubicBezTo>
                  <a:cubicBezTo>
                    <a:pt x="23" y="77"/>
                    <a:pt x="22" y="78"/>
                    <a:pt x="20" y="78"/>
                  </a:cubicBezTo>
                  <a:cubicBezTo>
                    <a:pt x="19" y="78"/>
                    <a:pt x="18" y="77"/>
                    <a:pt x="18" y="76"/>
                  </a:cubicBezTo>
                  <a:cubicBezTo>
                    <a:pt x="18" y="61"/>
                    <a:pt x="18" y="61"/>
                    <a:pt x="18" y="61"/>
                  </a:cubicBezTo>
                  <a:cubicBezTo>
                    <a:pt x="10" y="61"/>
                    <a:pt x="10" y="61"/>
                    <a:pt x="10" y="61"/>
                  </a:cubicBezTo>
                  <a:cubicBezTo>
                    <a:pt x="8" y="61"/>
                    <a:pt x="7" y="61"/>
                    <a:pt x="7" y="59"/>
                  </a:cubicBezTo>
                  <a:cubicBezTo>
                    <a:pt x="7" y="57"/>
                    <a:pt x="8" y="56"/>
                    <a:pt x="10" y="56"/>
                  </a:cubicBezTo>
                  <a:close/>
                  <a:moveTo>
                    <a:pt x="15" y="43"/>
                  </a:moveTo>
                  <a:cubicBezTo>
                    <a:pt x="15" y="44"/>
                    <a:pt x="16" y="45"/>
                    <a:pt x="17" y="46"/>
                  </a:cubicBezTo>
                  <a:cubicBezTo>
                    <a:pt x="17" y="48"/>
                    <a:pt x="18" y="49"/>
                    <a:pt x="19" y="51"/>
                  </a:cubicBezTo>
                  <a:cubicBezTo>
                    <a:pt x="19" y="53"/>
                    <a:pt x="19" y="54"/>
                    <a:pt x="17" y="55"/>
                  </a:cubicBezTo>
                  <a:cubicBezTo>
                    <a:pt x="15" y="56"/>
                    <a:pt x="13" y="55"/>
                    <a:pt x="13" y="53"/>
                  </a:cubicBezTo>
                  <a:cubicBezTo>
                    <a:pt x="12" y="52"/>
                    <a:pt x="12" y="51"/>
                    <a:pt x="11" y="50"/>
                  </a:cubicBezTo>
                  <a:cubicBezTo>
                    <a:pt x="11" y="48"/>
                    <a:pt x="10" y="47"/>
                    <a:pt x="10" y="46"/>
                  </a:cubicBezTo>
                  <a:cubicBezTo>
                    <a:pt x="9" y="44"/>
                    <a:pt x="9" y="43"/>
                    <a:pt x="11" y="42"/>
                  </a:cubicBezTo>
                  <a:cubicBezTo>
                    <a:pt x="13" y="41"/>
                    <a:pt x="14" y="41"/>
                    <a:pt x="15" y="43"/>
                  </a:cubicBezTo>
                  <a:close/>
                  <a:moveTo>
                    <a:pt x="30" y="17"/>
                  </a:moveTo>
                  <a:cubicBezTo>
                    <a:pt x="11" y="17"/>
                    <a:pt x="11" y="17"/>
                    <a:pt x="11" y="17"/>
                  </a:cubicBezTo>
                  <a:cubicBezTo>
                    <a:pt x="10" y="17"/>
                    <a:pt x="9" y="18"/>
                    <a:pt x="10" y="19"/>
                  </a:cubicBezTo>
                  <a:cubicBezTo>
                    <a:pt x="10" y="21"/>
                    <a:pt x="10" y="21"/>
                    <a:pt x="10" y="21"/>
                  </a:cubicBezTo>
                  <a:cubicBezTo>
                    <a:pt x="10" y="23"/>
                    <a:pt x="10" y="23"/>
                    <a:pt x="12" y="23"/>
                  </a:cubicBezTo>
                  <a:cubicBezTo>
                    <a:pt x="30" y="23"/>
                    <a:pt x="30" y="23"/>
                    <a:pt x="30" y="23"/>
                  </a:cubicBezTo>
                  <a:cubicBezTo>
                    <a:pt x="31" y="23"/>
                    <a:pt x="31" y="23"/>
                    <a:pt x="31" y="21"/>
                  </a:cubicBezTo>
                  <a:cubicBezTo>
                    <a:pt x="31" y="19"/>
                    <a:pt x="31" y="19"/>
                    <a:pt x="31" y="19"/>
                  </a:cubicBezTo>
                  <a:cubicBezTo>
                    <a:pt x="31" y="18"/>
                    <a:pt x="31" y="17"/>
                    <a:pt x="30" y="17"/>
                  </a:cubicBezTo>
                  <a:close/>
                  <a:moveTo>
                    <a:pt x="66" y="3"/>
                  </a:moveTo>
                  <a:cubicBezTo>
                    <a:pt x="66" y="11"/>
                    <a:pt x="66" y="11"/>
                    <a:pt x="66" y="11"/>
                  </a:cubicBezTo>
                  <a:cubicBezTo>
                    <a:pt x="74" y="11"/>
                    <a:pt x="74" y="11"/>
                    <a:pt x="74" y="11"/>
                  </a:cubicBezTo>
                  <a:cubicBezTo>
                    <a:pt x="78" y="11"/>
                    <a:pt x="79" y="12"/>
                    <a:pt x="79" y="16"/>
                  </a:cubicBezTo>
                  <a:cubicBezTo>
                    <a:pt x="79" y="48"/>
                    <a:pt x="79" y="48"/>
                    <a:pt x="79" y="48"/>
                  </a:cubicBezTo>
                  <a:cubicBezTo>
                    <a:pt x="79" y="52"/>
                    <a:pt x="78" y="54"/>
                    <a:pt x="75" y="54"/>
                  </a:cubicBezTo>
                  <a:cubicBezTo>
                    <a:pt x="66" y="54"/>
                    <a:pt x="66" y="54"/>
                    <a:pt x="66" y="54"/>
                  </a:cubicBezTo>
                  <a:cubicBezTo>
                    <a:pt x="66" y="73"/>
                    <a:pt x="66" y="73"/>
                    <a:pt x="66" y="73"/>
                  </a:cubicBezTo>
                  <a:cubicBezTo>
                    <a:pt x="74" y="72"/>
                    <a:pt x="74" y="72"/>
                    <a:pt x="74" y="72"/>
                  </a:cubicBezTo>
                  <a:cubicBezTo>
                    <a:pt x="72" y="67"/>
                    <a:pt x="71" y="64"/>
                    <a:pt x="71" y="63"/>
                  </a:cubicBezTo>
                  <a:cubicBezTo>
                    <a:pt x="70" y="61"/>
                    <a:pt x="71" y="60"/>
                    <a:pt x="73" y="59"/>
                  </a:cubicBezTo>
                  <a:cubicBezTo>
                    <a:pt x="75" y="59"/>
                    <a:pt x="76" y="59"/>
                    <a:pt x="77" y="61"/>
                  </a:cubicBezTo>
                  <a:cubicBezTo>
                    <a:pt x="80" y="69"/>
                    <a:pt x="82" y="76"/>
                    <a:pt x="83" y="81"/>
                  </a:cubicBezTo>
                  <a:cubicBezTo>
                    <a:pt x="83" y="83"/>
                    <a:pt x="83" y="84"/>
                    <a:pt x="81" y="84"/>
                  </a:cubicBezTo>
                  <a:cubicBezTo>
                    <a:pt x="79" y="85"/>
                    <a:pt x="77" y="84"/>
                    <a:pt x="77" y="82"/>
                  </a:cubicBezTo>
                  <a:cubicBezTo>
                    <a:pt x="77" y="82"/>
                    <a:pt x="76" y="80"/>
                    <a:pt x="75" y="77"/>
                  </a:cubicBezTo>
                  <a:cubicBezTo>
                    <a:pt x="58" y="79"/>
                    <a:pt x="48" y="81"/>
                    <a:pt x="48" y="81"/>
                  </a:cubicBezTo>
                  <a:cubicBezTo>
                    <a:pt x="46" y="81"/>
                    <a:pt x="44" y="80"/>
                    <a:pt x="44" y="78"/>
                  </a:cubicBezTo>
                  <a:cubicBezTo>
                    <a:pt x="44" y="76"/>
                    <a:pt x="45" y="75"/>
                    <a:pt x="47" y="74"/>
                  </a:cubicBezTo>
                  <a:cubicBezTo>
                    <a:pt x="48" y="74"/>
                    <a:pt x="52" y="74"/>
                    <a:pt x="59" y="73"/>
                  </a:cubicBezTo>
                  <a:cubicBezTo>
                    <a:pt x="59" y="54"/>
                    <a:pt x="59" y="54"/>
                    <a:pt x="59" y="54"/>
                  </a:cubicBezTo>
                  <a:cubicBezTo>
                    <a:pt x="52" y="54"/>
                    <a:pt x="52" y="54"/>
                    <a:pt x="52" y="54"/>
                  </a:cubicBezTo>
                  <a:cubicBezTo>
                    <a:pt x="48" y="54"/>
                    <a:pt x="45" y="52"/>
                    <a:pt x="46" y="49"/>
                  </a:cubicBezTo>
                  <a:cubicBezTo>
                    <a:pt x="46" y="16"/>
                    <a:pt x="46" y="16"/>
                    <a:pt x="46" y="16"/>
                  </a:cubicBezTo>
                  <a:cubicBezTo>
                    <a:pt x="46" y="12"/>
                    <a:pt x="48" y="11"/>
                    <a:pt x="52" y="11"/>
                  </a:cubicBezTo>
                  <a:cubicBezTo>
                    <a:pt x="59" y="11"/>
                    <a:pt x="59" y="11"/>
                    <a:pt x="59" y="11"/>
                  </a:cubicBezTo>
                  <a:cubicBezTo>
                    <a:pt x="59" y="3"/>
                    <a:pt x="59" y="3"/>
                    <a:pt x="59" y="3"/>
                  </a:cubicBezTo>
                  <a:cubicBezTo>
                    <a:pt x="59" y="1"/>
                    <a:pt x="60" y="0"/>
                    <a:pt x="62" y="0"/>
                  </a:cubicBezTo>
                  <a:cubicBezTo>
                    <a:pt x="65" y="0"/>
                    <a:pt x="66" y="1"/>
                    <a:pt x="66" y="3"/>
                  </a:cubicBezTo>
                  <a:close/>
                  <a:moveTo>
                    <a:pt x="55" y="17"/>
                  </a:moveTo>
                  <a:cubicBezTo>
                    <a:pt x="53" y="17"/>
                    <a:pt x="52" y="18"/>
                    <a:pt x="52" y="20"/>
                  </a:cubicBezTo>
                  <a:cubicBezTo>
                    <a:pt x="52" y="46"/>
                    <a:pt x="52" y="46"/>
                    <a:pt x="52" y="46"/>
                  </a:cubicBezTo>
                  <a:cubicBezTo>
                    <a:pt x="52" y="47"/>
                    <a:pt x="53" y="48"/>
                    <a:pt x="54" y="47"/>
                  </a:cubicBezTo>
                  <a:cubicBezTo>
                    <a:pt x="59" y="47"/>
                    <a:pt x="59" y="47"/>
                    <a:pt x="59" y="47"/>
                  </a:cubicBezTo>
                  <a:cubicBezTo>
                    <a:pt x="59" y="17"/>
                    <a:pt x="59" y="17"/>
                    <a:pt x="59" y="17"/>
                  </a:cubicBezTo>
                  <a:lnTo>
                    <a:pt x="55" y="17"/>
                  </a:lnTo>
                  <a:close/>
                  <a:moveTo>
                    <a:pt x="71" y="17"/>
                  </a:moveTo>
                  <a:cubicBezTo>
                    <a:pt x="66" y="17"/>
                    <a:pt x="66" y="17"/>
                    <a:pt x="66" y="17"/>
                  </a:cubicBezTo>
                  <a:cubicBezTo>
                    <a:pt x="66" y="47"/>
                    <a:pt x="66" y="47"/>
                    <a:pt x="66" y="47"/>
                  </a:cubicBezTo>
                  <a:cubicBezTo>
                    <a:pt x="71" y="47"/>
                    <a:pt x="71" y="47"/>
                    <a:pt x="71" y="47"/>
                  </a:cubicBezTo>
                  <a:cubicBezTo>
                    <a:pt x="72" y="48"/>
                    <a:pt x="73" y="47"/>
                    <a:pt x="73" y="46"/>
                  </a:cubicBezTo>
                  <a:cubicBezTo>
                    <a:pt x="73" y="20"/>
                    <a:pt x="73" y="20"/>
                    <a:pt x="73" y="20"/>
                  </a:cubicBezTo>
                  <a:cubicBezTo>
                    <a:pt x="73" y="18"/>
                    <a:pt x="72" y="17"/>
                    <a:pt x="71" y="17"/>
                  </a:cubicBezTo>
                  <a:close/>
                </a:path>
              </a:pathLst>
            </a:custGeom>
            <a:solidFill>
              <a:srgbClr val="EA550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20" name="Freeform 10"/>
            <p:cNvSpPr>
              <a:spLocks noEditPoints="1"/>
            </p:cNvSpPr>
            <p:nvPr/>
          </p:nvSpPr>
          <p:spPr bwMode="auto">
            <a:xfrm>
              <a:off x="1476375" y="896938"/>
              <a:ext cx="144463" cy="136525"/>
            </a:xfrm>
            <a:custGeom>
              <a:avLst/>
              <a:gdLst>
                <a:gd name="T0" fmla="*/ 34 w 88"/>
                <a:gd name="T1" fmla="*/ 0 h 83"/>
                <a:gd name="T2" fmla="*/ 38 w 88"/>
                <a:gd name="T3" fmla="*/ 2 h 83"/>
                <a:gd name="T4" fmla="*/ 36 w 88"/>
                <a:gd name="T5" fmla="*/ 6 h 83"/>
                <a:gd name="T6" fmla="*/ 25 w 88"/>
                <a:gd name="T7" fmla="*/ 8 h 83"/>
                <a:gd name="T8" fmla="*/ 25 w 88"/>
                <a:gd name="T9" fmla="*/ 23 h 83"/>
                <a:gd name="T10" fmla="*/ 37 w 88"/>
                <a:gd name="T11" fmla="*/ 23 h 83"/>
                <a:gd name="T12" fmla="*/ 37 w 88"/>
                <a:gd name="T13" fmla="*/ 30 h 83"/>
                <a:gd name="T14" fmla="*/ 25 w 88"/>
                <a:gd name="T15" fmla="*/ 30 h 83"/>
                <a:gd name="T16" fmla="*/ 25 w 88"/>
                <a:gd name="T17" fmla="*/ 32 h 83"/>
                <a:gd name="T18" fmla="*/ 39 w 88"/>
                <a:gd name="T19" fmla="*/ 49 h 83"/>
                <a:gd name="T20" fmla="*/ 38 w 88"/>
                <a:gd name="T21" fmla="*/ 54 h 83"/>
                <a:gd name="T22" fmla="*/ 34 w 88"/>
                <a:gd name="T23" fmla="*/ 53 h 83"/>
                <a:gd name="T24" fmla="*/ 25 w 88"/>
                <a:gd name="T25" fmla="*/ 41 h 83"/>
                <a:gd name="T26" fmla="*/ 25 w 88"/>
                <a:gd name="T27" fmla="*/ 79 h 83"/>
                <a:gd name="T28" fmla="*/ 22 w 88"/>
                <a:gd name="T29" fmla="*/ 82 h 83"/>
                <a:gd name="T30" fmla="*/ 19 w 88"/>
                <a:gd name="T31" fmla="*/ 79 h 83"/>
                <a:gd name="T32" fmla="*/ 19 w 88"/>
                <a:gd name="T33" fmla="*/ 42 h 83"/>
                <a:gd name="T34" fmla="*/ 7 w 88"/>
                <a:gd name="T35" fmla="*/ 59 h 83"/>
                <a:gd name="T36" fmla="*/ 1 w 88"/>
                <a:gd name="T37" fmla="*/ 59 h 83"/>
                <a:gd name="T38" fmla="*/ 2 w 88"/>
                <a:gd name="T39" fmla="*/ 54 h 83"/>
                <a:gd name="T40" fmla="*/ 18 w 88"/>
                <a:gd name="T41" fmla="*/ 30 h 83"/>
                <a:gd name="T42" fmla="*/ 5 w 88"/>
                <a:gd name="T43" fmla="*/ 30 h 83"/>
                <a:gd name="T44" fmla="*/ 5 w 88"/>
                <a:gd name="T45" fmla="*/ 23 h 83"/>
                <a:gd name="T46" fmla="*/ 19 w 88"/>
                <a:gd name="T47" fmla="*/ 23 h 83"/>
                <a:gd name="T48" fmla="*/ 19 w 88"/>
                <a:gd name="T49" fmla="*/ 9 h 83"/>
                <a:gd name="T50" fmla="*/ 7 w 88"/>
                <a:gd name="T51" fmla="*/ 10 h 83"/>
                <a:gd name="T52" fmla="*/ 6 w 88"/>
                <a:gd name="T53" fmla="*/ 3 h 83"/>
                <a:gd name="T54" fmla="*/ 34 w 88"/>
                <a:gd name="T55" fmla="*/ 0 h 83"/>
                <a:gd name="T56" fmla="*/ 76 w 88"/>
                <a:gd name="T57" fmla="*/ 4 h 83"/>
                <a:gd name="T58" fmla="*/ 76 w 88"/>
                <a:gd name="T59" fmla="*/ 52 h 83"/>
                <a:gd name="T60" fmla="*/ 81 w 88"/>
                <a:gd name="T61" fmla="*/ 51 h 83"/>
                <a:gd name="T62" fmla="*/ 84 w 88"/>
                <a:gd name="T63" fmla="*/ 50 h 83"/>
                <a:gd name="T64" fmla="*/ 85 w 88"/>
                <a:gd name="T65" fmla="*/ 58 h 83"/>
                <a:gd name="T66" fmla="*/ 76 w 88"/>
                <a:gd name="T67" fmla="*/ 59 h 83"/>
                <a:gd name="T68" fmla="*/ 76 w 88"/>
                <a:gd name="T69" fmla="*/ 80 h 83"/>
                <a:gd name="T70" fmla="*/ 72 w 88"/>
                <a:gd name="T71" fmla="*/ 83 h 83"/>
                <a:gd name="T72" fmla="*/ 69 w 88"/>
                <a:gd name="T73" fmla="*/ 80 h 83"/>
                <a:gd name="T74" fmla="*/ 69 w 88"/>
                <a:gd name="T75" fmla="*/ 60 h 83"/>
                <a:gd name="T76" fmla="*/ 37 w 88"/>
                <a:gd name="T77" fmla="*/ 65 h 83"/>
                <a:gd name="T78" fmla="*/ 33 w 88"/>
                <a:gd name="T79" fmla="*/ 62 h 83"/>
                <a:gd name="T80" fmla="*/ 36 w 88"/>
                <a:gd name="T81" fmla="*/ 58 h 83"/>
                <a:gd name="T82" fmla="*/ 42 w 88"/>
                <a:gd name="T83" fmla="*/ 57 h 83"/>
                <a:gd name="T84" fmla="*/ 69 w 88"/>
                <a:gd name="T85" fmla="*/ 53 h 83"/>
                <a:gd name="T86" fmla="*/ 69 w 88"/>
                <a:gd name="T87" fmla="*/ 5 h 83"/>
                <a:gd name="T88" fmla="*/ 72 w 88"/>
                <a:gd name="T89" fmla="*/ 2 h 83"/>
                <a:gd name="T90" fmla="*/ 76 w 88"/>
                <a:gd name="T91" fmla="*/ 4 h 83"/>
                <a:gd name="T92" fmla="*/ 47 w 88"/>
                <a:gd name="T93" fmla="*/ 26 h 83"/>
                <a:gd name="T94" fmla="*/ 60 w 88"/>
                <a:gd name="T95" fmla="*/ 40 h 83"/>
                <a:gd name="T96" fmla="*/ 59 w 88"/>
                <a:gd name="T97" fmla="*/ 45 h 83"/>
                <a:gd name="T98" fmla="*/ 55 w 88"/>
                <a:gd name="T99" fmla="*/ 45 h 83"/>
                <a:gd name="T100" fmla="*/ 42 w 88"/>
                <a:gd name="T101" fmla="*/ 31 h 83"/>
                <a:gd name="T102" fmla="*/ 42 w 88"/>
                <a:gd name="T103" fmla="*/ 26 h 83"/>
                <a:gd name="T104" fmla="*/ 47 w 88"/>
                <a:gd name="T105" fmla="*/ 26 h 83"/>
                <a:gd name="T106" fmla="*/ 51 w 88"/>
                <a:gd name="T107" fmla="*/ 5 h 83"/>
                <a:gd name="T108" fmla="*/ 65 w 88"/>
                <a:gd name="T109" fmla="*/ 21 h 83"/>
                <a:gd name="T110" fmla="*/ 64 w 88"/>
                <a:gd name="T111" fmla="*/ 26 h 83"/>
                <a:gd name="T112" fmla="*/ 60 w 88"/>
                <a:gd name="T113" fmla="*/ 25 h 83"/>
                <a:gd name="T114" fmla="*/ 46 w 88"/>
                <a:gd name="T115" fmla="*/ 10 h 83"/>
                <a:gd name="T116" fmla="*/ 46 w 88"/>
                <a:gd name="T117" fmla="*/ 5 h 83"/>
                <a:gd name="T118" fmla="*/ 51 w 88"/>
                <a:gd name="T119" fmla="*/ 5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8" h="83">
                  <a:moveTo>
                    <a:pt x="34" y="0"/>
                  </a:moveTo>
                  <a:cubicBezTo>
                    <a:pt x="36" y="0"/>
                    <a:pt x="38" y="0"/>
                    <a:pt x="38" y="2"/>
                  </a:cubicBezTo>
                  <a:cubicBezTo>
                    <a:pt x="39" y="4"/>
                    <a:pt x="38" y="6"/>
                    <a:pt x="36" y="6"/>
                  </a:cubicBezTo>
                  <a:cubicBezTo>
                    <a:pt x="33" y="7"/>
                    <a:pt x="29" y="8"/>
                    <a:pt x="25" y="8"/>
                  </a:cubicBezTo>
                  <a:cubicBezTo>
                    <a:pt x="25" y="23"/>
                    <a:pt x="25" y="23"/>
                    <a:pt x="25" y="23"/>
                  </a:cubicBezTo>
                  <a:cubicBezTo>
                    <a:pt x="37" y="23"/>
                    <a:pt x="37" y="23"/>
                    <a:pt x="37" y="23"/>
                  </a:cubicBezTo>
                  <a:cubicBezTo>
                    <a:pt x="41" y="26"/>
                    <a:pt x="41" y="28"/>
                    <a:pt x="37" y="30"/>
                  </a:cubicBezTo>
                  <a:cubicBezTo>
                    <a:pt x="25" y="30"/>
                    <a:pt x="25" y="30"/>
                    <a:pt x="25" y="30"/>
                  </a:cubicBezTo>
                  <a:cubicBezTo>
                    <a:pt x="25" y="32"/>
                    <a:pt x="25" y="32"/>
                    <a:pt x="25" y="32"/>
                  </a:cubicBezTo>
                  <a:cubicBezTo>
                    <a:pt x="31" y="38"/>
                    <a:pt x="36" y="43"/>
                    <a:pt x="39" y="49"/>
                  </a:cubicBezTo>
                  <a:cubicBezTo>
                    <a:pt x="40" y="51"/>
                    <a:pt x="40" y="53"/>
                    <a:pt x="38" y="54"/>
                  </a:cubicBezTo>
                  <a:cubicBezTo>
                    <a:pt x="36" y="56"/>
                    <a:pt x="35" y="55"/>
                    <a:pt x="34" y="53"/>
                  </a:cubicBezTo>
                  <a:cubicBezTo>
                    <a:pt x="32" y="50"/>
                    <a:pt x="29" y="46"/>
                    <a:pt x="25" y="41"/>
                  </a:cubicBezTo>
                  <a:cubicBezTo>
                    <a:pt x="25" y="79"/>
                    <a:pt x="25" y="79"/>
                    <a:pt x="25" y="79"/>
                  </a:cubicBezTo>
                  <a:cubicBezTo>
                    <a:pt x="25" y="80"/>
                    <a:pt x="24" y="81"/>
                    <a:pt x="22" y="82"/>
                  </a:cubicBezTo>
                  <a:cubicBezTo>
                    <a:pt x="20" y="81"/>
                    <a:pt x="19" y="80"/>
                    <a:pt x="19" y="79"/>
                  </a:cubicBezTo>
                  <a:cubicBezTo>
                    <a:pt x="19" y="42"/>
                    <a:pt x="19" y="42"/>
                    <a:pt x="19" y="42"/>
                  </a:cubicBezTo>
                  <a:cubicBezTo>
                    <a:pt x="15" y="49"/>
                    <a:pt x="11" y="54"/>
                    <a:pt x="7" y="59"/>
                  </a:cubicBezTo>
                  <a:cubicBezTo>
                    <a:pt x="5" y="61"/>
                    <a:pt x="3" y="61"/>
                    <a:pt x="1" y="59"/>
                  </a:cubicBezTo>
                  <a:cubicBezTo>
                    <a:pt x="0" y="58"/>
                    <a:pt x="0" y="56"/>
                    <a:pt x="2" y="54"/>
                  </a:cubicBezTo>
                  <a:cubicBezTo>
                    <a:pt x="9" y="48"/>
                    <a:pt x="14" y="40"/>
                    <a:pt x="18" y="30"/>
                  </a:cubicBezTo>
                  <a:cubicBezTo>
                    <a:pt x="5" y="30"/>
                    <a:pt x="5" y="30"/>
                    <a:pt x="5" y="30"/>
                  </a:cubicBezTo>
                  <a:cubicBezTo>
                    <a:pt x="1" y="28"/>
                    <a:pt x="1" y="25"/>
                    <a:pt x="5" y="23"/>
                  </a:cubicBezTo>
                  <a:cubicBezTo>
                    <a:pt x="19" y="23"/>
                    <a:pt x="19" y="23"/>
                    <a:pt x="19" y="23"/>
                  </a:cubicBezTo>
                  <a:cubicBezTo>
                    <a:pt x="19" y="9"/>
                    <a:pt x="19" y="9"/>
                    <a:pt x="19" y="9"/>
                  </a:cubicBezTo>
                  <a:cubicBezTo>
                    <a:pt x="15" y="10"/>
                    <a:pt x="11" y="10"/>
                    <a:pt x="7" y="10"/>
                  </a:cubicBezTo>
                  <a:cubicBezTo>
                    <a:pt x="3" y="9"/>
                    <a:pt x="3" y="6"/>
                    <a:pt x="6" y="3"/>
                  </a:cubicBezTo>
                  <a:cubicBezTo>
                    <a:pt x="15" y="3"/>
                    <a:pt x="25" y="2"/>
                    <a:pt x="34" y="0"/>
                  </a:cubicBezTo>
                  <a:close/>
                  <a:moveTo>
                    <a:pt x="76" y="4"/>
                  </a:moveTo>
                  <a:cubicBezTo>
                    <a:pt x="76" y="52"/>
                    <a:pt x="76" y="52"/>
                    <a:pt x="76" y="52"/>
                  </a:cubicBezTo>
                  <a:cubicBezTo>
                    <a:pt x="77" y="51"/>
                    <a:pt x="79" y="51"/>
                    <a:pt x="81" y="51"/>
                  </a:cubicBezTo>
                  <a:cubicBezTo>
                    <a:pt x="83" y="51"/>
                    <a:pt x="84" y="50"/>
                    <a:pt x="84" y="50"/>
                  </a:cubicBezTo>
                  <a:cubicBezTo>
                    <a:pt x="88" y="53"/>
                    <a:pt x="88" y="55"/>
                    <a:pt x="85" y="58"/>
                  </a:cubicBezTo>
                  <a:cubicBezTo>
                    <a:pt x="80" y="58"/>
                    <a:pt x="77" y="59"/>
                    <a:pt x="76" y="59"/>
                  </a:cubicBezTo>
                  <a:cubicBezTo>
                    <a:pt x="76" y="80"/>
                    <a:pt x="76" y="80"/>
                    <a:pt x="76" y="80"/>
                  </a:cubicBezTo>
                  <a:cubicBezTo>
                    <a:pt x="75" y="82"/>
                    <a:pt x="74" y="83"/>
                    <a:pt x="72" y="83"/>
                  </a:cubicBezTo>
                  <a:cubicBezTo>
                    <a:pt x="70" y="83"/>
                    <a:pt x="69" y="82"/>
                    <a:pt x="69" y="80"/>
                  </a:cubicBezTo>
                  <a:cubicBezTo>
                    <a:pt x="69" y="60"/>
                    <a:pt x="69" y="60"/>
                    <a:pt x="69" y="60"/>
                  </a:cubicBezTo>
                  <a:cubicBezTo>
                    <a:pt x="54" y="63"/>
                    <a:pt x="43" y="64"/>
                    <a:pt x="37" y="65"/>
                  </a:cubicBezTo>
                  <a:cubicBezTo>
                    <a:pt x="35" y="65"/>
                    <a:pt x="34" y="64"/>
                    <a:pt x="33" y="62"/>
                  </a:cubicBezTo>
                  <a:cubicBezTo>
                    <a:pt x="33" y="60"/>
                    <a:pt x="34" y="58"/>
                    <a:pt x="36" y="58"/>
                  </a:cubicBezTo>
                  <a:cubicBezTo>
                    <a:pt x="37" y="58"/>
                    <a:pt x="39" y="57"/>
                    <a:pt x="42" y="57"/>
                  </a:cubicBezTo>
                  <a:cubicBezTo>
                    <a:pt x="53" y="55"/>
                    <a:pt x="62" y="54"/>
                    <a:pt x="69" y="53"/>
                  </a:cubicBezTo>
                  <a:cubicBezTo>
                    <a:pt x="69" y="5"/>
                    <a:pt x="69" y="5"/>
                    <a:pt x="69" y="5"/>
                  </a:cubicBezTo>
                  <a:cubicBezTo>
                    <a:pt x="69" y="3"/>
                    <a:pt x="70" y="2"/>
                    <a:pt x="72" y="2"/>
                  </a:cubicBezTo>
                  <a:cubicBezTo>
                    <a:pt x="74" y="2"/>
                    <a:pt x="75" y="3"/>
                    <a:pt x="76" y="4"/>
                  </a:cubicBezTo>
                  <a:close/>
                  <a:moveTo>
                    <a:pt x="47" y="26"/>
                  </a:moveTo>
                  <a:cubicBezTo>
                    <a:pt x="52" y="30"/>
                    <a:pt x="56" y="34"/>
                    <a:pt x="60" y="40"/>
                  </a:cubicBezTo>
                  <a:cubicBezTo>
                    <a:pt x="61" y="42"/>
                    <a:pt x="61" y="44"/>
                    <a:pt x="59" y="45"/>
                  </a:cubicBezTo>
                  <a:cubicBezTo>
                    <a:pt x="57" y="47"/>
                    <a:pt x="56" y="46"/>
                    <a:pt x="55" y="45"/>
                  </a:cubicBezTo>
                  <a:cubicBezTo>
                    <a:pt x="51" y="39"/>
                    <a:pt x="47" y="35"/>
                    <a:pt x="42" y="31"/>
                  </a:cubicBezTo>
                  <a:cubicBezTo>
                    <a:pt x="41" y="30"/>
                    <a:pt x="40" y="28"/>
                    <a:pt x="42" y="26"/>
                  </a:cubicBezTo>
                  <a:cubicBezTo>
                    <a:pt x="43" y="25"/>
                    <a:pt x="45" y="25"/>
                    <a:pt x="47" y="26"/>
                  </a:cubicBezTo>
                  <a:close/>
                  <a:moveTo>
                    <a:pt x="51" y="5"/>
                  </a:moveTo>
                  <a:cubicBezTo>
                    <a:pt x="56" y="10"/>
                    <a:pt x="61" y="15"/>
                    <a:pt x="65" y="21"/>
                  </a:cubicBezTo>
                  <a:cubicBezTo>
                    <a:pt x="66" y="23"/>
                    <a:pt x="66" y="25"/>
                    <a:pt x="64" y="26"/>
                  </a:cubicBezTo>
                  <a:cubicBezTo>
                    <a:pt x="63" y="27"/>
                    <a:pt x="61" y="27"/>
                    <a:pt x="60" y="25"/>
                  </a:cubicBezTo>
                  <a:cubicBezTo>
                    <a:pt x="56" y="20"/>
                    <a:pt x="51" y="15"/>
                    <a:pt x="46" y="10"/>
                  </a:cubicBezTo>
                  <a:cubicBezTo>
                    <a:pt x="45" y="9"/>
                    <a:pt x="44" y="7"/>
                    <a:pt x="46" y="5"/>
                  </a:cubicBezTo>
                  <a:cubicBezTo>
                    <a:pt x="47" y="4"/>
                    <a:pt x="49" y="4"/>
                    <a:pt x="51" y="5"/>
                  </a:cubicBezTo>
                  <a:close/>
                </a:path>
              </a:pathLst>
            </a:custGeom>
            <a:solidFill>
              <a:srgbClr val="EA550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21" name="Freeform 11"/>
            <p:cNvSpPr>
              <a:spLocks noEditPoints="1"/>
            </p:cNvSpPr>
            <p:nvPr/>
          </p:nvSpPr>
          <p:spPr bwMode="auto">
            <a:xfrm>
              <a:off x="1644650" y="896938"/>
              <a:ext cx="144463" cy="134937"/>
            </a:xfrm>
            <a:custGeom>
              <a:avLst/>
              <a:gdLst>
                <a:gd name="T0" fmla="*/ 20 w 88"/>
                <a:gd name="T1" fmla="*/ 17 h 82"/>
                <a:gd name="T2" fmla="*/ 30 w 88"/>
                <a:gd name="T3" fmla="*/ 20 h 82"/>
                <a:gd name="T4" fmla="*/ 20 w 88"/>
                <a:gd name="T5" fmla="*/ 23 h 82"/>
                <a:gd name="T6" fmla="*/ 26 w 88"/>
                <a:gd name="T7" fmla="*/ 38 h 82"/>
                <a:gd name="T8" fmla="*/ 30 w 88"/>
                <a:gd name="T9" fmla="*/ 43 h 82"/>
                <a:gd name="T10" fmla="*/ 20 w 88"/>
                <a:gd name="T11" fmla="*/ 75 h 82"/>
                <a:gd name="T12" fmla="*/ 3 w 88"/>
                <a:gd name="T13" fmla="*/ 76 h 82"/>
                <a:gd name="T14" fmla="*/ 13 w 88"/>
                <a:gd name="T15" fmla="*/ 72 h 82"/>
                <a:gd name="T16" fmla="*/ 9 w 88"/>
                <a:gd name="T17" fmla="*/ 52 h 82"/>
                <a:gd name="T18" fmla="*/ 0 w 88"/>
                <a:gd name="T19" fmla="*/ 52 h 82"/>
                <a:gd name="T20" fmla="*/ 5 w 88"/>
                <a:gd name="T21" fmla="*/ 47 h 82"/>
                <a:gd name="T22" fmla="*/ 13 w 88"/>
                <a:gd name="T23" fmla="*/ 23 h 82"/>
                <a:gd name="T24" fmla="*/ 2 w 88"/>
                <a:gd name="T25" fmla="*/ 20 h 82"/>
                <a:gd name="T26" fmla="*/ 13 w 88"/>
                <a:gd name="T27" fmla="*/ 17 h 82"/>
                <a:gd name="T28" fmla="*/ 17 w 88"/>
                <a:gd name="T29" fmla="*/ 1 h 82"/>
                <a:gd name="T30" fmla="*/ 58 w 88"/>
                <a:gd name="T31" fmla="*/ 3 h 82"/>
                <a:gd name="T32" fmla="*/ 81 w 88"/>
                <a:gd name="T33" fmla="*/ 8 h 82"/>
                <a:gd name="T34" fmla="*/ 81 w 88"/>
                <a:gd name="T35" fmla="*/ 15 h 82"/>
                <a:gd name="T36" fmla="*/ 58 w 88"/>
                <a:gd name="T37" fmla="*/ 28 h 82"/>
                <a:gd name="T38" fmla="*/ 80 w 88"/>
                <a:gd name="T39" fmla="*/ 38 h 82"/>
                <a:gd name="T40" fmla="*/ 85 w 88"/>
                <a:gd name="T41" fmla="*/ 75 h 82"/>
                <a:gd name="T42" fmla="*/ 82 w 88"/>
                <a:gd name="T43" fmla="*/ 82 h 82"/>
                <a:gd name="T44" fmla="*/ 29 w 88"/>
                <a:gd name="T45" fmla="*/ 81 h 82"/>
                <a:gd name="T46" fmla="*/ 26 w 88"/>
                <a:gd name="T47" fmla="*/ 74 h 82"/>
                <a:gd name="T48" fmla="*/ 34 w 88"/>
                <a:gd name="T49" fmla="*/ 40 h 82"/>
                <a:gd name="T50" fmla="*/ 33 w 88"/>
                <a:gd name="T51" fmla="*/ 35 h 82"/>
                <a:gd name="T52" fmla="*/ 34 w 88"/>
                <a:gd name="T53" fmla="*/ 28 h 82"/>
                <a:gd name="T54" fmla="*/ 51 w 88"/>
                <a:gd name="T55" fmla="*/ 15 h 82"/>
                <a:gd name="T56" fmla="*/ 28 w 88"/>
                <a:gd name="T57" fmla="*/ 12 h 82"/>
                <a:gd name="T58" fmla="*/ 51 w 88"/>
                <a:gd name="T59" fmla="*/ 8 h 82"/>
                <a:gd name="T60" fmla="*/ 55 w 88"/>
                <a:gd name="T61" fmla="*/ 0 h 82"/>
                <a:gd name="T62" fmla="*/ 70 w 88"/>
                <a:gd name="T63" fmla="*/ 35 h 82"/>
                <a:gd name="T64" fmla="*/ 40 w 88"/>
                <a:gd name="T65" fmla="*/ 36 h 82"/>
                <a:gd name="T66" fmla="*/ 72 w 88"/>
                <a:gd name="T67" fmla="*/ 38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8" h="82">
                  <a:moveTo>
                    <a:pt x="20" y="4"/>
                  </a:moveTo>
                  <a:cubicBezTo>
                    <a:pt x="20" y="17"/>
                    <a:pt x="20" y="17"/>
                    <a:pt x="20" y="17"/>
                  </a:cubicBezTo>
                  <a:cubicBezTo>
                    <a:pt x="27" y="17"/>
                    <a:pt x="27" y="17"/>
                    <a:pt x="27" y="17"/>
                  </a:cubicBezTo>
                  <a:cubicBezTo>
                    <a:pt x="29" y="17"/>
                    <a:pt x="30" y="18"/>
                    <a:pt x="30" y="20"/>
                  </a:cubicBezTo>
                  <a:cubicBezTo>
                    <a:pt x="30" y="22"/>
                    <a:pt x="29" y="23"/>
                    <a:pt x="27" y="23"/>
                  </a:cubicBezTo>
                  <a:cubicBezTo>
                    <a:pt x="20" y="23"/>
                    <a:pt x="20" y="23"/>
                    <a:pt x="20" y="23"/>
                  </a:cubicBezTo>
                  <a:cubicBezTo>
                    <a:pt x="20" y="41"/>
                    <a:pt x="20" y="41"/>
                    <a:pt x="20" y="41"/>
                  </a:cubicBezTo>
                  <a:cubicBezTo>
                    <a:pt x="22" y="40"/>
                    <a:pt x="24" y="39"/>
                    <a:pt x="26" y="38"/>
                  </a:cubicBezTo>
                  <a:cubicBezTo>
                    <a:pt x="28" y="37"/>
                    <a:pt x="29" y="38"/>
                    <a:pt x="30" y="39"/>
                  </a:cubicBezTo>
                  <a:cubicBezTo>
                    <a:pt x="31" y="41"/>
                    <a:pt x="31" y="42"/>
                    <a:pt x="30" y="43"/>
                  </a:cubicBezTo>
                  <a:cubicBezTo>
                    <a:pt x="28" y="44"/>
                    <a:pt x="25" y="46"/>
                    <a:pt x="20" y="48"/>
                  </a:cubicBezTo>
                  <a:cubicBezTo>
                    <a:pt x="20" y="75"/>
                    <a:pt x="20" y="75"/>
                    <a:pt x="20" y="75"/>
                  </a:cubicBezTo>
                  <a:cubicBezTo>
                    <a:pt x="19" y="80"/>
                    <a:pt x="15" y="82"/>
                    <a:pt x="6" y="80"/>
                  </a:cubicBezTo>
                  <a:cubicBezTo>
                    <a:pt x="4" y="80"/>
                    <a:pt x="3" y="78"/>
                    <a:pt x="3" y="76"/>
                  </a:cubicBezTo>
                  <a:cubicBezTo>
                    <a:pt x="4" y="74"/>
                    <a:pt x="5" y="73"/>
                    <a:pt x="7" y="74"/>
                  </a:cubicBezTo>
                  <a:cubicBezTo>
                    <a:pt x="12" y="75"/>
                    <a:pt x="14" y="75"/>
                    <a:pt x="13" y="72"/>
                  </a:cubicBezTo>
                  <a:cubicBezTo>
                    <a:pt x="13" y="51"/>
                    <a:pt x="13" y="51"/>
                    <a:pt x="13" y="51"/>
                  </a:cubicBezTo>
                  <a:cubicBezTo>
                    <a:pt x="13" y="51"/>
                    <a:pt x="11" y="52"/>
                    <a:pt x="9" y="52"/>
                  </a:cubicBezTo>
                  <a:cubicBezTo>
                    <a:pt x="7" y="53"/>
                    <a:pt x="5" y="54"/>
                    <a:pt x="5" y="54"/>
                  </a:cubicBezTo>
                  <a:cubicBezTo>
                    <a:pt x="2" y="55"/>
                    <a:pt x="1" y="54"/>
                    <a:pt x="0" y="52"/>
                  </a:cubicBezTo>
                  <a:cubicBezTo>
                    <a:pt x="0" y="50"/>
                    <a:pt x="0" y="49"/>
                    <a:pt x="2" y="48"/>
                  </a:cubicBezTo>
                  <a:cubicBezTo>
                    <a:pt x="3" y="48"/>
                    <a:pt x="4" y="48"/>
                    <a:pt x="5" y="47"/>
                  </a:cubicBezTo>
                  <a:cubicBezTo>
                    <a:pt x="8" y="46"/>
                    <a:pt x="11" y="45"/>
                    <a:pt x="13" y="44"/>
                  </a:cubicBezTo>
                  <a:cubicBezTo>
                    <a:pt x="13" y="23"/>
                    <a:pt x="13" y="23"/>
                    <a:pt x="13" y="23"/>
                  </a:cubicBezTo>
                  <a:cubicBezTo>
                    <a:pt x="5" y="23"/>
                    <a:pt x="5" y="23"/>
                    <a:pt x="5" y="23"/>
                  </a:cubicBezTo>
                  <a:cubicBezTo>
                    <a:pt x="3" y="23"/>
                    <a:pt x="2" y="22"/>
                    <a:pt x="2" y="20"/>
                  </a:cubicBezTo>
                  <a:cubicBezTo>
                    <a:pt x="2" y="18"/>
                    <a:pt x="3" y="17"/>
                    <a:pt x="5" y="17"/>
                  </a:cubicBezTo>
                  <a:cubicBezTo>
                    <a:pt x="13" y="17"/>
                    <a:pt x="13" y="17"/>
                    <a:pt x="13" y="17"/>
                  </a:cubicBezTo>
                  <a:cubicBezTo>
                    <a:pt x="13" y="4"/>
                    <a:pt x="13" y="4"/>
                    <a:pt x="13" y="4"/>
                  </a:cubicBezTo>
                  <a:cubicBezTo>
                    <a:pt x="13" y="2"/>
                    <a:pt x="14" y="1"/>
                    <a:pt x="17" y="1"/>
                  </a:cubicBezTo>
                  <a:cubicBezTo>
                    <a:pt x="19" y="1"/>
                    <a:pt x="20" y="2"/>
                    <a:pt x="20" y="4"/>
                  </a:cubicBezTo>
                  <a:close/>
                  <a:moveTo>
                    <a:pt x="58" y="3"/>
                  </a:moveTo>
                  <a:cubicBezTo>
                    <a:pt x="58" y="8"/>
                    <a:pt x="58" y="8"/>
                    <a:pt x="58" y="8"/>
                  </a:cubicBezTo>
                  <a:cubicBezTo>
                    <a:pt x="81" y="8"/>
                    <a:pt x="81" y="8"/>
                    <a:pt x="81" y="8"/>
                  </a:cubicBezTo>
                  <a:cubicBezTo>
                    <a:pt x="83" y="9"/>
                    <a:pt x="84" y="10"/>
                    <a:pt x="85" y="12"/>
                  </a:cubicBezTo>
                  <a:cubicBezTo>
                    <a:pt x="84" y="14"/>
                    <a:pt x="83" y="15"/>
                    <a:pt x="81" y="15"/>
                  </a:cubicBezTo>
                  <a:cubicBezTo>
                    <a:pt x="58" y="15"/>
                    <a:pt x="58" y="15"/>
                    <a:pt x="58" y="15"/>
                  </a:cubicBezTo>
                  <a:cubicBezTo>
                    <a:pt x="58" y="28"/>
                    <a:pt x="58" y="28"/>
                    <a:pt x="58" y="28"/>
                  </a:cubicBezTo>
                  <a:cubicBezTo>
                    <a:pt x="75" y="28"/>
                    <a:pt x="75" y="28"/>
                    <a:pt x="75" y="28"/>
                  </a:cubicBezTo>
                  <a:cubicBezTo>
                    <a:pt x="80" y="29"/>
                    <a:pt x="82" y="32"/>
                    <a:pt x="80" y="38"/>
                  </a:cubicBezTo>
                  <a:cubicBezTo>
                    <a:pt x="76" y="48"/>
                    <a:pt x="70" y="56"/>
                    <a:pt x="62" y="63"/>
                  </a:cubicBezTo>
                  <a:cubicBezTo>
                    <a:pt x="69" y="68"/>
                    <a:pt x="77" y="72"/>
                    <a:pt x="85" y="75"/>
                  </a:cubicBezTo>
                  <a:cubicBezTo>
                    <a:pt x="87" y="76"/>
                    <a:pt x="88" y="77"/>
                    <a:pt x="87" y="80"/>
                  </a:cubicBezTo>
                  <a:cubicBezTo>
                    <a:pt x="86" y="82"/>
                    <a:pt x="84" y="82"/>
                    <a:pt x="82" y="82"/>
                  </a:cubicBezTo>
                  <a:cubicBezTo>
                    <a:pt x="74" y="78"/>
                    <a:pt x="65" y="74"/>
                    <a:pt x="56" y="68"/>
                  </a:cubicBezTo>
                  <a:cubicBezTo>
                    <a:pt x="48" y="73"/>
                    <a:pt x="39" y="77"/>
                    <a:pt x="29" y="81"/>
                  </a:cubicBezTo>
                  <a:cubicBezTo>
                    <a:pt x="26" y="81"/>
                    <a:pt x="25" y="81"/>
                    <a:pt x="24" y="78"/>
                  </a:cubicBezTo>
                  <a:cubicBezTo>
                    <a:pt x="23" y="76"/>
                    <a:pt x="24" y="75"/>
                    <a:pt x="26" y="74"/>
                  </a:cubicBezTo>
                  <a:cubicBezTo>
                    <a:pt x="36" y="71"/>
                    <a:pt x="44" y="68"/>
                    <a:pt x="50" y="63"/>
                  </a:cubicBezTo>
                  <a:cubicBezTo>
                    <a:pt x="45" y="59"/>
                    <a:pt x="40" y="51"/>
                    <a:pt x="34" y="40"/>
                  </a:cubicBezTo>
                  <a:cubicBezTo>
                    <a:pt x="33" y="38"/>
                    <a:pt x="33" y="37"/>
                    <a:pt x="35" y="35"/>
                  </a:cubicBezTo>
                  <a:cubicBezTo>
                    <a:pt x="33" y="35"/>
                    <a:pt x="33" y="35"/>
                    <a:pt x="33" y="35"/>
                  </a:cubicBezTo>
                  <a:cubicBezTo>
                    <a:pt x="32" y="35"/>
                    <a:pt x="31" y="34"/>
                    <a:pt x="30" y="32"/>
                  </a:cubicBezTo>
                  <a:cubicBezTo>
                    <a:pt x="31" y="29"/>
                    <a:pt x="32" y="28"/>
                    <a:pt x="34" y="28"/>
                  </a:cubicBezTo>
                  <a:cubicBezTo>
                    <a:pt x="51" y="28"/>
                    <a:pt x="51" y="28"/>
                    <a:pt x="51" y="28"/>
                  </a:cubicBezTo>
                  <a:cubicBezTo>
                    <a:pt x="51" y="15"/>
                    <a:pt x="51" y="15"/>
                    <a:pt x="51" y="15"/>
                  </a:cubicBezTo>
                  <a:cubicBezTo>
                    <a:pt x="31" y="15"/>
                    <a:pt x="31" y="15"/>
                    <a:pt x="31" y="15"/>
                  </a:cubicBezTo>
                  <a:cubicBezTo>
                    <a:pt x="29" y="15"/>
                    <a:pt x="28" y="14"/>
                    <a:pt x="28" y="12"/>
                  </a:cubicBezTo>
                  <a:cubicBezTo>
                    <a:pt x="28" y="10"/>
                    <a:pt x="29" y="9"/>
                    <a:pt x="31" y="8"/>
                  </a:cubicBezTo>
                  <a:cubicBezTo>
                    <a:pt x="51" y="8"/>
                    <a:pt x="51" y="8"/>
                    <a:pt x="51" y="8"/>
                  </a:cubicBezTo>
                  <a:cubicBezTo>
                    <a:pt x="51" y="3"/>
                    <a:pt x="51" y="3"/>
                    <a:pt x="51" y="3"/>
                  </a:cubicBezTo>
                  <a:cubicBezTo>
                    <a:pt x="51" y="1"/>
                    <a:pt x="52" y="0"/>
                    <a:pt x="55" y="0"/>
                  </a:cubicBezTo>
                  <a:cubicBezTo>
                    <a:pt x="57" y="0"/>
                    <a:pt x="58" y="1"/>
                    <a:pt x="58" y="3"/>
                  </a:cubicBezTo>
                  <a:close/>
                  <a:moveTo>
                    <a:pt x="70" y="35"/>
                  </a:moveTo>
                  <a:cubicBezTo>
                    <a:pt x="39" y="35"/>
                    <a:pt x="39" y="35"/>
                    <a:pt x="39" y="35"/>
                  </a:cubicBezTo>
                  <a:cubicBezTo>
                    <a:pt x="39" y="36"/>
                    <a:pt x="39" y="36"/>
                    <a:pt x="40" y="36"/>
                  </a:cubicBezTo>
                  <a:cubicBezTo>
                    <a:pt x="47" y="47"/>
                    <a:pt x="52" y="55"/>
                    <a:pt x="56" y="58"/>
                  </a:cubicBezTo>
                  <a:cubicBezTo>
                    <a:pt x="63" y="52"/>
                    <a:pt x="68" y="46"/>
                    <a:pt x="72" y="38"/>
                  </a:cubicBezTo>
                  <a:cubicBezTo>
                    <a:pt x="72" y="37"/>
                    <a:pt x="72" y="36"/>
                    <a:pt x="70" y="35"/>
                  </a:cubicBezTo>
                  <a:close/>
                </a:path>
              </a:pathLst>
            </a:custGeom>
            <a:solidFill>
              <a:srgbClr val="EA550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grpSp>
      <p:grpSp>
        <p:nvGrpSpPr>
          <p:cNvPr id="26" name="组合 25"/>
          <p:cNvGrpSpPr/>
          <p:nvPr userDrawn="1"/>
        </p:nvGrpSpPr>
        <p:grpSpPr>
          <a:xfrm>
            <a:off x="741424" y="4676044"/>
            <a:ext cx="5694681" cy="45719"/>
            <a:chOff x="777184" y="3817770"/>
            <a:chExt cx="5694681" cy="45719"/>
          </a:xfrm>
        </p:grpSpPr>
        <p:sp>
          <p:nvSpPr>
            <p:cNvPr id="27" name="矩形 26"/>
            <p:cNvSpPr/>
            <p:nvPr/>
          </p:nvSpPr>
          <p:spPr>
            <a:xfrm>
              <a:off x="777184" y="3817770"/>
              <a:ext cx="857551" cy="45719"/>
            </a:xfrm>
            <a:prstGeom prst="rect">
              <a:avLst/>
            </a:prstGeom>
            <a:solidFill>
              <a:srgbClr val="EA550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cxnSp>
          <p:nvCxnSpPr>
            <p:cNvPr id="28" name="直接连接符 27"/>
            <p:cNvCxnSpPr/>
            <p:nvPr/>
          </p:nvCxnSpPr>
          <p:spPr>
            <a:xfrm>
              <a:off x="1606260" y="3837412"/>
              <a:ext cx="4865605" cy="0"/>
            </a:xfrm>
            <a:prstGeom prst="line">
              <a:avLst/>
            </a:prstGeom>
            <a:ln w="22225">
              <a:gradFill flip="none" rotWithShape="1">
                <a:gsLst>
                  <a:gs pos="0">
                    <a:schemeClr val="accent1">
                      <a:lumMod val="5000"/>
                      <a:lumOff val="95000"/>
                      <a:alpha val="0"/>
                    </a:schemeClr>
                  </a:gs>
                  <a:gs pos="54000">
                    <a:schemeClr val="accent1">
                      <a:lumMod val="45000"/>
                      <a:lumOff val="55000"/>
                    </a:schemeClr>
                  </a:gs>
                  <a:gs pos="83000">
                    <a:srgbClr val="FB832D"/>
                  </a:gs>
                  <a:gs pos="100000">
                    <a:srgbClr val="EA5504"/>
                  </a:gs>
                </a:gsLst>
                <a:lin ang="10800000" scaled="1"/>
                <a:tileRect/>
              </a:gradFill>
            </a:ln>
          </p:spPr>
          <p:style>
            <a:lnRef idx="1">
              <a:schemeClr val="accent1"/>
            </a:lnRef>
            <a:fillRef idx="0">
              <a:schemeClr val="accent1"/>
            </a:fillRef>
            <a:effectRef idx="0">
              <a:schemeClr val="accent1"/>
            </a:effectRef>
            <a:fontRef idx="minor">
              <a:schemeClr val="tx1"/>
            </a:fontRef>
          </p:style>
        </p:cxnSp>
      </p:grpSp>
      <p:sp>
        <p:nvSpPr>
          <p:cNvPr id="32" name="文本占位符 31"/>
          <p:cNvSpPr>
            <a:spLocks noGrp="1"/>
          </p:cNvSpPr>
          <p:nvPr>
            <p:ph type="body" sz="quarter" idx="10" hasCustomPrompt="1"/>
          </p:nvPr>
        </p:nvSpPr>
        <p:spPr>
          <a:xfrm>
            <a:off x="639824" y="1727200"/>
            <a:ext cx="7241433" cy="2802791"/>
          </a:xfrm>
          <a:prstGeom prst="rect">
            <a:avLst/>
          </a:prstGeom>
          <a:noFill/>
        </p:spPr>
        <p:txBody>
          <a:bodyPr anchor="ctr">
            <a:normAutofit/>
          </a:bodyPr>
          <a:lstStyle>
            <a:lvl1pPr marL="0" indent="0" algn="l" defTabSz="914400" rtl="0" eaLnBrk="1" latinLnBrk="0" hangingPunct="1">
              <a:lnSpc>
                <a:spcPct val="100000"/>
              </a:lnSpc>
              <a:buNone/>
              <a:defRPr lang="zh-CN" altLang="en-US" sz="5400" b="1" kern="2300" spc="240" dirty="0" smtClean="0">
                <a:ln w="15875">
                  <a:solidFill>
                    <a:schemeClr val="accent1"/>
                  </a:solidFill>
                </a:ln>
                <a:noFill/>
                <a:latin typeface="微软雅黑" panose="020B0503020204020204" pitchFamily="34" charset="-122"/>
                <a:ea typeface="微软雅黑" panose="020B0503020204020204" pitchFamily="34" charset="-122"/>
                <a:cs typeface="+mn-cs"/>
              </a:defRPr>
            </a:lvl1pPr>
            <a:lvl2pPr marL="457200" indent="0">
              <a:buNone/>
              <a:defRPr/>
            </a:lvl2pPr>
          </a:lstStyle>
          <a:p>
            <a:pPr marL="0" marR="0" lvl="0" indent="0" algn="l" defTabSz="914400" rtl="0" eaLnBrk="1" fontAlgn="auto" latinLnBrk="0" hangingPunct="1">
              <a:lnSpc>
                <a:spcPct val="90000"/>
              </a:lnSpc>
              <a:spcBef>
                <a:spcPts val="1000"/>
              </a:spcBef>
              <a:spcAft>
                <a:spcPts val="0"/>
              </a:spcAft>
              <a:buClrTx/>
              <a:buSzTx/>
              <a:buFont typeface="Arial" panose="020B0604020202090204" pitchFamily="34" charset="0"/>
              <a:buNone/>
              <a:defRPr/>
            </a:pPr>
            <a:r>
              <a:rPr lang="zh-CN" altLang="en-US"/>
              <a:t>平安集团</a:t>
            </a:r>
            <a:endParaRPr lang="en-US" altLang="zh-CN" dirty="0"/>
          </a:p>
        </p:txBody>
      </p:sp>
      <p:sp>
        <p:nvSpPr>
          <p:cNvPr id="31" name="文本占位符 2"/>
          <p:cNvSpPr>
            <a:spLocks noGrp="1"/>
          </p:cNvSpPr>
          <p:nvPr>
            <p:ph type="body" sz="quarter" idx="13" hasCustomPrompt="1"/>
          </p:nvPr>
        </p:nvSpPr>
        <p:spPr>
          <a:xfrm>
            <a:off x="628248" y="5553571"/>
            <a:ext cx="4612632" cy="248285"/>
          </a:xfrm>
          <a:prstGeom prst="rect">
            <a:avLst/>
          </a:prstGeom>
        </p:spPr>
        <p:txBody>
          <a:bodyPr>
            <a:noAutofit/>
          </a:bodyPr>
          <a:lstStyle>
            <a:lvl1pPr marL="0" indent="0" algn="l" defTabSz="914400" rtl="0" eaLnBrk="1" latinLnBrk="0" hangingPunct="1">
              <a:lnSpc>
                <a:spcPct val="90000"/>
              </a:lnSpc>
              <a:spcBef>
                <a:spcPts val="1000"/>
              </a:spcBef>
              <a:buSzPct val="80000"/>
              <a:buFont typeface="+mj-ea"/>
              <a:buNone/>
              <a:defRPr lang="en-US" altLang="zh-CN" sz="1400" kern="1200" dirty="0">
                <a:solidFill>
                  <a:schemeClr val="tx1">
                    <a:lumMod val="65000"/>
                    <a:lumOff val="35000"/>
                  </a:schemeClr>
                </a:solidFill>
                <a:latin typeface="微软雅黑" panose="020B0503020204020204" pitchFamily="34" charset="-122"/>
                <a:ea typeface="微软雅黑" panose="020B0503020204020204" pitchFamily="34" charset="-122"/>
                <a:cs typeface="+mn-cs"/>
              </a:defRPr>
            </a:lvl1pPr>
          </a:lstStyle>
          <a:p>
            <a:pPr marL="0" indent="0">
              <a:buNone/>
            </a:pPr>
            <a:r>
              <a:rPr lang="en-US" altLang="zh-CN" sz="1600" dirty="0">
                <a:latin typeface="微软雅黑" panose="020B0503020204020204" pitchFamily="34" charset="-122"/>
                <a:ea typeface="微软雅黑" panose="020B0503020204020204" pitchFamily="34" charset="-122"/>
              </a:rPr>
              <a:t>Speaker name and title</a:t>
            </a:r>
            <a:endParaRPr lang="en-US" altLang="zh-CN" sz="1600" dirty="0">
              <a:latin typeface="微软雅黑" panose="020B0503020204020204" pitchFamily="34" charset="-122"/>
              <a:ea typeface="微软雅黑" panose="020B0503020204020204" pitchFamily="34" charset="-122"/>
            </a:endParaRPr>
          </a:p>
        </p:txBody>
      </p:sp>
      <p:sp>
        <p:nvSpPr>
          <p:cNvPr id="34" name="文本占位符 2"/>
          <p:cNvSpPr>
            <a:spLocks noGrp="1"/>
          </p:cNvSpPr>
          <p:nvPr>
            <p:ph type="body" sz="quarter" idx="14" hasCustomPrompt="1"/>
          </p:nvPr>
        </p:nvSpPr>
        <p:spPr>
          <a:xfrm>
            <a:off x="628248" y="5848201"/>
            <a:ext cx="4612632" cy="248285"/>
          </a:xfrm>
          <a:prstGeom prst="rect">
            <a:avLst/>
          </a:prstGeom>
        </p:spPr>
        <p:txBody>
          <a:bodyPr>
            <a:noAutofit/>
          </a:bodyPr>
          <a:lstStyle>
            <a:lvl1pPr marL="0" indent="0" algn="l" defTabSz="914400" rtl="0" eaLnBrk="1" latinLnBrk="0" hangingPunct="1">
              <a:lnSpc>
                <a:spcPct val="90000"/>
              </a:lnSpc>
              <a:spcBef>
                <a:spcPts val="1000"/>
              </a:spcBef>
              <a:buSzPct val="80000"/>
              <a:buFont typeface="+mj-ea"/>
              <a:buNone/>
              <a:defRPr lang="en-US" altLang="zh-CN" sz="1400" kern="1200" dirty="0">
                <a:solidFill>
                  <a:schemeClr val="tx1">
                    <a:lumMod val="65000"/>
                    <a:lumOff val="35000"/>
                  </a:schemeClr>
                </a:solidFill>
                <a:latin typeface="微软雅黑" panose="020B0503020204020204" pitchFamily="34" charset="-122"/>
                <a:ea typeface="微软雅黑" panose="020B0503020204020204" pitchFamily="34" charset="-122"/>
                <a:cs typeface="+mn-cs"/>
              </a:defRPr>
            </a:lvl1pPr>
          </a:lstStyle>
          <a:p>
            <a:pPr marL="0" indent="0">
              <a:buNone/>
            </a:pPr>
            <a:r>
              <a:rPr lang="en-US" altLang="en-US" sz="1600" dirty="0">
                <a:latin typeface="微软雅黑" panose="020B0503020204020204" pitchFamily="34" charset="-122"/>
                <a:ea typeface="微软雅黑" panose="020B0503020204020204" pitchFamily="34" charset="-122"/>
              </a:rPr>
              <a:t>D</a:t>
            </a:r>
            <a:r>
              <a:rPr lang="en-US" altLang="zh-CN" sz="1600" dirty="0">
                <a:latin typeface="微软雅黑" panose="020B0503020204020204" pitchFamily="34" charset="-122"/>
                <a:ea typeface="微软雅黑" panose="020B0503020204020204" pitchFamily="34" charset="-122"/>
              </a:rPr>
              <a:t>ate &amp; Time</a:t>
            </a:r>
            <a:endParaRPr lang="en-US" altLang="en-US" sz="1600" dirty="0">
              <a:latin typeface="微软雅黑" panose="020B0503020204020204" pitchFamily="34" charset="-122"/>
              <a:ea typeface="微软雅黑" panose="020B0503020204020204" pitchFamily="34" charset="-122"/>
            </a:endParaRPr>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2_标题幻灯片">
    <p:spTree>
      <p:nvGrpSpPr>
        <p:cNvPr id="1" name=""/>
        <p:cNvGrpSpPr/>
        <p:nvPr/>
      </p:nvGrpSpPr>
      <p:grpSpPr>
        <a:xfrm>
          <a:off x="0" y="0"/>
          <a:ext cx="0" cy="0"/>
          <a:chOff x="0" y="0"/>
          <a:chExt cx="0" cy="0"/>
        </a:xfrm>
      </p:grpSpPr>
      <p:sp>
        <p:nvSpPr>
          <p:cNvPr id="5" name="图片占位符 3"/>
          <p:cNvSpPr>
            <a:spLocks noGrp="1"/>
          </p:cNvSpPr>
          <p:nvPr>
            <p:ph type="pic" sz="quarter" idx="12" hasCustomPrompt="1"/>
          </p:nvPr>
        </p:nvSpPr>
        <p:spPr>
          <a:xfrm>
            <a:off x="791727" y="4113203"/>
            <a:ext cx="3285901" cy="1765813"/>
          </a:xfrm>
          <a:prstGeom prst="rect">
            <a:avLst/>
          </a:prstGeom>
          <a:pattFill prst="pct60">
            <a:fgClr>
              <a:schemeClr val="bg1"/>
            </a:fgClr>
            <a:bgClr>
              <a:schemeClr val="bg1">
                <a:lumMod val="85000"/>
              </a:schemeClr>
            </a:bgClr>
          </a:pattFill>
          <a:effectLst/>
        </p:spPr>
        <p:txBody>
          <a:bodyPr wrap="square" anchor="ctr">
            <a:noAutofit/>
          </a:bodyPr>
          <a:lstStyle>
            <a:lvl1pPr>
              <a:defRPr kumimoji="1" lang="zh-CN" altLang="en-US" sz="1800">
                <a:solidFill>
                  <a:schemeClr val="tx1">
                    <a:alpha val="73000"/>
                  </a:schemeClr>
                </a:solidFill>
              </a:defRPr>
            </a:lvl1pPr>
          </a:lstStyle>
          <a:p>
            <a:pPr marL="0" lvl="0" indent="0" algn="ctr">
              <a:buNone/>
            </a:pPr>
            <a:r>
              <a:rPr kumimoji="1" lang="zh-CN" altLang="en-US"/>
              <a:t>拖拽插入图片</a:t>
            </a:r>
            <a:endParaRPr kumimoji="1" lang="zh-CN" altLang="en-US"/>
          </a:p>
        </p:txBody>
      </p:sp>
      <p:sp>
        <p:nvSpPr>
          <p:cNvPr id="6" name="图片占位符 3"/>
          <p:cNvSpPr>
            <a:spLocks noGrp="1"/>
          </p:cNvSpPr>
          <p:nvPr>
            <p:ph type="pic" sz="quarter" idx="13" hasCustomPrompt="1"/>
          </p:nvPr>
        </p:nvSpPr>
        <p:spPr>
          <a:xfrm>
            <a:off x="4453048" y="4113203"/>
            <a:ext cx="3285901" cy="1765813"/>
          </a:xfrm>
          <a:prstGeom prst="rect">
            <a:avLst/>
          </a:prstGeom>
          <a:pattFill prst="pct60">
            <a:fgClr>
              <a:schemeClr val="bg1"/>
            </a:fgClr>
            <a:bgClr>
              <a:schemeClr val="bg1">
                <a:lumMod val="85000"/>
              </a:schemeClr>
            </a:bgClr>
          </a:pattFill>
          <a:effectLst/>
        </p:spPr>
        <p:txBody>
          <a:bodyPr wrap="square" anchor="ctr">
            <a:noAutofit/>
          </a:bodyPr>
          <a:lstStyle>
            <a:lvl1pPr>
              <a:defRPr kumimoji="1" lang="zh-CN" altLang="en-US" sz="1800">
                <a:solidFill>
                  <a:schemeClr val="tx1">
                    <a:alpha val="73000"/>
                  </a:schemeClr>
                </a:solidFill>
              </a:defRPr>
            </a:lvl1pPr>
          </a:lstStyle>
          <a:p>
            <a:pPr marL="0" lvl="0" indent="0" algn="ctr">
              <a:buNone/>
            </a:pPr>
            <a:r>
              <a:rPr kumimoji="1" lang="zh-CN" altLang="en-US"/>
              <a:t>拖拽插入图片</a:t>
            </a:r>
            <a:endParaRPr kumimoji="1" lang="zh-CN" altLang="en-US"/>
          </a:p>
        </p:txBody>
      </p:sp>
      <p:sp>
        <p:nvSpPr>
          <p:cNvPr id="7" name="图片占位符 3"/>
          <p:cNvSpPr>
            <a:spLocks noGrp="1"/>
          </p:cNvSpPr>
          <p:nvPr>
            <p:ph type="pic" sz="quarter" idx="14" hasCustomPrompt="1"/>
          </p:nvPr>
        </p:nvSpPr>
        <p:spPr>
          <a:xfrm>
            <a:off x="8114371" y="4113203"/>
            <a:ext cx="3285901" cy="1765813"/>
          </a:xfrm>
          <a:prstGeom prst="rect">
            <a:avLst/>
          </a:prstGeom>
          <a:pattFill prst="pct60">
            <a:fgClr>
              <a:schemeClr val="bg1"/>
            </a:fgClr>
            <a:bgClr>
              <a:schemeClr val="bg1">
                <a:lumMod val="85000"/>
              </a:schemeClr>
            </a:bgClr>
          </a:pattFill>
          <a:effectLst/>
        </p:spPr>
        <p:txBody>
          <a:bodyPr wrap="square" anchor="ctr">
            <a:noAutofit/>
          </a:bodyPr>
          <a:lstStyle>
            <a:lvl1pPr>
              <a:defRPr kumimoji="1" lang="zh-CN" altLang="en-US" sz="1800">
                <a:solidFill>
                  <a:schemeClr val="tx1">
                    <a:alpha val="73000"/>
                  </a:schemeClr>
                </a:solidFill>
              </a:defRPr>
            </a:lvl1pPr>
          </a:lstStyle>
          <a:p>
            <a:pPr marL="0" lvl="0" indent="0" algn="ctr">
              <a:buNone/>
            </a:pPr>
            <a:r>
              <a:rPr kumimoji="1" lang="zh-CN" altLang="en-US"/>
              <a:t>拖拽插入图片</a:t>
            </a:r>
            <a:endParaRPr kumimoji="1" lang="zh-CN" altLang="en-US"/>
          </a:p>
        </p:txBody>
      </p:sp>
      <p:sp>
        <p:nvSpPr>
          <p:cNvPr id="8" name="灯片编号占位符 5"/>
          <p:cNvSpPr txBox="1"/>
          <p:nvPr userDrawn="1"/>
        </p:nvSpPr>
        <p:spPr>
          <a:xfrm>
            <a:off x="8869679" y="6395878"/>
            <a:ext cx="2909888" cy="206381"/>
          </a:xfrm>
          <a:prstGeom prst="rect">
            <a:avLst/>
          </a:prstGeom>
        </p:spPr>
        <p:txBody>
          <a:bodyPr vert="horz" lIns="91440" tIns="0" rIns="91440" bIns="45720" rtlCol="0" anchor="b" anchorCtr="0"/>
          <a:lstStyle>
            <a:defPPr>
              <a:defRPr lang="zh-CN"/>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defRPr/>
            </a:pPr>
            <a:fld id="{5DD3DB80-B894-403A-B48E-6FDC1A72010E}" type="slidenum">
              <a:rPr kumimoji="0" lang="zh-CN" altLang="en-US" sz="1200" b="1" i="0" u="none" strike="noStrike" kern="1200" cap="none" spc="0" normalizeH="0" baseline="0" noProof="0" smtClean="0">
                <a:ln>
                  <a:noFill/>
                </a:ln>
                <a:solidFill>
                  <a:srgbClr val="000000">
                    <a:lumMod val="50000"/>
                    <a:lumOff val="50000"/>
                  </a:srgbClr>
                </a:solidFill>
                <a:effectLst/>
                <a:uLnTx/>
                <a:uFillTx/>
                <a:latin typeface="Arial" panose="020B0604020202090204"/>
                <a:ea typeface="微软雅黑"/>
                <a:cs typeface="+mn-cs"/>
              </a:rPr>
            </a:fld>
            <a:endParaRPr kumimoji="0" lang="zh-CN" altLang="en-US" sz="1200" b="1" i="0" u="none" strike="noStrike" kern="1200" cap="none" spc="0" normalizeH="0" baseline="0" noProof="0" dirty="0">
              <a:ln>
                <a:noFill/>
              </a:ln>
              <a:solidFill>
                <a:srgbClr val="000000">
                  <a:lumMod val="50000"/>
                  <a:lumOff val="50000"/>
                </a:srgbClr>
              </a:solidFill>
              <a:effectLst/>
              <a:uLnTx/>
              <a:uFillTx/>
              <a:latin typeface="Arial" panose="020B0604020202090204"/>
              <a:ea typeface="微软雅黑"/>
              <a:cs typeface="+mn-cs"/>
            </a:endParaRPr>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90204"/>
              <a:ea typeface="华文楷体" panose="02010600040101010101" pitchFamily="2" charset="-122"/>
              <a:cs typeface="+mn-cs"/>
            </a:endParaRPr>
          </a:p>
        </p:txBody>
      </p:sp>
      <p:sp>
        <p:nvSpPr>
          <p:cNvPr id="3" name="页脚占位符 2"/>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90204"/>
              <a:ea typeface="华文楷体" panose="02010600040101010101" pitchFamily="2" charset="-122"/>
              <a:cs typeface="+mn-cs"/>
            </a:endParaRPr>
          </a:p>
        </p:txBody>
      </p:sp>
      <p:sp>
        <p:nvSpPr>
          <p:cNvPr id="4" name="灯片编号占位符 3"/>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fld id="{B479F964-9077-479C-84FE-FD00BAF75217}" type="slidenum">
              <a:rPr kumimoji="0" lang="zh-CN" altLang="en-US" sz="1800" b="0" i="0" u="none" strike="noStrike" kern="1200" cap="none" spc="0" normalizeH="0" baseline="0" noProof="0" smtClean="0">
                <a:ln>
                  <a:noFill/>
                </a:ln>
                <a:solidFill>
                  <a:prstClr val="black"/>
                </a:solidFill>
                <a:effectLst/>
                <a:uLnTx/>
                <a:uFillTx/>
                <a:latin typeface="Arial" panose="020B0604020202090204"/>
                <a:ea typeface="华文楷体" panose="02010600040101010101" pitchFamily="2" charset="-122"/>
                <a:cs typeface="+mn-cs"/>
              </a:rPr>
            </a:fld>
            <a:endParaRPr kumimoji="0" lang="zh-CN" altLang="en-US" sz="1800" b="0" i="0" u="none" strike="noStrike" kern="1200" cap="none" spc="0" normalizeH="0" baseline="0" noProof="0">
              <a:ln>
                <a:noFill/>
              </a:ln>
              <a:solidFill>
                <a:prstClr val="black"/>
              </a:solidFill>
              <a:effectLst/>
              <a:uLnTx/>
              <a:uFillTx/>
              <a:latin typeface="Arial" panose="020B0604020202090204"/>
              <a:ea typeface="华文楷体" panose="02010600040101010101" pitchFamily="2" charset="-122"/>
              <a:cs typeface="+mn-cs"/>
            </a:endParaRPr>
          </a:p>
        </p:txBody>
      </p:sp>
      <p:sp>
        <p:nvSpPr>
          <p:cNvPr id="5" name="灯片编号占位符 5"/>
          <p:cNvSpPr txBox="1"/>
          <p:nvPr userDrawn="1"/>
        </p:nvSpPr>
        <p:spPr>
          <a:xfrm>
            <a:off x="8869679" y="6395878"/>
            <a:ext cx="2909888" cy="206381"/>
          </a:xfrm>
          <a:prstGeom prst="rect">
            <a:avLst/>
          </a:prstGeom>
        </p:spPr>
        <p:txBody>
          <a:bodyPr vert="horz" lIns="91440" tIns="0" rIns="91440" bIns="45720" rtlCol="0" anchor="b" anchorCtr="0"/>
          <a:lstStyle>
            <a:defPPr>
              <a:defRPr lang="zh-CN"/>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defRPr/>
            </a:pPr>
            <a:fld id="{5DD3DB80-B894-403A-B48E-6FDC1A72010E}" type="slidenum">
              <a:rPr kumimoji="0" lang="zh-CN" altLang="en-US" sz="1200" b="1" i="0" u="none" strike="noStrike" kern="1200" cap="none" spc="0" normalizeH="0" baseline="0" noProof="0" smtClean="0">
                <a:ln>
                  <a:noFill/>
                </a:ln>
                <a:solidFill>
                  <a:srgbClr val="000000">
                    <a:lumMod val="50000"/>
                    <a:lumOff val="50000"/>
                  </a:srgbClr>
                </a:solidFill>
                <a:effectLst/>
                <a:uLnTx/>
                <a:uFillTx/>
                <a:latin typeface="Arial" panose="020B0604020202090204"/>
                <a:ea typeface="微软雅黑"/>
                <a:cs typeface="+mn-cs"/>
              </a:rPr>
            </a:fld>
            <a:endParaRPr kumimoji="0" lang="zh-CN" altLang="en-US" sz="1200" b="1" i="0" u="none" strike="noStrike" kern="1200" cap="none" spc="0" normalizeH="0" baseline="0" noProof="0" dirty="0">
              <a:ln>
                <a:noFill/>
              </a:ln>
              <a:solidFill>
                <a:srgbClr val="000000">
                  <a:lumMod val="50000"/>
                  <a:lumOff val="50000"/>
                </a:srgbClr>
              </a:solidFill>
              <a:effectLst/>
              <a:uLnTx/>
              <a:uFillTx/>
              <a:latin typeface="Arial" panose="020B0604020202090204"/>
              <a:ea typeface="微软雅黑"/>
              <a:cs typeface="+mn-cs"/>
            </a:endParaRPr>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节标题">
    <p:spTree>
      <p:nvGrpSpPr>
        <p:cNvPr id="1" name=""/>
        <p:cNvGrpSpPr/>
        <p:nvPr/>
      </p:nvGrpSpPr>
      <p:grpSpPr>
        <a:xfrm>
          <a:off x="0" y="0"/>
          <a:ext cx="0" cy="0"/>
          <a:chOff x="0" y="0"/>
          <a:chExt cx="0" cy="0"/>
        </a:xfrm>
      </p:grpSpPr>
      <p:sp>
        <p:nvSpPr>
          <p:cNvPr id="270" name="标题 19"/>
          <p:cNvSpPr>
            <a:spLocks noGrp="1"/>
          </p:cNvSpPr>
          <p:nvPr>
            <p:ph type="title"/>
          </p:nvPr>
        </p:nvSpPr>
        <p:spPr>
          <a:xfrm>
            <a:off x="5774803" y="3504585"/>
            <a:ext cx="5745685" cy="895350"/>
          </a:xfrm>
          <a:prstGeom prst="rect">
            <a:avLst/>
          </a:prstGeom>
        </p:spPr>
        <p:txBody>
          <a:bodyPr anchor="b">
            <a:normAutofit/>
          </a:bodyPr>
          <a:lstStyle>
            <a:lvl1pPr algn="l">
              <a:defRPr sz="2400" b="1">
                <a:solidFill>
                  <a:schemeClr val="bg1"/>
                </a:solidFill>
              </a:defRPr>
            </a:lvl1pPr>
          </a:lstStyle>
          <a:p>
            <a:r>
              <a:rPr lang="en-US" dirty="0"/>
              <a:t>Click to edit Master title style</a:t>
            </a:r>
            <a:endParaRPr lang="zh-CN" altLang="en-US" dirty="0"/>
          </a:p>
        </p:txBody>
      </p:sp>
      <p:sp>
        <p:nvSpPr>
          <p:cNvPr id="271" name="文本占位符 20"/>
          <p:cNvSpPr>
            <a:spLocks noGrp="1"/>
          </p:cNvSpPr>
          <p:nvPr>
            <p:ph type="body" idx="1"/>
          </p:nvPr>
        </p:nvSpPr>
        <p:spPr>
          <a:xfrm>
            <a:off x="5774803" y="4399935"/>
            <a:ext cx="5745685" cy="1015623"/>
          </a:xfrm>
          <a:prstGeom prst="rect">
            <a:avLst/>
          </a:prstGeom>
        </p:spPr>
        <p:txBody>
          <a:bodyPr anchor="t">
            <a:normAutofit/>
          </a:bodyPr>
          <a:lstStyle>
            <a:lvl1pPr marL="0" indent="0" algn="l">
              <a:lnSpc>
                <a:spcPct val="100000"/>
              </a:lnSpc>
              <a:buNone/>
              <a:defRPr sz="11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endParaRPr lang="en-US" dirty="0"/>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6" name="日期占位符 1"/>
          <p:cNvSpPr>
            <a:spLocks noGrp="1"/>
          </p:cNvSpPr>
          <p:nvPr>
            <p:ph type="dt" sz="half" idx="10"/>
          </p:nvPr>
        </p:nvSpPr>
        <p:spPr>
          <a:xfrm>
            <a:off x="6290733" y="8546253"/>
            <a:ext cx="3657600" cy="365760"/>
          </a:xfrm>
        </p:spPr>
        <p:txBody>
          <a:bodyPr/>
          <a:lstStyle/>
          <a:p>
            <a:endParaRPr lang="en-US"/>
          </a:p>
        </p:txBody>
      </p:sp>
      <p:sp>
        <p:nvSpPr>
          <p:cNvPr id="7" name="页脚占位符 2"/>
          <p:cNvSpPr>
            <a:spLocks noGrp="1"/>
          </p:cNvSpPr>
          <p:nvPr>
            <p:ph type="ftr" sz="quarter" idx="11"/>
          </p:nvPr>
        </p:nvSpPr>
        <p:spPr>
          <a:xfrm>
            <a:off x="880532" y="8546253"/>
            <a:ext cx="4876800" cy="365760"/>
          </a:xfrm>
        </p:spPr>
        <p:txBody>
          <a:bodyPr/>
          <a:lstStyle/>
          <a:p>
            <a:endParaRPr lang="en-US" dirty="0"/>
          </a:p>
        </p:txBody>
      </p:sp>
      <p:sp>
        <p:nvSpPr>
          <p:cNvPr id="8" name="灯片编号占位符 3"/>
          <p:cNvSpPr>
            <a:spLocks noGrp="1"/>
          </p:cNvSpPr>
          <p:nvPr>
            <p:ph type="sldNum" sz="quarter" idx="12"/>
          </p:nvPr>
        </p:nvSpPr>
        <p:spPr>
          <a:xfrm>
            <a:off x="10481733" y="8546253"/>
            <a:ext cx="4876800" cy="365760"/>
          </a:xfrm>
        </p:spPr>
        <p:txBody>
          <a:bodyPr/>
          <a:lstStyle/>
          <a:p>
            <a:fld id="{C8BB1146-E542-4D4E-B8E9-6919A11DDD48}" type="slidenum">
              <a:rPr lang="en-US" smtClean="0"/>
            </a:fld>
            <a:endParaRPr lang="en-US"/>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Blank-OfficePLUS">
    <p:spTree>
      <p:nvGrpSpPr>
        <p:cNvPr id="1" name=""/>
        <p:cNvGrpSpPr/>
        <p:nvPr/>
      </p:nvGrpSpPr>
      <p:grpSpPr>
        <a:xfrm>
          <a:off x="0" y="0"/>
          <a:ext cx="0" cy="0"/>
          <a:chOff x="0" y="0"/>
          <a:chExt cx="0" cy="0"/>
        </a:xfrm>
      </p:grpSpPr>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3" name="日期占位符 1"/>
          <p:cNvSpPr>
            <a:spLocks noGrp="1"/>
          </p:cNvSpPr>
          <p:nvPr>
            <p:ph type="dt" sz="half" idx="10"/>
          </p:nvPr>
        </p:nvSpPr>
        <p:spPr>
          <a:xfrm>
            <a:off x="5504656" y="6438900"/>
            <a:ext cx="1802924" cy="215900"/>
          </a:xfrm>
          <a:prstGeom prst="rect">
            <a:avLst/>
          </a:prstGeom>
        </p:spPr>
        <p:txBody>
          <a:bodyPr/>
          <a:lstStyle/>
          <a:p>
            <a:fld id="{A50ECBEB-8597-4EA4-9D29-E1D7025CFAA0}" type="datetime1">
              <a:rPr lang="zh-CN" altLang="en-US" smtClean="0"/>
            </a:fld>
            <a:endParaRPr lang="zh-CN" altLang="en-US"/>
          </a:p>
        </p:txBody>
      </p:sp>
      <p:sp>
        <p:nvSpPr>
          <p:cNvPr id="4" name="页脚占位符 2"/>
          <p:cNvSpPr>
            <a:spLocks noGrp="1"/>
          </p:cNvSpPr>
          <p:nvPr>
            <p:ph type="ftr" sz="quarter" idx="11"/>
          </p:nvPr>
        </p:nvSpPr>
        <p:spPr>
          <a:xfrm>
            <a:off x="660401" y="6438900"/>
            <a:ext cx="3992171" cy="215900"/>
          </a:xfrm>
          <a:prstGeom prst="rect">
            <a:avLst/>
          </a:prstGeom>
        </p:spPr>
        <p:txBody>
          <a:bodyPr/>
          <a:lstStyle/>
          <a:p>
            <a:endParaRPr lang="zh-CN" altLang="en-US"/>
          </a:p>
        </p:txBody>
      </p:sp>
      <p:sp>
        <p:nvSpPr>
          <p:cNvPr id="5" name="灯片编号占位符 3"/>
          <p:cNvSpPr>
            <a:spLocks noGrp="1"/>
          </p:cNvSpPr>
          <p:nvPr>
            <p:ph type="sldNum" sz="quarter" idx="12"/>
          </p:nvPr>
        </p:nvSpPr>
        <p:spPr>
          <a:xfrm>
            <a:off x="8857452" y="6438900"/>
            <a:ext cx="2661448" cy="215900"/>
          </a:xfrm>
          <a:prstGeom prst="rect">
            <a:avLst/>
          </a:prstGeom>
        </p:spPr>
        <p:txBody>
          <a:bodyPr/>
          <a:lstStyle/>
          <a:p>
            <a:fld id="{7F65B630-C7FF-41C0-9923-C5E5E29EED81}" type="slidenum">
              <a:rPr lang="zh-CN" altLang="en-US" smtClean="0"/>
            </a:fld>
            <a:endParaRPr lang="zh-CN" altLang="en-US"/>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3" name="日期占位符 1"/>
          <p:cNvSpPr>
            <a:spLocks noGrp="1"/>
          </p:cNvSpPr>
          <p:nvPr>
            <p:ph type="dt" sz="half" idx="10"/>
          </p:nvPr>
        </p:nvSpPr>
        <p:spPr>
          <a:xfrm>
            <a:off x="5504656" y="6438900"/>
            <a:ext cx="1802924" cy="215900"/>
          </a:xfrm>
          <a:prstGeom prst="rect">
            <a:avLst/>
          </a:prstGeom>
        </p:spPr>
        <p:txBody>
          <a:bodyPr/>
          <a:lstStyle/>
          <a:p>
            <a:fld id="{A50ECBEB-8597-4EA4-9D29-E1D7025CFAA0}" type="datetime1">
              <a:rPr lang="zh-CN" altLang="en-US" smtClean="0"/>
            </a:fld>
            <a:endParaRPr lang="zh-CN" altLang="en-US"/>
          </a:p>
        </p:txBody>
      </p:sp>
      <p:sp>
        <p:nvSpPr>
          <p:cNvPr id="4" name="页脚占位符 2"/>
          <p:cNvSpPr>
            <a:spLocks noGrp="1"/>
          </p:cNvSpPr>
          <p:nvPr>
            <p:ph type="ftr" sz="quarter" idx="11"/>
          </p:nvPr>
        </p:nvSpPr>
        <p:spPr>
          <a:xfrm>
            <a:off x="660401" y="6438900"/>
            <a:ext cx="3992171" cy="215900"/>
          </a:xfrm>
          <a:prstGeom prst="rect">
            <a:avLst/>
          </a:prstGeom>
        </p:spPr>
        <p:txBody>
          <a:bodyPr/>
          <a:lstStyle/>
          <a:p>
            <a:endParaRPr lang="zh-CN" altLang="en-US"/>
          </a:p>
        </p:txBody>
      </p:sp>
      <p:sp>
        <p:nvSpPr>
          <p:cNvPr id="5" name="灯片编号占位符 3"/>
          <p:cNvSpPr>
            <a:spLocks noGrp="1"/>
          </p:cNvSpPr>
          <p:nvPr>
            <p:ph type="sldNum" sz="quarter" idx="12"/>
          </p:nvPr>
        </p:nvSpPr>
        <p:spPr>
          <a:xfrm>
            <a:off x="8857452" y="6438900"/>
            <a:ext cx="2661448" cy="215900"/>
          </a:xfrm>
          <a:prstGeom prst="rect">
            <a:avLst/>
          </a:prstGeom>
        </p:spPr>
        <p:txBody>
          <a:bodyPr/>
          <a:lstStyle/>
          <a:p>
            <a:fld id="{7F65B630-C7FF-41C0-9923-C5E5E29EED81}" type="slidenum">
              <a:rPr lang="zh-CN" altLang="en-US" smtClean="0"/>
            </a:fld>
            <a:endParaRPr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仅标题">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 name="think-cell 幻灯片" r:id="rId3" imgW="0" imgH="0" progId="TCLayout.ActiveDocument.1">
                  <p:embed/>
                </p:oleObj>
              </mc:Choice>
              <mc:Fallback>
                <p:oleObj name="think-cell 幻灯片" r:id="rId3" imgW="0" imgH="0" progId="TCLayout.ActiveDocument.1">
                  <p:embed/>
                  <p:pic>
                    <p:nvPicPr>
                      <p:cNvPr id="0" name="对象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ooterSimple" hidden="1"/>
          <p:cNvSpPr txBox="1"/>
          <p:nvPr userDrawn="1">
            <p:custDataLst>
              <p:tags r:id="rId5"/>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altLang="zh-CN" sz="700">
                <a:solidFill>
                  <a:schemeClr val="bg1">
                    <a:lumMod val="50000"/>
                  </a:schemeClr>
                </a:solidFill>
                <a:latin typeface="+mn-lt"/>
                <a:sym typeface="Trebuchet MS" panose="020B0703020202090204" pitchFamily="34" charset="0"/>
              </a:rPr>
              <a:t>202105 TED Sample Slides WhiteV13_Gaoliao.pptx</a:t>
            </a:r>
            <a:endParaRPr lang="en-US" sz="700" dirty="0">
              <a:solidFill>
                <a:schemeClr val="bg1">
                  <a:lumMod val="50000"/>
                </a:schemeClr>
              </a:solidFill>
              <a:latin typeface="+mn-lt"/>
              <a:sym typeface="Trebuchet MS" panose="020B0703020202090204" pitchFamily="34" charset="0"/>
            </a:endParaRPr>
          </a:p>
        </p:txBody>
      </p:sp>
      <p:sp>
        <p:nvSpPr>
          <p:cNvPr id="7" name="Title Placeholder 1"/>
          <p:cNvSpPr>
            <a:spLocks noGrp="1"/>
          </p:cNvSpPr>
          <p:nvPr>
            <p:ph type="title" hasCustomPrompt="1"/>
          </p:nvPr>
        </p:nvSpPr>
        <p:spPr>
          <a:xfrm>
            <a:off x="360000" y="140399"/>
            <a:ext cx="10934700" cy="720000"/>
          </a:xfrm>
          <a:prstGeom prst="rect">
            <a:avLst/>
          </a:prstGeom>
        </p:spPr>
        <p:txBody>
          <a:bodyPr vert="horz" wrap="square" lIns="0" tIns="0" rIns="0" bIns="0" rtlCol="0" anchor="ctr">
            <a:noAutofit/>
          </a:bodyPr>
          <a:lstStyle>
            <a:lvl1pPr>
              <a:lnSpc>
                <a:spcPct val="100000"/>
              </a:lnSpc>
              <a:defRPr b="1"/>
            </a:lvl1pPr>
          </a:lstStyle>
          <a:p>
            <a:r>
              <a:rPr lang="en-US" altLang="zh-CN" dirty="0"/>
              <a:t>Click to add title</a:t>
            </a:r>
            <a:endParaRPr lang="en-US" dirty="0"/>
          </a:p>
        </p:txBody>
      </p:sp>
      <p:sp>
        <p:nvSpPr>
          <p:cNvPr id="8" name="文本占位符 6"/>
          <p:cNvSpPr>
            <a:spLocks noGrp="1"/>
          </p:cNvSpPr>
          <p:nvPr>
            <p:ph type="body" sz="quarter" idx="11" hasCustomPrompt="1"/>
          </p:nvPr>
        </p:nvSpPr>
        <p:spPr>
          <a:xfrm>
            <a:off x="360000" y="6408210"/>
            <a:ext cx="10934700" cy="422275"/>
          </a:xfrm>
        </p:spPr>
        <p:txBody>
          <a:bodyPr tIns="0" bIns="0" anchor="b"/>
          <a:lstStyle>
            <a:lvl1pPr marL="0" marR="0" indent="0" algn="l" defTabSz="914400" rtl="0" eaLnBrk="1" fontAlgn="auto" latinLnBrk="0" hangingPunct="1">
              <a:lnSpc>
                <a:spcPct val="100000"/>
              </a:lnSpc>
              <a:spcBef>
                <a:spcPts val="0"/>
              </a:spcBef>
              <a:spcAft>
                <a:spcPts val="0"/>
              </a:spcAft>
              <a:buClrTx/>
              <a:buSzTx/>
              <a:buFont typeface="Arial" panose="020B0604020202090204" pitchFamily="34" charset="0"/>
              <a:buNone/>
              <a:defRPr sz="1000" b="0" baseline="0">
                <a:solidFill>
                  <a:schemeClr val="tx1">
                    <a:lumMod val="65000"/>
                    <a:lumOff val="35000"/>
                  </a:schemeClr>
                </a:solidFill>
                <a:latin typeface="+mn-lt"/>
                <a:ea typeface="+mn-ea"/>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90204" pitchFamily="34" charset="0"/>
              <a:buNone/>
              <a:defRPr/>
            </a:pPr>
            <a:r>
              <a:rPr lang="en-US" altLang="zh-CN" dirty="0"/>
              <a:t>Note:</a:t>
            </a:r>
            <a:br>
              <a:rPr lang="en-US" altLang="zh-CN" dirty="0"/>
            </a:br>
            <a:r>
              <a:rPr lang="en-US" altLang="zh-CN" dirty="0"/>
              <a:t>Source:</a:t>
            </a:r>
            <a:endParaRPr lang="zh-CN" altLang="en-US" dirty="0"/>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_空白">
    <p:spTree>
      <p:nvGrpSpPr>
        <p:cNvPr id="1" name=""/>
        <p:cNvGrpSpPr/>
        <p:nvPr/>
      </p:nvGrpSpPr>
      <p:grpSpPr>
        <a:xfrm>
          <a:off x="0" y="0"/>
          <a:ext cx="0" cy="0"/>
          <a:chOff x="0" y="0"/>
          <a:chExt cx="0" cy="0"/>
        </a:xfrm>
      </p:grpSpPr>
      <p:sp>
        <p:nvSpPr>
          <p:cNvPr id="3" name="竖排内容占位符 2"/>
          <p:cNvSpPr>
            <a:spLocks noGrp="1"/>
          </p:cNvSpPr>
          <p:nvPr>
            <p:ph orient="vert" sz="quarter" idx="10"/>
          </p:nvPr>
        </p:nvSpPr>
        <p:spPr>
          <a:xfrm>
            <a:off x="2707798" y="843179"/>
            <a:ext cx="7705725" cy="4687887"/>
          </a:xfrm>
        </p:spPr>
        <p:txBody>
          <a:bodyPr vert="eaVert"/>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3" name="日期占位符 1"/>
          <p:cNvSpPr>
            <a:spLocks noGrp="1"/>
          </p:cNvSpPr>
          <p:nvPr>
            <p:ph type="dt" sz="half" idx="10"/>
          </p:nvPr>
        </p:nvSpPr>
        <p:spPr>
          <a:xfrm>
            <a:off x="5504656" y="6438900"/>
            <a:ext cx="1802924" cy="215900"/>
          </a:xfrm>
          <a:prstGeom prst="rect">
            <a:avLst/>
          </a:prstGeom>
        </p:spPr>
        <p:txBody>
          <a:bodyPr/>
          <a:lstStyle/>
          <a:p>
            <a:fld id="{A50ECBEB-8597-4EA4-9D29-E1D7025CFAA0}" type="datetime1">
              <a:rPr lang="zh-CN" altLang="en-US" smtClean="0"/>
            </a:fld>
            <a:endParaRPr lang="zh-CN" altLang="en-US"/>
          </a:p>
        </p:txBody>
      </p:sp>
      <p:sp>
        <p:nvSpPr>
          <p:cNvPr id="4" name="页脚占位符 2"/>
          <p:cNvSpPr>
            <a:spLocks noGrp="1"/>
          </p:cNvSpPr>
          <p:nvPr>
            <p:ph type="ftr" sz="quarter" idx="11"/>
          </p:nvPr>
        </p:nvSpPr>
        <p:spPr>
          <a:xfrm>
            <a:off x="660401" y="6438900"/>
            <a:ext cx="3992171" cy="215900"/>
          </a:xfrm>
          <a:prstGeom prst="rect">
            <a:avLst/>
          </a:prstGeom>
        </p:spPr>
        <p:txBody>
          <a:bodyPr/>
          <a:lstStyle/>
          <a:p>
            <a:endParaRPr lang="zh-CN" altLang="en-US"/>
          </a:p>
        </p:txBody>
      </p:sp>
      <p:sp>
        <p:nvSpPr>
          <p:cNvPr id="5" name="灯片编号占位符 3"/>
          <p:cNvSpPr>
            <a:spLocks noGrp="1"/>
          </p:cNvSpPr>
          <p:nvPr>
            <p:ph type="sldNum" sz="quarter" idx="12"/>
          </p:nvPr>
        </p:nvSpPr>
        <p:spPr>
          <a:xfrm>
            <a:off x="8857452" y="6438900"/>
            <a:ext cx="2661448" cy="215900"/>
          </a:xfrm>
          <a:prstGeom prst="rect">
            <a:avLst/>
          </a:prstGeom>
        </p:spPr>
        <p:txBody>
          <a:bodyPr/>
          <a:lstStyle/>
          <a:p>
            <a:fld id="{7F65B630-C7FF-41C0-9923-C5E5E29EED81}" type="slidenum">
              <a:rPr lang="zh-CN" altLang="en-US" smtClean="0"/>
            </a:fld>
            <a:endParaRPr lang="zh-CN" altLang="en-US"/>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a:t>Click to edit Master title style</a:t>
            </a:r>
            <a:endParaRPr lang="zh-CN" altLang="en-US"/>
          </a:p>
        </p:txBody>
      </p:sp>
      <p:sp>
        <p:nvSpPr>
          <p:cNvPr id="3" name="日期占位符 2"/>
          <p:cNvSpPr>
            <a:spLocks noGrp="1"/>
          </p:cNvSpPr>
          <p:nvPr>
            <p:ph type="dt" sz="half" idx="10"/>
          </p:nvPr>
        </p:nvSpPr>
        <p:spPr/>
        <p:txBody>
          <a:bodyPr/>
          <a:lstStyle/>
          <a:p>
            <a:fld id="{748B5987-9647-4253-899C-3B9819D6D8A0}" type="datetime1">
              <a:rPr lang="zh-CN" altLang="en-US" smtClean="0"/>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7F65B630-C7FF-41C0-9923-C5E5E29EED81}" type="slidenum">
              <a:rPr lang="zh-CN" altLang="en-US" smtClean="0"/>
            </a:fld>
            <a:endParaRPr lang="zh-CN" altLang="en-US"/>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3" name="日期占位符 1"/>
          <p:cNvSpPr>
            <a:spLocks noGrp="1"/>
          </p:cNvSpPr>
          <p:nvPr>
            <p:ph type="dt" sz="half" idx="10"/>
          </p:nvPr>
        </p:nvSpPr>
        <p:spPr>
          <a:xfrm>
            <a:off x="5504656" y="6438900"/>
            <a:ext cx="1802924" cy="215900"/>
          </a:xfrm>
          <a:prstGeom prst="rect">
            <a:avLst/>
          </a:prstGeom>
        </p:spPr>
        <p:txBody>
          <a:bodyPr/>
          <a:lstStyle/>
          <a:p>
            <a:fld id="{A50ECBEB-8597-4EA4-9D29-E1D7025CFAA0}" type="datetime1">
              <a:rPr lang="zh-CN" altLang="en-US" smtClean="0"/>
            </a:fld>
            <a:endParaRPr lang="zh-CN" altLang="en-US"/>
          </a:p>
        </p:txBody>
      </p:sp>
      <p:sp>
        <p:nvSpPr>
          <p:cNvPr id="4" name="页脚占位符 2"/>
          <p:cNvSpPr>
            <a:spLocks noGrp="1"/>
          </p:cNvSpPr>
          <p:nvPr>
            <p:ph type="ftr" sz="quarter" idx="11"/>
          </p:nvPr>
        </p:nvSpPr>
        <p:spPr>
          <a:xfrm>
            <a:off x="660401" y="6438900"/>
            <a:ext cx="3992171" cy="215900"/>
          </a:xfrm>
          <a:prstGeom prst="rect">
            <a:avLst/>
          </a:prstGeom>
        </p:spPr>
        <p:txBody>
          <a:bodyPr/>
          <a:lstStyle/>
          <a:p>
            <a:endParaRPr lang="zh-CN" altLang="en-US"/>
          </a:p>
        </p:txBody>
      </p:sp>
      <p:sp>
        <p:nvSpPr>
          <p:cNvPr id="5" name="灯片编号占位符 3"/>
          <p:cNvSpPr>
            <a:spLocks noGrp="1"/>
          </p:cNvSpPr>
          <p:nvPr>
            <p:ph type="sldNum" sz="quarter" idx="12"/>
          </p:nvPr>
        </p:nvSpPr>
        <p:spPr>
          <a:xfrm>
            <a:off x="8857452" y="6438900"/>
            <a:ext cx="2661448" cy="215900"/>
          </a:xfrm>
          <a:prstGeom prst="rect">
            <a:avLst/>
          </a:prstGeom>
        </p:spPr>
        <p:txBody>
          <a:bodyPr/>
          <a:lstStyle/>
          <a:p>
            <a:fld id="{7F65B630-C7FF-41C0-9923-C5E5E29EED81}" type="slidenum">
              <a:rPr lang="zh-CN" altLang="en-US" smtClean="0"/>
            </a:fld>
            <a:endParaRPr lang="zh-CN" altLang="en-US"/>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3" name="日期占位符 1"/>
          <p:cNvSpPr>
            <a:spLocks noGrp="1"/>
          </p:cNvSpPr>
          <p:nvPr>
            <p:ph type="dt" sz="half" idx="10"/>
          </p:nvPr>
        </p:nvSpPr>
        <p:spPr>
          <a:xfrm>
            <a:off x="5504656" y="6438900"/>
            <a:ext cx="1802924" cy="215900"/>
          </a:xfrm>
          <a:prstGeom prst="rect">
            <a:avLst/>
          </a:prstGeom>
        </p:spPr>
        <p:txBody>
          <a:bodyPr/>
          <a:lstStyle/>
          <a:p>
            <a:fld id="{A50ECBEB-8597-4EA4-9D29-E1D7025CFAA0}" type="datetime1">
              <a:rPr lang="zh-CN" altLang="en-US" smtClean="0"/>
            </a:fld>
            <a:endParaRPr lang="zh-CN" altLang="en-US"/>
          </a:p>
        </p:txBody>
      </p:sp>
      <p:sp>
        <p:nvSpPr>
          <p:cNvPr id="4" name="页脚占位符 2"/>
          <p:cNvSpPr>
            <a:spLocks noGrp="1"/>
          </p:cNvSpPr>
          <p:nvPr>
            <p:ph type="ftr" sz="quarter" idx="11"/>
          </p:nvPr>
        </p:nvSpPr>
        <p:spPr>
          <a:xfrm>
            <a:off x="660401" y="6438900"/>
            <a:ext cx="3992171" cy="215900"/>
          </a:xfrm>
          <a:prstGeom prst="rect">
            <a:avLst/>
          </a:prstGeom>
        </p:spPr>
        <p:txBody>
          <a:bodyPr/>
          <a:lstStyle/>
          <a:p>
            <a:endParaRPr lang="zh-CN" altLang="en-US"/>
          </a:p>
        </p:txBody>
      </p:sp>
      <p:sp>
        <p:nvSpPr>
          <p:cNvPr id="5" name="灯片编号占位符 3"/>
          <p:cNvSpPr>
            <a:spLocks noGrp="1"/>
          </p:cNvSpPr>
          <p:nvPr>
            <p:ph type="sldNum" sz="quarter" idx="12"/>
          </p:nvPr>
        </p:nvSpPr>
        <p:spPr>
          <a:xfrm>
            <a:off x="8857452" y="6438900"/>
            <a:ext cx="2661448" cy="215900"/>
          </a:xfrm>
          <a:prstGeom prst="rect">
            <a:avLst/>
          </a:prstGeom>
        </p:spPr>
        <p:txBody>
          <a:bodyPr/>
          <a:lstStyle/>
          <a:p>
            <a:fld id="{7F65B630-C7FF-41C0-9923-C5E5E29EED81}" type="slidenum">
              <a:rPr lang="zh-CN" altLang="en-US" smtClean="0"/>
            </a:fld>
            <a:endParaRPr lang="zh-CN" altLang="en-US"/>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3" name="日期占位符 1"/>
          <p:cNvSpPr>
            <a:spLocks noGrp="1"/>
          </p:cNvSpPr>
          <p:nvPr>
            <p:ph type="dt" sz="half" idx="10"/>
          </p:nvPr>
        </p:nvSpPr>
        <p:spPr>
          <a:xfrm>
            <a:off x="5504656" y="6438900"/>
            <a:ext cx="1802924" cy="215900"/>
          </a:xfrm>
          <a:prstGeom prst="rect">
            <a:avLst/>
          </a:prstGeom>
        </p:spPr>
        <p:txBody>
          <a:bodyPr/>
          <a:lstStyle/>
          <a:p>
            <a:fld id="{A50ECBEB-8597-4EA4-9D29-E1D7025CFAA0}" type="datetime1">
              <a:rPr lang="zh-CN" altLang="en-US" smtClean="0"/>
            </a:fld>
            <a:endParaRPr lang="zh-CN" altLang="en-US"/>
          </a:p>
        </p:txBody>
      </p:sp>
      <p:sp>
        <p:nvSpPr>
          <p:cNvPr id="4" name="页脚占位符 2"/>
          <p:cNvSpPr>
            <a:spLocks noGrp="1"/>
          </p:cNvSpPr>
          <p:nvPr>
            <p:ph type="ftr" sz="quarter" idx="11"/>
          </p:nvPr>
        </p:nvSpPr>
        <p:spPr>
          <a:xfrm>
            <a:off x="660401" y="6438900"/>
            <a:ext cx="3992171" cy="215900"/>
          </a:xfrm>
          <a:prstGeom prst="rect">
            <a:avLst/>
          </a:prstGeom>
        </p:spPr>
        <p:txBody>
          <a:bodyPr/>
          <a:lstStyle/>
          <a:p>
            <a:endParaRPr lang="zh-CN" altLang="en-US"/>
          </a:p>
        </p:txBody>
      </p:sp>
      <p:sp>
        <p:nvSpPr>
          <p:cNvPr id="5" name="灯片编号占位符 3"/>
          <p:cNvSpPr>
            <a:spLocks noGrp="1"/>
          </p:cNvSpPr>
          <p:nvPr>
            <p:ph type="sldNum" sz="quarter" idx="12"/>
          </p:nvPr>
        </p:nvSpPr>
        <p:spPr>
          <a:xfrm>
            <a:off x="8857452" y="6438900"/>
            <a:ext cx="2661448" cy="215900"/>
          </a:xfrm>
          <a:prstGeom prst="rect">
            <a:avLst/>
          </a:prstGeom>
        </p:spPr>
        <p:txBody>
          <a:bodyPr/>
          <a:lstStyle/>
          <a:p>
            <a:fld id="{7F65B630-C7FF-41C0-9923-C5E5E29EED81}" type="slidenum">
              <a:rPr lang="zh-CN" altLang="en-US" smtClean="0"/>
            </a:fld>
            <a:endParaRPr lang="zh-CN" altLang="en-US"/>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3" name="日期占位符 1"/>
          <p:cNvSpPr>
            <a:spLocks noGrp="1"/>
          </p:cNvSpPr>
          <p:nvPr>
            <p:ph type="dt" sz="half" idx="10"/>
          </p:nvPr>
        </p:nvSpPr>
        <p:spPr>
          <a:xfrm>
            <a:off x="5504656" y="6438900"/>
            <a:ext cx="1802924" cy="215900"/>
          </a:xfrm>
          <a:prstGeom prst="rect">
            <a:avLst/>
          </a:prstGeom>
        </p:spPr>
        <p:txBody>
          <a:bodyPr/>
          <a:lstStyle/>
          <a:p>
            <a:fld id="{A50ECBEB-8597-4EA4-9D29-E1D7025CFAA0}" type="datetime1">
              <a:rPr lang="zh-CN" altLang="en-US" smtClean="0"/>
            </a:fld>
            <a:endParaRPr lang="zh-CN" altLang="en-US"/>
          </a:p>
        </p:txBody>
      </p:sp>
      <p:sp>
        <p:nvSpPr>
          <p:cNvPr id="4" name="页脚占位符 2"/>
          <p:cNvSpPr>
            <a:spLocks noGrp="1"/>
          </p:cNvSpPr>
          <p:nvPr>
            <p:ph type="ftr" sz="quarter" idx="11"/>
          </p:nvPr>
        </p:nvSpPr>
        <p:spPr>
          <a:xfrm>
            <a:off x="660401" y="6438900"/>
            <a:ext cx="3992171" cy="215900"/>
          </a:xfrm>
          <a:prstGeom prst="rect">
            <a:avLst/>
          </a:prstGeom>
        </p:spPr>
        <p:txBody>
          <a:bodyPr/>
          <a:lstStyle/>
          <a:p>
            <a:endParaRPr lang="zh-CN" altLang="en-US"/>
          </a:p>
        </p:txBody>
      </p:sp>
      <p:sp>
        <p:nvSpPr>
          <p:cNvPr id="5" name="灯片编号占位符 3"/>
          <p:cNvSpPr>
            <a:spLocks noGrp="1"/>
          </p:cNvSpPr>
          <p:nvPr>
            <p:ph type="sldNum" sz="quarter" idx="12"/>
          </p:nvPr>
        </p:nvSpPr>
        <p:spPr>
          <a:xfrm>
            <a:off x="8857452" y="6438900"/>
            <a:ext cx="2661448" cy="215900"/>
          </a:xfrm>
          <a:prstGeom prst="rect">
            <a:avLst/>
          </a:prstGeom>
        </p:spPr>
        <p:txBody>
          <a:bodyPr/>
          <a:lstStyle/>
          <a:p>
            <a:fld id="{7F65B630-C7FF-41C0-9923-C5E5E29EED81}" type="slidenum">
              <a:rPr lang="zh-CN" altLang="en-US" smtClean="0"/>
            </a:fld>
            <a:endParaRPr lang="zh-CN" altLang="en-US"/>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仅标题">
    <p:spTree>
      <p:nvGrpSpPr>
        <p:cNvPr id="1" name=""/>
        <p:cNvGrpSpPr/>
        <p:nvPr/>
      </p:nvGrpSpPr>
      <p:grpSpPr>
        <a:xfrm>
          <a:off x="0" y="0"/>
          <a:ext cx="0" cy="0"/>
          <a:chOff x="0" y="0"/>
          <a:chExt cx="0" cy="0"/>
        </a:xfrm>
      </p:grpSpPr>
      <p:sp>
        <p:nvSpPr>
          <p:cNvPr id="3" name="标题 1"/>
          <p:cNvSpPr>
            <a:spLocks noGrp="1"/>
          </p:cNvSpPr>
          <p:nvPr>
            <p:ph type="title"/>
          </p:nvPr>
        </p:nvSpPr>
        <p:spPr>
          <a:xfrm>
            <a:off x="669924" y="1"/>
            <a:ext cx="10850563" cy="1028699"/>
          </a:xfrm>
          <a:prstGeom prst="rect">
            <a:avLst/>
          </a:prstGeom>
        </p:spPr>
        <p:txBody>
          <a:bodyPr/>
          <a:lstStyle/>
          <a:p>
            <a:r>
              <a:rPr lang="zh-CN" altLang="en-US"/>
              <a:t>单击此处编辑母版标题样式</a:t>
            </a:r>
            <a:endParaRPr lang="zh-CN" altLang="en-US"/>
          </a:p>
        </p:txBody>
      </p:sp>
      <p:sp>
        <p:nvSpPr>
          <p:cNvPr id="4" name="日期占位符 2"/>
          <p:cNvSpPr>
            <a:spLocks noGrp="1"/>
          </p:cNvSpPr>
          <p:nvPr>
            <p:ph type="dt" sz="half" idx="10"/>
          </p:nvPr>
        </p:nvSpPr>
        <p:spPr>
          <a:xfrm>
            <a:off x="5401732" y="6235700"/>
            <a:ext cx="1388536" cy="206381"/>
          </a:xfrm>
          <a:prstGeom prst="rect">
            <a:avLst/>
          </a:prstGeom>
        </p:spPr>
        <p:txBody>
          <a:bodyPr/>
          <a:lstStyle/>
          <a:p>
            <a:fld id="{6489D9C7-5DC6-4263-87FF-7C99F6FB63C3}" type="datetime1">
              <a:rPr lang="zh-CN" altLang="en-US" smtClean="0"/>
            </a:fld>
            <a:endParaRPr lang="zh-CN" altLang="en-US"/>
          </a:p>
        </p:txBody>
      </p:sp>
      <p:sp>
        <p:nvSpPr>
          <p:cNvPr id="5" name="页脚占位符 3"/>
          <p:cNvSpPr>
            <a:spLocks noGrp="1"/>
          </p:cNvSpPr>
          <p:nvPr>
            <p:ph type="ftr" sz="quarter" idx="11"/>
          </p:nvPr>
        </p:nvSpPr>
        <p:spPr>
          <a:xfrm>
            <a:off x="669924" y="6235700"/>
            <a:ext cx="4140201" cy="206381"/>
          </a:xfrm>
          <a:prstGeom prst="rect">
            <a:avLst/>
          </a:prstGeom>
        </p:spPr>
        <p:txBody>
          <a:bodyPr/>
          <a:lstStyle/>
          <a:p>
            <a:r>
              <a:rPr lang="en-US" altLang="zh-CN"/>
              <a:t>www.islide.cc</a:t>
            </a:r>
            <a:endParaRPr lang="zh-CN" altLang="en-US" dirty="0"/>
          </a:p>
        </p:txBody>
      </p:sp>
      <p:sp>
        <p:nvSpPr>
          <p:cNvPr id="6" name="灯片编号占位符 4"/>
          <p:cNvSpPr>
            <a:spLocks noGrp="1"/>
          </p:cNvSpPr>
          <p:nvPr>
            <p:ph type="sldNum" sz="quarter" idx="12"/>
          </p:nvPr>
        </p:nvSpPr>
        <p:spPr>
          <a:xfrm>
            <a:off x="8610599" y="6235700"/>
            <a:ext cx="2909888" cy="206381"/>
          </a:xfrm>
          <a:prstGeom prst="rect">
            <a:avLst/>
          </a:prstGeom>
        </p:spPr>
        <p:txBody>
          <a:bodyPr/>
          <a:lstStyle/>
          <a:p>
            <a:fld id="{5DD3DB80-B894-403A-B48E-6FDC1A72010E}" type="slidenum">
              <a:rPr lang="zh-CN" altLang="en-US" smtClean="0"/>
            </a:fld>
            <a:endParaRPr lang="zh-CN" altLang="en-US"/>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仅标题">
    <p:spTree>
      <p:nvGrpSpPr>
        <p:cNvPr id="1" name=""/>
        <p:cNvGrpSpPr/>
        <p:nvPr/>
      </p:nvGrpSpPr>
      <p:grpSpPr>
        <a:xfrm>
          <a:off x="0" y="0"/>
          <a:ext cx="0" cy="0"/>
          <a:chOff x="0" y="0"/>
          <a:chExt cx="0" cy="0"/>
        </a:xfrm>
      </p:grpSpPr>
      <p:sp>
        <p:nvSpPr>
          <p:cNvPr id="3" name="标题 1"/>
          <p:cNvSpPr>
            <a:spLocks noGrp="1"/>
          </p:cNvSpPr>
          <p:nvPr>
            <p:ph type="title"/>
          </p:nvPr>
        </p:nvSpPr>
        <p:spPr>
          <a:xfrm>
            <a:off x="669924" y="1"/>
            <a:ext cx="10850563" cy="1028699"/>
          </a:xfrm>
          <a:prstGeom prst="rect">
            <a:avLst/>
          </a:prstGeom>
        </p:spPr>
        <p:txBody>
          <a:bodyPr/>
          <a:lstStyle/>
          <a:p>
            <a:r>
              <a:rPr lang="zh-CN" altLang="en-US"/>
              <a:t>单击此处编辑母版标题样式</a:t>
            </a:r>
            <a:endParaRPr lang="zh-CN" altLang="en-US"/>
          </a:p>
        </p:txBody>
      </p:sp>
      <p:sp>
        <p:nvSpPr>
          <p:cNvPr id="4" name="日期占位符 2"/>
          <p:cNvSpPr>
            <a:spLocks noGrp="1"/>
          </p:cNvSpPr>
          <p:nvPr>
            <p:ph type="dt" sz="half" idx="10"/>
          </p:nvPr>
        </p:nvSpPr>
        <p:spPr>
          <a:xfrm>
            <a:off x="5401732" y="6235700"/>
            <a:ext cx="1388536" cy="206381"/>
          </a:xfrm>
          <a:prstGeom prst="rect">
            <a:avLst/>
          </a:prstGeom>
        </p:spPr>
        <p:txBody>
          <a:bodyPr/>
          <a:lstStyle/>
          <a:p>
            <a:fld id="{6489D9C7-5DC6-4263-87FF-7C99F6FB63C3}" type="datetime1">
              <a:rPr lang="zh-CN" altLang="en-US" smtClean="0"/>
            </a:fld>
            <a:endParaRPr lang="zh-CN" altLang="en-US"/>
          </a:p>
        </p:txBody>
      </p:sp>
      <p:sp>
        <p:nvSpPr>
          <p:cNvPr id="5" name="页脚占位符 3"/>
          <p:cNvSpPr>
            <a:spLocks noGrp="1"/>
          </p:cNvSpPr>
          <p:nvPr>
            <p:ph type="ftr" sz="quarter" idx="11"/>
          </p:nvPr>
        </p:nvSpPr>
        <p:spPr>
          <a:xfrm>
            <a:off x="669924" y="6235700"/>
            <a:ext cx="4140201" cy="206381"/>
          </a:xfrm>
          <a:prstGeom prst="rect">
            <a:avLst/>
          </a:prstGeom>
        </p:spPr>
        <p:txBody>
          <a:bodyPr/>
          <a:lstStyle/>
          <a:p>
            <a:r>
              <a:rPr lang="en-US" altLang="zh-CN"/>
              <a:t>www.islide.cc</a:t>
            </a:r>
            <a:endParaRPr lang="zh-CN" altLang="en-US" dirty="0"/>
          </a:p>
        </p:txBody>
      </p:sp>
      <p:sp>
        <p:nvSpPr>
          <p:cNvPr id="6" name="灯片编号占位符 4"/>
          <p:cNvSpPr>
            <a:spLocks noGrp="1"/>
          </p:cNvSpPr>
          <p:nvPr>
            <p:ph type="sldNum" sz="quarter" idx="12"/>
          </p:nvPr>
        </p:nvSpPr>
        <p:spPr>
          <a:xfrm>
            <a:off x="8610599" y="6235700"/>
            <a:ext cx="2909888" cy="206381"/>
          </a:xfrm>
          <a:prstGeom prst="rect">
            <a:avLst/>
          </a:prstGeom>
        </p:spPr>
        <p:txBody>
          <a:bodyPr/>
          <a:lstStyle/>
          <a:p>
            <a:fld id="{5DD3DB80-B894-403A-B48E-6FDC1A72010E}" type="slidenum">
              <a:rPr lang="zh-CN" altLang="en-US" smtClean="0"/>
            </a:fld>
            <a:endParaRPr lang="zh-CN" altLang="en-US"/>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3" name="Date Placeholder 1"/>
          <p:cNvSpPr>
            <a:spLocks noGrp="1"/>
          </p:cNvSpPr>
          <p:nvPr>
            <p:ph type="dt" sz="half" idx="10"/>
          </p:nvPr>
        </p:nvSpPr>
        <p:spPr>
          <a:xfrm>
            <a:off x="5504656" y="6438900"/>
            <a:ext cx="1802924" cy="215900"/>
          </a:xfrm>
          <a:prstGeom prst="rect">
            <a:avLst/>
          </a:prstGeom>
        </p:spPr>
        <p:txBody>
          <a:bodyPr/>
          <a:lstStyle/>
          <a:p>
            <a:fld id="{A50ECBEB-8597-4EA4-9D29-E1D7025CFAA0}" type="datetime1">
              <a:rPr lang="zh-CN" altLang="en-US" smtClean="0"/>
            </a:fld>
            <a:endParaRPr lang="zh-CN" altLang="en-US"/>
          </a:p>
        </p:txBody>
      </p:sp>
      <p:sp>
        <p:nvSpPr>
          <p:cNvPr id="4" name="Footer Placeholder 2"/>
          <p:cNvSpPr>
            <a:spLocks noGrp="1"/>
          </p:cNvSpPr>
          <p:nvPr>
            <p:ph type="ftr" sz="quarter" idx="11"/>
          </p:nvPr>
        </p:nvSpPr>
        <p:spPr>
          <a:xfrm>
            <a:off x="660401" y="6438900"/>
            <a:ext cx="3992171" cy="215900"/>
          </a:xfrm>
          <a:prstGeom prst="rect">
            <a:avLst/>
          </a:prstGeom>
        </p:spPr>
        <p:txBody>
          <a:bodyPr/>
          <a:lstStyle/>
          <a:p>
            <a:endParaRPr lang="zh-CN" altLang="en-US"/>
          </a:p>
        </p:txBody>
      </p:sp>
      <p:sp>
        <p:nvSpPr>
          <p:cNvPr id="5" name="Slide Number Placeholder 3"/>
          <p:cNvSpPr>
            <a:spLocks noGrp="1"/>
          </p:cNvSpPr>
          <p:nvPr>
            <p:ph type="sldNum" sz="quarter" idx="12"/>
          </p:nvPr>
        </p:nvSpPr>
        <p:spPr>
          <a:xfrm>
            <a:off x="8857452" y="6438900"/>
            <a:ext cx="2661448" cy="215900"/>
          </a:xfrm>
          <a:prstGeom prst="rect">
            <a:avLst/>
          </a:prstGeom>
        </p:spPr>
        <p:txBody>
          <a:bodyPr/>
          <a:lstStyle/>
          <a:p>
            <a:fld id="{7F65B630-C7FF-41C0-9923-C5E5E29EED81}" type="slidenum">
              <a:rPr lang="zh-CN" altLang="en-US" smtClean="0"/>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showMasterSp="0" userDrawn="1">
  <p:cSld name="1-封面">
    <p:spTree>
      <p:nvGrpSpPr>
        <p:cNvPr id="1" name=""/>
        <p:cNvGrpSpPr/>
        <p:nvPr/>
      </p:nvGrpSpPr>
      <p:grpSpPr>
        <a:xfrm>
          <a:off x="0" y="0"/>
          <a:ext cx="0" cy="0"/>
          <a:chOff x="0" y="0"/>
          <a:chExt cx="0" cy="0"/>
        </a:xfrm>
      </p:grpSpPr>
      <p:pic>
        <p:nvPicPr>
          <p:cNvPr id="7" name="图片 6"/>
          <p:cNvPicPr>
            <a:picLocks noChangeAspect="1"/>
          </p:cNvPicPr>
          <p:nvPr userDrawn="1"/>
        </p:nvPicPr>
        <p:blipFill>
          <a:blip r:embed="rId2">
            <a:extLst>
              <a:ext uri="{BEBA8EAE-BF5A-486C-A8C5-ECC9F3942E4B}">
                <a14:imgProps xmlns:a14="http://schemas.microsoft.com/office/drawing/2010/main">
                  <a14:imgLayer r:embed="rId3">
                    <a14:imgEffect>
                      <a14:artisticBlur/>
                    </a14:imgEffect>
                  </a14:imgLayer>
                </a14:imgProps>
              </a:ext>
              <a:ext uri="{28A0092B-C50C-407E-A947-70E740481C1C}">
                <a14:useLocalDpi xmlns:a14="http://schemas.microsoft.com/office/drawing/2010/main" val="0"/>
              </a:ext>
            </a:extLst>
          </a:blip>
          <a:srcRect t="42" b="42"/>
          <a:stretch>
            <a:fillRect/>
          </a:stretch>
        </p:blipFill>
        <p:spPr>
          <a:xfrm>
            <a:off x="1016697" y="10123"/>
            <a:ext cx="11168799" cy="6844996"/>
          </a:xfrm>
          <a:prstGeom prst="rect">
            <a:avLst/>
          </a:prstGeom>
          <a:ln w="12700">
            <a:miter lim="400000"/>
            <a:headEnd/>
            <a:tailEnd/>
          </a:ln>
        </p:spPr>
      </p:pic>
      <p:pic>
        <p:nvPicPr>
          <p:cNvPr id="4" name="图片 3"/>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45815" y="0"/>
            <a:ext cx="11146185" cy="6858000"/>
          </a:xfrm>
          <a:prstGeom prst="rect">
            <a:avLst/>
          </a:prstGeom>
        </p:spPr>
      </p:pic>
      <p:sp>
        <p:nvSpPr>
          <p:cNvPr id="8" name="矩形 7"/>
          <p:cNvSpPr/>
          <p:nvPr userDrawn="1"/>
        </p:nvSpPr>
        <p:spPr>
          <a:xfrm>
            <a:off x="0" y="0"/>
            <a:ext cx="12192000" cy="6858000"/>
          </a:xfrm>
          <a:prstGeom prst="rect">
            <a:avLst/>
          </a:prstGeom>
          <a:gradFill flip="none" rotWithShape="1">
            <a:gsLst>
              <a:gs pos="15000">
                <a:srgbClr val="FDF1ED">
                  <a:alpha val="97647"/>
                </a:srgbClr>
              </a:gs>
              <a:gs pos="27000">
                <a:srgbClr val="FEF8F6">
                  <a:alpha val="86000"/>
                </a:srgbClr>
              </a:gs>
              <a:gs pos="56000">
                <a:schemeClr val="bg1">
                  <a:alpha val="86000"/>
                </a:schemeClr>
              </a:gs>
              <a:gs pos="0">
                <a:srgbClr val="FDEAE3"/>
              </a:gs>
              <a:gs pos="100000">
                <a:schemeClr val="bg1">
                  <a:alpha val="6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微软雅黑" panose="020B0503020204020204" pitchFamily="34" charset="-122"/>
              <a:ea typeface="微软雅黑" panose="020B0503020204020204" pitchFamily="34" charset="-122"/>
            </a:endParaRPr>
          </a:p>
        </p:txBody>
      </p:sp>
      <p:sp>
        <p:nvSpPr>
          <p:cNvPr id="30" name="任意多边形: 形状 29"/>
          <p:cNvSpPr/>
          <p:nvPr userDrawn="1"/>
        </p:nvSpPr>
        <p:spPr>
          <a:xfrm>
            <a:off x="6918699" y="3183037"/>
            <a:ext cx="3984653" cy="3682203"/>
          </a:xfrm>
          <a:custGeom>
            <a:avLst/>
            <a:gdLst>
              <a:gd name="connsiteX0" fmla="*/ 2696901 w 5266797"/>
              <a:gd name="connsiteY0" fmla="*/ 0 h 6875362"/>
              <a:gd name="connsiteX1" fmla="*/ 5266797 w 5266797"/>
              <a:gd name="connsiteY1" fmla="*/ 0 h 6875362"/>
              <a:gd name="connsiteX2" fmla="*/ 5266797 w 5266797"/>
              <a:gd name="connsiteY2" fmla="*/ 1408772 h 6875362"/>
              <a:gd name="connsiteX3" fmla="*/ 3126080 w 5266797"/>
              <a:gd name="connsiteY3" fmla="*/ 6866222 h 6875362"/>
              <a:gd name="connsiteX4" fmla="*/ 0 w 5266797"/>
              <a:gd name="connsiteY4" fmla="*/ 6875362 h 68753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66797" h="6875362">
                <a:moveTo>
                  <a:pt x="2696901" y="0"/>
                </a:moveTo>
                <a:lnTo>
                  <a:pt x="5266797" y="0"/>
                </a:lnTo>
                <a:lnTo>
                  <a:pt x="5266797" y="1408772"/>
                </a:lnTo>
                <a:lnTo>
                  <a:pt x="3126080" y="6866222"/>
                </a:lnTo>
                <a:lnTo>
                  <a:pt x="0" y="6875362"/>
                </a:lnTo>
                <a:close/>
              </a:path>
            </a:pathLst>
          </a:custGeom>
          <a:gradFill flip="none" rotWithShape="1">
            <a:gsLst>
              <a:gs pos="32000">
                <a:srgbClr val="FE832C"/>
              </a:gs>
              <a:gs pos="88000">
                <a:srgbClr val="FFCEAB"/>
              </a:gs>
              <a:gs pos="0">
                <a:srgbClr val="EA5504"/>
              </a:gs>
              <a:gs pos="100000">
                <a:srgbClr val="FBE9D5"/>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dirty="0">
              <a:latin typeface="微软雅黑" panose="020B0503020204020204" pitchFamily="34" charset="-122"/>
              <a:ea typeface="微软雅黑" panose="020B0503020204020204" pitchFamily="34" charset="-122"/>
            </a:endParaRPr>
          </a:p>
        </p:txBody>
      </p:sp>
      <p:pic>
        <p:nvPicPr>
          <p:cNvPr id="12" name="图片 11"/>
          <p:cNvPicPr>
            <a:picLocks noChangeAspect="1"/>
          </p:cNvPicPr>
          <p:nvPr userDrawn="1"/>
        </p:nvPicPr>
        <p:blipFill rotWithShape="1">
          <a:blip r:embed="rId5">
            <a:extLst>
              <a:ext uri="{28A0092B-C50C-407E-A947-70E740481C1C}">
                <a14:useLocalDpi xmlns:a14="http://schemas.microsoft.com/office/drawing/2010/main" val="0"/>
              </a:ext>
            </a:extLst>
          </a:blip>
          <a:srcRect/>
          <a:stretch>
            <a:fillRect/>
          </a:stretch>
        </p:blipFill>
        <p:spPr>
          <a:xfrm flipH="1">
            <a:off x="6229392" y="1300480"/>
            <a:ext cx="5962607" cy="5557520"/>
          </a:xfrm>
          <a:prstGeom prst="rect">
            <a:avLst/>
          </a:prstGeom>
        </p:spPr>
      </p:pic>
      <p:sp>
        <p:nvSpPr>
          <p:cNvPr id="13" name="任意多边形: 形状 12"/>
          <p:cNvSpPr/>
          <p:nvPr userDrawn="1"/>
        </p:nvSpPr>
        <p:spPr>
          <a:xfrm>
            <a:off x="0" y="0"/>
            <a:ext cx="690654" cy="745871"/>
          </a:xfrm>
          <a:custGeom>
            <a:avLst/>
            <a:gdLst>
              <a:gd name="connsiteX0" fmla="*/ 590479 w 631437"/>
              <a:gd name="connsiteY0" fmla="*/ 600003 h 681919"/>
              <a:gd name="connsiteX1" fmla="*/ 631437 w 631437"/>
              <a:gd name="connsiteY1" fmla="*/ 640961 h 681919"/>
              <a:gd name="connsiteX2" fmla="*/ 590479 w 631437"/>
              <a:gd name="connsiteY2" fmla="*/ 681919 h 681919"/>
              <a:gd name="connsiteX3" fmla="*/ 549521 w 631437"/>
              <a:gd name="connsiteY3" fmla="*/ 640961 h 681919"/>
              <a:gd name="connsiteX4" fmla="*/ 590479 w 631437"/>
              <a:gd name="connsiteY4" fmla="*/ 600003 h 681919"/>
              <a:gd name="connsiteX5" fmla="*/ 448555 w 631437"/>
              <a:gd name="connsiteY5" fmla="*/ 600003 h 681919"/>
              <a:gd name="connsiteX6" fmla="*/ 489513 w 631437"/>
              <a:gd name="connsiteY6" fmla="*/ 640961 h 681919"/>
              <a:gd name="connsiteX7" fmla="*/ 448555 w 631437"/>
              <a:gd name="connsiteY7" fmla="*/ 681919 h 681919"/>
              <a:gd name="connsiteX8" fmla="*/ 407597 w 631437"/>
              <a:gd name="connsiteY8" fmla="*/ 640961 h 681919"/>
              <a:gd name="connsiteX9" fmla="*/ 448555 w 631437"/>
              <a:gd name="connsiteY9" fmla="*/ 600003 h 681919"/>
              <a:gd name="connsiteX10" fmla="*/ 306633 w 631437"/>
              <a:gd name="connsiteY10" fmla="*/ 600003 h 681919"/>
              <a:gd name="connsiteX11" fmla="*/ 347591 w 631437"/>
              <a:gd name="connsiteY11" fmla="*/ 640961 h 681919"/>
              <a:gd name="connsiteX12" fmla="*/ 306633 w 631437"/>
              <a:gd name="connsiteY12" fmla="*/ 681919 h 681919"/>
              <a:gd name="connsiteX13" fmla="*/ 265675 w 631437"/>
              <a:gd name="connsiteY13" fmla="*/ 640961 h 681919"/>
              <a:gd name="connsiteX14" fmla="*/ 306633 w 631437"/>
              <a:gd name="connsiteY14" fmla="*/ 600003 h 681919"/>
              <a:gd name="connsiteX15" fmla="*/ 164711 w 631437"/>
              <a:gd name="connsiteY15" fmla="*/ 600003 h 681919"/>
              <a:gd name="connsiteX16" fmla="*/ 205669 w 631437"/>
              <a:gd name="connsiteY16" fmla="*/ 640961 h 681919"/>
              <a:gd name="connsiteX17" fmla="*/ 164711 w 631437"/>
              <a:gd name="connsiteY17" fmla="*/ 681919 h 681919"/>
              <a:gd name="connsiteX18" fmla="*/ 123753 w 631437"/>
              <a:gd name="connsiteY18" fmla="*/ 640961 h 681919"/>
              <a:gd name="connsiteX19" fmla="*/ 164711 w 631437"/>
              <a:gd name="connsiteY19" fmla="*/ 600003 h 681919"/>
              <a:gd name="connsiteX20" fmla="*/ 22789 w 631437"/>
              <a:gd name="connsiteY20" fmla="*/ 600003 h 681919"/>
              <a:gd name="connsiteX21" fmla="*/ 63747 w 631437"/>
              <a:gd name="connsiteY21" fmla="*/ 640961 h 681919"/>
              <a:gd name="connsiteX22" fmla="*/ 22789 w 631437"/>
              <a:gd name="connsiteY22" fmla="*/ 681919 h 681919"/>
              <a:gd name="connsiteX23" fmla="*/ 0 w 631437"/>
              <a:gd name="connsiteY23" fmla="*/ 672479 h 681919"/>
              <a:gd name="connsiteX24" fmla="*/ 0 w 631437"/>
              <a:gd name="connsiteY24" fmla="*/ 609443 h 681919"/>
              <a:gd name="connsiteX25" fmla="*/ 590479 w 631437"/>
              <a:gd name="connsiteY25" fmla="*/ 441888 h 681919"/>
              <a:gd name="connsiteX26" fmla="*/ 631437 w 631437"/>
              <a:gd name="connsiteY26" fmla="*/ 482846 h 681919"/>
              <a:gd name="connsiteX27" fmla="*/ 590479 w 631437"/>
              <a:gd name="connsiteY27" fmla="*/ 523804 h 681919"/>
              <a:gd name="connsiteX28" fmla="*/ 549521 w 631437"/>
              <a:gd name="connsiteY28" fmla="*/ 482846 h 681919"/>
              <a:gd name="connsiteX29" fmla="*/ 590479 w 631437"/>
              <a:gd name="connsiteY29" fmla="*/ 441888 h 681919"/>
              <a:gd name="connsiteX30" fmla="*/ 448555 w 631437"/>
              <a:gd name="connsiteY30" fmla="*/ 441888 h 681919"/>
              <a:gd name="connsiteX31" fmla="*/ 489513 w 631437"/>
              <a:gd name="connsiteY31" fmla="*/ 482846 h 681919"/>
              <a:gd name="connsiteX32" fmla="*/ 448555 w 631437"/>
              <a:gd name="connsiteY32" fmla="*/ 523804 h 681919"/>
              <a:gd name="connsiteX33" fmla="*/ 407597 w 631437"/>
              <a:gd name="connsiteY33" fmla="*/ 482846 h 681919"/>
              <a:gd name="connsiteX34" fmla="*/ 448555 w 631437"/>
              <a:gd name="connsiteY34" fmla="*/ 441888 h 681919"/>
              <a:gd name="connsiteX35" fmla="*/ 306633 w 631437"/>
              <a:gd name="connsiteY35" fmla="*/ 441888 h 681919"/>
              <a:gd name="connsiteX36" fmla="*/ 347591 w 631437"/>
              <a:gd name="connsiteY36" fmla="*/ 482846 h 681919"/>
              <a:gd name="connsiteX37" fmla="*/ 306633 w 631437"/>
              <a:gd name="connsiteY37" fmla="*/ 523804 h 681919"/>
              <a:gd name="connsiteX38" fmla="*/ 265675 w 631437"/>
              <a:gd name="connsiteY38" fmla="*/ 482846 h 681919"/>
              <a:gd name="connsiteX39" fmla="*/ 306633 w 631437"/>
              <a:gd name="connsiteY39" fmla="*/ 441888 h 681919"/>
              <a:gd name="connsiteX40" fmla="*/ 164711 w 631437"/>
              <a:gd name="connsiteY40" fmla="*/ 441888 h 681919"/>
              <a:gd name="connsiteX41" fmla="*/ 205669 w 631437"/>
              <a:gd name="connsiteY41" fmla="*/ 482846 h 681919"/>
              <a:gd name="connsiteX42" fmla="*/ 164711 w 631437"/>
              <a:gd name="connsiteY42" fmla="*/ 523804 h 681919"/>
              <a:gd name="connsiteX43" fmla="*/ 123753 w 631437"/>
              <a:gd name="connsiteY43" fmla="*/ 482846 h 681919"/>
              <a:gd name="connsiteX44" fmla="*/ 164711 w 631437"/>
              <a:gd name="connsiteY44" fmla="*/ 441888 h 681919"/>
              <a:gd name="connsiteX45" fmla="*/ 22789 w 631437"/>
              <a:gd name="connsiteY45" fmla="*/ 441888 h 681919"/>
              <a:gd name="connsiteX46" fmla="*/ 63747 w 631437"/>
              <a:gd name="connsiteY46" fmla="*/ 482846 h 681919"/>
              <a:gd name="connsiteX47" fmla="*/ 22789 w 631437"/>
              <a:gd name="connsiteY47" fmla="*/ 523804 h 681919"/>
              <a:gd name="connsiteX48" fmla="*/ 0 w 631437"/>
              <a:gd name="connsiteY48" fmla="*/ 514364 h 681919"/>
              <a:gd name="connsiteX49" fmla="*/ 0 w 631437"/>
              <a:gd name="connsiteY49" fmla="*/ 451328 h 681919"/>
              <a:gd name="connsiteX50" fmla="*/ 590479 w 631437"/>
              <a:gd name="connsiteY50" fmla="*/ 283773 h 681919"/>
              <a:gd name="connsiteX51" fmla="*/ 631437 w 631437"/>
              <a:gd name="connsiteY51" fmla="*/ 324731 h 681919"/>
              <a:gd name="connsiteX52" fmla="*/ 590479 w 631437"/>
              <a:gd name="connsiteY52" fmla="*/ 365689 h 681919"/>
              <a:gd name="connsiteX53" fmla="*/ 549521 w 631437"/>
              <a:gd name="connsiteY53" fmla="*/ 324731 h 681919"/>
              <a:gd name="connsiteX54" fmla="*/ 590479 w 631437"/>
              <a:gd name="connsiteY54" fmla="*/ 283773 h 681919"/>
              <a:gd name="connsiteX55" fmla="*/ 448555 w 631437"/>
              <a:gd name="connsiteY55" fmla="*/ 283773 h 681919"/>
              <a:gd name="connsiteX56" fmla="*/ 489513 w 631437"/>
              <a:gd name="connsiteY56" fmla="*/ 324731 h 681919"/>
              <a:gd name="connsiteX57" fmla="*/ 448555 w 631437"/>
              <a:gd name="connsiteY57" fmla="*/ 365689 h 681919"/>
              <a:gd name="connsiteX58" fmla="*/ 407597 w 631437"/>
              <a:gd name="connsiteY58" fmla="*/ 324731 h 681919"/>
              <a:gd name="connsiteX59" fmla="*/ 448555 w 631437"/>
              <a:gd name="connsiteY59" fmla="*/ 283773 h 681919"/>
              <a:gd name="connsiteX60" fmla="*/ 306633 w 631437"/>
              <a:gd name="connsiteY60" fmla="*/ 283773 h 681919"/>
              <a:gd name="connsiteX61" fmla="*/ 347591 w 631437"/>
              <a:gd name="connsiteY61" fmla="*/ 324731 h 681919"/>
              <a:gd name="connsiteX62" fmla="*/ 306633 w 631437"/>
              <a:gd name="connsiteY62" fmla="*/ 365689 h 681919"/>
              <a:gd name="connsiteX63" fmla="*/ 265675 w 631437"/>
              <a:gd name="connsiteY63" fmla="*/ 324731 h 681919"/>
              <a:gd name="connsiteX64" fmla="*/ 306633 w 631437"/>
              <a:gd name="connsiteY64" fmla="*/ 283773 h 681919"/>
              <a:gd name="connsiteX65" fmla="*/ 164711 w 631437"/>
              <a:gd name="connsiteY65" fmla="*/ 283773 h 681919"/>
              <a:gd name="connsiteX66" fmla="*/ 205669 w 631437"/>
              <a:gd name="connsiteY66" fmla="*/ 324731 h 681919"/>
              <a:gd name="connsiteX67" fmla="*/ 164711 w 631437"/>
              <a:gd name="connsiteY67" fmla="*/ 365689 h 681919"/>
              <a:gd name="connsiteX68" fmla="*/ 123753 w 631437"/>
              <a:gd name="connsiteY68" fmla="*/ 324731 h 681919"/>
              <a:gd name="connsiteX69" fmla="*/ 164711 w 631437"/>
              <a:gd name="connsiteY69" fmla="*/ 283773 h 681919"/>
              <a:gd name="connsiteX70" fmla="*/ 22789 w 631437"/>
              <a:gd name="connsiteY70" fmla="*/ 283773 h 681919"/>
              <a:gd name="connsiteX71" fmla="*/ 63747 w 631437"/>
              <a:gd name="connsiteY71" fmla="*/ 324731 h 681919"/>
              <a:gd name="connsiteX72" fmla="*/ 22789 w 631437"/>
              <a:gd name="connsiteY72" fmla="*/ 365689 h 681919"/>
              <a:gd name="connsiteX73" fmla="*/ 0 w 631437"/>
              <a:gd name="connsiteY73" fmla="*/ 356249 h 681919"/>
              <a:gd name="connsiteX74" fmla="*/ 0 w 631437"/>
              <a:gd name="connsiteY74" fmla="*/ 293213 h 681919"/>
              <a:gd name="connsiteX75" fmla="*/ 448555 w 631437"/>
              <a:gd name="connsiteY75" fmla="*/ 125658 h 681919"/>
              <a:gd name="connsiteX76" fmla="*/ 489513 w 631437"/>
              <a:gd name="connsiteY76" fmla="*/ 166616 h 681919"/>
              <a:gd name="connsiteX77" fmla="*/ 448555 w 631437"/>
              <a:gd name="connsiteY77" fmla="*/ 207574 h 681919"/>
              <a:gd name="connsiteX78" fmla="*/ 407597 w 631437"/>
              <a:gd name="connsiteY78" fmla="*/ 166616 h 681919"/>
              <a:gd name="connsiteX79" fmla="*/ 448555 w 631437"/>
              <a:gd name="connsiteY79" fmla="*/ 125658 h 681919"/>
              <a:gd name="connsiteX80" fmla="*/ 306633 w 631437"/>
              <a:gd name="connsiteY80" fmla="*/ 125658 h 681919"/>
              <a:gd name="connsiteX81" fmla="*/ 347591 w 631437"/>
              <a:gd name="connsiteY81" fmla="*/ 166616 h 681919"/>
              <a:gd name="connsiteX82" fmla="*/ 306633 w 631437"/>
              <a:gd name="connsiteY82" fmla="*/ 207574 h 681919"/>
              <a:gd name="connsiteX83" fmla="*/ 265675 w 631437"/>
              <a:gd name="connsiteY83" fmla="*/ 166616 h 681919"/>
              <a:gd name="connsiteX84" fmla="*/ 306633 w 631437"/>
              <a:gd name="connsiteY84" fmla="*/ 125658 h 681919"/>
              <a:gd name="connsiteX85" fmla="*/ 164711 w 631437"/>
              <a:gd name="connsiteY85" fmla="*/ 125658 h 681919"/>
              <a:gd name="connsiteX86" fmla="*/ 205669 w 631437"/>
              <a:gd name="connsiteY86" fmla="*/ 166616 h 681919"/>
              <a:gd name="connsiteX87" fmla="*/ 164711 w 631437"/>
              <a:gd name="connsiteY87" fmla="*/ 207574 h 681919"/>
              <a:gd name="connsiteX88" fmla="*/ 123753 w 631437"/>
              <a:gd name="connsiteY88" fmla="*/ 166616 h 681919"/>
              <a:gd name="connsiteX89" fmla="*/ 164711 w 631437"/>
              <a:gd name="connsiteY89" fmla="*/ 125658 h 681919"/>
              <a:gd name="connsiteX90" fmla="*/ 22789 w 631437"/>
              <a:gd name="connsiteY90" fmla="*/ 125658 h 681919"/>
              <a:gd name="connsiteX91" fmla="*/ 63747 w 631437"/>
              <a:gd name="connsiteY91" fmla="*/ 166616 h 681919"/>
              <a:gd name="connsiteX92" fmla="*/ 22789 w 631437"/>
              <a:gd name="connsiteY92" fmla="*/ 207574 h 681919"/>
              <a:gd name="connsiteX93" fmla="*/ 0 w 631437"/>
              <a:gd name="connsiteY93" fmla="*/ 198134 h 681919"/>
              <a:gd name="connsiteX94" fmla="*/ 0 w 631437"/>
              <a:gd name="connsiteY94" fmla="*/ 135098 h 681919"/>
              <a:gd name="connsiteX95" fmla="*/ 590479 w 631437"/>
              <a:gd name="connsiteY95" fmla="*/ 125658 h 681919"/>
              <a:gd name="connsiteX96" fmla="*/ 631437 w 631437"/>
              <a:gd name="connsiteY96" fmla="*/ 166616 h 681919"/>
              <a:gd name="connsiteX97" fmla="*/ 590479 w 631437"/>
              <a:gd name="connsiteY97" fmla="*/ 207574 h 681919"/>
              <a:gd name="connsiteX98" fmla="*/ 549521 w 631437"/>
              <a:gd name="connsiteY98" fmla="*/ 166616 h 681919"/>
              <a:gd name="connsiteX99" fmla="*/ 590479 w 631437"/>
              <a:gd name="connsiteY99" fmla="*/ 125658 h 681919"/>
              <a:gd name="connsiteX100" fmla="*/ 553042 w 631437"/>
              <a:gd name="connsiteY100" fmla="*/ 0 h 681919"/>
              <a:gd name="connsiteX101" fmla="*/ 627916 w 631437"/>
              <a:gd name="connsiteY101" fmla="*/ 0 h 681919"/>
              <a:gd name="connsiteX102" fmla="*/ 631437 w 631437"/>
              <a:gd name="connsiteY102" fmla="*/ 8501 h 681919"/>
              <a:gd name="connsiteX103" fmla="*/ 590479 w 631437"/>
              <a:gd name="connsiteY103" fmla="*/ 49459 h 681919"/>
              <a:gd name="connsiteX104" fmla="*/ 549521 w 631437"/>
              <a:gd name="connsiteY104" fmla="*/ 8501 h 681919"/>
              <a:gd name="connsiteX105" fmla="*/ 411118 w 631437"/>
              <a:gd name="connsiteY105" fmla="*/ 0 h 681919"/>
              <a:gd name="connsiteX106" fmla="*/ 485992 w 631437"/>
              <a:gd name="connsiteY106" fmla="*/ 0 h 681919"/>
              <a:gd name="connsiteX107" fmla="*/ 489513 w 631437"/>
              <a:gd name="connsiteY107" fmla="*/ 8501 h 681919"/>
              <a:gd name="connsiteX108" fmla="*/ 448555 w 631437"/>
              <a:gd name="connsiteY108" fmla="*/ 49459 h 681919"/>
              <a:gd name="connsiteX109" fmla="*/ 407597 w 631437"/>
              <a:gd name="connsiteY109" fmla="*/ 8501 h 681919"/>
              <a:gd name="connsiteX110" fmla="*/ 269196 w 631437"/>
              <a:gd name="connsiteY110" fmla="*/ 0 h 681919"/>
              <a:gd name="connsiteX111" fmla="*/ 344070 w 631437"/>
              <a:gd name="connsiteY111" fmla="*/ 0 h 681919"/>
              <a:gd name="connsiteX112" fmla="*/ 347591 w 631437"/>
              <a:gd name="connsiteY112" fmla="*/ 8501 h 681919"/>
              <a:gd name="connsiteX113" fmla="*/ 306633 w 631437"/>
              <a:gd name="connsiteY113" fmla="*/ 49459 h 681919"/>
              <a:gd name="connsiteX114" fmla="*/ 265675 w 631437"/>
              <a:gd name="connsiteY114" fmla="*/ 8501 h 681919"/>
              <a:gd name="connsiteX115" fmla="*/ 127274 w 631437"/>
              <a:gd name="connsiteY115" fmla="*/ 0 h 681919"/>
              <a:gd name="connsiteX116" fmla="*/ 202148 w 631437"/>
              <a:gd name="connsiteY116" fmla="*/ 0 h 681919"/>
              <a:gd name="connsiteX117" fmla="*/ 205669 w 631437"/>
              <a:gd name="connsiteY117" fmla="*/ 8501 h 681919"/>
              <a:gd name="connsiteX118" fmla="*/ 164711 w 631437"/>
              <a:gd name="connsiteY118" fmla="*/ 49459 h 681919"/>
              <a:gd name="connsiteX119" fmla="*/ 123753 w 631437"/>
              <a:gd name="connsiteY119" fmla="*/ 8501 h 681919"/>
              <a:gd name="connsiteX120" fmla="*/ 0 w 631437"/>
              <a:gd name="connsiteY120" fmla="*/ 0 h 681919"/>
              <a:gd name="connsiteX121" fmla="*/ 60226 w 631437"/>
              <a:gd name="connsiteY121" fmla="*/ 0 h 681919"/>
              <a:gd name="connsiteX122" fmla="*/ 63747 w 631437"/>
              <a:gd name="connsiteY122" fmla="*/ 8501 h 681919"/>
              <a:gd name="connsiteX123" fmla="*/ 22789 w 631437"/>
              <a:gd name="connsiteY123" fmla="*/ 49459 h 681919"/>
              <a:gd name="connsiteX124" fmla="*/ 0 w 631437"/>
              <a:gd name="connsiteY124" fmla="*/ 40019 h 681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Lst>
            <a:rect l="l" t="t" r="r" b="b"/>
            <a:pathLst>
              <a:path w="631437" h="681919">
                <a:moveTo>
                  <a:pt x="590479" y="600003"/>
                </a:moveTo>
                <a:cubicBezTo>
                  <a:pt x="613099" y="600003"/>
                  <a:pt x="631437" y="618341"/>
                  <a:pt x="631437" y="640961"/>
                </a:cubicBezTo>
                <a:cubicBezTo>
                  <a:pt x="631437" y="663581"/>
                  <a:pt x="613099" y="681919"/>
                  <a:pt x="590479" y="681919"/>
                </a:cubicBezTo>
                <a:cubicBezTo>
                  <a:pt x="567859" y="681919"/>
                  <a:pt x="549521" y="663581"/>
                  <a:pt x="549521" y="640961"/>
                </a:cubicBezTo>
                <a:cubicBezTo>
                  <a:pt x="549521" y="618341"/>
                  <a:pt x="567859" y="600003"/>
                  <a:pt x="590479" y="600003"/>
                </a:cubicBezTo>
                <a:close/>
                <a:moveTo>
                  <a:pt x="448555" y="600003"/>
                </a:moveTo>
                <a:cubicBezTo>
                  <a:pt x="471175" y="600003"/>
                  <a:pt x="489513" y="618341"/>
                  <a:pt x="489513" y="640961"/>
                </a:cubicBezTo>
                <a:cubicBezTo>
                  <a:pt x="489513" y="663581"/>
                  <a:pt x="471175" y="681919"/>
                  <a:pt x="448555" y="681919"/>
                </a:cubicBezTo>
                <a:cubicBezTo>
                  <a:pt x="425935" y="681919"/>
                  <a:pt x="407597" y="663581"/>
                  <a:pt x="407597" y="640961"/>
                </a:cubicBezTo>
                <a:cubicBezTo>
                  <a:pt x="407597" y="618341"/>
                  <a:pt x="425935" y="600003"/>
                  <a:pt x="448555" y="600003"/>
                </a:cubicBezTo>
                <a:close/>
                <a:moveTo>
                  <a:pt x="306633" y="600003"/>
                </a:moveTo>
                <a:cubicBezTo>
                  <a:pt x="329253" y="600003"/>
                  <a:pt x="347591" y="618341"/>
                  <a:pt x="347591" y="640961"/>
                </a:cubicBezTo>
                <a:cubicBezTo>
                  <a:pt x="347591" y="663581"/>
                  <a:pt x="329253" y="681919"/>
                  <a:pt x="306633" y="681919"/>
                </a:cubicBezTo>
                <a:cubicBezTo>
                  <a:pt x="284013" y="681919"/>
                  <a:pt x="265675" y="663581"/>
                  <a:pt x="265675" y="640961"/>
                </a:cubicBezTo>
                <a:cubicBezTo>
                  <a:pt x="265675" y="618341"/>
                  <a:pt x="284013" y="600003"/>
                  <a:pt x="306633" y="600003"/>
                </a:cubicBezTo>
                <a:close/>
                <a:moveTo>
                  <a:pt x="164711" y="600003"/>
                </a:moveTo>
                <a:cubicBezTo>
                  <a:pt x="187331" y="600003"/>
                  <a:pt x="205669" y="618341"/>
                  <a:pt x="205669" y="640961"/>
                </a:cubicBezTo>
                <a:cubicBezTo>
                  <a:pt x="205669" y="663581"/>
                  <a:pt x="187331" y="681919"/>
                  <a:pt x="164711" y="681919"/>
                </a:cubicBezTo>
                <a:cubicBezTo>
                  <a:pt x="142091" y="681919"/>
                  <a:pt x="123753" y="663581"/>
                  <a:pt x="123753" y="640961"/>
                </a:cubicBezTo>
                <a:cubicBezTo>
                  <a:pt x="123753" y="618341"/>
                  <a:pt x="142091" y="600003"/>
                  <a:pt x="164711" y="600003"/>
                </a:cubicBezTo>
                <a:close/>
                <a:moveTo>
                  <a:pt x="22789" y="600003"/>
                </a:moveTo>
                <a:cubicBezTo>
                  <a:pt x="45409" y="600003"/>
                  <a:pt x="63747" y="618341"/>
                  <a:pt x="63747" y="640961"/>
                </a:cubicBezTo>
                <a:cubicBezTo>
                  <a:pt x="63747" y="663581"/>
                  <a:pt x="45409" y="681919"/>
                  <a:pt x="22789" y="681919"/>
                </a:cubicBezTo>
                <a:lnTo>
                  <a:pt x="0" y="672479"/>
                </a:lnTo>
                <a:lnTo>
                  <a:pt x="0" y="609443"/>
                </a:lnTo>
                <a:close/>
                <a:moveTo>
                  <a:pt x="590479" y="441888"/>
                </a:moveTo>
                <a:cubicBezTo>
                  <a:pt x="613099" y="441888"/>
                  <a:pt x="631437" y="460226"/>
                  <a:pt x="631437" y="482846"/>
                </a:cubicBezTo>
                <a:cubicBezTo>
                  <a:pt x="631437" y="505466"/>
                  <a:pt x="613099" y="523804"/>
                  <a:pt x="590479" y="523804"/>
                </a:cubicBezTo>
                <a:cubicBezTo>
                  <a:pt x="567859" y="523804"/>
                  <a:pt x="549521" y="505466"/>
                  <a:pt x="549521" y="482846"/>
                </a:cubicBezTo>
                <a:cubicBezTo>
                  <a:pt x="549521" y="460226"/>
                  <a:pt x="567859" y="441888"/>
                  <a:pt x="590479" y="441888"/>
                </a:cubicBezTo>
                <a:close/>
                <a:moveTo>
                  <a:pt x="448555" y="441888"/>
                </a:moveTo>
                <a:cubicBezTo>
                  <a:pt x="471175" y="441888"/>
                  <a:pt x="489513" y="460226"/>
                  <a:pt x="489513" y="482846"/>
                </a:cubicBezTo>
                <a:cubicBezTo>
                  <a:pt x="489513" y="505466"/>
                  <a:pt x="471175" y="523804"/>
                  <a:pt x="448555" y="523804"/>
                </a:cubicBezTo>
                <a:cubicBezTo>
                  <a:pt x="425935" y="523804"/>
                  <a:pt x="407597" y="505466"/>
                  <a:pt x="407597" y="482846"/>
                </a:cubicBezTo>
                <a:cubicBezTo>
                  <a:pt x="407597" y="460226"/>
                  <a:pt x="425935" y="441888"/>
                  <a:pt x="448555" y="441888"/>
                </a:cubicBezTo>
                <a:close/>
                <a:moveTo>
                  <a:pt x="306633" y="441888"/>
                </a:moveTo>
                <a:cubicBezTo>
                  <a:pt x="329253" y="441888"/>
                  <a:pt x="347591" y="460226"/>
                  <a:pt x="347591" y="482846"/>
                </a:cubicBezTo>
                <a:cubicBezTo>
                  <a:pt x="347591" y="505466"/>
                  <a:pt x="329253" y="523804"/>
                  <a:pt x="306633" y="523804"/>
                </a:cubicBezTo>
                <a:cubicBezTo>
                  <a:pt x="284013" y="523804"/>
                  <a:pt x="265675" y="505466"/>
                  <a:pt x="265675" y="482846"/>
                </a:cubicBezTo>
                <a:cubicBezTo>
                  <a:pt x="265675" y="460226"/>
                  <a:pt x="284013" y="441888"/>
                  <a:pt x="306633" y="441888"/>
                </a:cubicBezTo>
                <a:close/>
                <a:moveTo>
                  <a:pt x="164711" y="441888"/>
                </a:moveTo>
                <a:cubicBezTo>
                  <a:pt x="187331" y="441888"/>
                  <a:pt x="205669" y="460226"/>
                  <a:pt x="205669" y="482846"/>
                </a:cubicBezTo>
                <a:cubicBezTo>
                  <a:pt x="205669" y="505466"/>
                  <a:pt x="187331" y="523804"/>
                  <a:pt x="164711" y="523804"/>
                </a:cubicBezTo>
                <a:cubicBezTo>
                  <a:pt x="142091" y="523804"/>
                  <a:pt x="123753" y="505466"/>
                  <a:pt x="123753" y="482846"/>
                </a:cubicBezTo>
                <a:cubicBezTo>
                  <a:pt x="123753" y="460226"/>
                  <a:pt x="142091" y="441888"/>
                  <a:pt x="164711" y="441888"/>
                </a:cubicBezTo>
                <a:close/>
                <a:moveTo>
                  <a:pt x="22789" y="441888"/>
                </a:moveTo>
                <a:cubicBezTo>
                  <a:pt x="45409" y="441888"/>
                  <a:pt x="63747" y="460226"/>
                  <a:pt x="63747" y="482846"/>
                </a:cubicBezTo>
                <a:cubicBezTo>
                  <a:pt x="63747" y="505466"/>
                  <a:pt x="45409" y="523804"/>
                  <a:pt x="22789" y="523804"/>
                </a:cubicBezTo>
                <a:lnTo>
                  <a:pt x="0" y="514364"/>
                </a:lnTo>
                <a:lnTo>
                  <a:pt x="0" y="451328"/>
                </a:lnTo>
                <a:close/>
                <a:moveTo>
                  <a:pt x="590479" y="283773"/>
                </a:moveTo>
                <a:cubicBezTo>
                  <a:pt x="613099" y="283773"/>
                  <a:pt x="631437" y="302111"/>
                  <a:pt x="631437" y="324731"/>
                </a:cubicBezTo>
                <a:cubicBezTo>
                  <a:pt x="631437" y="347351"/>
                  <a:pt x="613099" y="365689"/>
                  <a:pt x="590479" y="365689"/>
                </a:cubicBezTo>
                <a:cubicBezTo>
                  <a:pt x="567859" y="365689"/>
                  <a:pt x="549521" y="347351"/>
                  <a:pt x="549521" y="324731"/>
                </a:cubicBezTo>
                <a:cubicBezTo>
                  <a:pt x="549521" y="302111"/>
                  <a:pt x="567859" y="283773"/>
                  <a:pt x="590479" y="283773"/>
                </a:cubicBezTo>
                <a:close/>
                <a:moveTo>
                  <a:pt x="448555" y="283773"/>
                </a:moveTo>
                <a:cubicBezTo>
                  <a:pt x="471175" y="283773"/>
                  <a:pt x="489513" y="302111"/>
                  <a:pt x="489513" y="324731"/>
                </a:cubicBezTo>
                <a:cubicBezTo>
                  <a:pt x="489513" y="347351"/>
                  <a:pt x="471175" y="365689"/>
                  <a:pt x="448555" y="365689"/>
                </a:cubicBezTo>
                <a:cubicBezTo>
                  <a:pt x="425935" y="365689"/>
                  <a:pt x="407597" y="347351"/>
                  <a:pt x="407597" y="324731"/>
                </a:cubicBezTo>
                <a:cubicBezTo>
                  <a:pt x="407597" y="302111"/>
                  <a:pt x="425935" y="283773"/>
                  <a:pt x="448555" y="283773"/>
                </a:cubicBezTo>
                <a:close/>
                <a:moveTo>
                  <a:pt x="306633" y="283773"/>
                </a:moveTo>
                <a:cubicBezTo>
                  <a:pt x="329253" y="283773"/>
                  <a:pt x="347591" y="302111"/>
                  <a:pt x="347591" y="324731"/>
                </a:cubicBezTo>
                <a:cubicBezTo>
                  <a:pt x="347591" y="347351"/>
                  <a:pt x="329253" y="365689"/>
                  <a:pt x="306633" y="365689"/>
                </a:cubicBezTo>
                <a:cubicBezTo>
                  <a:pt x="284013" y="365689"/>
                  <a:pt x="265675" y="347351"/>
                  <a:pt x="265675" y="324731"/>
                </a:cubicBezTo>
                <a:cubicBezTo>
                  <a:pt x="265675" y="302111"/>
                  <a:pt x="284013" y="283773"/>
                  <a:pt x="306633" y="283773"/>
                </a:cubicBezTo>
                <a:close/>
                <a:moveTo>
                  <a:pt x="164711" y="283773"/>
                </a:moveTo>
                <a:cubicBezTo>
                  <a:pt x="187331" y="283773"/>
                  <a:pt x="205669" y="302111"/>
                  <a:pt x="205669" y="324731"/>
                </a:cubicBezTo>
                <a:cubicBezTo>
                  <a:pt x="205669" y="347351"/>
                  <a:pt x="187331" y="365689"/>
                  <a:pt x="164711" y="365689"/>
                </a:cubicBezTo>
                <a:cubicBezTo>
                  <a:pt x="142091" y="365689"/>
                  <a:pt x="123753" y="347351"/>
                  <a:pt x="123753" y="324731"/>
                </a:cubicBezTo>
                <a:cubicBezTo>
                  <a:pt x="123753" y="302111"/>
                  <a:pt x="142091" y="283773"/>
                  <a:pt x="164711" y="283773"/>
                </a:cubicBezTo>
                <a:close/>
                <a:moveTo>
                  <a:pt x="22789" y="283773"/>
                </a:moveTo>
                <a:cubicBezTo>
                  <a:pt x="45409" y="283773"/>
                  <a:pt x="63747" y="302111"/>
                  <a:pt x="63747" y="324731"/>
                </a:cubicBezTo>
                <a:cubicBezTo>
                  <a:pt x="63747" y="347351"/>
                  <a:pt x="45409" y="365689"/>
                  <a:pt x="22789" y="365689"/>
                </a:cubicBezTo>
                <a:lnTo>
                  <a:pt x="0" y="356249"/>
                </a:lnTo>
                <a:lnTo>
                  <a:pt x="0" y="293213"/>
                </a:lnTo>
                <a:close/>
                <a:moveTo>
                  <a:pt x="448555" y="125658"/>
                </a:moveTo>
                <a:cubicBezTo>
                  <a:pt x="471175" y="125658"/>
                  <a:pt x="489513" y="143996"/>
                  <a:pt x="489513" y="166616"/>
                </a:cubicBezTo>
                <a:cubicBezTo>
                  <a:pt x="489513" y="189236"/>
                  <a:pt x="471175" y="207574"/>
                  <a:pt x="448555" y="207574"/>
                </a:cubicBezTo>
                <a:cubicBezTo>
                  <a:pt x="425935" y="207574"/>
                  <a:pt x="407597" y="189236"/>
                  <a:pt x="407597" y="166616"/>
                </a:cubicBezTo>
                <a:cubicBezTo>
                  <a:pt x="407597" y="143996"/>
                  <a:pt x="425935" y="125658"/>
                  <a:pt x="448555" y="125658"/>
                </a:cubicBezTo>
                <a:close/>
                <a:moveTo>
                  <a:pt x="306633" y="125658"/>
                </a:moveTo>
                <a:cubicBezTo>
                  <a:pt x="329253" y="125658"/>
                  <a:pt x="347591" y="143996"/>
                  <a:pt x="347591" y="166616"/>
                </a:cubicBezTo>
                <a:cubicBezTo>
                  <a:pt x="347591" y="189236"/>
                  <a:pt x="329253" y="207574"/>
                  <a:pt x="306633" y="207574"/>
                </a:cubicBezTo>
                <a:cubicBezTo>
                  <a:pt x="284013" y="207574"/>
                  <a:pt x="265675" y="189236"/>
                  <a:pt x="265675" y="166616"/>
                </a:cubicBezTo>
                <a:cubicBezTo>
                  <a:pt x="265675" y="143996"/>
                  <a:pt x="284013" y="125658"/>
                  <a:pt x="306633" y="125658"/>
                </a:cubicBezTo>
                <a:close/>
                <a:moveTo>
                  <a:pt x="164711" y="125658"/>
                </a:moveTo>
                <a:cubicBezTo>
                  <a:pt x="187331" y="125658"/>
                  <a:pt x="205669" y="143996"/>
                  <a:pt x="205669" y="166616"/>
                </a:cubicBezTo>
                <a:cubicBezTo>
                  <a:pt x="205669" y="189236"/>
                  <a:pt x="187331" y="207574"/>
                  <a:pt x="164711" y="207574"/>
                </a:cubicBezTo>
                <a:cubicBezTo>
                  <a:pt x="142091" y="207574"/>
                  <a:pt x="123753" y="189236"/>
                  <a:pt x="123753" y="166616"/>
                </a:cubicBezTo>
                <a:cubicBezTo>
                  <a:pt x="123753" y="143996"/>
                  <a:pt x="142091" y="125658"/>
                  <a:pt x="164711" y="125658"/>
                </a:cubicBezTo>
                <a:close/>
                <a:moveTo>
                  <a:pt x="22789" y="125658"/>
                </a:moveTo>
                <a:cubicBezTo>
                  <a:pt x="45409" y="125658"/>
                  <a:pt x="63747" y="143996"/>
                  <a:pt x="63747" y="166616"/>
                </a:cubicBezTo>
                <a:cubicBezTo>
                  <a:pt x="63747" y="189236"/>
                  <a:pt x="45409" y="207574"/>
                  <a:pt x="22789" y="207574"/>
                </a:cubicBezTo>
                <a:lnTo>
                  <a:pt x="0" y="198134"/>
                </a:lnTo>
                <a:lnTo>
                  <a:pt x="0" y="135098"/>
                </a:lnTo>
                <a:close/>
                <a:moveTo>
                  <a:pt x="590479" y="125658"/>
                </a:moveTo>
                <a:cubicBezTo>
                  <a:pt x="613099" y="125658"/>
                  <a:pt x="631437" y="143996"/>
                  <a:pt x="631437" y="166616"/>
                </a:cubicBezTo>
                <a:cubicBezTo>
                  <a:pt x="631437" y="189236"/>
                  <a:pt x="613099" y="207574"/>
                  <a:pt x="590479" y="207574"/>
                </a:cubicBezTo>
                <a:cubicBezTo>
                  <a:pt x="567859" y="207574"/>
                  <a:pt x="549521" y="189236"/>
                  <a:pt x="549521" y="166616"/>
                </a:cubicBezTo>
                <a:cubicBezTo>
                  <a:pt x="549521" y="143996"/>
                  <a:pt x="567859" y="125658"/>
                  <a:pt x="590479" y="125658"/>
                </a:cubicBezTo>
                <a:close/>
                <a:moveTo>
                  <a:pt x="553042" y="0"/>
                </a:moveTo>
                <a:lnTo>
                  <a:pt x="627916" y="0"/>
                </a:lnTo>
                <a:lnTo>
                  <a:pt x="631437" y="8501"/>
                </a:lnTo>
                <a:cubicBezTo>
                  <a:pt x="631437" y="31121"/>
                  <a:pt x="613099" y="49459"/>
                  <a:pt x="590479" y="49459"/>
                </a:cubicBezTo>
                <a:cubicBezTo>
                  <a:pt x="567859" y="49459"/>
                  <a:pt x="549521" y="31121"/>
                  <a:pt x="549521" y="8501"/>
                </a:cubicBezTo>
                <a:close/>
                <a:moveTo>
                  <a:pt x="411118" y="0"/>
                </a:moveTo>
                <a:lnTo>
                  <a:pt x="485992" y="0"/>
                </a:lnTo>
                <a:lnTo>
                  <a:pt x="489513" y="8501"/>
                </a:lnTo>
                <a:cubicBezTo>
                  <a:pt x="489513" y="31121"/>
                  <a:pt x="471175" y="49459"/>
                  <a:pt x="448555" y="49459"/>
                </a:cubicBezTo>
                <a:cubicBezTo>
                  <a:pt x="425935" y="49459"/>
                  <a:pt x="407597" y="31121"/>
                  <a:pt x="407597" y="8501"/>
                </a:cubicBezTo>
                <a:close/>
                <a:moveTo>
                  <a:pt x="269196" y="0"/>
                </a:moveTo>
                <a:lnTo>
                  <a:pt x="344070" y="0"/>
                </a:lnTo>
                <a:lnTo>
                  <a:pt x="347591" y="8501"/>
                </a:lnTo>
                <a:cubicBezTo>
                  <a:pt x="347591" y="31121"/>
                  <a:pt x="329253" y="49459"/>
                  <a:pt x="306633" y="49459"/>
                </a:cubicBezTo>
                <a:cubicBezTo>
                  <a:pt x="284013" y="49459"/>
                  <a:pt x="265675" y="31121"/>
                  <a:pt x="265675" y="8501"/>
                </a:cubicBezTo>
                <a:close/>
                <a:moveTo>
                  <a:pt x="127274" y="0"/>
                </a:moveTo>
                <a:lnTo>
                  <a:pt x="202148" y="0"/>
                </a:lnTo>
                <a:lnTo>
                  <a:pt x="205669" y="8501"/>
                </a:lnTo>
                <a:cubicBezTo>
                  <a:pt x="205669" y="31121"/>
                  <a:pt x="187331" y="49459"/>
                  <a:pt x="164711" y="49459"/>
                </a:cubicBezTo>
                <a:cubicBezTo>
                  <a:pt x="142091" y="49459"/>
                  <a:pt x="123753" y="31121"/>
                  <a:pt x="123753" y="8501"/>
                </a:cubicBezTo>
                <a:close/>
                <a:moveTo>
                  <a:pt x="0" y="0"/>
                </a:moveTo>
                <a:lnTo>
                  <a:pt x="60226" y="0"/>
                </a:lnTo>
                <a:lnTo>
                  <a:pt x="63747" y="8501"/>
                </a:lnTo>
                <a:cubicBezTo>
                  <a:pt x="63747" y="31121"/>
                  <a:pt x="45409" y="49459"/>
                  <a:pt x="22789" y="49459"/>
                </a:cubicBezTo>
                <a:lnTo>
                  <a:pt x="0" y="40019"/>
                </a:lnTo>
                <a:close/>
              </a:path>
            </a:pathLst>
          </a:custGeom>
          <a:gradFill flip="none" rotWithShape="1">
            <a:gsLst>
              <a:gs pos="6000">
                <a:srgbClr val="FE832C"/>
              </a:gs>
              <a:gs pos="61000">
                <a:srgbClr val="FFCEAB"/>
              </a:gs>
              <a:gs pos="0">
                <a:srgbClr val="EA5504"/>
              </a:gs>
              <a:gs pos="100000">
                <a:srgbClr val="FBE9D5"/>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dirty="0">
              <a:latin typeface="微软雅黑" panose="020B0503020204020204" pitchFamily="34" charset="-122"/>
              <a:ea typeface="微软雅黑" panose="020B0503020204020204" pitchFamily="34" charset="-122"/>
            </a:endParaRPr>
          </a:p>
        </p:txBody>
      </p:sp>
      <p:grpSp>
        <p:nvGrpSpPr>
          <p:cNvPr id="14" name="组合 13"/>
          <p:cNvGrpSpPr/>
          <p:nvPr userDrawn="1"/>
        </p:nvGrpSpPr>
        <p:grpSpPr>
          <a:xfrm>
            <a:off x="741424" y="571834"/>
            <a:ext cx="2812005" cy="468667"/>
            <a:chOff x="660400" y="492126"/>
            <a:chExt cx="3257550" cy="542924"/>
          </a:xfrm>
        </p:grpSpPr>
        <p:sp>
          <p:nvSpPr>
            <p:cNvPr id="15" name="Freeform 5"/>
            <p:cNvSpPr>
              <a:spLocks noEditPoints="1"/>
            </p:cNvSpPr>
            <p:nvPr/>
          </p:nvSpPr>
          <p:spPr bwMode="auto">
            <a:xfrm>
              <a:off x="660400" y="492126"/>
              <a:ext cx="3257550" cy="285750"/>
            </a:xfrm>
            <a:custGeom>
              <a:avLst/>
              <a:gdLst>
                <a:gd name="T0" fmla="*/ 1282 w 1998"/>
                <a:gd name="T1" fmla="*/ 16 h 174"/>
                <a:gd name="T2" fmla="*/ 1247 w 1998"/>
                <a:gd name="T3" fmla="*/ 166 h 174"/>
                <a:gd name="T4" fmla="*/ 1376 w 1998"/>
                <a:gd name="T5" fmla="*/ 167 h 174"/>
                <a:gd name="T6" fmla="*/ 1409 w 1998"/>
                <a:gd name="T7" fmla="*/ 17 h 174"/>
                <a:gd name="T8" fmla="*/ 1184 w 1998"/>
                <a:gd name="T9" fmla="*/ 166 h 174"/>
                <a:gd name="T10" fmla="*/ 1214 w 1998"/>
                <a:gd name="T11" fmla="*/ 13 h 174"/>
                <a:gd name="T12" fmla="*/ 1122 w 1998"/>
                <a:gd name="T13" fmla="*/ 41 h 174"/>
                <a:gd name="T14" fmla="*/ 1007 w 1998"/>
                <a:gd name="T15" fmla="*/ 17 h 174"/>
                <a:gd name="T16" fmla="*/ 1042 w 1998"/>
                <a:gd name="T17" fmla="*/ 122 h 174"/>
                <a:gd name="T18" fmla="*/ 1994 w 1998"/>
                <a:gd name="T19" fmla="*/ 13 h 174"/>
                <a:gd name="T20" fmla="*/ 1863 w 1998"/>
                <a:gd name="T21" fmla="*/ 13 h 174"/>
                <a:gd name="T22" fmla="*/ 1840 w 1998"/>
                <a:gd name="T23" fmla="*/ 170 h 174"/>
                <a:gd name="T24" fmla="*/ 1971 w 1998"/>
                <a:gd name="T25" fmla="*/ 170 h 174"/>
                <a:gd name="T26" fmla="*/ 1994 w 1998"/>
                <a:gd name="T27" fmla="*/ 13 h 174"/>
                <a:gd name="T28" fmla="*/ 1488 w 1998"/>
                <a:gd name="T29" fmla="*/ 172 h 174"/>
                <a:gd name="T30" fmla="*/ 1513 w 1998"/>
                <a:gd name="T31" fmla="*/ 104 h 174"/>
                <a:gd name="T32" fmla="*/ 1471 w 1998"/>
                <a:gd name="T33" fmla="*/ 142 h 174"/>
                <a:gd name="T34" fmla="*/ 1562 w 1998"/>
                <a:gd name="T35" fmla="*/ 44 h 174"/>
                <a:gd name="T36" fmla="*/ 1596 w 1998"/>
                <a:gd name="T37" fmla="*/ 58 h 174"/>
                <a:gd name="T38" fmla="*/ 767 w 1998"/>
                <a:gd name="T39" fmla="*/ 112 h 174"/>
                <a:gd name="T40" fmla="*/ 894 w 1998"/>
                <a:gd name="T41" fmla="*/ 65 h 174"/>
                <a:gd name="T42" fmla="*/ 832 w 1998"/>
                <a:gd name="T43" fmla="*/ 51 h 174"/>
                <a:gd name="T44" fmla="*/ 731 w 1998"/>
                <a:gd name="T45" fmla="*/ 48 h 174"/>
                <a:gd name="T46" fmla="*/ 692 w 1998"/>
                <a:gd name="T47" fmla="*/ 85 h 174"/>
                <a:gd name="T48" fmla="*/ 767 w 1998"/>
                <a:gd name="T49" fmla="*/ 138 h 174"/>
                <a:gd name="T50" fmla="*/ 700 w 1998"/>
                <a:gd name="T51" fmla="*/ 170 h 174"/>
                <a:gd name="T52" fmla="*/ 859 w 1998"/>
                <a:gd name="T53" fmla="*/ 170 h 174"/>
                <a:gd name="T54" fmla="*/ 859 w 1998"/>
                <a:gd name="T55" fmla="*/ 146 h 174"/>
                <a:gd name="T56" fmla="*/ 894 w 1998"/>
                <a:gd name="T57" fmla="*/ 89 h 174"/>
                <a:gd name="T58" fmla="*/ 1740 w 1998"/>
                <a:gd name="T59" fmla="*/ 13 h 174"/>
                <a:gd name="T60" fmla="*/ 1663 w 1998"/>
                <a:gd name="T61" fmla="*/ 170 h 174"/>
                <a:gd name="T62" fmla="*/ 1816 w 1998"/>
                <a:gd name="T63" fmla="*/ 170 h 174"/>
                <a:gd name="T64" fmla="*/ 597 w 1998"/>
                <a:gd name="T65" fmla="*/ 98 h 174"/>
                <a:gd name="T66" fmla="*/ 654 w 1998"/>
                <a:gd name="T67" fmla="*/ 46 h 174"/>
                <a:gd name="T68" fmla="*/ 416 w 1998"/>
                <a:gd name="T69" fmla="*/ 28 h 174"/>
                <a:gd name="T70" fmla="*/ 239 w 1998"/>
                <a:gd name="T71" fmla="*/ 148 h 174"/>
                <a:gd name="T72" fmla="*/ 423 w 1998"/>
                <a:gd name="T73" fmla="*/ 6 h 174"/>
                <a:gd name="T74" fmla="*/ 872 w 1998"/>
                <a:gd name="T75" fmla="*/ 34 h 174"/>
                <a:gd name="T76" fmla="*/ 897 w 1998"/>
                <a:gd name="T77" fmla="*/ 32 h 174"/>
                <a:gd name="T78" fmla="*/ 782 w 1998"/>
                <a:gd name="T79" fmla="*/ 0 h 174"/>
                <a:gd name="T80" fmla="*/ 693 w 1998"/>
                <a:gd name="T81" fmla="*/ 45 h 174"/>
                <a:gd name="T82" fmla="*/ 179 w 1998"/>
                <a:gd name="T83" fmla="*/ 49 h 174"/>
                <a:gd name="T84" fmla="*/ 88 w 1998"/>
                <a:gd name="T85" fmla="*/ 49 h 174"/>
                <a:gd name="T86" fmla="*/ 118 w 1998"/>
                <a:gd name="T87" fmla="*/ 1 h 174"/>
                <a:gd name="T88" fmla="*/ 0 w 1998"/>
                <a:gd name="T89" fmla="*/ 46 h 174"/>
                <a:gd name="T90" fmla="*/ 91 w 1998"/>
                <a:gd name="T91" fmla="*/ 174 h 174"/>
                <a:gd name="T92" fmla="*/ 210 w 1998"/>
                <a:gd name="T93" fmla="*/ 118 h 174"/>
                <a:gd name="T94" fmla="*/ 379 w 1998"/>
                <a:gd name="T95" fmla="*/ 112 h 174"/>
                <a:gd name="T96" fmla="*/ 357 w 1998"/>
                <a:gd name="T97" fmla="*/ 75 h 174"/>
                <a:gd name="T98" fmla="*/ 284 w 1998"/>
                <a:gd name="T99" fmla="*/ 61 h 174"/>
                <a:gd name="T100" fmla="*/ 328 w 1998"/>
                <a:gd name="T101" fmla="*/ 93 h 174"/>
                <a:gd name="T102" fmla="*/ 401 w 1998"/>
                <a:gd name="T103" fmla="*/ 104 h 174"/>
                <a:gd name="T104" fmla="*/ 512 w 1998"/>
                <a:gd name="T105" fmla="*/ 46 h 174"/>
                <a:gd name="T106" fmla="*/ 669 w 1998"/>
                <a:gd name="T107" fmla="*/ 115 h 174"/>
                <a:gd name="T108" fmla="*/ 666 w 1998"/>
                <a:gd name="T109" fmla="*/ 14 h 174"/>
                <a:gd name="T110" fmla="*/ 479 w 1998"/>
                <a:gd name="T111" fmla="*/ 33 h 174"/>
                <a:gd name="T112" fmla="*/ 469 w 1998"/>
                <a:gd name="T113" fmla="*/ 135 h 174"/>
                <a:gd name="T114" fmla="*/ 583 w 1998"/>
                <a:gd name="T115" fmla="*/ 174 h 174"/>
                <a:gd name="T116" fmla="*/ 673 w 1998"/>
                <a:gd name="T117" fmla="*/ 119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98" h="174">
                  <a:moveTo>
                    <a:pt x="1405" y="13"/>
                  </a:moveTo>
                  <a:cubicBezTo>
                    <a:pt x="1382" y="13"/>
                    <a:pt x="1382" y="13"/>
                    <a:pt x="1382" y="13"/>
                  </a:cubicBezTo>
                  <a:cubicBezTo>
                    <a:pt x="1379" y="13"/>
                    <a:pt x="1378" y="15"/>
                    <a:pt x="1378" y="17"/>
                  </a:cubicBezTo>
                  <a:cubicBezTo>
                    <a:pt x="1378" y="125"/>
                    <a:pt x="1378" y="125"/>
                    <a:pt x="1378" y="125"/>
                  </a:cubicBezTo>
                  <a:cubicBezTo>
                    <a:pt x="1365" y="111"/>
                    <a:pt x="1284" y="18"/>
                    <a:pt x="1282" y="16"/>
                  </a:cubicBezTo>
                  <a:cubicBezTo>
                    <a:pt x="1279" y="13"/>
                    <a:pt x="1276" y="13"/>
                    <a:pt x="1275" y="13"/>
                  </a:cubicBezTo>
                  <a:cubicBezTo>
                    <a:pt x="1275" y="13"/>
                    <a:pt x="1275" y="13"/>
                    <a:pt x="1275" y="13"/>
                  </a:cubicBezTo>
                  <a:cubicBezTo>
                    <a:pt x="1251" y="13"/>
                    <a:pt x="1251" y="13"/>
                    <a:pt x="1251" y="13"/>
                  </a:cubicBezTo>
                  <a:cubicBezTo>
                    <a:pt x="1249" y="13"/>
                    <a:pt x="1247" y="15"/>
                    <a:pt x="1247" y="17"/>
                  </a:cubicBezTo>
                  <a:cubicBezTo>
                    <a:pt x="1247" y="166"/>
                    <a:pt x="1247" y="166"/>
                    <a:pt x="1247" y="166"/>
                  </a:cubicBezTo>
                  <a:cubicBezTo>
                    <a:pt x="1247" y="168"/>
                    <a:pt x="1249" y="170"/>
                    <a:pt x="1251" y="170"/>
                  </a:cubicBezTo>
                  <a:cubicBezTo>
                    <a:pt x="1275" y="170"/>
                    <a:pt x="1275" y="170"/>
                    <a:pt x="1275" y="170"/>
                  </a:cubicBezTo>
                  <a:cubicBezTo>
                    <a:pt x="1277" y="170"/>
                    <a:pt x="1279" y="168"/>
                    <a:pt x="1279" y="166"/>
                  </a:cubicBezTo>
                  <a:cubicBezTo>
                    <a:pt x="1279" y="57"/>
                    <a:pt x="1279" y="57"/>
                    <a:pt x="1279" y="57"/>
                  </a:cubicBezTo>
                  <a:cubicBezTo>
                    <a:pt x="1287" y="67"/>
                    <a:pt x="1373" y="165"/>
                    <a:pt x="1376" y="167"/>
                  </a:cubicBezTo>
                  <a:cubicBezTo>
                    <a:pt x="1378" y="169"/>
                    <a:pt x="1381" y="170"/>
                    <a:pt x="1383" y="170"/>
                  </a:cubicBezTo>
                  <a:cubicBezTo>
                    <a:pt x="1383" y="170"/>
                    <a:pt x="1383" y="170"/>
                    <a:pt x="1383" y="170"/>
                  </a:cubicBezTo>
                  <a:cubicBezTo>
                    <a:pt x="1405" y="170"/>
                    <a:pt x="1405" y="170"/>
                    <a:pt x="1405" y="170"/>
                  </a:cubicBezTo>
                  <a:cubicBezTo>
                    <a:pt x="1407" y="170"/>
                    <a:pt x="1409" y="168"/>
                    <a:pt x="1409" y="166"/>
                  </a:cubicBezTo>
                  <a:cubicBezTo>
                    <a:pt x="1409" y="17"/>
                    <a:pt x="1409" y="17"/>
                    <a:pt x="1409" y="17"/>
                  </a:cubicBezTo>
                  <a:cubicBezTo>
                    <a:pt x="1409" y="15"/>
                    <a:pt x="1407" y="13"/>
                    <a:pt x="1405" y="13"/>
                  </a:cubicBezTo>
                  <a:moveTo>
                    <a:pt x="1214" y="13"/>
                  </a:moveTo>
                  <a:cubicBezTo>
                    <a:pt x="1188" y="13"/>
                    <a:pt x="1188" y="13"/>
                    <a:pt x="1188" y="13"/>
                  </a:cubicBezTo>
                  <a:cubicBezTo>
                    <a:pt x="1186" y="13"/>
                    <a:pt x="1184" y="15"/>
                    <a:pt x="1184" y="17"/>
                  </a:cubicBezTo>
                  <a:cubicBezTo>
                    <a:pt x="1184" y="166"/>
                    <a:pt x="1184" y="166"/>
                    <a:pt x="1184" y="166"/>
                  </a:cubicBezTo>
                  <a:cubicBezTo>
                    <a:pt x="1184" y="168"/>
                    <a:pt x="1186" y="170"/>
                    <a:pt x="1188" y="170"/>
                  </a:cubicBezTo>
                  <a:cubicBezTo>
                    <a:pt x="1214" y="170"/>
                    <a:pt x="1214" y="170"/>
                    <a:pt x="1214" y="170"/>
                  </a:cubicBezTo>
                  <a:cubicBezTo>
                    <a:pt x="1216" y="170"/>
                    <a:pt x="1218" y="168"/>
                    <a:pt x="1218" y="166"/>
                  </a:cubicBezTo>
                  <a:cubicBezTo>
                    <a:pt x="1218" y="17"/>
                    <a:pt x="1218" y="17"/>
                    <a:pt x="1218" y="17"/>
                  </a:cubicBezTo>
                  <a:cubicBezTo>
                    <a:pt x="1218" y="15"/>
                    <a:pt x="1216" y="13"/>
                    <a:pt x="1214" y="13"/>
                  </a:cubicBezTo>
                  <a:moveTo>
                    <a:pt x="1125" y="91"/>
                  </a:moveTo>
                  <a:cubicBezTo>
                    <a:pt x="1125" y="93"/>
                    <a:pt x="1124" y="94"/>
                    <a:pt x="1122" y="94"/>
                  </a:cubicBezTo>
                  <a:cubicBezTo>
                    <a:pt x="1042" y="94"/>
                    <a:pt x="1042" y="94"/>
                    <a:pt x="1042" y="94"/>
                  </a:cubicBezTo>
                  <a:cubicBezTo>
                    <a:pt x="1042" y="41"/>
                    <a:pt x="1042" y="41"/>
                    <a:pt x="1042" y="41"/>
                  </a:cubicBezTo>
                  <a:cubicBezTo>
                    <a:pt x="1122" y="41"/>
                    <a:pt x="1122" y="41"/>
                    <a:pt x="1122" y="41"/>
                  </a:cubicBezTo>
                  <a:cubicBezTo>
                    <a:pt x="1124" y="41"/>
                    <a:pt x="1125" y="42"/>
                    <a:pt x="1125" y="44"/>
                  </a:cubicBezTo>
                  <a:lnTo>
                    <a:pt x="1125" y="91"/>
                  </a:lnTo>
                  <a:close/>
                  <a:moveTo>
                    <a:pt x="1108" y="13"/>
                  </a:moveTo>
                  <a:cubicBezTo>
                    <a:pt x="1011" y="13"/>
                    <a:pt x="1011" y="13"/>
                    <a:pt x="1011" y="13"/>
                  </a:cubicBezTo>
                  <a:cubicBezTo>
                    <a:pt x="1009" y="13"/>
                    <a:pt x="1007" y="15"/>
                    <a:pt x="1007" y="17"/>
                  </a:cubicBezTo>
                  <a:cubicBezTo>
                    <a:pt x="1007" y="166"/>
                    <a:pt x="1007" y="166"/>
                    <a:pt x="1007" y="166"/>
                  </a:cubicBezTo>
                  <a:cubicBezTo>
                    <a:pt x="1007" y="168"/>
                    <a:pt x="1009" y="170"/>
                    <a:pt x="1011" y="170"/>
                  </a:cubicBezTo>
                  <a:cubicBezTo>
                    <a:pt x="1038" y="170"/>
                    <a:pt x="1038" y="170"/>
                    <a:pt x="1038" y="170"/>
                  </a:cubicBezTo>
                  <a:cubicBezTo>
                    <a:pt x="1040" y="170"/>
                    <a:pt x="1042" y="168"/>
                    <a:pt x="1042" y="166"/>
                  </a:cubicBezTo>
                  <a:cubicBezTo>
                    <a:pt x="1042" y="122"/>
                    <a:pt x="1042" y="122"/>
                    <a:pt x="1042" y="122"/>
                  </a:cubicBezTo>
                  <a:cubicBezTo>
                    <a:pt x="1108" y="122"/>
                    <a:pt x="1108" y="122"/>
                    <a:pt x="1108" y="122"/>
                  </a:cubicBezTo>
                  <a:cubicBezTo>
                    <a:pt x="1137" y="122"/>
                    <a:pt x="1161" y="104"/>
                    <a:pt x="1161" y="78"/>
                  </a:cubicBezTo>
                  <a:cubicBezTo>
                    <a:pt x="1161" y="61"/>
                    <a:pt x="1161" y="61"/>
                    <a:pt x="1161" y="61"/>
                  </a:cubicBezTo>
                  <a:cubicBezTo>
                    <a:pt x="1161" y="34"/>
                    <a:pt x="1137" y="13"/>
                    <a:pt x="1108" y="13"/>
                  </a:cubicBezTo>
                  <a:moveTo>
                    <a:pt x="1994" y="13"/>
                  </a:moveTo>
                  <a:cubicBezTo>
                    <a:pt x="1970" y="13"/>
                    <a:pt x="1970" y="13"/>
                    <a:pt x="1970" y="13"/>
                  </a:cubicBezTo>
                  <a:cubicBezTo>
                    <a:pt x="1968" y="13"/>
                    <a:pt x="1967" y="15"/>
                    <a:pt x="1967" y="17"/>
                  </a:cubicBezTo>
                  <a:cubicBezTo>
                    <a:pt x="1967" y="125"/>
                    <a:pt x="1967" y="125"/>
                    <a:pt x="1967" y="125"/>
                  </a:cubicBezTo>
                  <a:cubicBezTo>
                    <a:pt x="1954" y="111"/>
                    <a:pt x="1872" y="18"/>
                    <a:pt x="1870" y="16"/>
                  </a:cubicBezTo>
                  <a:cubicBezTo>
                    <a:pt x="1868" y="13"/>
                    <a:pt x="1865" y="13"/>
                    <a:pt x="1863" y="13"/>
                  </a:cubicBezTo>
                  <a:cubicBezTo>
                    <a:pt x="1863" y="13"/>
                    <a:pt x="1863" y="13"/>
                    <a:pt x="1863" y="13"/>
                  </a:cubicBezTo>
                  <a:cubicBezTo>
                    <a:pt x="1840" y="13"/>
                    <a:pt x="1840" y="13"/>
                    <a:pt x="1840" y="13"/>
                  </a:cubicBezTo>
                  <a:cubicBezTo>
                    <a:pt x="1838" y="13"/>
                    <a:pt x="1836" y="15"/>
                    <a:pt x="1836" y="17"/>
                  </a:cubicBezTo>
                  <a:cubicBezTo>
                    <a:pt x="1836" y="166"/>
                    <a:pt x="1836" y="166"/>
                    <a:pt x="1836" y="166"/>
                  </a:cubicBezTo>
                  <a:cubicBezTo>
                    <a:pt x="1836" y="168"/>
                    <a:pt x="1838" y="170"/>
                    <a:pt x="1840" y="170"/>
                  </a:cubicBezTo>
                  <a:cubicBezTo>
                    <a:pt x="1864" y="170"/>
                    <a:pt x="1864" y="170"/>
                    <a:pt x="1864" y="170"/>
                  </a:cubicBezTo>
                  <a:cubicBezTo>
                    <a:pt x="1866" y="170"/>
                    <a:pt x="1867" y="168"/>
                    <a:pt x="1867" y="166"/>
                  </a:cubicBezTo>
                  <a:cubicBezTo>
                    <a:pt x="1867" y="57"/>
                    <a:pt x="1867" y="57"/>
                    <a:pt x="1867" y="57"/>
                  </a:cubicBezTo>
                  <a:cubicBezTo>
                    <a:pt x="1876" y="67"/>
                    <a:pt x="1962" y="165"/>
                    <a:pt x="1964" y="167"/>
                  </a:cubicBezTo>
                  <a:cubicBezTo>
                    <a:pt x="1967" y="169"/>
                    <a:pt x="1969" y="170"/>
                    <a:pt x="1971" y="170"/>
                  </a:cubicBezTo>
                  <a:cubicBezTo>
                    <a:pt x="1971" y="170"/>
                    <a:pt x="1971" y="170"/>
                    <a:pt x="1971" y="170"/>
                  </a:cubicBezTo>
                  <a:cubicBezTo>
                    <a:pt x="1994" y="170"/>
                    <a:pt x="1994" y="170"/>
                    <a:pt x="1994" y="170"/>
                  </a:cubicBezTo>
                  <a:cubicBezTo>
                    <a:pt x="1996" y="170"/>
                    <a:pt x="1998" y="168"/>
                    <a:pt x="1998" y="166"/>
                  </a:cubicBezTo>
                  <a:cubicBezTo>
                    <a:pt x="1998" y="17"/>
                    <a:pt x="1998" y="17"/>
                    <a:pt x="1998" y="17"/>
                  </a:cubicBezTo>
                  <a:cubicBezTo>
                    <a:pt x="1998" y="15"/>
                    <a:pt x="1996" y="13"/>
                    <a:pt x="1994" y="13"/>
                  </a:cubicBezTo>
                  <a:moveTo>
                    <a:pt x="1542" y="11"/>
                  </a:moveTo>
                  <a:cubicBezTo>
                    <a:pt x="1488" y="11"/>
                    <a:pt x="1488" y="11"/>
                    <a:pt x="1488" y="11"/>
                  </a:cubicBezTo>
                  <a:cubicBezTo>
                    <a:pt x="1458" y="11"/>
                    <a:pt x="1434" y="32"/>
                    <a:pt x="1434" y="58"/>
                  </a:cubicBezTo>
                  <a:cubicBezTo>
                    <a:pt x="1434" y="124"/>
                    <a:pt x="1434" y="124"/>
                    <a:pt x="1434" y="124"/>
                  </a:cubicBezTo>
                  <a:cubicBezTo>
                    <a:pt x="1434" y="150"/>
                    <a:pt x="1458" y="172"/>
                    <a:pt x="1488" y="172"/>
                  </a:cubicBezTo>
                  <a:cubicBezTo>
                    <a:pt x="1542" y="172"/>
                    <a:pt x="1542" y="172"/>
                    <a:pt x="1542" y="172"/>
                  </a:cubicBezTo>
                  <a:cubicBezTo>
                    <a:pt x="1572" y="172"/>
                    <a:pt x="1596" y="150"/>
                    <a:pt x="1596" y="124"/>
                  </a:cubicBezTo>
                  <a:cubicBezTo>
                    <a:pt x="1596" y="82"/>
                    <a:pt x="1596" y="82"/>
                    <a:pt x="1596" y="82"/>
                  </a:cubicBezTo>
                  <a:cubicBezTo>
                    <a:pt x="1513" y="82"/>
                    <a:pt x="1513" y="82"/>
                    <a:pt x="1513" y="82"/>
                  </a:cubicBezTo>
                  <a:cubicBezTo>
                    <a:pt x="1513" y="104"/>
                    <a:pt x="1513" y="104"/>
                    <a:pt x="1513" y="104"/>
                  </a:cubicBezTo>
                  <a:cubicBezTo>
                    <a:pt x="1513" y="106"/>
                    <a:pt x="1515" y="108"/>
                    <a:pt x="1517" y="108"/>
                  </a:cubicBezTo>
                  <a:cubicBezTo>
                    <a:pt x="1562" y="108"/>
                    <a:pt x="1562" y="108"/>
                    <a:pt x="1562" y="108"/>
                  </a:cubicBezTo>
                  <a:cubicBezTo>
                    <a:pt x="1562" y="138"/>
                    <a:pt x="1562" y="138"/>
                    <a:pt x="1562" y="138"/>
                  </a:cubicBezTo>
                  <a:cubicBezTo>
                    <a:pt x="1562" y="140"/>
                    <a:pt x="1560" y="142"/>
                    <a:pt x="1558" y="142"/>
                  </a:cubicBezTo>
                  <a:cubicBezTo>
                    <a:pt x="1471" y="142"/>
                    <a:pt x="1471" y="142"/>
                    <a:pt x="1471" y="142"/>
                  </a:cubicBezTo>
                  <a:cubicBezTo>
                    <a:pt x="1469" y="142"/>
                    <a:pt x="1468" y="140"/>
                    <a:pt x="1468" y="138"/>
                  </a:cubicBezTo>
                  <a:cubicBezTo>
                    <a:pt x="1468" y="44"/>
                    <a:pt x="1468" y="44"/>
                    <a:pt x="1468" y="44"/>
                  </a:cubicBezTo>
                  <a:cubicBezTo>
                    <a:pt x="1468" y="42"/>
                    <a:pt x="1469" y="41"/>
                    <a:pt x="1471" y="41"/>
                  </a:cubicBezTo>
                  <a:cubicBezTo>
                    <a:pt x="1558" y="41"/>
                    <a:pt x="1558" y="41"/>
                    <a:pt x="1558" y="41"/>
                  </a:cubicBezTo>
                  <a:cubicBezTo>
                    <a:pt x="1560" y="41"/>
                    <a:pt x="1562" y="42"/>
                    <a:pt x="1562" y="44"/>
                  </a:cubicBezTo>
                  <a:cubicBezTo>
                    <a:pt x="1562" y="62"/>
                    <a:pt x="1562" y="62"/>
                    <a:pt x="1562" y="62"/>
                  </a:cubicBezTo>
                  <a:cubicBezTo>
                    <a:pt x="1562" y="64"/>
                    <a:pt x="1564" y="66"/>
                    <a:pt x="1566" y="66"/>
                  </a:cubicBezTo>
                  <a:cubicBezTo>
                    <a:pt x="1592" y="66"/>
                    <a:pt x="1592" y="66"/>
                    <a:pt x="1592" y="66"/>
                  </a:cubicBezTo>
                  <a:cubicBezTo>
                    <a:pt x="1594" y="66"/>
                    <a:pt x="1596" y="64"/>
                    <a:pt x="1596" y="62"/>
                  </a:cubicBezTo>
                  <a:cubicBezTo>
                    <a:pt x="1596" y="58"/>
                    <a:pt x="1596" y="58"/>
                    <a:pt x="1596" y="58"/>
                  </a:cubicBezTo>
                  <a:cubicBezTo>
                    <a:pt x="1596" y="32"/>
                    <a:pt x="1572" y="11"/>
                    <a:pt x="1542" y="11"/>
                  </a:cubicBezTo>
                  <a:moveTo>
                    <a:pt x="832" y="96"/>
                  </a:moveTo>
                  <a:cubicBezTo>
                    <a:pt x="832" y="103"/>
                    <a:pt x="831" y="108"/>
                    <a:pt x="823" y="112"/>
                  </a:cubicBezTo>
                  <a:cubicBezTo>
                    <a:pt x="816" y="115"/>
                    <a:pt x="805" y="121"/>
                    <a:pt x="795" y="125"/>
                  </a:cubicBezTo>
                  <a:cubicBezTo>
                    <a:pt x="785" y="121"/>
                    <a:pt x="774" y="115"/>
                    <a:pt x="767" y="112"/>
                  </a:cubicBezTo>
                  <a:cubicBezTo>
                    <a:pt x="758" y="108"/>
                    <a:pt x="757" y="103"/>
                    <a:pt x="757" y="96"/>
                  </a:cubicBezTo>
                  <a:cubicBezTo>
                    <a:pt x="757" y="89"/>
                    <a:pt x="757" y="89"/>
                    <a:pt x="757" y="89"/>
                  </a:cubicBezTo>
                  <a:cubicBezTo>
                    <a:pt x="832" y="89"/>
                    <a:pt x="832" y="89"/>
                    <a:pt x="832" y="89"/>
                  </a:cubicBezTo>
                  <a:lnTo>
                    <a:pt x="832" y="96"/>
                  </a:lnTo>
                  <a:close/>
                  <a:moveTo>
                    <a:pt x="894" y="65"/>
                  </a:moveTo>
                  <a:cubicBezTo>
                    <a:pt x="862" y="65"/>
                    <a:pt x="862" y="65"/>
                    <a:pt x="862" y="65"/>
                  </a:cubicBezTo>
                  <a:cubicBezTo>
                    <a:pt x="862" y="51"/>
                    <a:pt x="862" y="51"/>
                    <a:pt x="862" y="51"/>
                  </a:cubicBezTo>
                  <a:cubicBezTo>
                    <a:pt x="862" y="49"/>
                    <a:pt x="860" y="48"/>
                    <a:pt x="858" y="48"/>
                  </a:cubicBezTo>
                  <a:cubicBezTo>
                    <a:pt x="836" y="48"/>
                    <a:pt x="836" y="48"/>
                    <a:pt x="836" y="48"/>
                  </a:cubicBezTo>
                  <a:cubicBezTo>
                    <a:pt x="834" y="48"/>
                    <a:pt x="832" y="49"/>
                    <a:pt x="832" y="51"/>
                  </a:cubicBezTo>
                  <a:cubicBezTo>
                    <a:pt x="832" y="65"/>
                    <a:pt x="832" y="65"/>
                    <a:pt x="832" y="65"/>
                  </a:cubicBezTo>
                  <a:cubicBezTo>
                    <a:pt x="757" y="65"/>
                    <a:pt x="757" y="65"/>
                    <a:pt x="757" y="65"/>
                  </a:cubicBezTo>
                  <a:cubicBezTo>
                    <a:pt x="757" y="51"/>
                    <a:pt x="757" y="51"/>
                    <a:pt x="757" y="51"/>
                  </a:cubicBezTo>
                  <a:cubicBezTo>
                    <a:pt x="757" y="49"/>
                    <a:pt x="755" y="48"/>
                    <a:pt x="753" y="48"/>
                  </a:cubicBezTo>
                  <a:cubicBezTo>
                    <a:pt x="731" y="48"/>
                    <a:pt x="731" y="48"/>
                    <a:pt x="731" y="48"/>
                  </a:cubicBezTo>
                  <a:cubicBezTo>
                    <a:pt x="729" y="48"/>
                    <a:pt x="728" y="49"/>
                    <a:pt x="728" y="51"/>
                  </a:cubicBezTo>
                  <a:cubicBezTo>
                    <a:pt x="728" y="65"/>
                    <a:pt x="728" y="65"/>
                    <a:pt x="728" y="65"/>
                  </a:cubicBezTo>
                  <a:cubicBezTo>
                    <a:pt x="695" y="65"/>
                    <a:pt x="695" y="65"/>
                    <a:pt x="695" y="65"/>
                  </a:cubicBezTo>
                  <a:cubicBezTo>
                    <a:pt x="693" y="65"/>
                    <a:pt x="692" y="67"/>
                    <a:pt x="692" y="69"/>
                  </a:cubicBezTo>
                  <a:cubicBezTo>
                    <a:pt x="692" y="85"/>
                    <a:pt x="692" y="85"/>
                    <a:pt x="692" y="85"/>
                  </a:cubicBezTo>
                  <a:cubicBezTo>
                    <a:pt x="692" y="87"/>
                    <a:pt x="693" y="89"/>
                    <a:pt x="695" y="89"/>
                  </a:cubicBezTo>
                  <a:cubicBezTo>
                    <a:pt x="727" y="89"/>
                    <a:pt x="727" y="89"/>
                    <a:pt x="727" y="89"/>
                  </a:cubicBezTo>
                  <a:cubicBezTo>
                    <a:pt x="727" y="99"/>
                    <a:pt x="727" y="99"/>
                    <a:pt x="727" y="99"/>
                  </a:cubicBezTo>
                  <a:cubicBezTo>
                    <a:pt x="727" y="111"/>
                    <a:pt x="733" y="122"/>
                    <a:pt x="747" y="129"/>
                  </a:cubicBezTo>
                  <a:cubicBezTo>
                    <a:pt x="753" y="132"/>
                    <a:pt x="760" y="135"/>
                    <a:pt x="767" y="138"/>
                  </a:cubicBezTo>
                  <a:cubicBezTo>
                    <a:pt x="754" y="143"/>
                    <a:pt x="743" y="146"/>
                    <a:pt x="731" y="146"/>
                  </a:cubicBezTo>
                  <a:cubicBezTo>
                    <a:pt x="700" y="146"/>
                    <a:pt x="700" y="146"/>
                    <a:pt x="700" y="146"/>
                  </a:cubicBezTo>
                  <a:cubicBezTo>
                    <a:pt x="698" y="146"/>
                    <a:pt x="696" y="148"/>
                    <a:pt x="696" y="150"/>
                  </a:cubicBezTo>
                  <a:cubicBezTo>
                    <a:pt x="696" y="166"/>
                    <a:pt x="696" y="166"/>
                    <a:pt x="696" y="166"/>
                  </a:cubicBezTo>
                  <a:cubicBezTo>
                    <a:pt x="696" y="168"/>
                    <a:pt x="698" y="170"/>
                    <a:pt x="700" y="170"/>
                  </a:cubicBezTo>
                  <a:cubicBezTo>
                    <a:pt x="730" y="170"/>
                    <a:pt x="730" y="170"/>
                    <a:pt x="730" y="170"/>
                  </a:cubicBezTo>
                  <a:cubicBezTo>
                    <a:pt x="742" y="170"/>
                    <a:pt x="757" y="167"/>
                    <a:pt x="769" y="162"/>
                  </a:cubicBezTo>
                  <a:cubicBezTo>
                    <a:pt x="774" y="161"/>
                    <a:pt x="784" y="156"/>
                    <a:pt x="795" y="151"/>
                  </a:cubicBezTo>
                  <a:cubicBezTo>
                    <a:pt x="806" y="156"/>
                    <a:pt x="815" y="161"/>
                    <a:pt x="820" y="162"/>
                  </a:cubicBezTo>
                  <a:cubicBezTo>
                    <a:pt x="833" y="167"/>
                    <a:pt x="847" y="170"/>
                    <a:pt x="859" y="170"/>
                  </a:cubicBezTo>
                  <a:cubicBezTo>
                    <a:pt x="889" y="170"/>
                    <a:pt x="889" y="170"/>
                    <a:pt x="889" y="170"/>
                  </a:cubicBezTo>
                  <a:cubicBezTo>
                    <a:pt x="891" y="170"/>
                    <a:pt x="893" y="168"/>
                    <a:pt x="893" y="166"/>
                  </a:cubicBezTo>
                  <a:cubicBezTo>
                    <a:pt x="893" y="150"/>
                    <a:pt x="893" y="150"/>
                    <a:pt x="893" y="150"/>
                  </a:cubicBezTo>
                  <a:cubicBezTo>
                    <a:pt x="893" y="148"/>
                    <a:pt x="891" y="146"/>
                    <a:pt x="889" y="146"/>
                  </a:cubicBezTo>
                  <a:cubicBezTo>
                    <a:pt x="859" y="146"/>
                    <a:pt x="859" y="146"/>
                    <a:pt x="859" y="146"/>
                  </a:cubicBezTo>
                  <a:cubicBezTo>
                    <a:pt x="847" y="146"/>
                    <a:pt x="835" y="143"/>
                    <a:pt x="823" y="138"/>
                  </a:cubicBezTo>
                  <a:cubicBezTo>
                    <a:pt x="830" y="135"/>
                    <a:pt x="837" y="132"/>
                    <a:pt x="842" y="129"/>
                  </a:cubicBezTo>
                  <a:cubicBezTo>
                    <a:pt x="857" y="122"/>
                    <a:pt x="862" y="111"/>
                    <a:pt x="862" y="99"/>
                  </a:cubicBezTo>
                  <a:cubicBezTo>
                    <a:pt x="862" y="89"/>
                    <a:pt x="862" y="89"/>
                    <a:pt x="862" y="89"/>
                  </a:cubicBezTo>
                  <a:cubicBezTo>
                    <a:pt x="894" y="89"/>
                    <a:pt x="894" y="89"/>
                    <a:pt x="894" y="89"/>
                  </a:cubicBezTo>
                  <a:cubicBezTo>
                    <a:pt x="896" y="89"/>
                    <a:pt x="898" y="87"/>
                    <a:pt x="898" y="85"/>
                  </a:cubicBezTo>
                  <a:cubicBezTo>
                    <a:pt x="898" y="69"/>
                    <a:pt x="898" y="69"/>
                    <a:pt x="898" y="69"/>
                  </a:cubicBezTo>
                  <a:cubicBezTo>
                    <a:pt x="898" y="67"/>
                    <a:pt x="896" y="65"/>
                    <a:pt x="894" y="65"/>
                  </a:cubicBezTo>
                  <a:moveTo>
                    <a:pt x="1747" y="17"/>
                  </a:moveTo>
                  <a:cubicBezTo>
                    <a:pt x="1745" y="14"/>
                    <a:pt x="1743" y="13"/>
                    <a:pt x="1740" y="13"/>
                  </a:cubicBezTo>
                  <a:cubicBezTo>
                    <a:pt x="1716" y="13"/>
                    <a:pt x="1716" y="13"/>
                    <a:pt x="1716" y="13"/>
                  </a:cubicBezTo>
                  <a:cubicBezTo>
                    <a:pt x="1713" y="13"/>
                    <a:pt x="1711" y="14"/>
                    <a:pt x="1710" y="17"/>
                  </a:cubicBezTo>
                  <a:cubicBezTo>
                    <a:pt x="1636" y="162"/>
                    <a:pt x="1636" y="162"/>
                    <a:pt x="1636" y="162"/>
                  </a:cubicBezTo>
                  <a:cubicBezTo>
                    <a:pt x="1634" y="167"/>
                    <a:pt x="1636" y="170"/>
                    <a:pt x="1640" y="170"/>
                  </a:cubicBezTo>
                  <a:cubicBezTo>
                    <a:pt x="1663" y="170"/>
                    <a:pt x="1663" y="170"/>
                    <a:pt x="1663" y="170"/>
                  </a:cubicBezTo>
                  <a:cubicBezTo>
                    <a:pt x="1667" y="170"/>
                    <a:pt x="1668" y="169"/>
                    <a:pt x="1670" y="165"/>
                  </a:cubicBezTo>
                  <a:cubicBezTo>
                    <a:pt x="1728" y="49"/>
                    <a:pt x="1728" y="49"/>
                    <a:pt x="1728" y="49"/>
                  </a:cubicBezTo>
                  <a:cubicBezTo>
                    <a:pt x="1786" y="165"/>
                    <a:pt x="1786" y="165"/>
                    <a:pt x="1786" y="165"/>
                  </a:cubicBezTo>
                  <a:cubicBezTo>
                    <a:pt x="1788" y="169"/>
                    <a:pt x="1789" y="170"/>
                    <a:pt x="1793" y="170"/>
                  </a:cubicBezTo>
                  <a:cubicBezTo>
                    <a:pt x="1816" y="170"/>
                    <a:pt x="1816" y="170"/>
                    <a:pt x="1816" y="170"/>
                  </a:cubicBezTo>
                  <a:cubicBezTo>
                    <a:pt x="1820" y="170"/>
                    <a:pt x="1823" y="167"/>
                    <a:pt x="1820" y="162"/>
                  </a:cubicBezTo>
                  <a:lnTo>
                    <a:pt x="1747" y="17"/>
                  </a:lnTo>
                  <a:close/>
                  <a:moveTo>
                    <a:pt x="629" y="46"/>
                  </a:moveTo>
                  <a:cubicBezTo>
                    <a:pt x="626" y="46"/>
                    <a:pt x="623" y="48"/>
                    <a:pt x="622" y="49"/>
                  </a:cubicBezTo>
                  <a:cubicBezTo>
                    <a:pt x="597" y="98"/>
                    <a:pt x="597" y="98"/>
                    <a:pt x="597" y="98"/>
                  </a:cubicBezTo>
                  <a:cubicBezTo>
                    <a:pt x="596" y="100"/>
                    <a:pt x="597" y="102"/>
                    <a:pt x="599" y="102"/>
                  </a:cubicBezTo>
                  <a:cubicBezTo>
                    <a:pt x="625" y="102"/>
                    <a:pt x="625" y="102"/>
                    <a:pt x="625" y="102"/>
                  </a:cubicBezTo>
                  <a:cubicBezTo>
                    <a:pt x="628" y="102"/>
                    <a:pt x="630" y="100"/>
                    <a:pt x="631" y="98"/>
                  </a:cubicBezTo>
                  <a:cubicBezTo>
                    <a:pt x="656" y="49"/>
                    <a:pt x="656" y="49"/>
                    <a:pt x="656" y="49"/>
                  </a:cubicBezTo>
                  <a:cubicBezTo>
                    <a:pt x="657" y="48"/>
                    <a:pt x="656" y="46"/>
                    <a:pt x="654" y="46"/>
                  </a:cubicBezTo>
                  <a:lnTo>
                    <a:pt x="629" y="46"/>
                  </a:lnTo>
                  <a:close/>
                  <a:moveTo>
                    <a:pt x="416" y="146"/>
                  </a:moveTo>
                  <a:cubicBezTo>
                    <a:pt x="269" y="146"/>
                    <a:pt x="269" y="146"/>
                    <a:pt x="269" y="146"/>
                  </a:cubicBezTo>
                  <a:cubicBezTo>
                    <a:pt x="269" y="28"/>
                    <a:pt x="269" y="28"/>
                    <a:pt x="269" y="28"/>
                  </a:cubicBezTo>
                  <a:cubicBezTo>
                    <a:pt x="416" y="28"/>
                    <a:pt x="416" y="28"/>
                    <a:pt x="416" y="28"/>
                  </a:cubicBezTo>
                  <a:lnTo>
                    <a:pt x="416" y="146"/>
                  </a:lnTo>
                  <a:close/>
                  <a:moveTo>
                    <a:pt x="423" y="6"/>
                  </a:moveTo>
                  <a:cubicBezTo>
                    <a:pt x="261" y="6"/>
                    <a:pt x="261" y="6"/>
                    <a:pt x="261" y="6"/>
                  </a:cubicBezTo>
                  <a:cubicBezTo>
                    <a:pt x="249" y="6"/>
                    <a:pt x="239" y="16"/>
                    <a:pt x="239" y="28"/>
                  </a:cubicBezTo>
                  <a:cubicBezTo>
                    <a:pt x="239" y="148"/>
                    <a:pt x="239" y="148"/>
                    <a:pt x="239" y="148"/>
                  </a:cubicBezTo>
                  <a:cubicBezTo>
                    <a:pt x="239" y="160"/>
                    <a:pt x="249" y="169"/>
                    <a:pt x="261" y="169"/>
                  </a:cubicBezTo>
                  <a:cubicBezTo>
                    <a:pt x="423" y="169"/>
                    <a:pt x="423" y="169"/>
                    <a:pt x="423" y="169"/>
                  </a:cubicBezTo>
                  <a:cubicBezTo>
                    <a:pt x="435" y="169"/>
                    <a:pt x="445" y="160"/>
                    <a:pt x="445" y="148"/>
                  </a:cubicBezTo>
                  <a:cubicBezTo>
                    <a:pt x="445" y="28"/>
                    <a:pt x="445" y="28"/>
                    <a:pt x="445" y="28"/>
                  </a:cubicBezTo>
                  <a:cubicBezTo>
                    <a:pt x="445" y="16"/>
                    <a:pt x="435" y="6"/>
                    <a:pt x="423" y="6"/>
                  </a:cubicBezTo>
                  <a:moveTo>
                    <a:pt x="697" y="49"/>
                  </a:moveTo>
                  <a:cubicBezTo>
                    <a:pt x="714" y="49"/>
                    <a:pt x="714" y="49"/>
                    <a:pt x="714" y="49"/>
                  </a:cubicBezTo>
                  <a:cubicBezTo>
                    <a:pt x="716" y="49"/>
                    <a:pt x="718" y="47"/>
                    <a:pt x="718" y="45"/>
                  </a:cubicBezTo>
                  <a:cubicBezTo>
                    <a:pt x="718" y="34"/>
                    <a:pt x="718" y="34"/>
                    <a:pt x="718" y="34"/>
                  </a:cubicBezTo>
                  <a:cubicBezTo>
                    <a:pt x="872" y="34"/>
                    <a:pt x="872" y="34"/>
                    <a:pt x="872" y="34"/>
                  </a:cubicBezTo>
                  <a:cubicBezTo>
                    <a:pt x="872" y="45"/>
                    <a:pt x="872" y="45"/>
                    <a:pt x="872" y="45"/>
                  </a:cubicBezTo>
                  <a:cubicBezTo>
                    <a:pt x="872" y="47"/>
                    <a:pt x="873" y="49"/>
                    <a:pt x="875" y="49"/>
                  </a:cubicBezTo>
                  <a:cubicBezTo>
                    <a:pt x="893" y="49"/>
                    <a:pt x="893" y="49"/>
                    <a:pt x="893" y="49"/>
                  </a:cubicBezTo>
                  <a:cubicBezTo>
                    <a:pt x="895" y="49"/>
                    <a:pt x="897" y="47"/>
                    <a:pt x="897" y="45"/>
                  </a:cubicBezTo>
                  <a:cubicBezTo>
                    <a:pt x="897" y="32"/>
                    <a:pt x="897" y="32"/>
                    <a:pt x="897" y="32"/>
                  </a:cubicBezTo>
                  <a:cubicBezTo>
                    <a:pt x="897" y="22"/>
                    <a:pt x="888" y="13"/>
                    <a:pt x="877" y="13"/>
                  </a:cubicBezTo>
                  <a:cubicBezTo>
                    <a:pt x="811" y="13"/>
                    <a:pt x="811" y="13"/>
                    <a:pt x="811" y="13"/>
                  </a:cubicBezTo>
                  <a:cubicBezTo>
                    <a:pt x="811" y="4"/>
                    <a:pt x="811" y="4"/>
                    <a:pt x="811" y="4"/>
                  </a:cubicBezTo>
                  <a:cubicBezTo>
                    <a:pt x="811" y="2"/>
                    <a:pt x="809" y="0"/>
                    <a:pt x="807" y="0"/>
                  </a:cubicBezTo>
                  <a:cubicBezTo>
                    <a:pt x="782" y="0"/>
                    <a:pt x="782" y="0"/>
                    <a:pt x="782" y="0"/>
                  </a:cubicBezTo>
                  <a:cubicBezTo>
                    <a:pt x="780" y="0"/>
                    <a:pt x="778" y="2"/>
                    <a:pt x="778" y="4"/>
                  </a:cubicBezTo>
                  <a:cubicBezTo>
                    <a:pt x="778" y="13"/>
                    <a:pt x="778" y="13"/>
                    <a:pt x="778" y="13"/>
                  </a:cubicBezTo>
                  <a:cubicBezTo>
                    <a:pt x="712" y="13"/>
                    <a:pt x="712" y="13"/>
                    <a:pt x="712" y="13"/>
                  </a:cubicBezTo>
                  <a:cubicBezTo>
                    <a:pt x="702" y="13"/>
                    <a:pt x="693" y="22"/>
                    <a:pt x="693" y="32"/>
                  </a:cubicBezTo>
                  <a:cubicBezTo>
                    <a:pt x="693" y="45"/>
                    <a:pt x="693" y="45"/>
                    <a:pt x="693" y="45"/>
                  </a:cubicBezTo>
                  <a:cubicBezTo>
                    <a:pt x="693" y="47"/>
                    <a:pt x="695" y="49"/>
                    <a:pt x="697" y="49"/>
                  </a:cubicBezTo>
                  <a:moveTo>
                    <a:pt x="179" y="115"/>
                  </a:moveTo>
                  <a:cubicBezTo>
                    <a:pt x="122" y="115"/>
                    <a:pt x="122" y="115"/>
                    <a:pt x="122" y="115"/>
                  </a:cubicBezTo>
                  <a:cubicBezTo>
                    <a:pt x="122" y="49"/>
                    <a:pt x="122" y="49"/>
                    <a:pt x="122" y="49"/>
                  </a:cubicBezTo>
                  <a:cubicBezTo>
                    <a:pt x="179" y="49"/>
                    <a:pt x="179" y="49"/>
                    <a:pt x="179" y="49"/>
                  </a:cubicBezTo>
                  <a:lnTo>
                    <a:pt x="179" y="115"/>
                  </a:lnTo>
                  <a:close/>
                  <a:moveTo>
                    <a:pt x="88" y="115"/>
                  </a:moveTo>
                  <a:cubicBezTo>
                    <a:pt x="31" y="115"/>
                    <a:pt x="31" y="115"/>
                    <a:pt x="31" y="115"/>
                  </a:cubicBezTo>
                  <a:cubicBezTo>
                    <a:pt x="31" y="49"/>
                    <a:pt x="31" y="49"/>
                    <a:pt x="31" y="49"/>
                  </a:cubicBezTo>
                  <a:cubicBezTo>
                    <a:pt x="88" y="49"/>
                    <a:pt x="88" y="49"/>
                    <a:pt x="88" y="49"/>
                  </a:cubicBezTo>
                  <a:lnTo>
                    <a:pt x="88" y="115"/>
                  </a:lnTo>
                  <a:close/>
                  <a:moveTo>
                    <a:pt x="188" y="24"/>
                  </a:moveTo>
                  <a:cubicBezTo>
                    <a:pt x="122" y="24"/>
                    <a:pt x="122" y="24"/>
                    <a:pt x="122" y="24"/>
                  </a:cubicBezTo>
                  <a:cubicBezTo>
                    <a:pt x="122" y="5"/>
                    <a:pt x="122" y="5"/>
                    <a:pt x="122" y="5"/>
                  </a:cubicBezTo>
                  <a:cubicBezTo>
                    <a:pt x="122" y="3"/>
                    <a:pt x="120" y="1"/>
                    <a:pt x="118" y="1"/>
                  </a:cubicBezTo>
                  <a:cubicBezTo>
                    <a:pt x="91" y="1"/>
                    <a:pt x="91" y="1"/>
                    <a:pt x="91" y="1"/>
                  </a:cubicBezTo>
                  <a:cubicBezTo>
                    <a:pt x="89" y="1"/>
                    <a:pt x="88" y="3"/>
                    <a:pt x="88" y="5"/>
                  </a:cubicBezTo>
                  <a:cubicBezTo>
                    <a:pt x="88" y="24"/>
                    <a:pt x="88" y="24"/>
                    <a:pt x="88" y="24"/>
                  </a:cubicBezTo>
                  <a:cubicBezTo>
                    <a:pt x="22" y="24"/>
                    <a:pt x="22" y="24"/>
                    <a:pt x="22" y="24"/>
                  </a:cubicBezTo>
                  <a:cubicBezTo>
                    <a:pt x="10" y="24"/>
                    <a:pt x="0" y="34"/>
                    <a:pt x="0" y="46"/>
                  </a:cubicBezTo>
                  <a:cubicBezTo>
                    <a:pt x="0" y="118"/>
                    <a:pt x="0" y="118"/>
                    <a:pt x="0" y="118"/>
                  </a:cubicBezTo>
                  <a:cubicBezTo>
                    <a:pt x="0" y="130"/>
                    <a:pt x="10" y="140"/>
                    <a:pt x="22" y="140"/>
                  </a:cubicBezTo>
                  <a:cubicBezTo>
                    <a:pt x="88" y="140"/>
                    <a:pt x="88" y="140"/>
                    <a:pt x="88" y="140"/>
                  </a:cubicBezTo>
                  <a:cubicBezTo>
                    <a:pt x="88" y="171"/>
                    <a:pt x="88" y="171"/>
                    <a:pt x="88" y="171"/>
                  </a:cubicBezTo>
                  <a:cubicBezTo>
                    <a:pt x="88" y="173"/>
                    <a:pt x="89" y="174"/>
                    <a:pt x="91" y="174"/>
                  </a:cubicBezTo>
                  <a:cubicBezTo>
                    <a:pt x="118" y="174"/>
                    <a:pt x="118" y="174"/>
                    <a:pt x="118" y="174"/>
                  </a:cubicBezTo>
                  <a:cubicBezTo>
                    <a:pt x="120" y="174"/>
                    <a:pt x="122" y="173"/>
                    <a:pt x="122" y="171"/>
                  </a:cubicBezTo>
                  <a:cubicBezTo>
                    <a:pt x="122" y="140"/>
                    <a:pt x="122" y="140"/>
                    <a:pt x="122" y="140"/>
                  </a:cubicBezTo>
                  <a:cubicBezTo>
                    <a:pt x="188" y="140"/>
                    <a:pt x="188" y="140"/>
                    <a:pt x="188" y="140"/>
                  </a:cubicBezTo>
                  <a:cubicBezTo>
                    <a:pt x="200" y="140"/>
                    <a:pt x="210" y="130"/>
                    <a:pt x="210" y="118"/>
                  </a:cubicBezTo>
                  <a:cubicBezTo>
                    <a:pt x="210" y="46"/>
                    <a:pt x="210" y="46"/>
                    <a:pt x="210" y="46"/>
                  </a:cubicBezTo>
                  <a:cubicBezTo>
                    <a:pt x="210" y="34"/>
                    <a:pt x="200" y="24"/>
                    <a:pt x="188" y="24"/>
                  </a:cubicBezTo>
                  <a:moveTo>
                    <a:pt x="401" y="104"/>
                  </a:moveTo>
                  <a:cubicBezTo>
                    <a:pt x="379" y="104"/>
                    <a:pt x="379" y="104"/>
                    <a:pt x="379" y="104"/>
                  </a:cubicBezTo>
                  <a:cubicBezTo>
                    <a:pt x="379" y="112"/>
                    <a:pt x="379" y="112"/>
                    <a:pt x="379" y="112"/>
                  </a:cubicBezTo>
                  <a:cubicBezTo>
                    <a:pt x="357" y="112"/>
                    <a:pt x="357" y="112"/>
                    <a:pt x="357" y="112"/>
                  </a:cubicBezTo>
                  <a:cubicBezTo>
                    <a:pt x="357" y="93"/>
                    <a:pt x="357" y="93"/>
                    <a:pt x="357" y="93"/>
                  </a:cubicBezTo>
                  <a:cubicBezTo>
                    <a:pt x="395" y="93"/>
                    <a:pt x="395" y="93"/>
                    <a:pt x="395" y="93"/>
                  </a:cubicBezTo>
                  <a:cubicBezTo>
                    <a:pt x="395" y="75"/>
                    <a:pt x="395" y="75"/>
                    <a:pt x="395" y="75"/>
                  </a:cubicBezTo>
                  <a:cubicBezTo>
                    <a:pt x="357" y="75"/>
                    <a:pt x="357" y="75"/>
                    <a:pt x="357" y="75"/>
                  </a:cubicBezTo>
                  <a:cubicBezTo>
                    <a:pt x="357" y="61"/>
                    <a:pt x="357" y="61"/>
                    <a:pt x="357" y="61"/>
                  </a:cubicBezTo>
                  <a:cubicBezTo>
                    <a:pt x="401" y="61"/>
                    <a:pt x="401" y="61"/>
                    <a:pt x="401" y="61"/>
                  </a:cubicBezTo>
                  <a:cubicBezTo>
                    <a:pt x="401" y="41"/>
                    <a:pt x="401" y="41"/>
                    <a:pt x="401" y="41"/>
                  </a:cubicBezTo>
                  <a:cubicBezTo>
                    <a:pt x="284" y="41"/>
                    <a:pt x="284" y="41"/>
                    <a:pt x="284" y="41"/>
                  </a:cubicBezTo>
                  <a:cubicBezTo>
                    <a:pt x="284" y="61"/>
                    <a:pt x="284" y="61"/>
                    <a:pt x="284" y="61"/>
                  </a:cubicBezTo>
                  <a:cubicBezTo>
                    <a:pt x="328" y="61"/>
                    <a:pt x="328" y="61"/>
                    <a:pt x="328" y="61"/>
                  </a:cubicBezTo>
                  <a:cubicBezTo>
                    <a:pt x="328" y="75"/>
                    <a:pt x="328" y="75"/>
                    <a:pt x="328" y="75"/>
                  </a:cubicBezTo>
                  <a:cubicBezTo>
                    <a:pt x="290" y="75"/>
                    <a:pt x="290" y="75"/>
                    <a:pt x="290" y="75"/>
                  </a:cubicBezTo>
                  <a:cubicBezTo>
                    <a:pt x="290" y="93"/>
                    <a:pt x="290" y="93"/>
                    <a:pt x="290" y="93"/>
                  </a:cubicBezTo>
                  <a:cubicBezTo>
                    <a:pt x="328" y="93"/>
                    <a:pt x="328" y="93"/>
                    <a:pt x="328" y="93"/>
                  </a:cubicBezTo>
                  <a:cubicBezTo>
                    <a:pt x="328" y="112"/>
                    <a:pt x="328" y="112"/>
                    <a:pt x="328" y="112"/>
                  </a:cubicBezTo>
                  <a:cubicBezTo>
                    <a:pt x="284" y="112"/>
                    <a:pt x="284" y="112"/>
                    <a:pt x="284" y="112"/>
                  </a:cubicBezTo>
                  <a:cubicBezTo>
                    <a:pt x="284" y="132"/>
                    <a:pt x="284" y="132"/>
                    <a:pt x="284" y="132"/>
                  </a:cubicBezTo>
                  <a:cubicBezTo>
                    <a:pt x="401" y="132"/>
                    <a:pt x="401" y="132"/>
                    <a:pt x="401" y="132"/>
                  </a:cubicBezTo>
                  <a:lnTo>
                    <a:pt x="401" y="104"/>
                  </a:lnTo>
                  <a:close/>
                  <a:moveTo>
                    <a:pt x="516" y="102"/>
                  </a:moveTo>
                  <a:cubicBezTo>
                    <a:pt x="542" y="102"/>
                    <a:pt x="542" y="102"/>
                    <a:pt x="542" y="102"/>
                  </a:cubicBezTo>
                  <a:cubicBezTo>
                    <a:pt x="544" y="102"/>
                    <a:pt x="545" y="100"/>
                    <a:pt x="544" y="98"/>
                  </a:cubicBezTo>
                  <a:cubicBezTo>
                    <a:pt x="519" y="49"/>
                    <a:pt x="519" y="49"/>
                    <a:pt x="519" y="49"/>
                  </a:cubicBezTo>
                  <a:cubicBezTo>
                    <a:pt x="518" y="48"/>
                    <a:pt x="515" y="46"/>
                    <a:pt x="512" y="46"/>
                  </a:cubicBezTo>
                  <a:cubicBezTo>
                    <a:pt x="487" y="46"/>
                    <a:pt x="487" y="46"/>
                    <a:pt x="487" y="46"/>
                  </a:cubicBezTo>
                  <a:cubicBezTo>
                    <a:pt x="485" y="46"/>
                    <a:pt x="484" y="48"/>
                    <a:pt x="485" y="49"/>
                  </a:cubicBezTo>
                  <a:cubicBezTo>
                    <a:pt x="510" y="98"/>
                    <a:pt x="510" y="98"/>
                    <a:pt x="510" y="98"/>
                  </a:cubicBezTo>
                  <a:cubicBezTo>
                    <a:pt x="511" y="100"/>
                    <a:pt x="513" y="102"/>
                    <a:pt x="516" y="102"/>
                  </a:cubicBezTo>
                  <a:moveTo>
                    <a:pt x="669" y="115"/>
                  </a:moveTo>
                  <a:cubicBezTo>
                    <a:pt x="587" y="115"/>
                    <a:pt x="587" y="115"/>
                    <a:pt x="587" y="115"/>
                  </a:cubicBezTo>
                  <a:cubicBezTo>
                    <a:pt x="587" y="33"/>
                    <a:pt x="587" y="33"/>
                    <a:pt x="587" y="33"/>
                  </a:cubicBezTo>
                  <a:cubicBezTo>
                    <a:pt x="662" y="33"/>
                    <a:pt x="662" y="33"/>
                    <a:pt x="662" y="33"/>
                  </a:cubicBezTo>
                  <a:cubicBezTo>
                    <a:pt x="664" y="33"/>
                    <a:pt x="666" y="31"/>
                    <a:pt x="666" y="29"/>
                  </a:cubicBezTo>
                  <a:cubicBezTo>
                    <a:pt x="666" y="14"/>
                    <a:pt x="666" y="14"/>
                    <a:pt x="666" y="14"/>
                  </a:cubicBezTo>
                  <a:cubicBezTo>
                    <a:pt x="666" y="11"/>
                    <a:pt x="664" y="10"/>
                    <a:pt x="662" y="10"/>
                  </a:cubicBezTo>
                  <a:cubicBezTo>
                    <a:pt x="479" y="10"/>
                    <a:pt x="479" y="10"/>
                    <a:pt x="479" y="10"/>
                  </a:cubicBezTo>
                  <a:cubicBezTo>
                    <a:pt x="477" y="10"/>
                    <a:pt x="475" y="11"/>
                    <a:pt x="475" y="14"/>
                  </a:cubicBezTo>
                  <a:cubicBezTo>
                    <a:pt x="475" y="29"/>
                    <a:pt x="475" y="29"/>
                    <a:pt x="475" y="29"/>
                  </a:cubicBezTo>
                  <a:cubicBezTo>
                    <a:pt x="475" y="31"/>
                    <a:pt x="477" y="33"/>
                    <a:pt x="479" y="33"/>
                  </a:cubicBezTo>
                  <a:cubicBezTo>
                    <a:pt x="554" y="33"/>
                    <a:pt x="554" y="33"/>
                    <a:pt x="554" y="33"/>
                  </a:cubicBezTo>
                  <a:cubicBezTo>
                    <a:pt x="554" y="115"/>
                    <a:pt x="554" y="115"/>
                    <a:pt x="554" y="115"/>
                  </a:cubicBezTo>
                  <a:cubicBezTo>
                    <a:pt x="472" y="115"/>
                    <a:pt x="472" y="115"/>
                    <a:pt x="472" y="115"/>
                  </a:cubicBezTo>
                  <a:cubicBezTo>
                    <a:pt x="470" y="115"/>
                    <a:pt x="469" y="117"/>
                    <a:pt x="469" y="119"/>
                  </a:cubicBezTo>
                  <a:cubicBezTo>
                    <a:pt x="469" y="135"/>
                    <a:pt x="469" y="135"/>
                    <a:pt x="469" y="135"/>
                  </a:cubicBezTo>
                  <a:cubicBezTo>
                    <a:pt x="469" y="137"/>
                    <a:pt x="470" y="139"/>
                    <a:pt x="472" y="139"/>
                  </a:cubicBezTo>
                  <a:cubicBezTo>
                    <a:pt x="554" y="139"/>
                    <a:pt x="554" y="139"/>
                    <a:pt x="554" y="139"/>
                  </a:cubicBezTo>
                  <a:cubicBezTo>
                    <a:pt x="554" y="171"/>
                    <a:pt x="554" y="171"/>
                    <a:pt x="554" y="171"/>
                  </a:cubicBezTo>
                  <a:cubicBezTo>
                    <a:pt x="554" y="173"/>
                    <a:pt x="556" y="174"/>
                    <a:pt x="558" y="174"/>
                  </a:cubicBezTo>
                  <a:cubicBezTo>
                    <a:pt x="583" y="174"/>
                    <a:pt x="583" y="174"/>
                    <a:pt x="583" y="174"/>
                  </a:cubicBezTo>
                  <a:cubicBezTo>
                    <a:pt x="585" y="174"/>
                    <a:pt x="587" y="173"/>
                    <a:pt x="587" y="171"/>
                  </a:cubicBezTo>
                  <a:cubicBezTo>
                    <a:pt x="587" y="139"/>
                    <a:pt x="587" y="139"/>
                    <a:pt x="587" y="139"/>
                  </a:cubicBezTo>
                  <a:cubicBezTo>
                    <a:pt x="669" y="139"/>
                    <a:pt x="669" y="139"/>
                    <a:pt x="669" y="139"/>
                  </a:cubicBezTo>
                  <a:cubicBezTo>
                    <a:pt x="671" y="139"/>
                    <a:pt x="673" y="137"/>
                    <a:pt x="673" y="135"/>
                  </a:cubicBezTo>
                  <a:cubicBezTo>
                    <a:pt x="673" y="119"/>
                    <a:pt x="673" y="119"/>
                    <a:pt x="673" y="119"/>
                  </a:cubicBezTo>
                  <a:cubicBezTo>
                    <a:pt x="673" y="117"/>
                    <a:pt x="671" y="115"/>
                    <a:pt x="669" y="115"/>
                  </a:cubicBezTo>
                </a:path>
              </a:pathLst>
            </a:custGeom>
            <a:solidFill>
              <a:srgbClr val="EA550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dirty="0">
                <a:latin typeface="微软雅黑" panose="020B0503020204020204" pitchFamily="34" charset="-122"/>
                <a:ea typeface="微软雅黑" panose="020B0503020204020204" pitchFamily="34" charset="-122"/>
              </a:endParaRPr>
            </a:p>
          </p:txBody>
        </p:sp>
        <p:sp>
          <p:nvSpPr>
            <p:cNvPr id="16" name="Freeform 6"/>
            <p:cNvSpPr/>
            <p:nvPr/>
          </p:nvSpPr>
          <p:spPr bwMode="auto">
            <a:xfrm>
              <a:off x="3438525" y="693738"/>
              <a:ext cx="77788" cy="76200"/>
            </a:xfrm>
            <a:custGeom>
              <a:avLst/>
              <a:gdLst>
                <a:gd name="T0" fmla="*/ 44 w 48"/>
                <a:gd name="T1" fmla="*/ 0 h 46"/>
                <a:gd name="T2" fmla="*/ 4 w 48"/>
                <a:gd name="T3" fmla="*/ 0 h 46"/>
                <a:gd name="T4" fmla="*/ 0 w 48"/>
                <a:gd name="T5" fmla="*/ 3 h 46"/>
                <a:gd name="T6" fmla="*/ 0 w 48"/>
                <a:gd name="T7" fmla="*/ 43 h 46"/>
                <a:gd name="T8" fmla="*/ 4 w 48"/>
                <a:gd name="T9" fmla="*/ 46 h 46"/>
                <a:gd name="T10" fmla="*/ 44 w 48"/>
                <a:gd name="T11" fmla="*/ 46 h 46"/>
                <a:gd name="T12" fmla="*/ 48 w 48"/>
                <a:gd name="T13" fmla="*/ 43 h 46"/>
                <a:gd name="T14" fmla="*/ 48 w 48"/>
                <a:gd name="T15" fmla="*/ 3 h 46"/>
                <a:gd name="T16" fmla="*/ 44 w 48"/>
                <a:gd name="T1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46">
                  <a:moveTo>
                    <a:pt x="44" y="0"/>
                  </a:moveTo>
                  <a:cubicBezTo>
                    <a:pt x="4" y="0"/>
                    <a:pt x="4" y="0"/>
                    <a:pt x="4" y="0"/>
                  </a:cubicBezTo>
                  <a:cubicBezTo>
                    <a:pt x="2" y="0"/>
                    <a:pt x="0" y="1"/>
                    <a:pt x="0" y="3"/>
                  </a:cubicBezTo>
                  <a:cubicBezTo>
                    <a:pt x="0" y="43"/>
                    <a:pt x="0" y="43"/>
                    <a:pt x="0" y="43"/>
                  </a:cubicBezTo>
                  <a:cubicBezTo>
                    <a:pt x="0" y="45"/>
                    <a:pt x="2" y="46"/>
                    <a:pt x="4" y="46"/>
                  </a:cubicBezTo>
                  <a:cubicBezTo>
                    <a:pt x="44" y="46"/>
                    <a:pt x="44" y="46"/>
                    <a:pt x="44" y="46"/>
                  </a:cubicBezTo>
                  <a:cubicBezTo>
                    <a:pt x="46" y="46"/>
                    <a:pt x="48" y="45"/>
                    <a:pt x="48" y="43"/>
                  </a:cubicBezTo>
                  <a:cubicBezTo>
                    <a:pt x="48" y="3"/>
                    <a:pt x="48" y="3"/>
                    <a:pt x="48" y="3"/>
                  </a:cubicBezTo>
                  <a:cubicBezTo>
                    <a:pt x="48" y="1"/>
                    <a:pt x="46" y="0"/>
                    <a:pt x="44" y="0"/>
                  </a:cubicBezTo>
                </a:path>
              </a:pathLst>
            </a:custGeom>
            <a:solidFill>
              <a:srgbClr val="005E3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dirty="0">
                <a:latin typeface="微软雅黑" panose="020B0503020204020204" pitchFamily="34" charset="-122"/>
                <a:ea typeface="微软雅黑" panose="020B0503020204020204" pitchFamily="34" charset="-122"/>
              </a:endParaRPr>
            </a:p>
          </p:txBody>
        </p:sp>
        <p:sp>
          <p:nvSpPr>
            <p:cNvPr id="17" name="Oval 7"/>
            <p:cNvSpPr>
              <a:spLocks noChangeArrowheads="1"/>
            </p:cNvSpPr>
            <p:nvPr/>
          </p:nvSpPr>
          <p:spPr bwMode="auto">
            <a:xfrm>
              <a:off x="1385888" y="952500"/>
              <a:ext cx="17463" cy="20637"/>
            </a:xfrm>
            <a:prstGeom prst="ellipse">
              <a:avLst/>
            </a:prstGeom>
            <a:solidFill>
              <a:srgbClr val="EA550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dirty="0">
                <a:latin typeface="微软雅黑" panose="020B0503020204020204" pitchFamily="34" charset="-122"/>
                <a:ea typeface="微软雅黑" panose="020B0503020204020204" pitchFamily="34" charset="-122"/>
              </a:endParaRPr>
            </a:p>
          </p:txBody>
        </p:sp>
        <p:sp>
          <p:nvSpPr>
            <p:cNvPr id="18" name="Freeform 8"/>
            <p:cNvSpPr>
              <a:spLocks noEditPoints="1"/>
            </p:cNvSpPr>
            <p:nvPr/>
          </p:nvSpPr>
          <p:spPr bwMode="auto">
            <a:xfrm>
              <a:off x="1001713" y="893763"/>
              <a:ext cx="142875" cy="133350"/>
            </a:xfrm>
            <a:custGeom>
              <a:avLst/>
              <a:gdLst>
                <a:gd name="T0" fmla="*/ 43 w 88"/>
                <a:gd name="T1" fmla="*/ 0 h 81"/>
                <a:gd name="T2" fmla="*/ 51 w 88"/>
                <a:gd name="T3" fmla="*/ 4 h 81"/>
                <a:gd name="T4" fmla="*/ 84 w 88"/>
                <a:gd name="T5" fmla="*/ 22 h 81"/>
                <a:gd name="T6" fmla="*/ 87 w 88"/>
                <a:gd name="T7" fmla="*/ 28 h 81"/>
                <a:gd name="T8" fmla="*/ 82 w 88"/>
                <a:gd name="T9" fmla="*/ 29 h 81"/>
                <a:gd name="T10" fmla="*/ 49 w 88"/>
                <a:gd name="T11" fmla="*/ 12 h 81"/>
                <a:gd name="T12" fmla="*/ 43 w 88"/>
                <a:gd name="T13" fmla="*/ 8 h 81"/>
                <a:gd name="T14" fmla="*/ 38 w 88"/>
                <a:gd name="T15" fmla="*/ 11 h 81"/>
                <a:gd name="T16" fmla="*/ 6 w 88"/>
                <a:gd name="T17" fmla="*/ 30 h 81"/>
                <a:gd name="T18" fmla="*/ 1 w 88"/>
                <a:gd name="T19" fmla="*/ 28 h 81"/>
                <a:gd name="T20" fmla="*/ 3 w 88"/>
                <a:gd name="T21" fmla="*/ 23 h 81"/>
                <a:gd name="T22" fmla="*/ 35 w 88"/>
                <a:gd name="T23" fmla="*/ 5 h 81"/>
                <a:gd name="T24" fmla="*/ 43 w 88"/>
                <a:gd name="T25" fmla="*/ 0 h 81"/>
                <a:gd name="T26" fmla="*/ 21 w 88"/>
                <a:gd name="T27" fmla="*/ 25 h 81"/>
                <a:gd name="T28" fmla="*/ 68 w 88"/>
                <a:gd name="T29" fmla="*/ 25 h 81"/>
                <a:gd name="T30" fmla="*/ 71 w 88"/>
                <a:gd name="T31" fmla="*/ 28 h 81"/>
                <a:gd name="T32" fmla="*/ 68 w 88"/>
                <a:gd name="T33" fmla="*/ 31 h 81"/>
                <a:gd name="T34" fmla="*/ 48 w 88"/>
                <a:gd name="T35" fmla="*/ 31 h 81"/>
                <a:gd name="T36" fmla="*/ 48 w 88"/>
                <a:gd name="T37" fmla="*/ 42 h 81"/>
                <a:gd name="T38" fmla="*/ 80 w 88"/>
                <a:gd name="T39" fmla="*/ 42 h 81"/>
                <a:gd name="T40" fmla="*/ 83 w 88"/>
                <a:gd name="T41" fmla="*/ 46 h 81"/>
                <a:gd name="T42" fmla="*/ 80 w 88"/>
                <a:gd name="T43" fmla="*/ 49 h 81"/>
                <a:gd name="T44" fmla="*/ 48 w 88"/>
                <a:gd name="T45" fmla="*/ 49 h 81"/>
                <a:gd name="T46" fmla="*/ 48 w 88"/>
                <a:gd name="T47" fmla="*/ 74 h 81"/>
                <a:gd name="T48" fmla="*/ 61 w 88"/>
                <a:gd name="T49" fmla="*/ 74 h 81"/>
                <a:gd name="T50" fmla="*/ 60 w 88"/>
                <a:gd name="T51" fmla="*/ 70 h 81"/>
                <a:gd name="T52" fmla="*/ 70 w 88"/>
                <a:gd name="T53" fmla="*/ 53 h 81"/>
                <a:gd name="T54" fmla="*/ 75 w 88"/>
                <a:gd name="T55" fmla="*/ 51 h 81"/>
                <a:gd name="T56" fmla="*/ 76 w 88"/>
                <a:gd name="T57" fmla="*/ 56 h 81"/>
                <a:gd name="T58" fmla="*/ 66 w 88"/>
                <a:gd name="T59" fmla="*/ 73 h 81"/>
                <a:gd name="T60" fmla="*/ 64 w 88"/>
                <a:gd name="T61" fmla="*/ 74 h 81"/>
                <a:gd name="T62" fmla="*/ 84 w 88"/>
                <a:gd name="T63" fmla="*/ 74 h 81"/>
                <a:gd name="T64" fmla="*/ 87 w 88"/>
                <a:gd name="T65" fmla="*/ 77 h 81"/>
                <a:gd name="T66" fmla="*/ 84 w 88"/>
                <a:gd name="T67" fmla="*/ 81 h 81"/>
                <a:gd name="T68" fmla="*/ 6 w 88"/>
                <a:gd name="T69" fmla="*/ 81 h 81"/>
                <a:gd name="T70" fmla="*/ 2 w 88"/>
                <a:gd name="T71" fmla="*/ 77 h 81"/>
                <a:gd name="T72" fmla="*/ 6 w 88"/>
                <a:gd name="T73" fmla="*/ 74 h 81"/>
                <a:gd name="T74" fmla="*/ 40 w 88"/>
                <a:gd name="T75" fmla="*/ 74 h 81"/>
                <a:gd name="T76" fmla="*/ 40 w 88"/>
                <a:gd name="T77" fmla="*/ 49 h 81"/>
                <a:gd name="T78" fmla="*/ 9 w 88"/>
                <a:gd name="T79" fmla="*/ 49 h 81"/>
                <a:gd name="T80" fmla="*/ 6 w 88"/>
                <a:gd name="T81" fmla="*/ 46 h 81"/>
                <a:gd name="T82" fmla="*/ 9 w 88"/>
                <a:gd name="T83" fmla="*/ 42 h 81"/>
                <a:gd name="T84" fmla="*/ 40 w 88"/>
                <a:gd name="T85" fmla="*/ 42 h 81"/>
                <a:gd name="T86" fmla="*/ 40 w 88"/>
                <a:gd name="T87" fmla="*/ 31 h 81"/>
                <a:gd name="T88" fmla="*/ 21 w 88"/>
                <a:gd name="T89" fmla="*/ 31 h 81"/>
                <a:gd name="T90" fmla="*/ 18 w 88"/>
                <a:gd name="T91" fmla="*/ 28 h 81"/>
                <a:gd name="T92" fmla="*/ 21 w 88"/>
                <a:gd name="T93" fmla="*/ 25 h 81"/>
                <a:gd name="T94" fmla="*/ 20 w 88"/>
                <a:gd name="T95" fmla="*/ 54 h 81"/>
                <a:gd name="T96" fmla="*/ 27 w 88"/>
                <a:gd name="T97" fmla="*/ 67 h 81"/>
                <a:gd name="T98" fmla="*/ 26 w 88"/>
                <a:gd name="T99" fmla="*/ 72 h 81"/>
                <a:gd name="T100" fmla="*/ 21 w 88"/>
                <a:gd name="T101" fmla="*/ 71 h 81"/>
                <a:gd name="T102" fmla="*/ 14 w 88"/>
                <a:gd name="T103" fmla="*/ 57 h 81"/>
                <a:gd name="T104" fmla="*/ 14 w 88"/>
                <a:gd name="T105" fmla="*/ 53 h 81"/>
                <a:gd name="T106" fmla="*/ 20 w 88"/>
                <a:gd name="T107" fmla="*/ 5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8" h="81">
                  <a:moveTo>
                    <a:pt x="43" y="0"/>
                  </a:moveTo>
                  <a:cubicBezTo>
                    <a:pt x="44" y="0"/>
                    <a:pt x="47" y="1"/>
                    <a:pt x="51" y="4"/>
                  </a:cubicBezTo>
                  <a:cubicBezTo>
                    <a:pt x="61" y="12"/>
                    <a:pt x="72" y="18"/>
                    <a:pt x="84" y="22"/>
                  </a:cubicBezTo>
                  <a:cubicBezTo>
                    <a:pt x="87" y="23"/>
                    <a:pt x="88" y="25"/>
                    <a:pt x="87" y="28"/>
                  </a:cubicBezTo>
                  <a:cubicBezTo>
                    <a:pt x="86" y="30"/>
                    <a:pt x="85" y="30"/>
                    <a:pt x="82" y="29"/>
                  </a:cubicBezTo>
                  <a:cubicBezTo>
                    <a:pt x="70" y="25"/>
                    <a:pt x="59" y="19"/>
                    <a:pt x="49" y="12"/>
                  </a:cubicBezTo>
                  <a:cubicBezTo>
                    <a:pt x="46" y="10"/>
                    <a:pt x="44" y="8"/>
                    <a:pt x="43" y="8"/>
                  </a:cubicBezTo>
                  <a:cubicBezTo>
                    <a:pt x="43" y="8"/>
                    <a:pt x="41" y="9"/>
                    <a:pt x="38" y="11"/>
                  </a:cubicBezTo>
                  <a:cubicBezTo>
                    <a:pt x="28" y="19"/>
                    <a:pt x="18" y="25"/>
                    <a:pt x="6" y="30"/>
                  </a:cubicBezTo>
                  <a:cubicBezTo>
                    <a:pt x="4" y="31"/>
                    <a:pt x="2" y="30"/>
                    <a:pt x="1" y="28"/>
                  </a:cubicBezTo>
                  <a:cubicBezTo>
                    <a:pt x="0" y="26"/>
                    <a:pt x="1" y="24"/>
                    <a:pt x="3" y="23"/>
                  </a:cubicBezTo>
                  <a:cubicBezTo>
                    <a:pt x="15" y="19"/>
                    <a:pt x="26" y="13"/>
                    <a:pt x="35" y="5"/>
                  </a:cubicBezTo>
                  <a:cubicBezTo>
                    <a:pt x="39" y="2"/>
                    <a:pt x="42" y="0"/>
                    <a:pt x="43" y="0"/>
                  </a:cubicBezTo>
                  <a:close/>
                  <a:moveTo>
                    <a:pt x="21" y="25"/>
                  </a:moveTo>
                  <a:cubicBezTo>
                    <a:pt x="68" y="25"/>
                    <a:pt x="68" y="25"/>
                    <a:pt x="68" y="25"/>
                  </a:cubicBezTo>
                  <a:cubicBezTo>
                    <a:pt x="70" y="25"/>
                    <a:pt x="71" y="26"/>
                    <a:pt x="71" y="28"/>
                  </a:cubicBezTo>
                  <a:cubicBezTo>
                    <a:pt x="71" y="30"/>
                    <a:pt x="70" y="31"/>
                    <a:pt x="68" y="31"/>
                  </a:cubicBezTo>
                  <a:cubicBezTo>
                    <a:pt x="48" y="31"/>
                    <a:pt x="48" y="31"/>
                    <a:pt x="48" y="31"/>
                  </a:cubicBezTo>
                  <a:cubicBezTo>
                    <a:pt x="48" y="42"/>
                    <a:pt x="48" y="42"/>
                    <a:pt x="48" y="42"/>
                  </a:cubicBezTo>
                  <a:cubicBezTo>
                    <a:pt x="80" y="42"/>
                    <a:pt x="80" y="42"/>
                    <a:pt x="80" y="42"/>
                  </a:cubicBezTo>
                  <a:cubicBezTo>
                    <a:pt x="82" y="42"/>
                    <a:pt x="83" y="43"/>
                    <a:pt x="83" y="46"/>
                  </a:cubicBezTo>
                  <a:cubicBezTo>
                    <a:pt x="83" y="48"/>
                    <a:pt x="82" y="49"/>
                    <a:pt x="80" y="49"/>
                  </a:cubicBezTo>
                  <a:cubicBezTo>
                    <a:pt x="48" y="49"/>
                    <a:pt x="48" y="49"/>
                    <a:pt x="48" y="49"/>
                  </a:cubicBezTo>
                  <a:cubicBezTo>
                    <a:pt x="48" y="74"/>
                    <a:pt x="48" y="74"/>
                    <a:pt x="48" y="74"/>
                  </a:cubicBezTo>
                  <a:cubicBezTo>
                    <a:pt x="61" y="74"/>
                    <a:pt x="61" y="74"/>
                    <a:pt x="61" y="74"/>
                  </a:cubicBezTo>
                  <a:cubicBezTo>
                    <a:pt x="59" y="73"/>
                    <a:pt x="59" y="72"/>
                    <a:pt x="60" y="70"/>
                  </a:cubicBezTo>
                  <a:cubicBezTo>
                    <a:pt x="64" y="64"/>
                    <a:pt x="67" y="59"/>
                    <a:pt x="70" y="53"/>
                  </a:cubicBezTo>
                  <a:cubicBezTo>
                    <a:pt x="71" y="51"/>
                    <a:pt x="73" y="50"/>
                    <a:pt x="75" y="51"/>
                  </a:cubicBezTo>
                  <a:cubicBezTo>
                    <a:pt x="76" y="52"/>
                    <a:pt x="77" y="54"/>
                    <a:pt x="76" y="56"/>
                  </a:cubicBezTo>
                  <a:cubicBezTo>
                    <a:pt x="72" y="65"/>
                    <a:pt x="69" y="70"/>
                    <a:pt x="66" y="73"/>
                  </a:cubicBezTo>
                  <a:cubicBezTo>
                    <a:pt x="65" y="74"/>
                    <a:pt x="65" y="74"/>
                    <a:pt x="64" y="74"/>
                  </a:cubicBezTo>
                  <a:cubicBezTo>
                    <a:pt x="84" y="74"/>
                    <a:pt x="84" y="74"/>
                    <a:pt x="84" y="74"/>
                  </a:cubicBezTo>
                  <a:cubicBezTo>
                    <a:pt x="86" y="74"/>
                    <a:pt x="87" y="75"/>
                    <a:pt x="87" y="77"/>
                  </a:cubicBezTo>
                  <a:cubicBezTo>
                    <a:pt x="87" y="79"/>
                    <a:pt x="86" y="81"/>
                    <a:pt x="84" y="81"/>
                  </a:cubicBezTo>
                  <a:cubicBezTo>
                    <a:pt x="6" y="81"/>
                    <a:pt x="6" y="81"/>
                    <a:pt x="6" y="81"/>
                  </a:cubicBezTo>
                  <a:cubicBezTo>
                    <a:pt x="3" y="81"/>
                    <a:pt x="2" y="79"/>
                    <a:pt x="2" y="77"/>
                  </a:cubicBezTo>
                  <a:cubicBezTo>
                    <a:pt x="2" y="75"/>
                    <a:pt x="3" y="74"/>
                    <a:pt x="6" y="74"/>
                  </a:cubicBezTo>
                  <a:cubicBezTo>
                    <a:pt x="40" y="74"/>
                    <a:pt x="40" y="74"/>
                    <a:pt x="40" y="74"/>
                  </a:cubicBezTo>
                  <a:cubicBezTo>
                    <a:pt x="40" y="49"/>
                    <a:pt x="40" y="49"/>
                    <a:pt x="40" y="49"/>
                  </a:cubicBezTo>
                  <a:cubicBezTo>
                    <a:pt x="9" y="49"/>
                    <a:pt x="9" y="49"/>
                    <a:pt x="9" y="49"/>
                  </a:cubicBezTo>
                  <a:cubicBezTo>
                    <a:pt x="7" y="49"/>
                    <a:pt x="6" y="48"/>
                    <a:pt x="6" y="46"/>
                  </a:cubicBezTo>
                  <a:cubicBezTo>
                    <a:pt x="6" y="43"/>
                    <a:pt x="7" y="42"/>
                    <a:pt x="9" y="42"/>
                  </a:cubicBezTo>
                  <a:cubicBezTo>
                    <a:pt x="40" y="42"/>
                    <a:pt x="40" y="42"/>
                    <a:pt x="40" y="42"/>
                  </a:cubicBezTo>
                  <a:cubicBezTo>
                    <a:pt x="40" y="31"/>
                    <a:pt x="40" y="31"/>
                    <a:pt x="40" y="31"/>
                  </a:cubicBezTo>
                  <a:cubicBezTo>
                    <a:pt x="21" y="31"/>
                    <a:pt x="21" y="31"/>
                    <a:pt x="21" y="31"/>
                  </a:cubicBezTo>
                  <a:cubicBezTo>
                    <a:pt x="19" y="31"/>
                    <a:pt x="18" y="30"/>
                    <a:pt x="18" y="28"/>
                  </a:cubicBezTo>
                  <a:cubicBezTo>
                    <a:pt x="18" y="26"/>
                    <a:pt x="19" y="25"/>
                    <a:pt x="21" y="25"/>
                  </a:cubicBezTo>
                  <a:close/>
                  <a:moveTo>
                    <a:pt x="20" y="54"/>
                  </a:moveTo>
                  <a:cubicBezTo>
                    <a:pt x="23" y="58"/>
                    <a:pt x="25" y="63"/>
                    <a:pt x="27" y="67"/>
                  </a:cubicBezTo>
                  <a:cubicBezTo>
                    <a:pt x="28" y="69"/>
                    <a:pt x="28" y="71"/>
                    <a:pt x="26" y="72"/>
                  </a:cubicBezTo>
                  <a:cubicBezTo>
                    <a:pt x="24" y="73"/>
                    <a:pt x="23" y="73"/>
                    <a:pt x="21" y="71"/>
                  </a:cubicBezTo>
                  <a:cubicBezTo>
                    <a:pt x="19" y="67"/>
                    <a:pt x="17" y="62"/>
                    <a:pt x="14" y="57"/>
                  </a:cubicBezTo>
                  <a:cubicBezTo>
                    <a:pt x="12" y="55"/>
                    <a:pt x="13" y="54"/>
                    <a:pt x="14" y="53"/>
                  </a:cubicBezTo>
                  <a:cubicBezTo>
                    <a:pt x="16" y="52"/>
                    <a:pt x="18" y="52"/>
                    <a:pt x="20" y="54"/>
                  </a:cubicBezTo>
                  <a:close/>
                </a:path>
              </a:pathLst>
            </a:custGeom>
            <a:solidFill>
              <a:srgbClr val="EA550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dirty="0">
                <a:latin typeface="微软雅黑" panose="020B0503020204020204" pitchFamily="34" charset="-122"/>
                <a:ea typeface="微软雅黑" panose="020B0503020204020204" pitchFamily="34" charset="-122"/>
              </a:endParaRPr>
            </a:p>
          </p:txBody>
        </p:sp>
        <p:sp>
          <p:nvSpPr>
            <p:cNvPr id="19" name="Freeform 9"/>
            <p:cNvSpPr>
              <a:spLocks noEditPoints="1"/>
            </p:cNvSpPr>
            <p:nvPr/>
          </p:nvSpPr>
          <p:spPr bwMode="auto">
            <a:xfrm>
              <a:off x="1168400" y="895350"/>
              <a:ext cx="136525" cy="139700"/>
            </a:xfrm>
            <a:custGeom>
              <a:avLst/>
              <a:gdLst>
                <a:gd name="T0" fmla="*/ 39 w 83"/>
                <a:gd name="T1" fmla="*/ 1 h 85"/>
                <a:gd name="T2" fmla="*/ 39 w 83"/>
                <a:gd name="T3" fmla="*/ 7 h 85"/>
                <a:gd name="T4" fmla="*/ 0 w 83"/>
                <a:gd name="T5" fmla="*/ 4 h 85"/>
                <a:gd name="T6" fmla="*/ 6 w 83"/>
                <a:gd name="T7" fmla="*/ 35 h 85"/>
                <a:gd name="T8" fmla="*/ 42 w 83"/>
                <a:gd name="T9" fmla="*/ 41 h 85"/>
                <a:gd name="T10" fmla="*/ 28 w 83"/>
                <a:gd name="T11" fmla="*/ 80 h 85"/>
                <a:gd name="T12" fmla="*/ 30 w 83"/>
                <a:gd name="T13" fmla="*/ 74 h 85"/>
                <a:gd name="T14" fmla="*/ 36 w 83"/>
                <a:gd name="T15" fmla="*/ 42 h 85"/>
                <a:gd name="T16" fmla="*/ 8 w 83"/>
                <a:gd name="T17" fmla="*/ 40 h 85"/>
                <a:gd name="T18" fmla="*/ 6 w 83"/>
                <a:gd name="T19" fmla="*/ 79 h 85"/>
                <a:gd name="T20" fmla="*/ 0 w 83"/>
                <a:gd name="T21" fmla="*/ 79 h 85"/>
                <a:gd name="T22" fmla="*/ 6 w 83"/>
                <a:gd name="T23" fmla="*/ 35 h 85"/>
                <a:gd name="T24" fmla="*/ 32 w 83"/>
                <a:gd name="T25" fmla="*/ 11 h 85"/>
                <a:gd name="T26" fmla="*/ 37 w 83"/>
                <a:gd name="T27" fmla="*/ 23 h 85"/>
                <a:gd name="T28" fmla="*/ 9 w 83"/>
                <a:gd name="T29" fmla="*/ 29 h 85"/>
                <a:gd name="T30" fmla="*/ 4 w 83"/>
                <a:gd name="T31" fmla="*/ 17 h 85"/>
                <a:gd name="T32" fmla="*/ 10 w 83"/>
                <a:gd name="T33" fmla="*/ 56 h 85"/>
                <a:gd name="T34" fmla="*/ 23 w 83"/>
                <a:gd name="T35" fmla="*/ 53 h 85"/>
                <a:gd name="T36" fmla="*/ 31 w 83"/>
                <a:gd name="T37" fmla="*/ 41 h 85"/>
                <a:gd name="T38" fmla="*/ 31 w 83"/>
                <a:gd name="T39" fmla="*/ 48 h 85"/>
                <a:gd name="T40" fmla="*/ 32 w 83"/>
                <a:gd name="T41" fmla="*/ 56 h 85"/>
                <a:gd name="T42" fmla="*/ 32 w 83"/>
                <a:gd name="T43" fmla="*/ 61 h 85"/>
                <a:gd name="T44" fmla="*/ 24 w 83"/>
                <a:gd name="T45" fmla="*/ 76 h 85"/>
                <a:gd name="T46" fmla="*/ 18 w 83"/>
                <a:gd name="T47" fmla="*/ 76 h 85"/>
                <a:gd name="T48" fmla="*/ 10 w 83"/>
                <a:gd name="T49" fmla="*/ 61 h 85"/>
                <a:gd name="T50" fmla="*/ 10 w 83"/>
                <a:gd name="T51" fmla="*/ 56 h 85"/>
                <a:gd name="T52" fmla="*/ 17 w 83"/>
                <a:gd name="T53" fmla="*/ 46 h 85"/>
                <a:gd name="T54" fmla="*/ 17 w 83"/>
                <a:gd name="T55" fmla="*/ 55 h 85"/>
                <a:gd name="T56" fmla="*/ 11 w 83"/>
                <a:gd name="T57" fmla="*/ 50 h 85"/>
                <a:gd name="T58" fmla="*/ 11 w 83"/>
                <a:gd name="T59" fmla="*/ 42 h 85"/>
                <a:gd name="T60" fmla="*/ 30 w 83"/>
                <a:gd name="T61" fmla="*/ 17 h 85"/>
                <a:gd name="T62" fmla="*/ 10 w 83"/>
                <a:gd name="T63" fmla="*/ 19 h 85"/>
                <a:gd name="T64" fmla="*/ 12 w 83"/>
                <a:gd name="T65" fmla="*/ 23 h 85"/>
                <a:gd name="T66" fmla="*/ 31 w 83"/>
                <a:gd name="T67" fmla="*/ 21 h 85"/>
                <a:gd name="T68" fmla="*/ 30 w 83"/>
                <a:gd name="T69" fmla="*/ 17 h 85"/>
                <a:gd name="T70" fmla="*/ 66 w 83"/>
                <a:gd name="T71" fmla="*/ 11 h 85"/>
                <a:gd name="T72" fmla="*/ 79 w 83"/>
                <a:gd name="T73" fmla="*/ 16 h 85"/>
                <a:gd name="T74" fmla="*/ 75 w 83"/>
                <a:gd name="T75" fmla="*/ 54 h 85"/>
                <a:gd name="T76" fmla="*/ 66 w 83"/>
                <a:gd name="T77" fmla="*/ 73 h 85"/>
                <a:gd name="T78" fmla="*/ 71 w 83"/>
                <a:gd name="T79" fmla="*/ 63 h 85"/>
                <a:gd name="T80" fmla="*/ 77 w 83"/>
                <a:gd name="T81" fmla="*/ 61 h 85"/>
                <a:gd name="T82" fmla="*/ 81 w 83"/>
                <a:gd name="T83" fmla="*/ 84 h 85"/>
                <a:gd name="T84" fmla="*/ 75 w 83"/>
                <a:gd name="T85" fmla="*/ 77 h 85"/>
                <a:gd name="T86" fmla="*/ 44 w 83"/>
                <a:gd name="T87" fmla="*/ 78 h 85"/>
                <a:gd name="T88" fmla="*/ 59 w 83"/>
                <a:gd name="T89" fmla="*/ 73 h 85"/>
                <a:gd name="T90" fmla="*/ 52 w 83"/>
                <a:gd name="T91" fmla="*/ 54 h 85"/>
                <a:gd name="T92" fmla="*/ 46 w 83"/>
                <a:gd name="T93" fmla="*/ 16 h 85"/>
                <a:gd name="T94" fmla="*/ 59 w 83"/>
                <a:gd name="T95" fmla="*/ 11 h 85"/>
                <a:gd name="T96" fmla="*/ 62 w 83"/>
                <a:gd name="T97" fmla="*/ 0 h 85"/>
                <a:gd name="T98" fmla="*/ 55 w 83"/>
                <a:gd name="T99" fmla="*/ 17 h 85"/>
                <a:gd name="T100" fmla="*/ 52 w 83"/>
                <a:gd name="T101" fmla="*/ 46 h 85"/>
                <a:gd name="T102" fmla="*/ 59 w 83"/>
                <a:gd name="T103" fmla="*/ 47 h 85"/>
                <a:gd name="T104" fmla="*/ 55 w 83"/>
                <a:gd name="T105" fmla="*/ 17 h 85"/>
                <a:gd name="T106" fmla="*/ 66 w 83"/>
                <a:gd name="T107" fmla="*/ 17 h 85"/>
                <a:gd name="T108" fmla="*/ 71 w 83"/>
                <a:gd name="T109" fmla="*/ 47 h 85"/>
                <a:gd name="T110" fmla="*/ 73 w 83"/>
                <a:gd name="T111" fmla="*/ 2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3" h="85">
                  <a:moveTo>
                    <a:pt x="4" y="1"/>
                  </a:moveTo>
                  <a:cubicBezTo>
                    <a:pt x="39" y="1"/>
                    <a:pt x="39" y="1"/>
                    <a:pt x="39" y="1"/>
                  </a:cubicBezTo>
                  <a:cubicBezTo>
                    <a:pt x="41" y="1"/>
                    <a:pt x="42" y="2"/>
                    <a:pt x="42" y="4"/>
                  </a:cubicBezTo>
                  <a:cubicBezTo>
                    <a:pt x="42" y="6"/>
                    <a:pt x="41" y="7"/>
                    <a:pt x="39" y="7"/>
                  </a:cubicBezTo>
                  <a:cubicBezTo>
                    <a:pt x="4" y="7"/>
                    <a:pt x="4" y="7"/>
                    <a:pt x="4" y="7"/>
                  </a:cubicBezTo>
                  <a:cubicBezTo>
                    <a:pt x="1" y="7"/>
                    <a:pt x="0" y="6"/>
                    <a:pt x="0" y="4"/>
                  </a:cubicBezTo>
                  <a:cubicBezTo>
                    <a:pt x="0" y="2"/>
                    <a:pt x="1" y="1"/>
                    <a:pt x="4" y="1"/>
                  </a:cubicBezTo>
                  <a:close/>
                  <a:moveTo>
                    <a:pt x="6" y="35"/>
                  </a:moveTo>
                  <a:cubicBezTo>
                    <a:pt x="35" y="35"/>
                    <a:pt x="35" y="35"/>
                    <a:pt x="35" y="35"/>
                  </a:cubicBezTo>
                  <a:cubicBezTo>
                    <a:pt x="40" y="35"/>
                    <a:pt x="43" y="37"/>
                    <a:pt x="42" y="41"/>
                  </a:cubicBezTo>
                  <a:cubicBezTo>
                    <a:pt x="42" y="74"/>
                    <a:pt x="42" y="74"/>
                    <a:pt x="42" y="74"/>
                  </a:cubicBezTo>
                  <a:cubicBezTo>
                    <a:pt x="42" y="81"/>
                    <a:pt x="37" y="82"/>
                    <a:pt x="28" y="80"/>
                  </a:cubicBezTo>
                  <a:cubicBezTo>
                    <a:pt x="26" y="79"/>
                    <a:pt x="26" y="78"/>
                    <a:pt x="26" y="76"/>
                  </a:cubicBezTo>
                  <a:cubicBezTo>
                    <a:pt x="27" y="74"/>
                    <a:pt x="28" y="74"/>
                    <a:pt x="30" y="74"/>
                  </a:cubicBezTo>
                  <a:cubicBezTo>
                    <a:pt x="34" y="76"/>
                    <a:pt x="36" y="76"/>
                    <a:pt x="36" y="73"/>
                  </a:cubicBezTo>
                  <a:cubicBezTo>
                    <a:pt x="36" y="42"/>
                    <a:pt x="36" y="42"/>
                    <a:pt x="36" y="42"/>
                  </a:cubicBezTo>
                  <a:cubicBezTo>
                    <a:pt x="36" y="41"/>
                    <a:pt x="36" y="40"/>
                    <a:pt x="35" y="40"/>
                  </a:cubicBezTo>
                  <a:cubicBezTo>
                    <a:pt x="8" y="40"/>
                    <a:pt x="8" y="40"/>
                    <a:pt x="8" y="40"/>
                  </a:cubicBezTo>
                  <a:cubicBezTo>
                    <a:pt x="6" y="40"/>
                    <a:pt x="5" y="41"/>
                    <a:pt x="6" y="43"/>
                  </a:cubicBezTo>
                  <a:cubicBezTo>
                    <a:pt x="6" y="79"/>
                    <a:pt x="6" y="79"/>
                    <a:pt x="6" y="79"/>
                  </a:cubicBezTo>
                  <a:cubicBezTo>
                    <a:pt x="5" y="81"/>
                    <a:pt x="4" y="82"/>
                    <a:pt x="3" y="82"/>
                  </a:cubicBezTo>
                  <a:cubicBezTo>
                    <a:pt x="1" y="82"/>
                    <a:pt x="0" y="81"/>
                    <a:pt x="0" y="79"/>
                  </a:cubicBezTo>
                  <a:cubicBezTo>
                    <a:pt x="0" y="40"/>
                    <a:pt x="0" y="40"/>
                    <a:pt x="0" y="40"/>
                  </a:cubicBezTo>
                  <a:cubicBezTo>
                    <a:pt x="0" y="37"/>
                    <a:pt x="2" y="35"/>
                    <a:pt x="6" y="35"/>
                  </a:cubicBezTo>
                  <a:close/>
                  <a:moveTo>
                    <a:pt x="9" y="11"/>
                  </a:moveTo>
                  <a:cubicBezTo>
                    <a:pt x="32" y="11"/>
                    <a:pt x="32" y="11"/>
                    <a:pt x="32" y="11"/>
                  </a:cubicBezTo>
                  <a:cubicBezTo>
                    <a:pt x="36" y="11"/>
                    <a:pt x="38" y="13"/>
                    <a:pt x="37" y="17"/>
                  </a:cubicBezTo>
                  <a:cubicBezTo>
                    <a:pt x="37" y="23"/>
                    <a:pt x="37" y="23"/>
                    <a:pt x="37" y="23"/>
                  </a:cubicBezTo>
                  <a:cubicBezTo>
                    <a:pt x="38" y="28"/>
                    <a:pt x="36" y="30"/>
                    <a:pt x="32" y="29"/>
                  </a:cubicBezTo>
                  <a:cubicBezTo>
                    <a:pt x="9" y="29"/>
                    <a:pt x="9" y="29"/>
                    <a:pt x="9" y="29"/>
                  </a:cubicBezTo>
                  <a:cubicBezTo>
                    <a:pt x="5" y="29"/>
                    <a:pt x="4" y="27"/>
                    <a:pt x="4" y="23"/>
                  </a:cubicBezTo>
                  <a:cubicBezTo>
                    <a:pt x="4" y="17"/>
                    <a:pt x="4" y="17"/>
                    <a:pt x="4" y="17"/>
                  </a:cubicBezTo>
                  <a:cubicBezTo>
                    <a:pt x="3" y="13"/>
                    <a:pt x="5" y="11"/>
                    <a:pt x="9" y="11"/>
                  </a:cubicBezTo>
                  <a:close/>
                  <a:moveTo>
                    <a:pt x="10" y="56"/>
                  </a:moveTo>
                  <a:cubicBezTo>
                    <a:pt x="22" y="56"/>
                    <a:pt x="22" y="56"/>
                    <a:pt x="22" y="56"/>
                  </a:cubicBezTo>
                  <a:cubicBezTo>
                    <a:pt x="22" y="55"/>
                    <a:pt x="22" y="54"/>
                    <a:pt x="23" y="53"/>
                  </a:cubicBezTo>
                  <a:cubicBezTo>
                    <a:pt x="24" y="50"/>
                    <a:pt x="26" y="46"/>
                    <a:pt x="27" y="43"/>
                  </a:cubicBezTo>
                  <a:cubicBezTo>
                    <a:pt x="28" y="41"/>
                    <a:pt x="29" y="41"/>
                    <a:pt x="31" y="41"/>
                  </a:cubicBezTo>
                  <a:cubicBezTo>
                    <a:pt x="33" y="42"/>
                    <a:pt x="33" y="44"/>
                    <a:pt x="33" y="46"/>
                  </a:cubicBezTo>
                  <a:cubicBezTo>
                    <a:pt x="32" y="47"/>
                    <a:pt x="32" y="47"/>
                    <a:pt x="31" y="48"/>
                  </a:cubicBezTo>
                  <a:cubicBezTo>
                    <a:pt x="30" y="52"/>
                    <a:pt x="29" y="54"/>
                    <a:pt x="28" y="56"/>
                  </a:cubicBezTo>
                  <a:cubicBezTo>
                    <a:pt x="32" y="56"/>
                    <a:pt x="32" y="56"/>
                    <a:pt x="32" y="56"/>
                  </a:cubicBezTo>
                  <a:cubicBezTo>
                    <a:pt x="33" y="56"/>
                    <a:pt x="34" y="57"/>
                    <a:pt x="34" y="59"/>
                  </a:cubicBezTo>
                  <a:cubicBezTo>
                    <a:pt x="34" y="61"/>
                    <a:pt x="33" y="61"/>
                    <a:pt x="32" y="61"/>
                  </a:cubicBezTo>
                  <a:cubicBezTo>
                    <a:pt x="24" y="61"/>
                    <a:pt x="24" y="61"/>
                    <a:pt x="24" y="61"/>
                  </a:cubicBezTo>
                  <a:cubicBezTo>
                    <a:pt x="24" y="76"/>
                    <a:pt x="24" y="76"/>
                    <a:pt x="24" y="76"/>
                  </a:cubicBezTo>
                  <a:cubicBezTo>
                    <a:pt x="23" y="77"/>
                    <a:pt x="22" y="78"/>
                    <a:pt x="20" y="78"/>
                  </a:cubicBezTo>
                  <a:cubicBezTo>
                    <a:pt x="19" y="78"/>
                    <a:pt x="18" y="77"/>
                    <a:pt x="18" y="76"/>
                  </a:cubicBezTo>
                  <a:cubicBezTo>
                    <a:pt x="18" y="61"/>
                    <a:pt x="18" y="61"/>
                    <a:pt x="18" y="61"/>
                  </a:cubicBezTo>
                  <a:cubicBezTo>
                    <a:pt x="10" y="61"/>
                    <a:pt x="10" y="61"/>
                    <a:pt x="10" y="61"/>
                  </a:cubicBezTo>
                  <a:cubicBezTo>
                    <a:pt x="8" y="61"/>
                    <a:pt x="7" y="61"/>
                    <a:pt x="7" y="59"/>
                  </a:cubicBezTo>
                  <a:cubicBezTo>
                    <a:pt x="7" y="57"/>
                    <a:pt x="8" y="56"/>
                    <a:pt x="10" y="56"/>
                  </a:cubicBezTo>
                  <a:close/>
                  <a:moveTo>
                    <a:pt x="15" y="43"/>
                  </a:moveTo>
                  <a:cubicBezTo>
                    <a:pt x="15" y="44"/>
                    <a:pt x="16" y="45"/>
                    <a:pt x="17" y="46"/>
                  </a:cubicBezTo>
                  <a:cubicBezTo>
                    <a:pt x="17" y="48"/>
                    <a:pt x="18" y="49"/>
                    <a:pt x="19" y="51"/>
                  </a:cubicBezTo>
                  <a:cubicBezTo>
                    <a:pt x="19" y="53"/>
                    <a:pt x="19" y="54"/>
                    <a:pt x="17" y="55"/>
                  </a:cubicBezTo>
                  <a:cubicBezTo>
                    <a:pt x="15" y="56"/>
                    <a:pt x="13" y="55"/>
                    <a:pt x="13" y="53"/>
                  </a:cubicBezTo>
                  <a:cubicBezTo>
                    <a:pt x="12" y="52"/>
                    <a:pt x="12" y="51"/>
                    <a:pt x="11" y="50"/>
                  </a:cubicBezTo>
                  <a:cubicBezTo>
                    <a:pt x="11" y="48"/>
                    <a:pt x="10" y="47"/>
                    <a:pt x="10" y="46"/>
                  </a:cubicBezTo>
                  <a:cubicBezTo>
                    <a:pt x="9" y="44"/>
                    <a:pt x="9" y="43"/>
                    <a:pt x="11" y="42"/>
                  </a:cubicBezTo>
                  <a:cubicBezTo>
                    <a:pt x="13" y="41"/>
                    <a:pt x="14" y="41"/>
                    <a:pt x="15" y="43"/>
                  </a:cubicBezTo>
                  <a:close/>
                  <a:moveTo>
                    <a:pt x="30" y="17"/>
                  </a:moveTo>
                  <a:cubicBezTo>
                    <a:pt x="11" y="17"/>
                    <a:pt x="11" y="17"/>
                    <a:pt x="11" y="17"/>
                  </a:cubicBezTo>
                  <a:cubicBezTo>
                    <a:pt x="10" y="17"/>
                    <a:pt x="9" y="18"/>
                    <a:pt x="10" y="19"/>
                  </a:cubicBezTo>
                  <a:cubicBezTo>
                    <a:pt x="10" y="21"/>
                    <a:pt x="10" y="21"/>
                    <a:pt x="10" y="21"/>
                  </a:cubicBezTo>
                  <a:cubicBezTo>
                    <a:pt x="10" y="23"/>
                    <a:pt x="10" y="23"/>
                    <a:pt x="12" y="23"/>
                  </a:cubicBezTo>
                  <a:cubicBezTo>
                    <a:pt x="30" y="23"/>
                    <a:pt x="30" y="23"/>
                    <a:pt x="30" y="23"/>
                  </a:cubicBezTo>
                  <a:cubicBezTo>
                    <a:pt x="31" y="23"/>
                    <a:pt x="31" y="23"/>
                    <a:pt x="31" y="21"/>
                  </a:cubicBezTo>
                  <a:cubicBezTo>
                    <a:pt x="31" y="19"/>
                    <a:pt x="31" y="19"/>
                    <a:pt x="31" y="19"/>
                  </a:cubicBezTo>
                  <a:cubicBezTo>
                    <a:pt x="31" y="18"/>
                    <a:pt x="31" y="17"/>
                    <a:pt x="30" y="17"/>
                  </a:cubicBezTo>
                  <a:close/>
                  <a:moveTo>
                    <a:pt x="66" y="3"/>
                  </a:moveTo>
                  <a:cubicBezTo>
                    <a:pt x="66" y="11"/>
                    <a:pt x="66" y="11"/>
                    <a:pt x="66" y="11"/>
                  </a:cubicBezTo>
                  <a:cubicBezTo>
                    <a:pt x="74" y="11"/>
                    <a:pt x="74" y="11"/>
                    <a:pt x="74" y="11"/>
                  </a:cubicBezTo>
                  <a:cubicBezTo>
                    <a:pt x="78" y="11"/>
                    <a:pt x="79" y="12"/>
                    <a:pt x="79" y="16"/>
                  </a:cubicBezTo>
                  <a:cubicBezTo>
                    <a:pt x="79" y="48"/>
                    <a:pt x="79" y="48"/>
                    <a:pt x="79" y="48"/>
                  </a:cubicBezTo>
                  <a:cubicBezTo>
                    <a:pt x="79" y="52"/>
                    <a:pt x="78" y="54"/>
                    <a:pt x="75" y="54"/>
                  </a:cubicBezTo>
                  <a:cubicBezTo>
                    <a:pt x="66" y="54"/>
                    <a:pt x="66" y="54"/>
                    <a:pt x="66" y="54"/>
                  </a:cubicBezTo>
                  <a:cubicBezTo>
                    <a:pt x="66" y="73"/>
                    <a:pt x="66" y="73"/>
                    <a:pt x="66" y="73"/>
                  </a:cubicBezTo>
                  <a:cubicBezTo>
                    <a:pt x="74" y="72"/>
                    <a:pt x="74" y="72"/>
                    <a:pt x="74" y="72"/>
                  </a:cubicBezTo>
                  <a:cubicBezTo>
                    <a:pt x="72" y="67"/>
                    <a:pt x="71" y="64"/>
                    <a:pt x="71" y="63"/>
                  </a:cubicBezTo>
                  <a:cubicBezTo>
                    <a:pt x="70" y="61"/>
                    <a:pt x="71" y="60"/>
                    <a:pt x="73" y="59"/>
                  </a:cubicBezTo>
                  <a:cubicBezTo>
                    <a:pt x="75" y="59"/>
                    <a:pt x="76" y="59"/>
                    <a:pt x="77" y="61"/>
                  </a:cubicBezTo>
                  <a:cubicBezTo>
                    <a:pt x="80" y="69"/>
                    <a:pt x="82" y="76"/>
                    <a:pt x="83" y="81"/>
                  </a:cubicBezTo>
                  <a:cubicBezTo>
                    <a:pt x="83" y="83"/>
                    <a:pt x="83" y="84"/>
                    <a:pt x="81" y="84"/>
                  </a:cubicBezTo>
                  <a:cubicBezTo>
                    <a:pt x="79" y="85"/>
                    <a:pt x="77" y="84"/>
                    <a:pt x="77" y="82"/>
                  </a:cubicBezTo>
                  <a:cubicBezTo>
                    <a:pt x="77" y="82"/>
                    <a:pt x="76" y="80"/>
                    <a:pt x="75" y="77"/>
                  </a:cubicBezTo>
                  <a:cubicBezTo>
                    <a:pt x="58" y="79"/>
                    <a:pt x="48" y="81"/>
                    <a:pt x="48" y="81"/>
                  </a:cubicBezTo>
                  <a:cubicBezTo>
                    <a:pt x="46" y="81"/>
                    <a:pt x="44" y="80"/>
                    <a:pt x="44" y="78"/>
                  </a:cubicBezTo>
                  <a:cubicBezTo>
                    <a:pt x="44" y="76"/>
                    <a:pt x="45" y="75"/>
                    <a:pt x="47" y="74"/>
                  </a:cubicBezTo>
                  <a:cubicBezTo>
                    <a:pt x="48" y="74"/>
                    <a:pt x="52" y="74"/>
                    <a:pt x="59" y="73"/>
                  </a:cubicBezTo>
                  <a:cubicBezTo>
                    <a:pt x="59" y="54"/>
                    <a:pt x="59" y="54"/>
                    <a:pt x="59" y="54"/>
                  </a:cubicBezTo>
                  <a:cubicBezTo>
                    <a:pt x="52" y="54"/>
                    <a:pt x="52" y="54"/>
                    <a:pt x="52" y="54"/>
                  </a:cubicBezTo>
                  <a:cubicBezTo>
                    <a:pt x="48" y="54"/>
                    <a:pt x="45" y="52"/>
                    <a:pt x="46" y="49"/>
                  </a:cubicBezTo>
                  <a:cubicBezTo>
                    <a:pt x="46" y="16"/>
                    <a:pt x="46" y="16"/>
                    <a:pt x="46" y="16"/>
                  </a:cubicBezTo>
                  <a:cubicBezTo>
                    <a:pt x="46" y="12"/>
                    <a:pt x="48" y="11"/>
                    <a:pt x="52" y="11"/>
                  </a:cubicBezTo>
                  <a:cubicBezTo>
                    <a:pt x="59" y="11"/>
                    <a:pt x="59" y="11"/>
                    <a:pt x="59" y="11"/>
                  </a:cubicBezTo>
                  <a:cubicBezTo>
                    <a:pt x="59" y="3"/>
                    <a:pt x="59" y="3"/>
                    <a:pt x="59" y="3"/>
                  </a:cubicBezTo>
                  <a:cubicBezTo>
                    <a:pt x="59" y="1"/>
                    <a:pt x="60" y="0"/>
                    <a:pt x="62" y="0"/>
                  </a:cubicBezTo>
                  <a:cubicBezTo>
                    <a:pt x="65" y="0"/>
                    <a:pt x="66" y="1"/>
                    <a:pt x="66" y="3"/>
                  </a:cubicBezTo>
                  <a:close/>
                  <a:moveTo>
                    <a:pt x="55" y="17"/>
                  </a:moveTo>
                  <a:cubicBezTo>
                    <a:pt x="53" y="17"/>
                    <a:pt x="52" y="18"/>
                    <a:pt x="52" y="20"/>
                  </a:cubicBezTo>
                  <a:cubicBezTo>
                    <a:pt x="52" y="46"/>
                    <a:pt x="52" y="46"/>
                    <a:pt x="52" y="46"/>
                  </a:cubicBezTo>
                  <a:cubicBezTo>
                    <a:pt x="52" y="47"/>
                    <a:pt x="53" y="48"/>
                    <a:pt x="54" y="47"/>
                  </a:cubicBezTo>
                  <a:cubicBezTo>
                    <a:pt x="59" y="47"/>
                    <a:pt x="59" y="47"/>
                    <a:pt x="59" y="47"/>
                  </a:cubicBezTo>
                  <a:cubicBezTo>
                    <a:pt x="59" y="17"/>
                    <a:pt x="59" y="17"/>
                    <a:pt x="59" y="17"/>
                  </a:cubicBezTo>
                  <a:lnTo>
                    <a:pt x="55" y="17"/>
                  </a:lnTo>
                  <a:close/>
                  <a:moveTo>
                    <a:pt x="71" y="17"/>
                  </a:moveTo>
                  <a:cubicBezTo>
                    <a:pt x="66" y="17"/>
                    <a:pt x="66" y="17"/>
                    <a:pt x="66" y="17"/>
                  </a:cubicBezTo>
                  <a:cubicBezTo>
                    <a:pt x="66" y="47"/>
                    <a:pt x="66" y="47"/>
                    <a:pt x="66" y="47"/>
                  </a:cubicBezTo>
                  <a:cubicBezTo>
                    <a:pt x="71" y="47"/>
                    <a:pt x="71" y="47"/>
                    <a:pt x="71" y="47"/>
                  </a:cubicBezTo>
                  <a:cubicBezTo>
                    <a:pt x="72" y="48"/>
                    <a:pt x="73" y="47"/>
                    <a:pt x="73" y="46"/>
                  </a:cubicBezTo>
                  <a:cubicBezTo>
                    <a:pt x="73" y="20"/>
                    <a:pt x="73" y="20"/>
                    <a:pt x="73" y="20"/>
                  </a:cubicBezTo>
                  <a:cubicBezTo>
                    <a:pt x="73" y="18"/>
                    <a:pt x="72" y="17"/>
                    <a:pt x="71" y="17"/>
                  </a:cubicBezTo>
                  <a:close/>
                </a:path>
              </a:pathLst>
            </a:custGeom>
            <a:solidFill>
              <a:srgbClr val="EA550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dirty="0">
                <a:latin typeface="微软雅黑" panose="020B0503020204020204" pitchFamily="34" charset="-122"/>
                <a:ea typeface="微软雅黑" panose="020B0503020204020204" pitchFamily="34" charset="-122"/>
              </a:endParaRPr>
            </a:p>
          </p:txBody>
        </p:sp>
        <p:sp>
          <p:nvSpPr>
            <p:cNvPr id="20" name="Freeform 10"/>
            <p:cNvSpPr>
              <a:spLocks noEditPoints="1"/>
            </p:cNvSpPr>
            <p:nvPr/>
          </p:nvSpPr>
          <p:spPr bwMode="auto">
            <a:xfrm>
              <a:off x="1476375" y="896938"/>
              <a:ext cx="144463" cy="136525"/>
            </a:xfrm>
            <a:custGeom>
              <a:avLst/>
              <a:gdLst>
                <a:gd name="T0" fmla="*/ 34 w 88"/>
                <a:gd name="T1" fmla="*/ 0 h 83"/>
                <a:gd name="T2" fmla="*/ 38 w 88"/>
                <a:gd name="T3" fmla="*/ 2 h 83"/>
                <a:gd name="T4" fmla="*/ 36 w 88"/>
                <a:gd name="T5" fmla="*/ 6 h 83"/>
                <a:gd name="T6" fmla="*/ 25 w 88"/>
                <a:gd name="T7" fmla="*/ 8 h 83"/>
                <a:gd name="T8" fmla="*/ 25 w 88"/>
                <a:gd name="T9" fmla="*/ 23 h 83"/>
                <a:gd name="T10" fmla="*/ 37 w 88"/>
                <a:gd name="T11" fmla="*/ 23 h 83"/>
                <a:gd name="T12" fmla="*/ 37 w 88"/>
                <a:gd name="T13" fmla="*/ 30 h 83"/>
                <a:gd name="T14" fmla="*/ 25 w 88"/>
                <a:gd name="T15" fmla="*/ 30 h 83"/>
                <a:gd name="T16" fmla="*/ 25 w 88"/>
                <a:gd name="T17" fmla="*/ 32 h 83"/>
                <a:gd name="T18" fmla="*/ 39 w 88"/>
                <a:gd name="T19" fmla="*/ 49 h 83"/>
                <a:gd name="T20" fmla="*/ 38 w 88"/>
                <a:gd name="T21" fmla="*/ 54 h 83"/>
                <a:gd name="T22" fmla="*/ 34 w 88"/>
                <a:gd name="T23" fmla="*/ 53 h 83"/>
                <a:gd name="T24" fmla="*/ 25 w 88"/>
                <a:gd name="T25" fmla="*/ 41 h 83"/>
                <a:gd name="T26" fmla="*/ 25 w 88"/>
                <a:gd name="T27" fmla="*/ 79 h 83"/>
                <a:gd name="T28" fmla="*/ 22 w 88"/>
                <a:gd name="T29" fmla="*/ 82 h 83"/>
                <a:gd name="T30" fmla="*/ 19 w 88"/>
                <a:gd name="T31" fmla="*/ 79 h 83"/>
                <a:gd name="T32" fmla="*/ 19 w 88"/>
                <a:gd name="T33" fmla="*/ 42 h 83"/>
                <a:gd name="T34" fmla="*/ 7 w 88"/>
                <a:gd name="T35" fmla="*/ 59 h 83"/>
                <a:gd name="T36" fmla="*/ 1 w 88"/>
                <a:gd name="T37" fmla="*/ 59 h 83"/>
                <a:gd name="T38" fmla="*/ 2 w 88"/>
                <a:gd name="T39" fmla="*/ 54 h 83"/>
                <a:gd name="T40" fmla="*/ 18 w 88"/>
                <a:gd name="T41" fmla="*/ 30 h 83"/>
                <a:gd name="T42" fmla="*/ 5 w 88"/>
                <a:gd name="T43" fmla="*/ 30 h 83"/>
                <a:gd name="T44" fmla="*/ 5 w 88"/>
                <a:gd name="T45" fmla="*/ 23 h 83"/>
                <a:gd name="T46" fmla="*/ 19 w 88"/>
                <a:gd name="T47" fmla="*/ 23 h 83"/>
                <a:gd name="T48" fmla="*/ 19 w 88"/>
                <a:gd name="T49" fmla="*/ 9 h 83"/>
                <a:gd name="T50" fmla="*/ 7 w 88"/>
                <a:gd name="T51" fmla="*/ 10 h 83"/>
                <a:gd name="T52" fmla="*/ 6 w 88"/>
                <a:gd name="T53" fmla="*/ 3 h 83"/>
                <a:gd name="T54" fmla="*/ 34 w 88"/>
                <a:gd name="T55" fmla="*/ 0 h 83"/>
                <a:gd name="T56" fmla="*/ 76 w 88"/>
                <a:gd name="T57" fmla="*/ 4 h 83"/>
                <a:gd name="T58" fmla="*/ 76 w 88"/>
                <a:gd name="T59" fmla="*/ 52 h 83"/>
                <a:gd name="T60" fmla="*/ 81 w 88"/>
                <a:gd name="T61" fmla="*/ 51 h 83"/>
                <a:gd name="T62" fmla="*/ 84 w 88"/>
                <a:gd name="T63" fmla="*/ 50 h 83"/>
                <a:gd name="T64" fmla="*/ 85 w 88"/>
                <a:gd name="T65" fmla="*/ 58 h 83"/>
                <a:gd name="T66" fmla="*/ 76 w 88"/>
                <a:gd name="T67" fmla="*/ 59 h 83"/>
                <a:gd name="T68" fmla="*/ 76 w 88"/>
                <a:gd name="T69" fmla="*/ 80 h 83"/>
                <a:gd name="T70" fmla="*/ 72 w 88"/>
                <a:gd name="T71" fmla="*/ 83 h 83"/>
                <a:gd name="T72" fmla="*/ 69 w 88"/>
                <a:gd name="T73" fmla="*/ 80 h 83"/>
                <a:gd name="T74" fmla="*/ 69 w 88"/>
                <a:gd name="T75" fmla="*/ 60 h 83"/>
                <a:gd name="T76" fmla="*/ 37 w 88"/>
                <a:gd name="T77" fmla="*/ 65 h 83"/>
                <a:gd name="T78" fmla="*/ 33 w 88"/>
                <a:gd name="T79" fmla="*/ 62 h 83"/>
                <a:gd name="T80" fmla="*/ 36 w 88"/>
                <a:gd name="T81" fmla="*/ 58 h 83"/>
                <a:gd name="T82" fmla="*/ 42 w 88"/>
                <a:gd name="T83" fmla="*/ 57 h 83"/>
                <a:gd name="T84" fmla="*/ 69 w 88"/>
                <a:gd name="T85" fmla="*/ 53 h 83"/>
                <a:gd name="T86" fmla="*/ 69 w 88"/>
                <a:gd name="T87" fmla="*/ 5 h 83"/>
                <a:gd name="T88" fmla="*/ 72 w 88"/>
                <a:gd name="T89" fmla="*/ 2 h 83"/>
                <a:gd name="T90" fmla="*/ 76 w 88"/>
                <a:gd name="T91" fmla="*/ 4 h 83"/>
                <a:gd name="T92" fmla="*/ 47 w 88"/>
                <a:gd name="T93" fmla="*/ 26 h 83"/>
                <a:gd name="T94" fmla="*/ 60 w 88"/>
                <a:gd name="T95" fmla="*/ 40 h 83"/>
                <a:gd name="T96" fmla="*/ 59 w 88"/>
                <a:gd name="T97" fmla="*/ 45 h 83"/>
                <a:gd name="T98" fmla="*/ 55 w 88"/>
                <a:gd name="T99" fmla="*/ 45 h 83"/>
                <a:gd name="T100" fmla="*/ 42 w 88"/>
                <a:gd name="T101" fmla="*/ 31 h 83"/>
                <a:gd name="T102" fmla="*/ 42 w 88"/>
                <a:gd name="T103" fmla="*/ 26 h 83"/>
                <a:gd name="T104" fmla="*/ 47 w 88"/>
                <a:gd name="T105" fmla="*/ 26 h 83"/>
                <a:gd name="T106" fmla="*/ 51 w 88"/>
                <a:gd name="T107" fmla="*/ 5 h 83"/>
                <a:gd name="T108" fmla="*/ 65 w 88"/>
                <a:gd name="T109" fmla="*/ 21 h 83"/>
                <a:gd name="T110" fmla="*/ 64 w 88"/>
                <a:gd name="T111" fmla="*/ 26 h 83"/>
                <a:gd name="T112" fmla="*/ 60 w 88"/>
                <a:gd name="T113" fmla="*/ 25 h 83"/>
                <a:gd name="T114" fmla="*/ 46 w 88"/>
                <a:gd name="T115" fmla="*/ 10 h 83"/>
                <a:gd name="T116" fmla="*/ 46 w 88"/>
                <a:gd name="T117" fmla="*/ 5 h 83"/>
                <a:gd name="T118" fmla="*/ 51 w 88"/>
                <a:gd name="T119" fmla="*/ 5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8" h="83">
                  <a:moveTo>
                    <a:pt x="34" y="0"/>
                  </a:moveTo>
                  <a:cubicBezTo>
                    <a:pt x="36" y="0"/>
                    <a:pt x="38" y="0"/>
                    <a:pt x="38" y="2"/>
                  </a:cubicBezTo>
                  <a:cubicBezTo>
                    <a:pt x="39" y="4"/>
                    <a:pt x="38" y="6"/>
                    <a:pt x="36" y="6"/>
                  </a:cubicBezTo>
                  <a:cubicBezTo>
                    <a:pt x="33" y="7"/>
                    <a:pt x="29" y="8"/>
                    <a:pt x="25" y="8"/>
                  </a:cubicBezTo>
                  <a:cubicBezTo>
                    <a:pt x="25" y="23"/>
                    <a:pt x="25" y="23"/>
                    <a:pt x="25" y="23"/>
                  </a:cubicBezTo>
                  <a:cubicBezTo>
                    <a:pt x="37" y="23"/>
                    <a:pt x="37" y="23"/>
                    <a:pt x="37" y="23"/>
                  </a:cubicBezTo>
                  <a:cubicBezTo>
                    <a:pt x="41" y="26"/>
                    <a:pt x="41" y="28"/>
                    <a:pt x="37" y="30"/>
                  </a:cubicBezTo>
                  <a:cubicBezTo>
                    <a:pt x="25" y="30"/>
                    <a:pt x="25" y="30"/>
                    <a:pt x="25" y="30"/>
                  </a:cubicBezTo>
                  <a:cubicBezTo>
                    <a:pt x="25" y="32"/>
                    <a:pt x="25" y="32"/>
                    <a:pt x="25" y="32"/>
                  </a:cubicBezTo>
                  <a:cubicBezTo>
                    <a:pt x="31" y="38"/>
                    <a:pt x="36" y="43"/>
                    <a:pt x="39" y="49"/>
                  </a:cubicBezTo>
                  <a:cubicBezTo>
                    <a:pt x="40" y="51"/>
                    <a:pt x="40" y="53"/>
                    <a:pt x="38" y="54"/>
                  </a:cubicBezTo>
                  <a:cubicBezTo>
                    <a:pt x="36" y="56"/>
                    <a:pt x="35" y="55"/>
                    <a:pt x="34" y="53"/>
                  </a:cubicBezTo>
                  <a:cubicBezTo>
                    <a:pt x="32" y="50"/>
                    <a:pt x="29" y="46"/>
                    <a:pt x="25" y="41"/>
                  </a:cubicBezTo>
                  <a:cubicBezTo>
                    <a:pt x="25" y="79"/>
                    <a:pt x="25" y="79"/>
                    <a:pt x="25" y="79"/>
                  </a:cubicBezTo>
                  <a:cubicBezTo>
                    <a:pt x="25" y="80"/>
                    <a:pt x="24" y="81"/>
                    <a:pt x="22" y="82"/>
                  </a:cubicBezTo>
                  <a:cubicBezTo>
                    <a:pt x="20" y="81"/>
                    <a:pt x="19" y="80"/>
                    <a:pt x="19" y="79"/>
                  </a:cubicBezTo>
                  <a:cubicBezTo>
                    <a:pt x="19" y="42"/>
                    <a:pt x="19" y="42"/>
                    <a:pt x="19" y="42"/>
                  </a:cubicBezTo>
                  <a:cubicBezTo>
                    <a:pt x="15" y="49"/>
                    <a:pt x="11" y="54"/>
                    <a:pt x="7" y="59"/>
                  </a:cubicBezTo>
                  <a:cubicBezTo>
                    <a:pt x="5" y="61"/>
                    <a:pt x="3" y="61"/>
                    <a:pt x="1" y="59"/>
                  </a:cubicBezTo>
                  <a:cubicBezTo>
                    <a:pt x="0" y="58"/>
                    <a:pt x="0" y="56"/>
                    <a:pt x="2" y="54"/>
                  </a:cubicBezTo>
                  <a:cubicBezTo>
                    <a:pt x="9" y="48"/>
                    <a:pt x="14" y="40"/>
                    <a:pt x="18" y="30"/>
                  </a:cubicBezTo>
                  <a:cubicBezTo>
                    <a:pt x="5" y="30"/>
                    <a:pt x="5" y="30"/>
                    <a:pt x="5" y="30"/>
                  </a:cubicBezTo>
                  <a:cubicBezTo>
                    <a:pt x="1" y="28"/>
                    <a:pt x="1" y="25"/>
                    <a:pt x="5" y="23"/>
                  </a:cubicBezTo>
                  <a:cubicBezTo>
                    <a:pt x="19" y="23"/>
                    <a:pt x="19" y="23"/>
                    <a:pt x="19" y="23"/>
                  </a:cubicBezTo>
                  <a:cubicBezTo>
                    <a:pt x="19" y="9"/>
                    <a:pt x="19" y="9"/>
                    <a:pt x="19" y="9"/>
                  </a:cubicBezTo>
                  <a:cubicBezTo>
                    <a:pt x="15" y="10"/>
                    <a:pt x="11" y="10"/>
                    <a:pt x="7" y="10"/>
                  </a:cubicBezTo>
                  <a:cubicBezTo>
                    <a:pt x="3" y="9"/>
                    <a:pt x="3" y="6"/>
                    <a:pt x="6" y="3"/>
                  </a:cubicBezTo>
                  <a:cubicBezTo>
                    <a:pt x="15" y="3"/>
                    <a:pt x="25" y="2"/>
                    <a:pt x="34" y="0"/>
                  </a:cubicBezTo>
                  <a:close/>
                  <a:moveTo>
                    <a:pt x="76" y="4"/>
                  </a:moveTo>
                  <a:cubicBezTo>
                    <a:pt x="76" y="52"/>
                    <a:pt x="76" y="52"/>
                    <a:pt x="76" y="52"/>
                  </a:cubicBezTo>
                  <a:cubicBezTo>
                    <a:pt x="77" y="51"/>
                    <a:pt x="79" y="51"/>
                    <a:pt x="81" y="51"/>
                  </a:cubicBezTo>
                  <a:cubicBezTo>
                    <a:pt x="83" y="51"/>
                    <a:pt x="84" y="50"/>
                    <a:pt x="84" y="50"/>
                  </a:cubicBezTo>
                  <a:cubicBezTo>
                    <a:pt x="88" y="53"/>
                    <a:pt x="88" y="55"/>
                    <a:pt x="85" y="58"/>
                  </a:cubicBezTo>
                  <a:cubicBezTo>
                    <a:pt x="80" y="58"/>
                    <a:pt x="77" y="59"/>
                    <a:pt x="76" y="59"/>
                  </a:cubicBezTo>
                  <a:cubicBezTo>
                    <a:pt x="76" y="80"/>
                    <a:pt x="76" y="80"/>
                    <a:pt x="76" y="80"/>
                  </a:cubicBezTo>
                  <a:cubicBezTo>
                    <a:pt x="75" y="82"/>
                    <a:pt x="74" y="83"/>
                    <a:pt x="72" y="83"/>
                  </a:cubicBezTo>
                  <a:cubicBezTo>
                    <a:pt x="70" y="83"/>
                    <a:pt x="69" y="82"/>
                    <a:pt x="69" y="80"/>
                  </a:cubicBezTo>
                  <a:cubicBezTo>
                    <a:pt x="69" y="60"/>
                    <a:pt x="69" y="60"/>
                    <a:pt x="69" y="60"/>
                  </a:cubicBezTo>
                  <a:cubicBezTo>
                    <a:pt x="54" y="63"/>
                    <a:pt x="43" y="64"/>
                    <a:pt x="37" y="65"/>
                  </a:cubicBezTo>
                  <a:cubicBezTo>
                    <a:pt x="35" y="65"/>
                    <a:pt x="34" y="64"/>
                    <a:pt x="33" y="62"/>
                  </a:cubicBezTo>
                  <a:cubicBezTo>
                    <a:pt x="33" y="60"/>
                    <a:pt x="34" y="58"/>
                    <a:pt x="36" y="58"/>
                  </a:cubicBezTo>
                  <a:cubicBezTo>
                    <a:pt x="37" y="58"/>
                    <a:pt x="39" y="57"/>
                    <a:pt x="42" y="57"/>
                  </a:cubicBezTo>
                  <a:cubicBezTo>
                    <a:pt x="53" y="55"/>
                    <a:pt x="62" y="54"/>
                    <a:pt x="69" y="53"/>
                  </a:cubicBezTo>
                  <a:cubicBezTo>
                    <a:pt x="69" y="5"/>
                    <a:pt x="69" y="5"/>
                    <a:pt x="69" y="5"/>
                  </a:cubicBezTo>
                  <a:cubicBezTo>
                    <a:pt x="69" y="3"/>
                    <a:pt x="70" y="2"/>
                    <a:pt x="72" y="2"/>
                  </a:cubicBezTo>
                  <a:cubicBezTo>
                    <a:pt x="74" y="2"/>
                    <a:pt x="75" y="3"/>
                    <a:pt x="76" y="4"/>
                  </a:cubicBezTo>
                  <a:close/>
                  <a:moveTo>
                    <a:pt x="47" y="26"/>
                  </a:moveTo>
                  <a:cubicBezTo>
                    <a:pt x="52" y="30"/>
                    <a:pt x="56" y="34"/>
                    <a:pt x="60" y="40"/>
                  </a:cubicBezTo>
                  <a:cubicBezTo>
                    <a:pt x="61" y="42"/>
                    <a:pt x="61" y="44"/>
                    <a:pt x="59" y="45"/>
                  </a:cubicBezTo>
                  <a:cubicBezTo>
                    <a:pt x="57" y="47"/>
                    <a:pt x="56" y="46"/>
                    <a:pt x="55" y="45"/>
                  </a:cubicBezTo>
                  <a:cubicBezTo>
                    <a:pt x="51" y="39"/>
                    <a:pt x="47" y="35"/>
                    <a:pt x="42" y="31"/>
                  </a:cubicBezTo>
                  <a:cubicBezTo>
                    <a:pt x="41" y="30"/>
                    <a:pt x="40" y="28"/>
                    <a:pt x="42" y="26"/>
                  </a:cubicBezTo>
                  <a:cubicBezTo>
                    <a:pt x="43" y="25"/>
                    <a:pt x="45" y="25"/>
                    <a:pt x="47" y="26"/>
                  </a:cubicBezTo>
                  <a:close/>
                  <a:moveTo>
                    <a:pt x="51" y="5"/>
                  </a:moveTo>
                  <a:cubicBezTo>
                    <a:pt x="56" y="10"/>
                    <a:pt x="61" y="15"/>
                    <a:pt x="65" y="21"/>
                  </a:cubicBezTo>
                  <a:cubicBezTo>
                    <a:pt x="66" y="23"/>
                    <a:pt x="66" y="25"/>
                    <a:pt x="64" y="26"/>
                  </a:cubicBezTo>
                  <a:cubicBezTo>
                    <a:pt x="63" y="27"/>
                    <a:pt x="61" y="27"/>
                    <a:pt x="60" y="25"/>
                  </a:cubicBezTo>
                  <a:cubicBezTo>
                    <a:pt x="56" y="20"/>
                    <a:pt x="51" y="15"/>
                    <a:pt x="46" y="10"/>
                  </a:cubicBezTo>
                  <a:cubicBezTo>
                    <a:pt x="45" y="9"/>
                    <a:pt x="44" y="7"/>
                    <a:pt x="46" y="5"/>
                  </a:cubicBezTo>
                  <a:cubicBezTo>
                    <a:pt x="47" y="4"/>
                    <a:pt x="49" y="4"/>
                    <a:pt x="51" y="5"/>
                  </a:cubicBezTo>
                  <a:close/>
                </a:path>
              </a:pathLst>
            </a:custGeom>
            <a:solidFill>
              <a:srgbClr val="EA550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dirty="0">
                <a:latin typeface="微软雅黑" panose="020B0503020204020204" pitchFamily="34" charset="-122"/>
                <a:ea typeface="微软雅黑" panose="020B0503020204020204" pitchFamily="34" charset="-122"/>
              </a:endParaRPr>
            </a:p>
          </p:txBody>
        </p:sp>
        <p:sp>
          <p:nvSpPr>
            <p:cNvPr id="21" name="Freeform 11"/>
            <p:cNvSpPr>
              <a:spLocks noEditPoints="1"/>
            </p:cNvSpPr>
            <p:nvPr/>
          </p:nvSpPr>
          <p:spPr bwMode="auto">
            <a:xfrm>
              <a:off x="1644650" y="896938"/>
              <a:ext cx="144463" cy="134937"/>
            </a:xfrm>
            <a:custGeom>
              <a:avLst/>
              <a:gdLst>
                <a:gd name="T0" fmla="*/ 20 w 88"/>
                <a:gd name="T1" fmla="*/ 17 h 82"/>
                <a:gd name="T2" fmla="*/ 30 w 88"/>
                <a:gd name="T3" fmla="*/ 20 h 82"/>
                <a:gd name="T4" fmla="*/ 20 w 88"/>
                <a:gd name="T5" fmla="*/ 23 h 82"/>
                <a:gd name="T6" fmla="*/ 26 w 88"/>
                <a:gd name="T7" fmla="*/ 38 h 82"/>
                <a:gd name="T8" fmla="*/ 30 w 88"/>
                <a:gd name="T9" fmla="*/ 43 h 82"/>
                <a:gd name="T10" fmla="*/ 20 w 88"/>
                <a:gd name="T11" fmla="*/ 75 h 82"/>
                <a:gd name="T12" fmla="*/ 3 w 88"/>
                <a:gd name="T13" fmla="*/ 76 h 82"/>
                <a:gd name="T14" fmla="*/ 13 w 88"/>
                <a:gd name="T15" fmla="*/ 72 h 82"/>
                <a:gd name="T16" fmla="*/ 9 w 88"/>
                <a:gd name="T17" fmla="*/ 52 h 82"/>
                <a:gd name="T18" fmla="*/ 0 w 88"/>
                <a:gd name="T19" fmla="*/ 52 h 82"/>
                <a:gd name="T20" fmla="*/ 5 w 88"/>
                <a:gd name="T21" fmla="*/ 47 h 82"/>
                <a:gd name="T22" fmla="*/ 13 w 88"/>
                <a:gd name="T23" fmla="*/ 23 h 82"/>
                <a:gd name="T24" fmla="*/ 2 w 88"/>
                <a:gd name="T25" fmla="*/ 20 h 82"/>
                <a:gd name="T26" fmla="*/ 13 w 88"/>
                <a:gd name="T27" fmla="*/ 17 h 82"/>
                <a:gd name="T28" fmla="*/ 17 w 88"/>
                <a:gd name="T29" fmla="*/ 1 h 82"/>
                <a:gd name="T30" fmla="*/ 58 w 88"/>
                <a:gd name="T31" fmla="*/ 3 h 82"/>
                <a:gd name="T32" fmla="*/ 81 w 88"/>
                <a:gd name="T33" fmla="*/ 8 h 82"/>
                <a:gd name="T34" fmla="*/ 81 w 88"/>
                <a:gd name="T35" fmla="*/ 15 h 82"/>
                <a:gd name="T36" fmla="*/ 58 w 88"/>
                <a:gd name="T37" fmla="*/ 28 h 82"/>
                <a:gd name="T38" fmla="*/ 80 w 88"/>
                <a:gd name="T39" fmla="*/ 38 h 82"/>
                <a:gd name="T40" fmla="*/ 85 w 88"/>
                <a:gd name="T41" fmla="*/ 75 h 82"/>
                <a:gd name="T42" fmla="*/ 82 w 88"/>
                <a:gd name="T43" fmla="*/ 82 h 82"/>
                <a:gd name="T44" fmla="*/ 29 w 88"/>
                <a:gd name="T45" fmla="*/ 81 h 82"/>
                <a:gd name="T46" fmla="*/ 26 w 88"/>
                <a:gd name="T47" fmla="*/ 74 h 82"/>
                <a:gd name="T48" fmla="*/ 34 w 88"/>
                <a:gd name="T49" fmla="*/ 40 h 82"/>
                <a:gd name="T50" fmla="*/ 33 w 88"/>
                <a:gd name="T51" fmla="*/ 35 h 82"/>
                <a:gd name="T52" fmla="*/ 34 w 88"/>
                <a:gd name="T53" fmla="*/ 28 h 82"/>
                <a:gd name="T54" fmla="*/ 51 w 88"/>
                <a:gd name="T55" fmla="*/ 15 h 82"/>
                <a:gd name="T56" fmla="*/ 28 w 88"/>
                <a:gd name="T57" fmla="*/ 12 h 82"/>
                <a:gd name="T58" fmla="*/ 51 w 88"/>
                <a:gd name="T59" fmla="*/ 8 h 82"/>
                <a:gd name="T60" fmla="*/ 55 w 88"/>
                <a:gd name="T61" fmla="*/ 0 h 82"/>
                <a:gd name="T62" fmla="*/ 70 w 88"/>
                <a:gd name="T63" fmla="*/ 35 h 82"/>
                <a:gd name="T64" fmla="*/ 40 w 88"/>
                <a:gd name="T65" fmla="*/ 36 h 82"/>
                <a:gd name="T66" fmla="*/ 72 w 88"/>
                <a:gd name="T67" fmla="*/ 38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8" h="82">
                  <a:moveTo>
                    <a:pt x="20" y="4"/>
                  </a:moveTo>
                  <a:cubicBezTo>
                    <a:pt x="20" y="17"/>
                    <a:pt x="20" y="17"/>
                    <a:pt x="20" y="17"/>
                  </a:cubicBezTo>
                  <a:cubicBezTo>
                    <a:pt x="27" y="17"/>
                    <a:pt x="27" y="17"/>
                    <a:pt x="27" y="17"/>
                  </a:cubicBezTo>
                  <a:cubicBezTo>
                    <a:pt x="29" y="17"/>
                    <a:pt x="30" y="18"/>
                    <a:pt x="30" y="20"/>
                  </a:cubicBezTo>
                  <a:cubicBezTo>
                    <a:pt x="30" y="22"/>
                    <a:pt x="29" y="23"/>
                    <a:pt x="27" y="23"/>
                  </a:cubicBezTo>
                  <a:cubicBezTo>
                    <a:pt x="20" y="23"/>
                    <a:pt x="20" y="23"/>
                    <a:pt x="20" y="23"/>
                  </a:cubicBezTo>
                  <a:cubicBezTo>
                    <a:pt x="20" y="41"/>
                    <a:pt x="20" y="41"/>
                    <a:pt x="20" y="41"/>
                  </a:cubicBezTo>
                  <a:cubicBezTo>
                    <a:pt x="22" y="40"/>
                    <a:pt x="24" y="39"/>
                    <a:pt x="26" y="38"/>
                  </a:cubicBezTo>
                  <a:cubicBezTo>
                    <a:pt x="28" y="37"/>
                    <a:pt x="29" y="38"/>
                    <a:pt x="30" y="39"/>
                  </a:cubicBezTo>
                  <a:cubicBezTo>
                    <a:pt x="31" y="41"/>
                    <a:pt x="31" y="42"/>
                    <a:pt x="30" y="43"/>
                  </a:cubicBezTo>
                  <a:cubicBezTo>
                    <a:pt x="28" y="44"/>
                    <a:pt x="25" y="46"/>
                    <a:pt x="20" y="48"/>
                  </a:cubicBezTo>
                  <a:cubicBezTo>
                    <a:pt x="20" y="75"/>
                    <a:pt x="20" y="75"/>
                    <a:pt x="20" y="75"/>
                  </a:cubicBezTo>
                  <a:cubicBezTo>
                    <a:pt x="19" y="80"/>
                    <a:pt x="15" y="82"/>
                    <a:pt x="6" y="80"/>
                  </a:cubicBezTo>
                  <a:cubicBezTo>
                    <a:pt x="4" y="80"/>
                    <a:pt x="3" y="78"/>
                    <a:pt x="3" y="76"/>
                  </a:cubicBezTo>
                  <a:cubicBezTo>
                    <a:pt x="4" y="74"/>
                    <a:pt x="5" y="73"/>
                    <a:pt x="7" y="74"/>
                  </a:cubicBezTo>
                  <a:cubicBezTo>
                    <a:pt x="12" y="75"/>
                    <a:pt x="14" y="75"/>
                    <a:pt x="13" y="72"/>
                  </a:cubicBezTo>
                  <a:cubicBezTo>
                    <a:pt x="13" y="51"/>
                    <a:pt x="13" y="51"/>
                    <a:pt x="13" y="51"/>
                  </a:cubicBezTo>
                  <a:cubicBezTo>
                    <a:pt x="13" y="51"/>
                    <a:pt x="11" y="52"/>
                    <a:pt x="9" y="52"/>
                  </a:cubicBezTo>
                  <a:cubicBezTo>
                    <a:pt x="7" y="53"/>
                    <a:pt x="5" y="54"/>
                    <a:pt x="5" y="54"/>
                  </a:cubicBezTo>
                  <a:cubicBezTo>
                    <a:pt x="2" y="55"/>
                    <a:pt x="1" y="54"/>
                    <a:pt x="0" y="52"/>
                  </a:cubicBezTo>
                  <a:cubicBezTo>
                    <a:pt x="0" y="50"/>
                    <a:pt x="0" y="49"/>
                    <a:pt x="2" y="48"/>
                  </a:cubicBezTo>
                  <a:cubicBezTo>
                    <a:pt x="3" y="48"/>
                    <a:pt x="4" y="48"/>
                    <a:pt x="5" y="47"/>
                  </a:cubicBezTo>
                  <a:cubicBezTo>
                    <a:pt x="8" y="46"/>
                    <a:pt x="11" y="45"/>
                    <a:pt x="13" y="44"/>
                  </a:cubicBezTo>
                  <a:cubicBezTo>
                    <a:pt x="13" y="23"/>
                    <a:pt x="13" y="23"/>
                    <a:pt x="13" y="23"/>
                  </a:cubicBezTo>
                  <a:cubicBezTo>
                    <a:pt x="5" y="23"/>
                    <a:pt x="5" y="23"/>
                    <a:pt x="5" y="23"/>
                  </a:cubicBezTo>
                  <a:cubicBezTo>
                    <a:pt x="3" y="23"/>
                    <a:pt x="2" y="22"/>
                    <a:pt x="2" y="20"/>
                  </a:cubicBezTo>
                  <a:cubicBezTo>
                    <a:pt x="2" y="18"/>
                    <a:pt x="3" y="17"/>
                    <a:pt x="5" y="17"/>
                  </a:cubicBezTo>
                  <a:cubicBezTo>
                    <a:pt x="13" y="17"/>
                    <a:pt x="13" y="17"/>
                    <a:pt x="13" y="17"/>
                  </a:cubicBezTo>
                  <a:cubicBezTo>
                    <a:pt x="13" y="4"/>
                    <a:pt x="13" y="4"/>
                    <a:pt x="13" y="4"/>
                  </a:cubicBezTo>
                  <a:cubicBezTo>
                    <a:pt x="13" y="2"/>
                    <a:pt x="14" y="1"/>
                    <a:pt x="17" y="1"/>
                  </a:cubicBezTo>
                  <a:cubicBezTo>
                    <a:pt x="19" y="1"/>
                    <a:pt x="20" y="2"/>
                    <a:pt x="20" y="4"/>
                  </a:cubicBezTo>
                  <a:close/>
                  <a:moveTo>
                    <a:pt x="58" y="3"/>
                  </a:moveTo>
                  <a:cubicBezTo>
                    <a:pt x="58" y="8"/>
                    <a:pt x="58" y="8"/>
                    <a:pt x="58" y="8"/>
                  </a:cubicBezTo>
                  <a:cubicBezTo>
                    <a:pt x="81" y="8"/>
                    <a:pt x="81" y="8"/>
                    <a:pt x="81" y="8"/>
                  </a:cubicBezTo>
                  <a:cubicBezTo>
                    <a:pt x="83" y="9"/>
                    <a:pt x="84" y="10"/>
                    <a:pt x="85" y="12"/>
                  </a:cubicBezTo>
                  <a:cubicBezTo>
                    <a:pt x="84" y="14"/>
                    <a:pt x="83" y="15"/>
                    <a:pt x="81" y="15"/>
                  </a:cubicBezTo>
                  <a:cubicBezTo>
                    <a:pt x="58" y="15"/>
                    <a:pt x="58" y="15"/>
                    <a:pt x="58" y="15"/>
                  </a:cubicBezTo>
                  <a:cubicBezTo>
                    <a:pt x="58" y="28"/>
                    <a:pt x="58" y="28"/>
                    <a:pt x="58" y="28"/>
                  </a:cubicBezTo>
                  <a:cubicBezTo>
                    <a:pt x="75" y="28"/>
                    <a:pt x="75" y="28"/>
                    <a:pt x="75" y="28"/>
                  </a:cubicBezTo>
                  <a:cubicBezTo>
                    <a:pt x="80" y="29"/>
                    <a:pt x="82" y="32"/>
                    <a:pt x="80" y="38"/>
                  </a:cubicBezTo>
                  <a:cubicBezTo>
                    <a:pt x="76" y="48"/>
                    <a:pt x="70" y="56"/>
                    <a:pt x="62" y="63"/>
                  </a:cubicBezTo>
                  <a:cubicBezTo>
                    <a:pt x="69" y="68"/>
                    <a:pt x="77" y="72"/>
                    <a:pt x="85" y="75"/>
                  </a:cubicBezTo>
                  <a:cubicBezTo>
                    <a:pt x="87" y="76"/>
                    <a:pt x="88" y="77"/>
                    <a:pt x="87" y="80"/>
                  </a:cubicBezTo>
                  <a:cubicBezTo>
                    <a:pt x="86" y="82"/>
                    <a:pt x="84" y="82"/>
                    <a:pt x="82" y="82"/>
                  </a:cubicBezTo>
                  <a:cubicBezTo>
                    <a:pt x="74" y="78"/>
                    <a:pt x="65" y="74"/>
                    <a:pt x="56" y="68"/>
                  </a:cubicBezTo>
                  <a:cubicBezTo>
                    <a:pt x="48" y="73"/>
                    <a:pt x="39" y="77"/>
                    <a:pt x="29" y="81"/>
                  </a:cubicBezTo>
                  <a:cubicBezTo>
                    <a:pt x="26" y="81"/>
                    <a:pt x="25" y="81"/>
                    <a:pt x="24" y="78"/>
                  </a:cubicBezTo>
                  <a:cubicBezTo>
                    <a:pt x="23" y="76"/>
                    <a:pt x="24" y="75"/>
                    <a:pt x="26" y="74"/>
                  </a:cubicBezTo>
                  <a:cubicBezTo>
                    <a:pt x="36" y="71"/>
                    <a:pt x="44" y="68"/>
                    <a:pt x="50" y="63"/>
                  </a:cubicBezTo>
                  <a:cubicBezTo>
                    <a:pt x="45" y="59"/>
                    <a:pt x="40" y="51"/>
                    <a:pt x="34" y="40"/>
                  </a:cubicBezTo>
                  <a:cubicBezTo>
                    <a:pt x="33" y="38"/>
                    <a:pt x="33" y="37"/>
                    <a:pt x="35" y="35"/>
                  </a:cubicBezTo>
                  <a:cubicBezTo>
                    <a:pt x="33" y="35"/>
                    <a:pt x="33" y="35"/>
                    <a:pt x="33" y="35"/>
                  </a:cubicBezTo>
                  <a:cubicBezTo>
                    <a:pt x="32" y="35"/>
                    <a:pt x="31" y="34"/>
                    <a:pt x="30" y="32"/>
                  </a:cubicBezTo>
                  <a:cubicBezTo>
                    <a:pt x="31" y="29"/>
                    <a:pt x="32" y="28"/>
                    <a:pt x="34" y="28"/>
                  </a:cubicBezTo>
                  <a:cubicBezTo>
                    <a:pt x="51" y="28"/>
                    <a:pt x="51" y="28"/>
                    <a:pt x="51" y="28"/>
                  </a:cubicBezTo>
                  <a:cubicBezTo>
                    <a:pt x="51" y="15"/>
                    <a:pt x="51" y="15"/>
                    <a:pt x="51" y="15"/>
                  </a:cubicBezTo>
                  <a:cubicBezTo>
                    <a:pt x="31" y="15"/>
                    <a:pt x="31" y="15"/>
                    <a:pt x="31" y="15"/>
                  </a:cubicBezTo>
                  <a:cubicBezTo>
                    <a:pt x="29" y="15"/>
                    <a:pt x="28" y="14"/>
                    <a:pt x="28" y="12"/>
                  </a:cubicBezTo>
                  <a:cubicBezTo>
                    <a:pt x="28" y="10"/>
                    <a:pt x="29" y="9"/>
                    <a:pt x="31" y="8"/>
                  </a:cubicBezTo>
                  <a:cubicBezTo>
                    <a:pt x="51" y="8"/>
                    <a:pt x="51" y="8"/>
                    <a:pt x="51" y="8"/>
                  </a:cubicBezTo>
                  <a:cubicBezTo>
                    <a:pt x="51" y="3"/>
                    <a:pt x="51" y="3"/>
                    <a:pt x="51" y="3"/>
                  </a:cubicBezTo>
                  <a:cubicBezTo>
                    <a:pt x="51" y="1"/>
                    <a:pt x="52" y="0"/>
                    <a:pt x="55" y="0"/>
                  </a:cubicBezTo>
                  <a:cubicBezTo>
                    <a:pt x="57" y="0"/>
                    <a:pt x="58" y="1"/>
                    <a:pt x="58" y="3"/>
                  </a:cubicBezTo>
                  <a:close/>
                  <a:moveTo>
                    <a:pt x="70" y="35"/>
                  </a:moveTo>
                  <a:cubicBezTo>
                    <a:pt x="39" y="35"/>
                    <a:pt x="39" y="35"/>
                    <a:pt x="39" y="35"/>
                  </a:cubicBezTo>
                  <a:cubicBezTo>
                    <a:pt x="39" y="36"/>
                    <a:pt x="39" y="36"/>
                    <a:pt x="40" y="36"/>
                  </a:cubicBezTo>
                  <a:cubicBezTo>
                    <a:pt x="47" y="47"/>
                    <a:pt x="52" y="55"/>
                    <a:pt x="56" y="58"/>
                  </a:cubicBezTo>
                  <a:cubicBezTo>
                    <a:pt x="63" y="52"/>
                    <a:pt x="68" y="46"/>
                    <a:pt x="72" y="38"/>
                  </a:cubicBezTo>
                  <a:cubicBezTo>
                    <a:pt x="72" y="37"/>
                    <a:pt x="72" y="36"/>
                    <a:pt x="70" y="35"/>
                  </a:cubicBezTo>
                  <a:close/>
                </a:path>
              </a:pathLst>
            </a:custGeom>
            <a:solidFill>
              <a:srgbClr val="EA550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dirty="0">
                <a:latin typeface="微软雅黑" panose="020B0503020204020204" pitchFamily="34" charset="-122"/>
                <a:ea typeface="微软雅黑" panose="020B0503020204020204" pitchFamily="34" charset="-122"/>
              </a:endParaRPr>
            </a:p>
          </p:txBody>
        </p:sp>
      </p:grpSp>
      <p:grpSp>
        <p:nvGrpSpPr>
          <p:cNvPr id="26" name="组合 25"/>
          <p:cNvGrpSpPr/>
          <p:nvPr userDrawn="1"/>
        </p:nvGrpSpPr>
        <p:grpSpPr>
          <a:xfrm>
            <a:off x="794753" y="3848730"/>
            <a:ext cx="5694681" cy="45719"/>
            <a:chOff x="777184" y="3817770"/>
            <a:chExt cx="5694681" cy="45719"/>
          </a:xfrm>
        </p:grpSpPr>
        <p:sp>
          <p:nvSpPr>
            <p:cNvPr id="27" name="矩形 26"/>
            <p:cNvSpPr/>
            <p:nvPr/>
          </p:nvSpPr>
          <p:spPr>
            <a:xfrm>
              <a:off x="777184" y="3817770"/>
              <a:ext cx="857551" cy="45719"/>
            </a:xfrm>
            <a:prstGeom prst="rect">
              <a:avLst/>
            </a:prstGeom>
            <a:solidFill>
              <a:srgbClr val="EA550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微软雅黑" panose="020B0503020204020204" pitchFamily="34" charset="-122"/>
                <a:ea typeface="微软雅黑" panose="020B0503020204020204" pitchFamily="34" charset="-122"/>
              </a:endParaRPr>
            </a:p>
          </p:txBody>
        </p:sp>
        <p:cxnSp>
          <p:nvCxnSpPr>
            <p:cNvPr id="28" name="直接连接符 27"/>
            <p:cNvCxnSpPr/>
            <p:nvPr/>
          </p:nvCxnSpPr>
          <p:spPr>
            <a:xfrm>
              <a:off x="1606260" y="3837412"/>
              <a:ext cx="4865605" cy="0"/>
            </a:xfrm>
            <a:prstGeom prst="line">
              <a:avLst/>
            </a:prstGeom>
            <a:ln w="22225">
              <a:gradFill flip="none" rotWithShape="1">
                <a:gsLst>
                  <a:gs pos="0">
                    <a:schemeClr val="accent1">
                      <a:lumMod val="5000"/>
                      <a:lumOff val="95000"/>
                      <a:alpha val="0"/>
                    </a:schemeClr>
                  </a:gs>
                  <a:gs pos="54000">
                    <a:schemeClr val="accent1">
                      <a:lumMod val="45000"/>
                      <a:lumOff val="55000"/>
                    </a:schemeClr>
                  </a:gs>
                  <a:gs pos="83000">
                    <a:srgbClr val="FB832D"/>
                  </a:gs>
                  <a:gs pos="100000">
                    <a:srgbClr val="EA5504"/>
                  </a:gs>
                </a:gsLst>
                <a:lin ang="10800000" scaled="1"/>
                <a:tileRect/>
              </a:gradFill>
            </a:ln>
          </p:spPr>
          <p:style>
            <a:lnRef idx="1">
              <a:schemeClr val="accent1"/>
            </a:lnRef>
            <a:fillRef idx="0">
              <a:schemeClr val="accent1"/>
            </a:fillRef>
            <a:effectRef idx="0">
              <a:schemeClr val="accent1"/>
            </a:effectRef>
            <a:fontRef idx="minor">
              <a:schemeClr val="tx1"/>
            </a:fontRef>
          </p:style>
        </p:cxnSp>
      </p:grpSp>
      <p:sp>
        <p:nvSpPr>
          <p:cNvPr id="32" name="文本占位符 31"/>
          <p:cNvSpPr>
            <a:spLocks noGrp="1"/>
          </p:cNvSpPr>
          <p:nvPr>
            <p:ph type="body" sz="quarter" idx="10" hasCustomPrompt="1"/>
          </p:nvPr>
        </p:nvSpPr>
        <p:spPr>
          <a:xfrm>
            <a:off x="639824" y="1727200"/>
            <a:ext cx="7241433" cy="2802791"/>
          </a:xfrm>
          <a:prstGeom prst="rect">
            <a:avLst/>
          </a:prstGeom>
          <a:noFill/>
        </p:spPr>
        <p:txBody>
          <a:bodyPr anchor="ctr">
            <a:normAutofit/>
          </a:bodyPr>
          <a:lstStyle>
            <a:lvl1pPr marL="0" indent="0" algn="l" defTabSz="914400" rtl="0" eaLnBrk="1" latinLnBrk="0" hangingPunct="1">
              <a:lnSpc>
                <a:spcPct val="100000"/>
              </a:lnSpc>
              <a:buNone/>
              <a:defRPr lang="zh-CN" altLang="en-US" sz="5400" b="1" kern="2300" spc="240" dirty="0" smtClean="0">
                <a:ln w="15875">
                  <a:solidFill>
                    <a:schemeClr val="accent1"/>
                  </a:solidFill>
                </a:ln>
                <a:noFill/>
                <a:latin typeface="微软雅黑" panose="020B0503020204020204" pitchFamily="34" charset="-122"/>
                <a:ea typeface="微软雅黑" panose="020B0503020204020204" pitchFamily="34" charset="-122"/>
                <a:cs typeface="+mn-cs"/>
              </a:defRPr>
            </a:lvl1pPr>
            <a:lvl2pPr marL="457200" indent="0">
              <a:buNone/>
              <a:defRPr/>
            </a:lvl2pPr>
          </a:lstStyle>
          <a:p>
            <a:pPr marL="0" marR="0" lvl="0" indent="0" algn="l" defTabSz="914400" rtl="0" eaLnBrk="1" fontAlgn="auto" latinLnBrk="0" hangingPunct="1">
              <a:lnSpc>
                <a:spcPct val="90000"/>
              </a:lnSpc>
              <a:spcBef>
                <a:spcPts val="1000"/>
              </a:spcBef>
              <a:spcAft>
                <a:spcPts val="0"/>
              </a:spcAft>
              <a:buClrTx/>
              <a:buSzTx/>
              <a:buFont typeface="Arial" panose="020B0604020202090204" pitchFamily="34" charset="0"/>
              <a:buNone/>
              <a:defRPr/>
            </a:pPr>
            <a:r>
              <a:rPr lang="zh-CN" altLang="en-US"/>
              <a:t>平安集团</a:t>
            </a:r>
            <a:endParaRPr lang="en-US" altLang="zh-CN" dirty="0"/>
          </a:p>
        </p:txBody>
      </p:sp>
      <p:sp>
        <p:nvSpPr>
          <p:cNvPr id="31" name="文本占位符 2"/>
          <p:cNvSpPr>
            <a:spLocks noGrp="1"/>
          </p:cNvSpPr>
          <p:nvPr>
            <p:ph type="body" sz="quarter" idx="13" hasCustomPrompt="1"/>
          </p:nvPr>
        </p:nvSpPr>
        <p:spPr>
          <a:xfrm>
            <a:off x="628248" y="5553571"/>
            <a:ext cx="4612632" cy="248285"/>
          </a:xfrm>
          <a:prstGeom prst="rect">
            <a:avLst/>
          </a:prstGeom>
        </p:spPr>
        <p:txBody>
          <a:bodyPr>
            <a:noAutofit/>
          </a:bodyPr>
          <a:lstStyle>
            <a:lvl1pPr marL="0" indent="0" algn="l" defTabSz="914400" rtl="0" eaLnBrk="1" latinLnBrk="0" hangingPunct="1">
              <a:lnSpc>
                <a:spcPct val="90000"/>
              </a:lnSpc>
              <a:spcBef>
                <a:spcPts val="1000"/>
              </a:spcBef>
              <a:buSzPct val="80000"/>
              <a:buFont typeface="+mj-ea"/>
              <a:buNone/>
              <a:defRPr lang="en-US" altLang="zh-CN" sz="1400" kern="1200" dirty="0">
                <a:solidFill>
                  <a:schemeClr val="tx1">
                    <a:lumMod val="65000"/>
                    <a:lumOff val="35000"/>
                  </a:schemeClr>
                </a:solidFill>
                <a:latin typeface="微软雅黑" panose="020B0503020204020204" pitchFamily="34" charset="-122"/>
                <a:ea typeface="微软雅黑" panose="020B0503020204020204" pitchFamily="34" charset="-122"/>
                <a:cs typeface="+mn-cs"/>
              </a:defRPr>
            </a:lvl1pPr>
          </a:lstStyle>
          <a:p>
            <a:pPr marL="0" indent="0">
              <a:buNone/>
            </a:pPr>
            <a:r>
              <a:rPr lang="en-US" altLang="zh-CN" sz="1600" dirty="0">
                <a:latin typeface="微软雅黑" panose="020B0503020204020204" pitchFamily="34" charset="-122"/>
                <a:ea typeface="微软雅黑" panose="020B0503020204020204" pitchFamily="34" charset="-122"/>
              </a:rPr>
              <a:t>Speaker name and title</a:t>
            </a:r>
            <a:endParaRPr lang="en-US" altLang="zh-CN" sz="1600" dirty="0">
              <a:latin typeface="微软雅黑" panose="020B0503020204020204" pitchFamily="34" charset="-122"/>
              <a:ea typeface="微软雅黑" panose="020B0503020204020204" pitchFamily="34" charset="-122"/>
            </a:endParaRPr>
          </a:p>
        </p:txBody>
      </p:sp>
      <p:sp>
        <p:nvSpPr>
          <p:cNvPr id="34" name="文本占位符 2"/>
          <p:cNvSpPr>
            <a:spLocks noGrp="1"/>
          </p:cNvSpPr>
          <p:nvPr>
            <p:ph type="body" sz="quarter" idx="14" hasCustomPrompt="1"/>
          </p:nvPr>
        </p:nvSpPr>
        <p:spPr>
          <a:xfrm>
            <a:off x="628248" y="5848201"/>
            <a:ext cx="4612632" cy="248285"/>
          </a:xfrm>
          <a:prstGeom prst="rect">
            <a:avLst/>
          </a:prstGeom>
        </p:spPr>
        <p:txBody>
          <a:bodyPr>
            <a:noAutofit/>
          </a:bodyPr>
          <a:lstStyle>
            <a:lvl1pPr marL="0" indent="0" algn="l" defTabSz="914400" rtl="0" eaLnBrk="1" latinLnBrk="0" hangingPunct="1">
              <a:lnSpc>
                <a:spcPct val="90000"/>
              </a:lnSpc>
              <a:spcBef>
                <a:spcPts val="1000"/>
              </a:spcBef>
              <a:buSzPct val="80000"/>
              <a:buFont typeface="+mj-ea"/>
              <a:buNone/>
              <a:defRPr lang="en-US" altLang="zh-CN" sz="1400" kern="1200" dirty="0">
                <a:solidFill>
                  <a:schemeClr val="tx1">
                    <a:lumMod val="65000"/>
                    <a:lumOff val="35000"/>
                  </a:schemeClr>
                </a:solidFill>
                <a:latin typeface="微软雅黑" panose="020B0503020204020204" pitchFamily="34" charset="-122"/>
                <a:ea typeface="微软雅黑" panose="020B0503020204020204" pitchFamily="34" charset="-122"/>
                <a:cs typeface="+mn-cs"/>
              </a:defRPr>
            </a:lvl1pPr>
          </a:lstStyle>
          <a:p>
            <a:pPr marL="0" indent="0">
              <a:buNone/>
            </a:pPr>
            <a:r>
              <a:rPr lang="en-US" altLang="en-US" sz="1600" dirty="0">
                <a:latin typeface="微软雅黑" panose="020B0503020204020204" pitchFamily="34" charset="-122"/>
                <a:ea typeface="微软雅黑" panose="020B0503020204020204" pitchFamily="34" charset="-122"/>
              </a:rPr>
              <a:t>D</a:t>
            </a:r>
            <a:r>
              <a:rPr lang="en-US" altLang="zh-CN" sz="1600" dirty="0">
                <a:latin typeface="微软雅黑" panose="020B0503020204020204" pitchFamily="34" charset="-122"/>
                <a:ea typeface="微软雅黑" panose="020B0503020204020204" pitchFamily="34" charset="-122"/>
              </a:rPr>
              <a:t>ate &amp; Time</a:t>
            </a:r>
            <a:endParaRPr lang="en-US" altLang="en-US" sz="1600" dirty="0">
              <a:latin typeface="微软雅黑" panose="020B0503020204020204" pitchFamily="34" charset="-122"/>
              <a:ea typeface="微软雅黑" panose="020B0503020204020204" pitchFamily="34" charset="-122"/>
            </a:endParaRPr>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3" name="Date Placeholder 1"/>
          <p:cNvSpPr>
            <a:spLocks noGrp="1"/>
          </p:cNvSpPr>
          <p:nvPr>
            <p:ph type="dt" sz="half" idx="10"/>
          </p:nvPr>
        </p:nvSpPr>
        <p:spPr>
          <a:xfrm>
            <a:off x="5504656" y="6438900"/>
            <a:ext cx="1802924" cy="215900"/>
          </a:xfrm>
          <a:prstGeom prst="rect">
            <a:avLst/>
          </a:prstGeom>
        </p:spPr>
        <p:txBody>
          <a:bodyPr/>
          <a:lstStyle/>
          <a:p>
            <a:fld id="{A50ECBEB-8597-4EA4-9D29-E1D7025CFAA0}" type="datetime1">
              <a:rPr lang="zh-CN" altLang="en-US" smtClean="0"/>
            </a:fld>
            <a:endParaRPr lang="zh-CN" altLang="en-US"/>
          </a:p>
        </p:txBody>
      </p:sp>
      <p:sp>
        <p:nvSpPr>
          <p:cNvPr id="4" name="Footer Placeholder 2"/>
          <p:cNvSpPr>
            <a:spLocks noGrp="1"/>
          </p:cNvSpPr>
          <p:nvPr>
            <p:ph type="ftr" sz="quarter" idx="11"/>
          </p:nvPr>
        </p:nvSpPr>
        <p:spPr>
          <a:xfrm>
            <a:off x="660401" y="6438900"/>
            <a:ext cx="3992171" cy="215900"/>
          </a:xfrm>
          <a:prstGeom prst="rect">
            <a:avLst/>
          </a:prstGeom>
        </p:spPr>
        <p:txBody>
          <a:bodyPr/>
          <a:lstStyle/>
          <a:p>
            <a:endParaRPr lang="zh-CN" altLang="en-US"/>
          </a:p>
        </p:txBody>
      </p:sp>
      <p:sp>
        <p:nvSpPr>
          <p:cNvPr id="5" name="Slide Number Placeholder 3"/>
          <p:cNvSpPr>
            <a:spLocks noGrp="1"/>
          </p:cNvSpPr>
          <p:nvPr>
            <p:ph type="sldNum" sz="quarter" idx="12"/>
          </p:nvPr>
        </p:nvSpPr>
        <p:spPr>
          <a:xfrm>
            <a:off x="8857452" y="6438900"/>
            <a:ext cx="2661448" cy="215900"/>
          </a:xfrm>
          <a:prstGeom prst="rect">
            <a:avLst/>
          </a:prstGeom>
        </p:spPr>
        <p:txBody>
          <a:bodyPr/>
          <a:lstStyle/>
          <a:p>
            <a:fld id="{7F65B630-C7FF-41C0-9923-C5E5E29EED81}" type="slidenum">
              <a:rPr lang="zh-CN" altLang="en-US" smtClean="0"/>
            </a:fld>
            <a:endParaRPr lang="zh-CN" altLang="en-US"/>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3" name="Date Placeholder 1"/>
          <p:cNvSpPr>
            <a:spLocks noGrp="1"/>
          </p:cNvSpPr>
          <p:nvPr>
            <p:ph type="dt" sz="half" idx="10"/>
          </p:nvPr>
        </p:nvSpPr>
        <p:spPr>
          <a:xfrm>
            <a:off x="5504656" y="6438900"/>
            <a:ext cx="1802924" cy="215900"/>
          </a:xfrm>
          <a:prstGeom prst="rect">
            <a:avLst/>
          </a:prstGeom>
        </p:spPr>
        <p:txBody>
          <a:bodyPr/>
          <a:lstStyle/>
          <a:p>
            <a:fld id="{FD17C161-E0A8-4D01-9947-85FD8942E9C9}" type="datetime1">
              <a:rPr lang="zh-CN" altLang="en-US" smtClean="0"/>
            </a:fld>
            <a:endParaRPr lang="zh-CN" altLang="en-US"/>
          </a:p>
        </p:txBody>
      </p:sp>
      <p:sp>
        <p:nvSpPr>
          <p:cNvPr id="4" name="Footer Placeholder 2"/>
          <p:cNvSpPr>
            <a:spLocks noGrp="1"/>
          </p:cNvSpPr>
          <p:nvPr>
            <p:ph type="ftr" sz="quarter" idx="11"/>
          </p:nvPr>
        </p:nvSpPr>
        <p:spPr>
          <a:xfrm>
            <a:off x="660401" y="6438900"/>
            <a:ext cx="3992171" cy="215900"/>
          </a:xfrm>
          <a:prstGeom prst="rect">
            <a:avLst/>
          </a:prstGeom>
        </p:spPr>
        <p:txBody>
          <a:bodyPr/>
          <a:lstStyle/>
          <a:p>
            <a:endParaRPr lang="zh-CN" altLang="en-US"/>
          </a:p>
        </p:txBody>
      </p:sp>
      <p:sp>
        <p:nvSpPr>
          <p:cNvPr id="5" name="Slide Number Placeholder 3"/>
          <p:cNvSpPr>
            <a:spLocks noGrp="1"/>
          </p:cNvSpPr>
          <p:nvPr>
            <p:ph type="sldNum" sz="quarter" idx="12"/>
          </p:nvPr>
        </p:nvSpPr>
        <p:spPr>
          <a:xfrm>
            <a:off x="8857452" y="6438900"/>
            <a:ext cx="2661448" cy="215900"/>
          </a:xfrm>
          <a:prstGeom prst="rect">
            <a:avLst/>
          </a:prstGeom>
        </p:spPr>
        <p:txBody>
          <a:bodyPr/>
          <a:lstStyle/>
          <a:p>
            <a:fld id="{7F65B630-C7FF-41C0-9923-C5E5E29EED81}" type="slidenum">
              <a:rPr lang="zh-CN" altLang="en-US" smtClean="0"/>
            </a:fld>
            <a:endParaRPr lang="zh-CN" altLang="en-US"/>
          </a:p>
        </p:txBody>
      </p:sp>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3" name="Date Placeholder 1"/>
          <p:cNvSpPr>
            <a:spLocks noGrp="1"/>
          </p:cNvSpPr>
          <p:nvPr>
            <p:ph type="dt" sz="half" idx="10"/>
          </p:nvPr>
        </p:nvSpPr>
        <p:spPr>
          <a:xfrm>
            <a:off x="5504656" y="6438900"/>
            <a:ext cx="1802924" cy="215900"/>
          </a:xfrm>
          <a:prstGeom prst="rect">
            <a:avLst/>
          </a:prstGeom>
        </p:spPr>
        <p:txBody>
          <a:bodyPr/>
          <a:lstStyle/>
          <a:p>
            <a:fld id="{FD17C161-E0A8-4D01-9947-85FD8942E9C9}" type="datetime1">
              <a:rPr lang="zh-CN" altLang="en-US" smtClean="0"/>
            </a:fld>
            <a:endParaRPr lang="zh-CN" altLang="en-US"/>
          </a:p>
        </p:txBody>
      </p:sp>
      <p:sp>
        <p:nvSpPr>
          <p:cNvPr id="4" name="Footer Placeholder 2"/>
          <p:cNvSpPr>
            <a:spLocks noGrp="1"/>
          </p:cNvSpPr>
          <p:nvPr>
            <p:ph type="ftr" sz="quarter" idx="11"/>
          </p:nvPr>
        </p:nvSpPr>
        <p:spPr>
          <a:xfrm>
            <a:off x="660401" y="6438900"/>
            <a:ext cx="3992171" cy="215900"/>
          </a:xfrm>
          <a:prstGeom prst="rect">
            <a:avLst/>
          </a:prstGeom>
        </p:spPr>
        <p:txBody>
          <a:bodyPr/>
          <a:lstStyle/>
          <a:p>
            <a:endParaRPr lang="zh-CN" altLang="en-US"/>
          </a:p>
        </p:txBody>
      </p:sp>
      <p:sp>
        <p:nvSpPr>
          <p:cNvPr id="5" name="Slide Number Placeholder 3"/>
          <p:cNvSpPr>
            <a:spLocks noGrp="1"/>
          </p:cNvSpPr>
          <p:nvPr>
            <p:ph type="sldNum" sz="quarter" idx="12"/>
          </p:nvPr>
        </p:nvSpPr>
        <p:spPr>
          <a:xfrm>
            <a:off x="8857452" y="6438900"/>
            <a:ext cx="2661448" cy="215900"/>
          </a:xfrm>
          <a:prstGeom prst="rect">
            <a:avLst/>
          </a:prstGeom>
        </p:spPr>
        <p:txBody>
          <a:bodyPr/>
          <a:lstStyle/>
          <a:p>
            <a:fld id="{7F65B630-C7FF-41C0-9923-C5E5E29EED81}" type="slidenum">
              <a:rPr lang="zh-CN" altLang="en-US" smtClean="0"/>
            </a:fld>
            <a:endParaRPr lang="zh-CN" altLang="en-US"/>
          </a:p>
        </p:txBody>
      </p:sp>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3" name="Date Placeholder 1"/>
          <p:cNvSpPr>
            <a:spLocks noGrp="1"/>
          </p:cNvSpPr>
          <p:nvPr>
            <p:ph type="dt" sz="half" idx="10"/>
          </p:nvPr>
        </p:nvSpPr>
        <p:spPr>
          <a:xfrm>
            <a:off x="5504656" y="6438900"/>
            <a:ext cx="1802924" cy="215900"/>
          </a:xfrm>
          <a:prstGeom prst="rect">
            <a:avLst/>
          </a:prstGeom>
        </p:spPr>
        <p:txBody>
          <a:bodyPr/>
          <a:lstStyle/>
          <a:p>
            <a:fld id="{A50ECBEB-8597-4EA4-9D29-E1D7025CFAA0}" type="datetime1">
              <a:rPr lang="zh-CN" altLang="en-US" smtClean="0"/>
            </a:fld>
            <a:endParaRPr lang="zh-CN" altLang="en-US"/>
          </a:p>
        </p:txBody>
      </p:sp>
      <p:sp>
        <p:nvSpPr>
          <p:cNvPr id="4" name="Footer Placeholder 2"/>
          <p:cNvSpPr>
            <a:spLocks noGrp="1"/>
          </p:cNvSpPr>
          <p:nvPr>
            <p:ph type="ftr" sz="quarter" idx="11"/>
          </p:nvPr>
        </p:nvSpPr>
        <p:spPr>
          <a:xfrm>
            <a:off x="660401" y="6438900"/>
            <a:ext cx="3992171" cy="215900"/>
          </a:xfrm>
          <a:prstGeom prst="rect">
            <a:avLst/>
          </a:prstGeom>
        </p:spPr>
        <p:txBody>
          <a:bodyPr/>
          <a:lstStyle/>
          <a:p>
            <a:endParaRPr lang="zh-CN" altLang="en-US"/>
          </a:p>
        </p:txBody>
      </p:sp>
      <p:sp>
        <p:nvSpPr>
          <p:cNvPr id="5" name="Slide Number Placeholder 3"/>
          <p:cNvSpPr>
            <a:spLocks noGrp="1"/>
          </p:cNvSpPr>
          <p:nvPr>
            <p:ph type="sldNum" sz="quarter" idx="12"/>
          </p:nvPr>
        </p:nvSpPr>
        <p:spPr>
          <a:xfrm>
            <a:off x="8857452" y="6438900"/>
            <a:ext cx="2661448" cy="215900"/>
          </a:xfrm>
          <a:prstGeom prst="rect">
            <a:avLst/>
          </a:prstGeom>
        </p:spPr>
        <p:txBody>
          <a:bodyPr/>
          <a:lstStyle/>
          <a:p>
            <a:fld id="{7F65B630-C7FF-41C0-9923-C5E5E29EED81}" type="slidenum">
              <a:rPr lang="zh-CN" altLang="en-US" smtClean="0"/>
            </a:fld>
            <a:endParaRPr lang="zh-CN" altLang="en-US"/>
          </a:p>
        </p:txBody>
      </p:sp>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3" name="Date Placeholder 1"/>
          <p:cNvSpPr>
            <a:spLocks noGrp="1"/>
          </p:cNvSpPr>
          <p:nvPr>
            <p:ph type="dt" sz="half" idx="10"/>
          </p:nvPr>
        </p:nvSpPr>
        <p:spPr>
          <a:xfrm>
            <a:off x="5504656" y="6438900"/>
            <a:ext cx="1802924" cy="215900"/>
          </a:xfrm>
          <a:prstGeom prst="rect">
            <a:avLst/>
          </a:prstGeom>
        </p:spPr>
        <p:txBody>
          <a:bodyPr/>
          <a:lstStyle/>
          <a:p>
            <a:fld id="{A50ECBEB-8597-4EA4-9D29-E1D7025CFAA0}" type="datetime1">
              <a:rPr lang="zh-CN" altLang="en-US" smtClean="0"/>
            </a:fld>
            <a:endParaRPr lang="zh-CN" altLang="en-US"/>
          </a:p>
        </p:txBody>
      </p:sp>
      <p:sp>
        <p:nvSpPr>
          <p:cNvPr id="4" name="Footer Placeholder 2"/>
          <p:cNvSpPr>
            <a:spLocks noGrp="1"/>
          </p:cNvSpPr>
          <p:nvPr>
            <p:ph type="ftr" sz="quarter" idx="11"/>
          </p:nvPr>
        </p:nvSpPr>
        <p:spPr>
          <a:xfrm>
            <a:off x="660401" y="6438900"/>
            <a:ext cx="3992171" cy="215900"/>
          </a:xfrm>
          <a:prstGeom prst="rect">
            <a:avLst/>
          </a:prstGeom>
        </p:spPr>
        <p:txBody>
          <a:bodyPr/>
          <a:lstStyle/>
          <a:p>
            <a:endParaRPr lang="zh-CN" altLang="en-US"/>
          </a:p>
        </p:txBody>
      </p:sp>
      <p:sp>
        <p:nvSpPr>
          <p:cNvPr id="5" name="Slide Number Placeholder 3"/>
          <p:cNvSpPr>
            <a:spLocks noGrp="1"/>
          </p:cNvSpPr>
          <p:nvPr>
            <p:ph type="sldNum" sz="quarter" idx="12"/>
          </p:nvPr>
        </p:nvSpPr>
        <p:spPr>
          <a:xfrm>
            <a:off x="8857452" y="6438900"/>
            <a:ext cx="2661448" cy="215900"/>
          </a:xfrm>
          <a:prstGeom prst="rect">
            <a:avLst/>
          </a:prstGeom>
        </p:spPr>
        <p:txBody>
          <a:bodyPr/>
          <a:lstStyle/>
          <a:p>
            <a:fld id="{7F65B630-C7FF-41C0-9923-C5E5E29EED81}" type="slidenum">
              <a:rPr lang="zh-CN" altLang="en-US" smtClean="0"/>
            </a:fld>
            <a:endParaRPr lang="zh-CN" altLang="en-US"/>
          </a:p>
        </p:txBody>
      </p:sp>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3" name="Date Placeholder 1"/>
          <p:cNvSpPr>
            <a:spLocks noGrp="1"/>
          </p:cNvSpPr>
          <p:nvPr>
            <p:ph type="dt" sz="half" idx="10"/>
          </p:nvPr>
        </p:nvSpPr>
        <p:spPr>
          <a:xfrm>
            <a:off x="5504656" y="6438900"/>
            <a:ext cx="1802924" cy="215900"/>
          </a:xfrm>
          <a:prstGeom prst="rect">
            <a:avLst/>
          </a:prstGeom>
        </p:spPr>
        <p:txBody>
          <a:bodyPr/>
          <a:lstStyle/>
          <a:p>
            <a:fld id="{A50ECBEB-8597-4EA4-9D29-E1D7025CFAA0}" type="datetime1">
              <a:rPr lang="zh-CN" altLang="en-US" smtClean="0"/>
            </a:fld>
            <a:endParaRPr lang="zh-CN" altLang="en-US"/>
          </a:p>
        </p:txBody>
      </p:sp>
      <p:sp>
        <p:nvSpPr>
          <p:cNvPr id="4" name="Footer Placeholder 2"/>
          <p:cNvSpPr>
            <a:spLocks noGrp="1"/>
          </p:cNvSpPr>
          <p:nvPr>
            <p:ph type="ftr" sz="quarter" idx="11"/>
          </p:nvPr>
        </p:nvSpPr>
        <p:spPr>
          <a:xfrm>
            <a:off x="660401" y="6438900"/>
            <a:ext cx="3992171" cy="215900"/>
          </a:xfrm>
          <a:prstGeom prst="rect">
            <a:avLst/>
          </a:prstGeom>
        </p:spPr>
        <p:txBody>
          <a:bodyPr/>
          <a:lstStyle/>
          <a:p>
            <a:endParaRPr lang="zh-CN" altLang="en-US"/>
          </a:p>
        </p:txBody>
      </p:sp>
      <p:sp>
        <p:nvSpPr>
          <p:cNvPr id="5" name="Slide Number Placeholder 3"/>
          <p:cNvSpPr>
            <a:spLocks noGrp="1"/>
          </p:cNvSpPr>
          <p:nvPr>
            <p:ph type="sldNum" sz="quarter" idx="12"/>
          </p:nvPr>
        </p:nvSpPr>
        <p:spPr>
          <a:xfrm>
            <a:off x="8857452" y="6438900"/>
            <a:ext cx="2661448" cy="215900"/>
          </a:xfrm>
          <a:prstGeom prst="rect">
            <a:avLst/>
          </a:prstGeom>
        </p:spPr>
        <p:txBody>
          <a:bodyPr/>
          <a:lstStyle/>
          <a:p>
            <a:fld id="{7F65B630-C7FF-41C0-9923-C5E5E29EED81}" type="slidenum">
              <a:rPr lang="zh-CN" altLang="en-US" smtClean="0"/>
            </a:fld>
            <a:endParaRPr lang="zh-CN" altLang="en-US"/>
          </a:p>
        </p:txBody>
      </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3" name="日期占位符 1"/>
          <p:cNvSpPr>
            <a:spLocks noGrp="1"/>
          </p:cNvSpPr>
          <p:nvPr>
            <p:ph type="dt" sz="half" idx="10"/>
          </p:nvPr>
        </p:nvSpPr>
        <p:spPr>
          <a:xfrm>
            <a:off x="4718050" y="6409690"/>
            <a:ext cx="2743200" cy="274320"/>
          </a:xfrm>
          <a:prstGeom prst="rect">
            <a:avLst/>
          </a:prstGeom>
        </p:spPr>
        <p:txBody>
          <a:bodyPr/>
          <a:lstStyle/>
          <a:p>
            <a:endParaRPr lang="en-US"/>
          </a:p>
        </p:txBody>
      </p:sp>
      <p:sp>
        <p:nvSpPr>
          <p:cNvPr id="4" name="页脚占位符 2"/>
          <p:cNvSpPr>
            <a:spLocks noGrp="1"/>
          </p:cNvSpPr>
          <p:nvPr>
            <p:ph type="ftr" sz="quarter" idx="11"/>
          </p:nvPr>
        </p:nvSpPr>
        <p:spPr>
          <a:xfrm>
            <a:off x="660399" y="6409690"/>
            <a:ext cx="3657600" cy="274320"/>
          </a:xfrm>
          <a:prstGeom prst="rect">
            <a:avLst/>
          </a:prstGeom>
        </p:spPr>
        <p:txBody>
          <a:bodyPr/>
          <a:lstStyle/>
          <a:p>
            <a:endParaRPr lang="en-US" dirty="0"/>
          </a:p>
        </p:txBody>
      </p:sp>
      <p:sp>
        <p:nvSpPr>
          <p:cNvPr id="5" name="灯片编号占位符 3"/>
          <p:cNvSpPr>
            <a:spLocks noGrp="1"/>
          </p:cNvSpPr>
          <p:nvPr>
            <p:ph type="sldNum" sz="quarter" idx="12"/>
          </p:nvPr>
        </p:nvSpPr>
        <p:spPr>
          <a:xfrm>
            <a:off x="7861300" y="6409690"/>
            <a:ext cx="3657600" cy="274320"/>
          </a:xfrm>
          <a:prstGeom prst="rect">
            <a:avLst/>
          </a:prstGeom>
        </p:spPr>
        <p:txBody>
          <a:bodyPr/>
          <a:lstStyle/>
          <a:p>
            <a:fld id="{C8BB1146-E542-4D4E-B8E9-6919A11DDD48}" type="slidenum">
              <a:rPr lang="en-US" smtClean="0"/>
            </a:fld>
            <a:endParaRPr lang="en-US"/>
          </a:p>
        </p:txBody>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3" name="日期占位符 1"/>
          <p:cNvSpPr>
            <a:spLocks noGrp="1"/>
          </p:cNvSpPr>
          <p:nvPr>
            <p:ph type="dt" sz="half" idx="10"/>
          </p:nvPr>
        </p:nvSpPr>
        <p:spPr>
          <a:xfrm>
            <a:off x="4718050" y="6409690"/>
            <a:ext cx="2743200" cy="274320"/>
          </a:xfrm>
          <a:prstGeom prst="rect">
            <a:avLst/>
          </a:prstGeom>
        </p:spPr>
        <p:txBody>
          <a:bodyPr/>
          <a:lstStyle/>
          <a:p>
            <a:endParaRPr lang="en-US"/>
          </a:p>
        </p:txBody>
      </p:sp>
      <p:sp>
        <p:nvSpPr>
          <p:cNvPr id="4" name="页脚占位符 2"/>
          <p:cNvSpPr>
            <a:spLocks noGrp="1"/>
          </p:cNvSpPr>
          <p:nvPr>
            <p:ph type="ftr" sz="quarter" idx="11"/>
          </p:nvPr>
        </p:nvSpPr>
        <p:spPr>
          <a:xfrm>
            <a:off x="660399" y="6409690"/>
            <a:ext cx="3657600" cy="274320"/>
          </a:xfrm>
          <a:prstGeom prst="rect">
            <a:avLst/>
          </a:prstGeom>
        </p:spPr>
        <p:txBody>
          <a:bodyPr/>
          <a:lstStyle/>
          <a:p>
            <a:endParaRPr lang="en-US" dirty="0"/>
          </a:p>
        </p:txBody>
      </p:sp>
      <p:sp>
        <p:nvSpPr>
          <p:cNvPr id="5" name="灯片编号占位符 3"/>
          <p:cNvSpPr>
            <a:spLocks noGrp="1"/>
          </p:cNvSpPr>
          <p:nvPr>
            <p:ph type="sldNum" sz="quarter" idx="12"/>
          </p:nvPr>
        </p:nvSpPr>
        <p:spPr>
          <a:xfrm>
            <a:off x="7861300" y="6409690"/>
            <a:ext cx="3657600" cy="274320"/>
          </a:xfrm>
          <a:prstGeom prst="rect">
            <a:avLst/>
          </a:prstGeom>
        </p:spPr>
        <p:txBody>
          <a:bodyPr/>
          <a:lstStyle/>
          <a:p>
            <a:fld id="{C8BB1146-E542-4D4E-B8E9-6919A11DDD48}" type="slidenum">
              <a:rPr lang="en-US" smtClean="0"/>
            </a:fld>
            <a:endParaRPr lang="en-US"/>
          </a:p>
        </p:txBody>
      </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3" name="日期占位符 1"/>
          <p:cNvSpPr>
            <a:spLocks noGrp="1"/>
          </p:cNvSpPr>
          <p:nvPr>
            <p:ph type="dt" sz="half" idx="10"/>
          </p:nvPr>
        </p:nvSpPr>
        <p:spPr>
          <a:xfrm>
            <a:off x="4718050" y="6409690"/>
            <a:ext cx="2743200" cy="274320"/>
          </a:xfrm>
          <a:prstGeom prst="rect">
            <a:avLst/>
          </a:prstGeom>
        </p:spPr>
        <p:txBody>
          <a:bodyPr/>
          <a:lstStyle/>
          <a:p>
            <a:endParaRPr lang="en-US"/>
          </a:p>
        </p:txBody>
      </p:sp>
      <p:sp>
        <p:nvSpPr>
          <p:cNvPr id="4" name="页脚占位符 2"/>
          <p:cNvSpPr>
            <a:spLocks noGrp="1"/>
          </p:cNvSpPr>
          <p:nvPr>
            <p:ph type="ftr" sz="quarter" idx="11"/>
          </p:nvPr>
        </p:nvSpPr>
        <p:spPr>
          <a:xfrm>
            <a:off x="660399" y="6409690"/>
            <a:ext cx="3657600" cy="274320"/>
          </a:xfrm>
          <a:prstGeom prst="rect">
            <a:avLst/>
          </a:prstGeom>
        </p:spPr>
        <p:txBody>
          <a:bodyPr/>
          <a:lstStyle/>
          <a:p>
            <a:endParaRPr lang="en-US" dirty="0"/>
          </a:p>
        </p:txBody>
      </p:sp>
      <p:sp>
        <p:nvSpPr>
          <p:cNvPr id="5" name="灯片编号占位符 3"/>
          <p:cNvSpPr>
            <a:spLocks noGrp="1"/>
          </p:cNvSpPr>
          <p:nvPr>
            <p:ph type="sldNum" sz="quarter" idx="12"/>
          </p:nvPr>
        </p:nvSpPr>
        <p:spPr>
          <a:xfrm>
            <a:off x="7861300" y="6409690"/>
            <a:ext cx="3657600" cy="274320"/>
          </a:xfrm>
          <a:prstGeom prst="rect">
            <a:avLst/>
          </a:prstGeom>
        </p:spPr>
        <p:txBody>
          <a:bodyPr/>
          <a:lstStyle/>
          <a:p>
            <a:fld id="{C8BB1146-E542-4D4E-B8E9-6919A11DDD48}" type="slidenum">
              <a:rPr lang="en-US" smtClean="0"/>
            </a:fld>
            <a:endParaRPr lang="en-US"/>
          </a:p>
        </p:txBody>
      </p:sp>
    </p:spTree>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3" name="日期占位符 1"/>
          <p:cNvSpPr>
            <a:spLocks noGrp="1"/>
          </p:cNvSpPr>
          <p:nvPr>
            <p:ph type="dt" sz="half" idx="10"/>
          </p:nvPr>
        </p:nvSpPr>
        <p:spPr>
          <a:xfrm>
            <a:off x="660401" y="6438900"/>
            <a:ext cx="3992171" cy="215900"/>
          </a:xfrm>
          <a:prstGeom prst="rect">
            <a:avLst/>
          </a:prstGeom>
        </p:spPr>
        <p:txBody>
          <a:bodyPr/>
          <a:lstStyle/>
          <a:p>
            <a:fld id="{B9109487-48C0-49BF-9A76-4EC48A3BB7C8}" type="datetime1">
              <a:rPr lang="zh-CN" altLang="en-US" smtClean="0"/>
            </a:fld>
            <a:endParaRPr lang="zh-CN" altLang="en-US"/>
          </a:p>
        </p:txBody>
      </p:sp>
      <p:sp>
        <p:nvSpPr>
          <p:cNvPr id="4" name="页脚占位符 2"/>
          <p:cNvSpPr>
            <a:spLocks noGrp="1"/>
          </p:cNvSpPr>
          <p:nvPr>
            <p:ph type="ftr" sz="quarter" idx="11"/>
          </p:nvPr>
        </p:nvSpPr>
        <p:spPr>
          <a:xfrm>
            <a:off x="5504656" y="6438900"/>
            <a:ext cx="1802924" cy="215900"/>
          </a:xfrm>
          <a:prstGeom prst="rect">
            <a:avLst/>
          </a:prstGeom>
        </p:spPr>
        <p:txBody>
          <a:bodyPr/>
          <a:lstStyle/>
          <a:p>
            <a:endParaRPr lang="zh-CN" altLang="en-US"/>
          </a:p>
        </p:txBody>
      </p:sp>
      <p:sp>
        <p:nvSpPr>
          <p:cNvPr id="5" name="灯片编号占位符 3"/>
          <p:cNvSpPr>
            <a:spLocks noGrp="1"/>
          </p:cNvSpPr>
          <p:nvPr>
            <p:ph type="sldNum" sz="quarter" idx="12"/>
          </p:nvPr>
        </p:nvSpPr>
        <p:spPr>
          <a:xfrm>
            <a:off x="8857452" y="6438900"/>
            <a:ext cx="2661448" cy="215900"/>
          </a:xfrm>
          <a:prstGeom prst="rect">
            <a:avLst/>
          </a:prstGeom>
        </p:spPr>
        <p:txBody>
          <a:bodyPr/>
          <a:lstStyle/>
          <a:p>
            <a:fld id="{7F65B630-C7FF-41C0-9923-C5E5E29EED81}" type="slidenum">
              <a:rPr lang="zh-CN" altLang="en-US" smtClean="0"/>
            </a:fld>
            <a:endParaRPr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showMasterSp="0" userDrawn="1">
  <p:cSld name="2-目录">
    <p:spTree>
      <p:nvGrpSpPr>
        <p:cNvPr id="1" name=""/>
        <p:cNvGrpSpPr/>
        <p:nvPr/>
      </p:nvGrpSpPr>
      <p:grpSpPr>
        <a:xfrm>
          <a:off x="0" y="0"/>
          <a:ext cx="0" cy="0"/>
          <a:chOff x="0" y="0"/>
          <a:chExt cx="0" cy="0"/>
        </a:xfrm>
      </p:grpSpPr>
      <p:sp>
        <p:nvSpPr>
          <p:cNvPr id="2" name="矩形 1"/>
          <p:cNvSpPr/>
          <p:nvPr userDrawn="1"/>
        </p:nvSpPr>
        <p:spPr>
          <a:xfrm>
            <a:off x="0" y="1"/>
            <a:ext cx="12185496" cy="6855118"/>
          </a:xfrm>
          <a:prstGeom prst="rect">
            <a:avLst/>
          </a:prstGeom>
          <a:gradFill flip="none" rotWithShape="1">
            <a:gsLst>
              <a:gs pos="36000">
                <a:srgbClr val="FEF6F4">
                  <a:alpha val="96000"/>
                </a:srgbClr>
              </a:gs>
              <a:gs pos="68000">
                <a:srgbClr val="FFFCFB">
                  <a:alpha val="80000"/>
                </a:srgbClr>
              </a:gs>
              <a:gs pos="85000">
                <a:schemeClr val="bg1">
                  <a:alpha val="76000"/>
                </a:schemeClr>
              </a:gs>
              <a:gs pos="0">
                <a:srgbClr val="FDEEE9"/>
              </a:gs>
              <a:gs pos="100000">
                <a:schemeClr val="bg1">
                  <a:alpha val="76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微软雅黑" panose="020B0503020204020204" pitchFamily="34" charset="-122"/>
              <a:ea typeface="微软雅黑" panose="020B0503020204020204" pitchFamily="34" charset="-122"/>
            </a:endParaRPr>
          </a:p>
        </p:txBody>
      </p:sp>
      <p:pic>
        <p:nvPicPr>
          <p:cNvPr id="3" name="图片 2"/>
          <p:cNvPicPr>
            <a:picLocks noChangeAspect="1"/>
          </p:cNvPicPr>
          <p:nvPr userDrawn="1"/>
        </p:nvPicPr>
        <p:blipFill rotWithShape="1">
          <a:blip r:embed="rId2" cstate="screen">
            <a:extLst>
              <a:ext uri="{BEBA8EAE-BF5A-486C-A8C5-ECC9F3942E4B}">
                <a14:imgProps xmlns:a14="http://schemas.microsoft.com/office/drawing/2010/main">
                  <a14:imgLayer r:embed="rId3">
                    <a14:imgEffect>
                      <a14:colorTemperature colorTemp="5900"/>
                    </a14:imgEffect>
                  </a14:imgLayer>
                </a14:imgProps>
              </a:ext>
            </a:extLst>
          </a:blip>
          <a:srcRect t="45" b="45"/>
          <a:stretch>
            <a:fillRect/>
          </a:stretch>
        </p:blipFill>
        <p:spPr>
          <a:xfrm>
            <a:off x="-21525" y="0"/>
            <a:ext cx="5710001" cy="6858000"/>
          </a:xfrm>
          <a:custGeom>
            <a:avLst/>
            <a:gdLst>
              <a:gd name="connsiteX0" fmla="*/ 0 w 5710001"/>
              <a:gd name="connsiteY0" fmla="*/ 0 h 6858000"/>
              <a:gd name="connsiteX1" fmla="*/ 5710001 w 5710001"/>
              <a:gd name="connsiteY1" fmla="*/ 0 h 6858000"/>
              <a:gd name="connsiteX2" fmla="*/ 2629113 w 5710001"/>
              <a:gd name="connsiteY2" fmla="*/ 6858000 h 6858000"/>
              <a:gd name="connsiteX3" fmla="*/ 0 w 571000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710001" h="6858000">
                <a:moveTo>
                  <a:pt x="0" y="0"/>
                </a:moveTo>
                <a:lnTo>
                  <a:pt x="5710001" y="0"/>
                </a:lnTo>
                <a:lnTo>
                  <a:pt x="2629113" y="6858000"/>
                </a:lnTo>
                <a:lnTo>
                  <a:pt x="0" y="6858000"/>
                </a:lnTo>
                <a:close/>
              </a:path>
            </a:pathLst>
          </a:custGeom>
        </p:spPr>
      </p:pic>
      <p:grpSp>
        <p:nvGrpSpPr>
          <p:cNvPr id="4" name="组合 3"/>
          <p:cNvGrpSpPr/>
          <p:nvPr userDrawn="1"/>
        </p:nvGrpSpPr>
        <p:grpSpPr>
          <a:xfrm>
            <a:off x="5634689" y="1816496"/>
            <a:ext cx="5884211" cy="45719"/>
            <a:chOff x="2913325" y="3817770"/>
            <a:chExt cx="5884211" cy="45719"/>
          </a:xfrm>
        </p:grpSpPr>
        <p:sp>
          <p:nvSpPr>
            <p:cNvPr id="5" name="矩形 4"/>
            <p:cNvSpPr/>
            <p:nvPr/>
          </p:nvSpPr>
          <p:spPr>
            <a:xfrm>
              <a:off x="7939985" y="3817770"/>
              <a:ext cx="857551" cy="45719"/>
            </a:xfrm>
            <a:prstGeom prst="rect">
              <a:avLst/>
            </a:prstGeom>
            <a:solidFill>
              <a:srgbClr val="EA550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chemeClr val="tx1"/>
                </a:solidFill>
                <a:latin typeface="微软雅黑" panose="020B0503020204020204" pitchFamily="34" charset="-122"/>
                <a:ea typeface="微软雅黑" panose="020B0503020204020204" pitchFamily="34" charset="-122"/>
              </a:endParaRPr>
            </a:p>
          </p:txBody>
        </p:sp>
        <p:cxnSp>
          <p:nvCxnSpPr>
            <p:cNvPr id="6" name="直接连接符 5"/>
            <p:cNvCxnSpPr/>
            <p:nvPr/>
          </p:nvCxnSpPr>
          <p:spPr>
            <a:xfrm flipH="1">
              <a:off x="2913325" y="3837412"/>
              <a:ext cx="5026660" cy="0"/>
            </a:xfrm>
            <a:prstGeom prst="line">
              <a:avLst/>
            </a:prstGeom>
            <a:ln w="22225">
              <a:gradFill flip="none" rotWithShape="1">
                <a:gsLst>
                  <a:gs pos="0">
                    <a:schemeClr val="accent1">
                      <a:lumMod val="5000"/>
                      <a:lumOff val="95000"/>
                      <a:alpha val="0"/>
                    </a:schemeClr>
                  </a:gs>
                  <a:gs pos="54000">
                    <a:srgbClr val="FFC000"/>
                  </a:gs>
                  <a:gs pos="83000">
                    <a:srgbClr val="FB832D"/>
                  </a:gs>
                  <a:gs pos="100000">
                    <a:srgbClr val="EA5504"/>
                  </a:gs>
                </a:gsLst>
                <a:lin ang="10800000" scaled="1"/>
                <a:tileRect/>
              </a:gradFill>
            </a:ln>
          </p:spPr>
          <p:style>
            <a:lnRef idx="1">
              <a:schemeClr val="accent1"/>
            </a:lnRef>
            <a:fillRef idx="0">
              <a:schemeClr val="accent1"/>
            </a:fillRef>
            <a:effectRef idx="0">
              <a:schemeClr val="accent1"/>
            </a:effectRef>
            <a:fontRef idx="minor">
              <a:schemeClr val="tx1"/>
            </a:fontRef>
          </p:style>
        </p:cxnSp>
      </p:grpSp>
      <p:sp>
        <p:nvSpPr>
          <p:cNvPr id="15" name="平行四边形 14"/>
          <p:cNvSpPr/>
          <p:nvPr userDrawn="1"/>
        </p:nvSpPr>
        <p:spPr>
          <a:xfrm>
            <a:off x="2361533" y="3506350"/>
            <a:ext cx="1967851" cy="3348769"/>
          </a:xfrm>
          <a:prstGeom prst="parallelogram">
            <a:avLst>
              <a:gd name="adj" fmla="val 77370"/>
            </a:avLst>
          </a:prstGeom>
          <a:solidFill>
            <a:srgbClr val="005E3C">
              <a:alpha val="1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微软雅黑" panose="020B0503020204020204" pitchFamily="34" charset="-122"/>
              <a:ea typeface="微软雅黑" panose="020B0503020204020204" pitchFamily="34" charset="-122"/>
            </a:endParaRPr>
          </a:p>
        </p:txBody>
      </p:sp>
      <p:sp>
        <p:nvSpPr>
          <p:cNvPr id="16" name="文本框 15"/>
          <p:cNvSpPr txBox="1"/>
          <p:nvPr userDrawn="1"/>
        </p:nvSpPr>
        <p:spPr>
          <a:xfrm>
            <a:off x="5976559" y="1014366"/>
            <a:ext cx="1123384" cy="646331"/>
          </a:xfrm>
          <a:prstGeom prst="rect">
            <a:avLst/>
          </a:prstGeom>
          <a:noFill/>
        </p:spPr>
        <p:txBody>
          <a:bodyPr wrap="none" rtlCol="0">
            <a:spAutoFit/>
          </a:bodyPr>
          <a:lstStyle/>
          <a:p>
            <a:r>
              <a:rPr lang="zh-CN" altLang="en-US" sz="3600" i="1" kern="100" spc="60" dirty="0">
                <a:solidFill>
                  <a:schemeClr val="tx1"/>
                </a:solidFill>
                <a:latin typeface="微软雅黑" panose="020B0503020204020204" pitchFamily="34" charset="-122"/>
                <a:ea typeface="微软雅黑" panose="020B0503020204020204" pitchFamily="34" charset="-122"/>
              </a:rPr>
              <a:t>目录</a:t>
            </a:r>
            <a:endParaRPr lang="en-US" altLang="zh-CN" sz="3600" i="1" kern="100" spc="60" dirty="0">
              <a:solidFill>
                <a:schemeClr val="tx1"/>
              </a:solidFill>
              <a:latin typeface="微软雅黑" panose="020B0503020204020204" pitchFamily="34" charset="-122"/>
              <a:ea typeface="微软雅黑" panose="020B0503020204020204" pitchFamily="34" charset="-122"/>
            </a:endParaRPr>
          </a:p>
        </p:txBody>
      </p:sp>
      <p:sp>
        <p:nvSpPr>
          <p:cNvPr id="17" name="文本框 16"/>
          <p:cNvSpPr txBox="1"/>
          <p:nvPr userDrawn="1"/>
        </p:nvSpPr>
        <p:spPr>
          <a:xfrm>
            <a:off x="6976933" y="1249012"/>
            <a:ext cx="1820883" cy="400110"/>
          </a:xfrm>
          <a:prstGeom prst="rect">
            <a:avLst/>
          </a:prstGeom>
          <a:noFill/>
        </p:spPr>
        <p:txBody>
          <a:bodyPr wrap="none" rtlCol="0">
            <a:spAutoFit/>
          </a:bodyPr>
          <a:lstStyle/>
          <a:p>
            <a:r>
              <a:rPr lang="en-US" altLang="zh-CN" sz="2000" i="1"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 / CONTENTS</a:t>
            </a:r>
            <a:endParaRPr lang="zh-CN" altLang="en-US" sz="2000" i="1"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22" name="矩形 21"/>
          <p:cNvSpPr/>
          <p:nvPr userDrawn="1"/>
        </p:nvSpPr>
        <p:spPr>
          <a:xfrm>
            <a:off x="0" y="0"/>
            <a:ext cx="5688476" cy="6858000"/>
          </a:xfrm>
          <a:custGeom>
            <a:avLst/>
            <a:gdLst>
              <a:gd name="connsiteX0" fmla="*/ 0 w 5688476"/>
              <a:gd name="connsiteY0" fmla="*/ 0 h 6858000"/>
              <a:gd name="connsiteX1" fmla="*/ 5688476 w 5688476"/>
              <a:gd name="connsiteY1" fmla="*/ 0 h 6858000"/>
              <a:gd name="connsiteX2" fmla="*/ 5688476 w 5688476"/>
              <a:gd name="connsiteY2" fmla="*/ 6858000 h 6858000"/>
              <a:gd name="connsiteX3" fmla="*/ 0 w 5688476"/>
              <a:gd name="connsiteY3" fmla="*/ 6858000 h 6858000"/>
              <a:gd name="connsiteX4" fmla="*/ 0 w 5688476"/>
              <a:gd name="connsiteY4" fmla="*/ 0 h 6858000"/>
              <a:gd name="connsiteX0-1" fmla="*/ 0 w 5688476"/>
              <a:gd name="connsiteY0-2" fmla="*/ 0 h 6858000"/>
              <a:gd name="connsiteX1-3" fmla="*/ 5688476 w 5688476"/>
              <a:gd name="connsiteY1-4" fmla="*/ 0 h 6858000"/>
              <a:gd name="connsiteX2-5" fmla="*/ 2586461 w 5688476"/>
              <a:gd name="connsiteY2-6" fmla="*/ 6858000 h 6858000"/>
              <a:gd name="connsiteX3-7" fmla="*/ 0 w 5688476"/>
              <a:gd name="connsiteY3-8" fmla="*/ 6858000 h 6858000"/>
              <a:gd name="connsiteX4-9" fmla="*/ 0 w 5688476"/>
              <a:gd name="connsiteY4-10" fmla="*/ 0 h 6858000"/>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5688476" h="6858000">
                <a:moveTo>
                  <a:pt x="0" y="0"/>
                </a:moveTo>
                <a:lnTo>
                  <a:pt x="5688476" y="0"/>
                </a:lnTo>
                <a:lnTo>
                  <a:pt x="2586461" y="6858000"/>
                </a:lnTo>
                <a:lnTo>
                  <a:pt x="0" y="6858000"/>
                </a:lnTo>
                <a:lnTo>
                  <a:pt x="0" y="0"/>
                </a:lnTo>
                <a:close/>
              </a:path>
            </a:pathLst>
          </a:custGeom>
          <a:gradFill flip="none" rotWithShape="1">
            <a:gsLst>
              <a:gs pos="7000">
                <a:srgbClr val="FDF1ED">
                  <a:alpha val="18000"/>
                </a:srgbClr>
              </a:gs>
              <a:gs pos="27000">
                <a:srgbClr val="FEF8F6">
                  <a:alpha val="18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微软雅黑" panose="020B0503020204020204" pitchFamily="34" charset="-122"/>
              <a:ea typeface="微软雅黑" panose="020B0503020204020204" pitchFamily="34" charset="-122"/>
            </a:endParaRP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标题 1"/>
          <p:cNvSpPr>
            <a:spLocks noGrp="1"/>
          </p:cNvSpPr>
          <p:nvPr>
            <p:ph type="title" hasCustomPrompt="1"/>
          </p:nvPr>
        </p:nvSpPr>
        <p:spPr>
          <a:xfrm>
            <a:off x="660400" y="128587"/>
            <a:ext cx="10858500" cy="900112"/>
          </a:xfrm>
          <a:prstGeom prst="rect">
            <a:avLst/>
          </a:prstGeom>
        </p:spPr>
        <p:txBody>
          <a:bodyPr/>
          <a:lstStyle>
            <a:lvl1pPr>
              <a:defRPr/>
            </a:lvl1pPr>
          </a:lstStyle>
          <a:p>
            <a:pPr lvl="0"/>
            <a:r>
              <a:rPr lang="en-US"/>
              <a:t>Click to add title</a:t>
            </a:r>
            <a:endParaRPr lang="en-US"/>
          </a:p>
        </p:txBody>
      </p:sp>
      <p:sp>
        <p:nvSpPr>
          <p:cNvPr id="4" name="日期占位符 2"/>
          <p:cNvSpPr>
            <a:spLocks noGrp="1"/>
          </p:cNvSpPr>
          <p:nvPr>
            <p:ph type="dt" sz="half" idx="10"/>
          </p:nvPr>
        </p:nvSpPr>
        <p:spPr>
          <a:xfrm>
            <a:off x="4718050" y="6409690"/>
            <a:ext cx="2743200" cy="274320"/>
          </a:xfrm>
          <a:prstGeom prst="rect">
            <a:avLst/>
          </a:prstGeom>
        </p:spPr>
        <p:txBody>
          <a:bodyPr/>
          <a:lstStyle/>
          <a:p>
            <a:endParaRPr lang="en-US"/>
          </a:p>
        </p:txBody>
      </p:sp>
      <p:sp>
        <p:nvSpPr>
          <p:cNvPr id="5" name="页脚占位符 3"/>
          <p:cNvSpPr>
            <a:spLocks noGrp="1"/>
          </p:cNvSpPr>
          <p:nvPr>
            <p:ph type="ftr" sz="quarter" idx="11"/>
          </p:nvPr>
        </p:nvSpPr>
        <p:spPr>
          <a:xfrm>
            <a:off x="660399" y="6409690"/>
            <a:ext cx="3657600" cy="274320"/>
          </a:xfrm>
          <a:prstGeom prst="rect">
            <a:avLst/>
          </a:prstGeom>
        </p:spPr>
        <p:txBody>
          <a:bodyPr/>
          <a:lstStyle/>
          <a:p>
            <a:endParaRPr lang="en-US" dirty="0"/>
          </a:p>
        </p:txBody>
      </p:sp>
      <p:sp>
        <p:nvSpPr>
          <p:cNvPr id="6" name="灯片编号占位符 4"/>
          <p:cNvSpPr>
            <a:spLocks noGrp="1"/>
          </p:cNvSpPr>
          <p:nvPr>
            <p:ph type="sldNum" sz="quarter" idx="12"/>
          </p:nvPr>
        </p:nvSpPr>
        <p:spPr>
          <a:xfrm>
            <a:off x="7861300" y="6409690"/>
            <a:ext cx="3657600" cy="274320"/>
          </a:xfrm>
          <a:prstGeom prst="rect">
            <a:avLst/>
          </a:prstGeom>
        </p:spPr>
        <p:txBody>
          <a:bodyPr/>
          <a:lstStyle/>
          <a:p>
            <a:fld id="{C8BB1146-E542-4D4E-B8E9-6919A11DDD48}" type="slidenum">
              <a:rPr lang="en-US" smtClean="0"/>
            </a:fld>
            <a:endParaRPr lang="en-US"/>
          </a:p>
        </p:txBody>
      </p:sp>
    </p:spTree>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标题 1"/>
          <p:cNvSpPr>
            <a:spLocks noGrp="1"/>
          </p:cNvSpPr>
          <p:nvPr>
            <p:ph type="title" hasCustomPrompt="1"/>
          </p:nvPr>
        </p:nvSpPr>
        <p:spPr>
          <a:xfrm>
            <a:off x="660400" y="128587"/>
            <a:ext cx="10858500" cy="900112"/>
          </a:xfrm>
          <a:prstGeom prst="rect">
            <a:avLst/>
          </a:prstGeom>
        </p:spPr>
        <p:txBody>
          <a:bodyPr/>
          <a:lstStyle>
            <a:lvl1pPr>
              <a:defRPr/>
            </a:lvl1pPr>
          </a:lstStyle>
          <a:p>
            <a:pPr lvl="0"/>
            <a:r>
              <a:rPr lang="en-US"/>
              <a:t>Click to add title</a:t>
            </a:r>
            <a:endParaRPr lang="en-US"/>
          </a:p>
        </p:txBody>
      </p:sp>
      <p:sp>
        <p:nvSpPr>
          <p:cNvPr id="4" name="日期占位符 2"/>
          <p:cNvSpPr>
            <a:spLocks noGrp="1"/>
          </p:cNvSpPr>
          <p:nvPr>
            <p:ph type="dt" sz="half" idx="10"/>
          </p:nvPr>
        </p:nvSpPr>
        <p:spPr>
          <a:xfrm>
            <a:off x="4718050" y="6409690"/>
            <a:ext cx="2743200" cy="274320"/>
          </a:xfrm>
          <a:prstGeom prst="rect">
            <a:avLst/>
          </a:prstGeom>
        </p:spPr>
        <p:txBody>
          <a:bodyPr/>
          <a:lstStyle/>
          <a:p>
            <a:endParaRPr lang="en-US"/>
          </a:p>
        </p:txBody>
      </p:sp>
      <p:sp>
        <p:nvSpPr>
          <p:cNvPr id="5" name="页脚占位符 3"/>
          <p:cNvSpPr>
            <a:spLocks noGrp="1"/>
          </p:cNvSpPr>
          <p:nvPr>
            <p:ph type="ftr" sz="quarter" idx="11"/>
          </p:nvPr>
        </p:nvSpPr>
        <p:spPr>
          <a:xfrm>
            <a:off x="660399" y="6409690"/>
            <a:ext cx="3657600" cy="274320"/>
          </a:xfrm>
          <a:prstGeom prst="rect">
            <a:avLst/>
          </a:prstGeom>
        </p:spPr>
        <p:txBody>
          <a:bodyPr/>
          <a:lstStyle/>
          <a:p>
            <a:endParaRPr lang="en-US" dirty="0"/>
          </a:p>
        </p:txBody>
      </p:sp>
      <p:sp>
        <p:nvSpPr>
          <p:cNvPr id="6" name="灯片编号占位符 4"/>
          <p:cNvSpPr>
            <a:spLocks noGrp="1"/>
          </p:cNvSpPr>
          <p:nvPr>
            <p:ph type="sldNum" sz="quarter" idx="12"/>
          </p:nvPr>
        </p:nvSpPr>
        <p:spPr>
          <a:xfrm>
            <a:off x="7861300" y="6409690"/>
            <a:ext cx="3657600" cy="274320"/>
          </a:xfrm>
          <a:prstGeom prst="rect">
            <a:avLst/>
          </a:prstGeom>
        </p:spPr>
        <p:txBody>
          <a:bodyPr/>
          <a:lstStyle/>
          <a:p>
            <a:fld id="{C8BB1146-E542-4D4E-B8E9-6919A11DDD48}" type="slidenum">
              <a:rPr lang="en-US" smtClean="0"/>
            </a:fld>
            <a:endParaRPr lang="en-US"/>
          </a:p>
        </p:txBody>
      </p:sp>
    </p:spTree>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标题 1"/>
          <p:cNvSpPr>
            <a:spLocks noGrp="1"/>
          </p:cNvSpPr>
          <p:nvPr>
            <p:ph type="title" hasCustomPrompt="1"/>
          </p:nvPr>
        </p:nvSpPr>
        <p:spPr>
          <a:xfrm>
            <a:off x="660400" y="128587"/>
            <a:ext cx="10858500" cy="900112"/>
          </a:xfrm>
          <a:prstGeom prst="rect">
            <a:avLst/>
          </a:prstGeom>
        </p:spPr>
        <p:txBody>
          <a:bodyPr/>
          <a:lstStyle>
            <a:lvl1pPr>
              <a:defRPr/>
            </a:lvl1pPr>
          </a:lstStyle>
          <a:p>
            <a:pPr lvl="0"/>
            <a:r>
              <a:rPr lang="en-US"/>
              <a:t>Click to add title</a:t>
            </a:r>
            <a:endParaRPr lang="en-US"/>
          </a:p>
        </p:txBody>
      </p:sp>
      <p:sp>
        <p:nvSpPr>
          <p:cNvPr id="4" name="日期占位符 2"/>
          <p:cNvSpPr>
            <a:spLocks noGrp="1"/>
          </p:cNvSpPr>
          <p:nvPr>
            <p:ph type="dt" sz="half" idx="10"/>
          </p:nvPr>
        </p:nvSpPr>
        <p:spPr>
          <a:xfrm>
            <a:off x="4718050" y="6409690"/>
            <a:ext cx="2743200" cy="274320"/>
          </a:xfrm>
          <a:prstGeom prst="rect">
            <a:avLst/>
          </a:prstGeom>
        </p:spPr>
        <p:txBody>
          <a:bodyPr/>
          <a:lstStyle/>
          <a:p>
            <a:endParaRPr lang="en-US"/>
          </a:p>
        </p:txBody>
      </p:sp>
      <p:sp>
        <p:nvSpPr>
          <p:cNvPr id="5" name="页脚占位符 3"/>
          <p:cNvSpPr>
            <a:spLocks noGrp="1"/>
          </p:cNvSpPr>
          <p:nvPr>
            <p:ph type="ftr" sz="quarter" idx="11"/>
          </p:nvPr>
        </p:nvSpPr>
        <p:spPr>
          <a:xfrm>
            <a:off x="660399" y="6409690"/>
            <a:ext cx="3657600" cy="274320"/>
          </a:xfrm>
          <a:prstGeom prst="rect">
            <a:avLst/>
          </a:prstGeom>
        </p:spPr>
        <p:txBody>
          <a:bodyPr/>
          <a:lstStyle/>
          <a:p>
            <a:endParaRPr lang="en-US" dirty="0"/>
          </a:p>
        </p:txBody>
      </p:sp>
      <p:sp>
        <p:nvSpPr>
          <p:cNvPr id="6" name="灯片编号占位符 4"/>
          <p:cNvSpPr>
            <a:spLocks noGrp="1"/>
          </p:cNvSpPr>
          <p:nvPr>
            <p:ph type="sldNum" sz="quarter" idx="12"/>
          </p:nvPr>
        </p:nvSpPr>
        <p:spPr>
          <a:xfrm>
            <a:off x="7861300" y="6409690"/>
            <a:ext cx="3657600" cy="274320"/>
          </a:xfrm>
          <a:prstGeom prst="rect">
            <a:avLst/>
          </a:prstGeom>
        </p:spPr>
        <p:txBody>
          <a:bodyPr/>
          <a:lstStyle/>
          <a:p>
            <a:fld id="{C8BB1146-E542-4D4E-B8E9-6919A11DDD48}" type="slidenum">
              <a:rPr lang="en-US" smtClean="0"/>
            </a:fld>
            <a:endParaRPr lang="en-US"/>
          </a:p>
        </p:txBody>
      </p:sp>
    </p:spTree>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标题 1"/>
          <p:cNvSpPr>
            <a:spLocks noGrp="1"/>
          </p:cNvSpPr>
          <p:nvPr>
            <p:ph type="title" hasCustomPrompt="1"/>
          </p:nvPr>
        </p:nvSpPr>
        <p:spPr>
          <a:xfrm>
            <a:off x="660400" y="128587"/>
            <a:ext cx="10858500" cy="900112"/>
          </a:xfrm>
          <a:prstGeom prst="rect">
            <a:avLst/>
          </a:prstGeom>
        </p:spPr>
        <p:txBody>
          <a:bodyPr/>
          <a:lstStyle>
            <a:lvl1pPr>
              <a:defRPr/>
            </a:lvl1pPr>
          </a:lstStyle>
          <a:p>
            <a:pPr lvl="0"/>
            <a:r>
              <a:rPr lang="en-US"/>
              <a:t>Click to add title</a:t>
            </a:r>
            <a:endParaRPr lang="en-US"/>
          </a:p>
        </p:txBody>
      </p:sp>
      <p:sp>
        <p:nvSpPr>
          <p:cNvPr id="4" name="日期占位符 2"/>
          <p:cNvSpPr>
            <a:spLocks noGrp="1"/>
          </p:cNvSpPr>
          <p:nvPr>
            <p:ph type="dt" sz="half" idx="10"/>
          </p:nvPr>
        </p:nvSpPr>
        <p:spPr>
          <a:xfrm>
            <a:off x="4718050" y="6409690"/>
            <a:ext cx="2743200" cy="274320"/>
          </a:xfrm>
          <a:prstGeom prst="rect">
            <a:avLst/>
          </a:prstGeom>
        </p:spPr>
        <p:txBody>
          <a:bodyPr/>
          <a:lstStyle/>
          <a:p>
            <a:endParaRPr lang="en-US"/>
          </a:p>
        </p:txBody>
      </p:sp>
      <p:sp>
        <p:nvSpPr>
          <p:cNvPr id="5" name="页脚占位符 3"/>
          <p:cNvSpPr>
            <a:spLocks noGrp="1"/>
          </p:cNvSpPr>
          <p:nvPr>
            <p:ph type="ftr" sz="quarter" idx="11"/>
          </p:nvPr>
        </p:nvSpPr>
        <p:spPr>
          <a:xfrm>
            <a:off x="660399" y="6409690"/>
            <a:ext cx="3657600" cy="274320"/>
          </a:xfrm>
          <a:prstGeom prst="rect">
            <a:avLst/>
          </a:prstGeom>
        </p:spPr>
        <p:txBody>
          <a:bodyPr/>
          <a:lstStyle/>
          <a:p>
            <a:endParaRPr lang="en-US" dirty="0"/>
          </a:p>
        </p:txBody>
      </p:sp>
      <p:sp>
        <p:nvSpPr>
          <p:cNvPr id="6" name="灯片编号占位符 4"/>
          <p:cNvSpPr>
            <a:spLocks noGrp="1"/>
          </p:cNvSpPr>
          <p:nvPr>
            <p:ph type="sldNum" sz="quarter" idx="12"/>
          </p:nvPr>
        </p:nvSpPr>
        <p:spPr>
          <a:xfrm>
            <a:off x="7861300" y="6409690"/>
            <a:ext cx="3657600" cy="274320"/>
          </a:xfrm>
          <a:prstGeom prst="rect">
            <a:avLst/>
          </a:prstGeom>
        </p:spPr>
        <p:txBody>
          <a:bodyPr/>
          <a:lstStyle/>
          <a:p>
            <a:fld id="{C8BB1146-E542-4D4E-B8E9-6919A11DDD48}" type="slidenum">
              <a:rPr lang="en-US" smtClean="0"/>
            </a:fld>
            <a:endParaRPr lang="en-US"/>
          </a:p>
        </p:txBody>
      </p:sp>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3" name="Date Placeholder 1"/>
          <p:cNvSpPr>
            <a:spLocks noGrp="1"/>
          </p:cNvSpPr>
          <p:nvPr>
            <p:ph type="dt" sz="half" idx="10"/>
          </p:nvPr>
        </p:nvSpPr>
        <p:spPr>
          <a:xfrm>
            <a:off x="5504656" y="6438900"/>
            <a:ext cx="1802924" cy="215900"/>
          </a:xfrm>
          <a:prstGeom prst="rect">
            <a:avLst/>
          </a:prstGeom>
        </p:spPr>
        <p:txBody>
          <a:bodyPr/>
          <a:lstStyle/>
          <a:p>
            <a:fld id="{A50ECBEB-8597-4EA4-9D29-E1D7025CFAA0}" type="datetime1">
              <a:rPr lang="zh-CN" altLang="en-US" smtClean="0"/>
            </a:fld>
            <a:endParaRPr lang="zh-CN" altLang="en-US"/>
          </a:p>
        </p:txBody>
      </p:sp>
      <p:sp>
        <p:nvSpPr>
          <p:cNvPr id="4" name="Footer Placeholder 2"/>
          <p:cNvSpPr>
            <a:spLocks noGrp="1"/>
          </p:cNvSpPr>
          <p:nvPr>
            <p:ph type="ftr" sz="quarter" idx="11"/>
          </p:nvPr>
        </p:nvSpPr>
        <p:spPr>
          <a:xfrm>
            <a:off x="660401" y="6438900"/>
            <a:ext cx="3992171" cy="215900"/>
          </a:xfrm>
          <a:prstGeom prst="rect">
            <a:avLst/>
          </a:prstGeom>
        </p:spPr>
        <p:txBody>
          <a:bodyPr/>
          <a:lstStyle/>
          <a:p>
            <a:endParaRPr lang="zh-CN" altLang="en-US"/>
          </a:p>
        </p:txBody>
      </p:sp>
      <p:sp>
        <p:nvSpPr>
          <p:cNvPr id="5" name="Slide Number Placeholder 3"/>
          <p:cNvSpPr>
            <a:spLocks noGrp="1"/>
          </p:cNvSpPr>
          <p:nvPr>
            <p:ph type="sldNum" sz="quarter" idx="12"/>
          </p:nvPr>
        </p:nvSpPr>
        <p:spPr>
          <a:xfrm>
            <a:off x="8857452" y="6438900"/>
            <a:ext cx="2661448" cy="215900"/>
          </a:xfrm>
          <a:prstGeom prst="rect">
            <a:avLst/>
          </a:prstGeom>
        </p:spPr>
        <p:txBody>
          <a:bodyPr/>
          <a:lstStyle/>
          <a:p>
            <a:fld id="{7F65B630-C7FF-41C0-9923-C5E5E29EED81}" type="slidenum">
              <a:rPr lang="zh-CN" altLang="en-US" smtClean="0"/>
            </a:fld>
            <a:endParaRPr lang="zh-CN" altLang="en-US"/>
          </a:p>
        </p:txBody>
      </p:sp>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3" name="Date Placeholder 1"/>
          <p:cNvSpPr>
            <a:spLocks noGrp="1"/>
          </p:cNvSpPr>
          <p:nvPr>
            <p:ph type="dt" sz="half" idx="10"/>
          </p:nvPr>
        </p:nvSpPr>
        <p:spPr>
          <a:xfrm>
            <a:off x="5504656" y="6438900"/>
            <a:ext cx="1802924" cy="215900"/>
          </a:xfrm>
          <a:prstGeom prst="rect">
            <a:avLst/>
          </a:prstGeom>
        </p:spPr>
        <p:txBody>
          <a:bodyPr/>
          <a:lstStyle/>
          <a:p>
            <a:fld id="{FD17C161-E0A8-4D01-9947-85FD8942E9C9}" type="datetime1">
              <a:rPr lang="zh-CN" altLang="en-US" smtClean="0"/>
            </a:fld>
            <a:endParaRPr lang="zh-CN" altLang="en-US"/>
          </a:p>
        </p:txBody>
      </p:sp>
      <p:sp>
        <p:nvSpPr>
          <p:cNvPr id="4" name="Footer Placeholder 2"/>
          <p:cNvSpPr>
            <a:spLocks noGrp="1"/>
          </p:cNvSpPr>
          <p:nvPr>
            <p:ph type="ftr" sz="quarter" idx="11"/>
          </p:nvPr>
        </p:nvSpPr>
        <p:spPr>
          <a:xfrm>
            <a:off x="660401" y="6438900"/>
            <a:ext cx="3992171" cy="215900"/>
          </a:xfrm>
          <a:prstGeom prst="rect">
            <a:avLst/>
          </a:prstGeom>
        </p:spPr>
        <p:txBody>
          <a:bodyPr/>
          <a:lstStyle/>
          <a:p>
            <a:endParaRPr lang="zh-CN" altLang="en-US"/>
          </a:p>
        </p:txBody>
      </p:sp>
      <p:sp>
        <p:nvSpPr>
          <p:cNvPr id="5" name="Slide Number Placeholder 3"/>
          <p:cNvSpPr>
            <a:spLocks noGrp="1"/>
          </p:cNvSpPr>
          <p:nvPr>
            <p:ph type="sldNum" sz="quarter" idx="12"/>
          </p:nvPr>
        </p:nvSpPr>
        <p:spPr>
          <a:xfrm>
            <a:off x="8857452" y="6438900"/>
            <a:ext cx="2661448" cy="215900"/>
          </a:xfrm>
          <a:prstGeom prst="rect">
            <a:avLst/>
          </a:prstGeom>
        </p:spPr>
        <p:txBody>
          <a:bodyPr/>
          <a:lstStyle/>
          <a:p>
            <a:fld id="{7F65B630-C7FF-41C0-9923-C5E5E29EED81}" type="slidenum">
              <a:rPr lang="zh-CN" altLang="en-US" smtClean="0"/>
            </a:fld>
            <a:endParaRPr lang="zh-CN" altLang="en-US"/>
          </a:p>
        </p:txBody>
      </p:sp>
    </p:spTree>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3" name="Date Placeholder 1"/>
          <p:cNvSpPr>
            <a:spLocks noGrp="1"/>
          </p:cNvSpPr>
          <p:nvPr>
            <p:ph type="dt" sz="half" idx="10"/>
          </p:nvPr>
        </p:nvSpPr>
        <p:spPr>
          <a:xfrm>
            <a:off x="5504656" y="6438900"/>
            <a:ext cx="1802924" cy="215900"/>
          </a:xfrm>
          <a:prstGeom prst="rect">
            <a:avLst/>
          </a:prstGeom>
        </p:spPr>
        <p:txBody>
          <a:bodyPr/>
          <a:lstStyle/>
          <a:p>
            <a:fld id="{B9109487-48C0-49BF-9A76-4EC48A3BB7C8}" type="datetime1">
              <a:rPr lang="zh-CN" altLang="en-US" smtClean="0"/>
            </a:fld>
            <a:endParaRPr lang="zh-CN" altLang="en-US"/>
          </a:p>
        </p:txBody>
      </p:sp>
      <p:sp>
        <p:nvSpPr>
          <p:cNvPr id="4" name="Footer Placeholder 2"/>
          <p:cNvSpPr>
            <a:spLocks noGrp="1"/>
          </p:cNvSpPr>
          <p:nvPr>
            <p:ph type="ftr" sz="quarter" idx="11"/>
          </p:nvPr>
        </p:nvSpPr>
        <p:spPr>
          <a:xfrm>
            <a:off x="660401" y="6438900"/>
            <a:ext cx="3992171" cy="215900"/>
          </a:xfrm>
          <a:prstGeom prst="rect">
            <a:avLst/>
          </a:prstGeom>
        </p:spPr>
        <p:txBody>
          <a:bodyPr/>
          <a:lstStyle/>
          <a:p>
            <a:endParaRPr lang="zh-CN" altLang="en-US"/>
          </a:p>
        </p:txBody>
      </p:sp>
      <p:sp>
        <p:nvSpPr>
          <p:cNvPr id="5" name="Slide Number Placeholder 3"/>
          <p:cNvSpPr>
            <a:spLocks noGrp="1"/>
          </p:cNvSpPr>
          <p:nvPr>
            <p:ph type="sldNum" sz="quarter" idx="12"/>
          </p:nvPr>
        </p:nvSpPr>
        <p:spPr>
          <a:xfrm>
            <a:off x="8857452" y="6438900"/>
            <a:ext cx="2661448" cy="215900"/>
          </a:xfrm>
          <a:prstGeom prst="rect">
            <a:avLst/>
          </a:prstGeom>
        </p:spPr>
        <p:txBody>
          <a:bodyPr/>
          <a:lstStyle/>
          <a:p>
            <a:fld id="{7F65B630-C7FF-41C0-9923-C5E5E29EED81}" type="slidenum">
              <a:rPr lang="zh-CN" altLang="en-US" smtClean="0"/>
            </a:fld>
            <a:endParaRPr lang="zh-CN" altLang="en-US"/>
          </a:p>
        </p:txBody>
      </p:sp>
    </p:spTree>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showMasterSp="0" userDrawn="1">
  <p:cSld name="0封面">
    <p:bg>
      <p:bgPr>
        <a:solidFill>
          <a:schemeClr val="bg1"/>
        </a:solidFill>
        <a:effectLst/>
      </p:bgPr>
    </p:bg>
    <p:spTree>
      <p:nvGrpSpPr>
        <p:cNvPr id="1" name=""/>
        <p:cNvGrpSpPr/>
        <p:nvPr/>
      </p:nvGrpSpPr>
      <p:grpSpPr>
        <a:xfrm>
          <a:off x="0" y="0"/>
          <a:ext cx="0" cy="0"/>
          <a:chOff x="0" y="0"/>
          <a:chExt cx="0" cy="0"/>
        </a:xfrm>
      </p:grpSpPr>
      <p:sp>
        <p:nvSpPr>
          <p:cNvPr id="24" name="Rectangle 2"/>
          <p:cNvSpPr/>
          <p:nvPr userDrawn="1"/>
        </p:nvSpPr>
        <p:spPr bwMode="auto">
          <a:xfrm flipH="1">
            <a:off x="0" y="3073313"/>
            <a:ext cx="10920534" cy="2262324"/>
          </a:xfrm>
          <a:prstGeom prst="rect">
            <a:avLst/>
          </a:prstGeom>
          <a:noFill/>
          <a:ln>
            <a:noFill/>
          </a:ln>
        </p:spPr>
        <p:txBody>
          <a:bodyPr lIns="0" tIns="0" rIns="0" bIns="0"/>
          <a:lstStyle/>
          <a:p>
            <a:pPr marL="0" marR="0" lvl="0" indent="0" algn="r" defTabSz="914400" eaLnBrk="1" fontAlgn="auto" latinLnBrk="0" hangingPunct="1">
              <a:lnSpc>
                <a:spcPct val="100000"/>
              </a:lnSpc>
              <a:spcBef>
                <a:spcPts val="0"/>
              </a:spcBef>
              <a:spcAft>
                <a:spcPts val="0"/>
              </a:spcAft>
              <a:buClrTx/>
              <a:buSzTx/>
              <a:buFontTx/>
              <a:buNone/>
              <a:defRPr/>
            </a:pPr>
            <a:endParaRPr kumimoji="0" lang="en-US" sz="2400" b="1" i="0" u="none" strike="noStrike" kern="0" cap="none" spc="0" normalizeH="0" baseline="0" noProof="0" dirty="0">
              <a:ln>
                <a:noFill/>
              </a:ln>
              <a:solidFill>
                <a:prstClr val="black"/>
              </a:solidFill>
              <a:effectLst/>
              <a:uLnTx/>
              <a:uFillTx/>
              <a:latin typeface="微软雅黑"/>
              <a:ea typeface="微软雅黑"/>
            </a:endParaRPr>
          </a:p>
        </p:txBody>
      </p:sp>
      <p:graphicFrame>
        <p:nvGraphicFramePr>
          <p:cNvPr id="4" name="对象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Slide" r:id="rId3" imgW="0" imgH="0" progId="TCLayout.ActiveDocument.1">
                  <p:embed/>
                </p:oleObj>
              </mc:Choice>
              <mc:Fallback>
                <p:oleObj name="think-cell Slide" r:id="rId3" imgW="0" imgH="0" progId="TCLayout.ActiveDocument.1">
                  <p:embed/>
                  <p:pic>
                    <p:nvPicPr>
                      <p:cNvPr id="0" name="对象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矩形 2" hidden="1"/>
          <p:cNvSpPr/>
          <p:nvPr userDrawn="1">
            <p:custDataLst>
              <p:tags r:id="rId5"/>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defRPr/>
            </a:pPr>
            <a:endParaRPr kumimoji="0" lang="en-US" altLang="zh-CN" sz="4000" b="1" i="0" u="none" strike="noStrike" kern="1200" cap="none" spc="0" normalizeH="0" baseline="0" noProof="0" dirty="0">
              <a:ln>
                <a:noFill/>
              </a:ln>
              <a:solidFill>
                <a:srgbClr val="FFFFFF"/>
              </a:solidFill>
              <a:effectLst/>
              <a:uLnTx/>
              <a:uFillTx/>
              <a:latin typeface="Arial" panose="020B0604020202090204" pitchFamily="34" charset="0"/>
              <a:ea typeface="微软雅黑" panose="020B0503020204020204" pitchFamily="34" charset="-122"/>
              <a:cs typeface="+mj-cs"/>
              <a:sym typeface="Arial" panose="020B0604020202090204" pitchFamily="34" charset="0"/>
            </a:endParaRPr>
          </a:p>
        </p:txBody>
      </p:sp>
      <p:sp>
        <p:nvSpPr>
          <p:cNvPr id="12" name="矩形 11"/>
          <p:cNvSpPr/>
          <p:nvPr userDrawn="1"/>
        </p:nvSpPr>
        <p:spPr>
          <a:xfrm>
            <a:off x="-1" y="5335637"/>
            <a:ext cx="12191999" cy="15223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indent="0" algn="ctr" defTabSz="914400" rtl="0" eaLnBrk="1" fontAlgn="auto" latinLnBrk="0" hangingPunct="1">
              <a:lnSpc>
                <a:spcPct val="100000"/>
              </a:lnSpc>
              <a:spcBef>
                <a:spcPts val="0"/>
              </a:spcBef>
              <a:spcAft>
                <a:spcPts val="0"/>
              </a:spcAft>
              <a:buClrTx/>
              <a:buSzTx/>
              <a:buFontTx/>
              <a:buNone/>
            </a:pPr>
            <a:endParaRPr kumimoji="0" lang="zh-CN" altLang="en-US" sz="1400" b="0" i="0" u="none" strike="noStrike" kern="1200" cap="none" spc="0" normalizeH="0" baseline="0" noProof="0" dirty="0">
              <a:ln>
                <a:noFill/>
              </a:ln>
              <a:solidFill>
                <a:schemeClr val="tx1"/>
              </a:solidFill>
              <a:effectLst/>
              <a:uLnTx/>
              <a:uFillTx/>
              <a:latin typeface="+mn-ea"/>
              <a:cs typeface="+mn-cs"/>
            </a:endParaRPr>
          </a:p>
        </p:txBody>
      </p:sp>
      <p:cxnSp>
        <p:nvCxnSpPr>
          <p:cNvPr id="6" name="直接连接符 5"/>
          <p:cNvCxnSpPr/>
          <p:nvPr userDrawn="1"/>
        </p:nvCxnSpPr>
        <p:spPr>
          <a:xfrm>
            <a:off x="171507" y="1028700"/>
            <a:ext cx="11822373" cy="0"/>
          </a:xfrm>
          <a:prstGeom prst="line">
            <a:avLst/>
          </a:prstGeom>
          <a:ln w="19050"/>
        </p:spPr>
        <p:style>
          <a:lnRef idx="1">
            <a:schemeClr val="accent1"/>
          </a:lnRef>
          <a:fillRef idx="0">
            <a:schemeClr val="accent1"/>
          </a:fillRef>
          <a:effectRef idx="0">
            <a:schemeClr val="accent1"/>
          </a:effectRef>
          <a:fontRef idx="minor">
            <a:schemeClr val="tx1"/>
          </a:fontRef>
        </p:style>
      </p:cxnSp>
    </p:spTree>
  </p:cSld>
  <p:clrMapOvr>
    <a:overrideClrMapping bg1="lt1" tx1="dk1" bg2="lt2" tx2="dk2" accent1="accent1" accent2="accent2" accent3="accent3" accent4="accent4" accent5="accent5" accent6="accent6" hlink="hlink" folHlink="folHlink"/>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标题">
    <p:spTree>
      <p:nvGrpSpPr>
        <p:cNvPr id="1" name=""/>
        <p:cNvGrpSpPr/>
        <p:nvPr/>
      </p:nvGrpSpPr>
      <p:grpSpPr>
        <a:xfrm>
          <a:off x="0" y="0"/>
          <a:ext cx="0" cy="0"/>
          <a:chOff x="0" y="0"/>
          <a:chExt cx="0" cy="0"/>
        </a:xfrm>
      </p:grpSpPr>
      <p:graphicFrame>
        <p:nvGraphicFramePr>
          <p:cNvPr id="7" name="对象 6"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Slide" r:id="rId3" imgW="0" imgH="0" progId="TCLayout.ActiveDocument.1">
                  <p:embed/>
                </p:oleObj>
              </mc:Choice>
              <mc:Fallback>
                <p:oleObj name="think-cell Slide" r:id="rId3" imgW="0" imgH="0" progId="TCLayout.ActiveDocument.1">
                  <p:embed/>
                  <p:pic>
                    <p:nvPicPr>
                      <p:cNvPr id="0" name="对象 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矩形 2" hidden="1"/>
          <p:cNvSpPr/>
          <p:nvPr userDrawn="1">
            <p:custDataLst>
              <p:tags r:id="rId5"/>
            </p:custDataLst>
          </p:nvPr>
        </p:nvSpPr>
        <p:spPr>
          <a:xfrm>
            <a:off x="0" y="0"/>
            <a:ext cx="158750" cy="158750"/>
          </a:xfrm>
          <a:prstGeom prst="rect">
            <a:avLst/>
          </a:prstGeom>
          <a:solidFill>
            <a:srgbClr val="DBCF4D">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pPr>
            <a:endParaRPr kumimoji="0" lang="en-US" altLang="zh-CN" sz="2400" b="1" i="0" u="none" strike="noStrike" kern="1200" cap="none" spc="0" normalizeH="0" baseline="0" noProof="0" dirty="0">
              <a:ln>
                <a:noFill/>
              </a:ln>
              <a:solidFill>
                <a:srgbClr val="FFFFFF"/>
              </a:solidFill>
              <a:effectLst/>
              <a:uLnTx/>
              <a:uFillTx/>
              <a:latin typeface="Arial" panose="020B0604020202090204" pitchFamily="34" charset="0"/>
              <a:ea typeface="华文楷体" panose="02010600040101010101" pitchFamily="2" charset="-122"/>
              <a:cs typeface="+mj-cs"/>
              <a:sym typeface="Arial" panose="020B0604020202090204" pitchFamily="34" charset="0"/>
            </a:endParaRPr>
          </a:p>
        </p:txBody>
      </p:sp>
      <p:sp>
        <p:nvSpPr>
          <p:cNvPr id="19" name="灯片编号占位符 5"/>
          <p:cNvSpPr txBox="1"/>
          <p:nvPr userDrawn="1"/>
        </p:nvSpPr>
        <p:spPr>
          <a:xfrm>
            <a:off x="8869679" y="6395878"/>
            <a:ext cx="2909888" cy="206381"/>
          </a:xfrm>
          <a:prstGeom prst="rect">
            <a:avLst/>
          </a:prstGeom>
        </p:spPr>
        <p:txBody>
          <a:bodyPr vert="horz" lIns="91440" tIns="0" rIns="91440" bIns="45720" rtlCol="0" anchor="b" anchorCtr="0"/>
          <a:lstStyle>
            <a:defPPr>
              <a:defRPr lang="zh-CN"/>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5DD3DB80-B894-403A-B48E-6FDC1A72010E}" type="slidenum">
              <a:rPr lang="zh-CN" altLang="en-US" sz="1200" b="1" smtClean="0">
                <a:solidFill>
                  <a:srgbClr val="000000">
                    <a:lumMod val="50000"/>
                    <a:lumOff val="50000"/>
                  </a:srgbClr>
                </a:solidFill>
                <a:latin typeface="Arial" panose="020B0604020202090204"/>
                <a:ea typeface="微软雅黑"/>
              </a:rPr>
            </a:fld>
            <a:endParaRPr lang="zh-CN" altLang="en-US" sz="1200" b="1" dirty="0">
              <a:solidFill>
                <a:srgbClr val="000000">
                  <a:lumMod val="50000"/>
                  <a:lumOff val="50000"/>
                </a:srgbClr>
              </a:solidFill>
              <a:latin typeface="Arial" panose="020B0604020202090204"/>
              <a:ea typeface="微软雅黑"/>
            </a:endParaRPr>
          </a:p>
        </p:txBody>
      </p:sp>
      <p:cxnSp>
        <p:nvCxnSpPr>
          <p:cNvPr id="11" name="直接连接符 10"/>
          <p:cNvCxnSpPr/>
          <p:nvPr userDrawn="1"/>
        </p:nvCxnSpPr>
        <p:spPr>
          <a:xfrm>
            <a:off x="171507" y="1028700"/>
            <a:ext cx="11822373"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2" name="标题 5"/>
          <p:cNvSpPr>
            <a:spLocks noGrp="1"/>
          </p:cNvSpPr>
          <p:nvPr>
            <p:ph type="title" hasCustomPrompt="1"/>
          </p:nvPr>
        </p:nvSpPr>
        <p:spPr>
          <a:xfrm>
            <a:off x="171507" y="121920"/>
            <a:ext cx="11822373" cy="845820"/>
          </a:xfrm>
          <a:prstGeom prst="rect">
            <a:avLst/>
          </a:prstGeom>
        </p:spPr>
        <p:txBody>
          <a:bodyPr anchor="b"/>
          <a:lstStyle>
            <a:lvl1pPr>
              <a:defRPr/>
            </a:lvl1pPr>
          </a:lstStyle>
          <a:p>
            <a:r>
              <a:rPr lang="zh-CN" altLang="en-US" dirty="0"/>
              <a:t>标题</a:t>
            </a:r>
            <a:endParaRPr lang="zh-CN" altLang="en-US" dirty="0"/>
          </a:p>
        </p:txBody>
      </p:sp>
    </p:spTree>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标题和内容">
    <p:spTree>
      <p:nvGrpSpPr>
        <p:cNvPr id="1" name=""/>
        <p:cNvGrpSpPr/>
        <p:nvPr/>
      </p:nvGrpSpPr>
      <p:grpSpPr>
        <a:xfrm>
          <a:off x="0" y="0"/>
          <a:ext cx="0" cy="0"/>
          <a:chOff x="0" y="0"/>
          <a:chExt cx="0" cy="0"/>
        </a:xfrm>
      </p:grpSpPr>
      <p:pic>
        <p:nvPicPr>
          <p:cNvPr id="5" name="72d2fdfb8da93606a4b836a6cf30fcbf570dc6d9178c0b-ai3vDw.jpeg" descr="72d2fdfb8da93606a4b836a6cf30fcbf570dc6d9178c0b-ai3vDw.jpeg"/>
          <p:cNvPicPr>
            <a:picLocks noChangeAspect="1"/>
          </p:cNvPicPr>
          <p:nvPr userDrawn="1"/>
        </p:nvPicPr>
        <p:blipFill rotWithShape="1">
          <a:blip r:embed="rId2"/>
          <a:srcRect b="4492"/>
          <a:stretch>
            <a:fillRect/>
          </a:stretch>
        </p:blipFill>
        <p:spPr>
          <a:xfrm>
            <a:off x="0" y="1"/>
            <a:ext cx="12231566" cy="6858000"/>
          </a:xfrm>
          <a:prstGeom prst="rect">
            <a:avLst/>
          </a:prstGeom>
          <a:ln w="12700">
            <a:miter lim="400000"/>
            <a:headEnd/>
            <a:tailEnd/>
          </a:ln>
        </p:spPr>
      </p:pic>
      <p:sp>
        <p:nvSpPr>
          <p:cNvPr id="6" name="矩形"/>
          <p:cNvSpPr/>
          <p:nvPr userDrawn="1"/>
        </p:nvSpPr>
        <p:spPr>
          <a:xfrm>
            <a:off x="0" y="10581"/>
            <a:ext cx="12231566" cy="6847420"/>
          </a:xfrm>
          <a:prstGeom prst="rect">
            <a:avLst/>
          </a:prstGeom>
          <a:solidFill>
            <a:srgbClr val="000000">
              <a:alpha val="30174"/>
            </a:srgbClr>
          </a:solidFill>
          <a:ln w="12700">
            <a:miter lim="400000"/>
          </a:ln>
        </p:spPr>
        <p:txBody>
          <a:bodyPr lIns="45719" rIns="45719" anchor="ctr"/>
          <a:lstStyle/>
          <a:p>
            <a:pPr marL="0" marR="0" lvl="0" indent="0" algn="l" defTabSz="914400" rtl="0" eaLnBrk="1" fontAlgn="auto" latinLnBrk="0" hangingPunct="0">
              <a:lnSpc>
                <a:spcPct val="100000"/>
              </a:lnSpc>
              <a:spcBef>
                <a:spcPts val="0"/>
              </a:spcBef>
              <a:spcAft>
                <a:spcPts val="0"/>
              </a:spcAft>
              <a:buClrTx/>
              <a:buSzTx/>
              <a:buFontTx/>
              <a:buNone/>
              <a:defRPr/>
            </a:pPr>
            <a:endParaRPr kumimoji="0" sz="1800" b="0" i="0" u="none" strike="noStrike" kern="0" cap="none" spc="0" normalizeH="0" baseline="0" noProof="0">
              <a:ln>
                <a:noFill/>
              </a:ln>
              <a:solidFill>
                <a:srgbClr val="000000"/>
              </a:solidFill>
              <a:effectLst/>
              <a:uLnTx/>
              <a:uFillTx/>
              <a:latin typeface="DengXian"/>
              <a:ea typeface="DengXian"/>
              <a:sym typeface="DengXian"/>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zh-CN" altLang="en-US"/>
              <a:t>单击此处编辑母版标题样式</a:t>
            </a:r>
            <a:endParaRPr lang="zh-CN" altLang="en-US"/>
          </a:p>
        </p:txBody>
      </p:sp>
      <p:sp>
        <p:nvSpPr>
          <p:cNvPr id="9" name="灯片编号占位符 8"/>
          <p:cNvSpPr>
            <a:spLocks noGrp="1"/>
          </p:cNvSpPr>
          <p:nvPr>
            <p:ph type="sldNum" sz="quarter" idx="10"/>
          </p:nvPr>
        </p:nvSpPr>
        <p:spPr>
          <a:xfrm>
            <a:off x="11287844" y="6289488"/>
            <a:ext cx="526143" cy="365125"/>
          </a:xfrm>
        </p:spPr>
        <p:txBody>
          <a:bodyPr/>
          <a:lstStyle/>
          <a:p>
            <a:fld id="{09321FF8-95CF-4FCD-B001-FA7673DD6BBC}" type="slidenum">
              <a:rPr lang="zh-CN" altLang="en-US" smtClean="0"/>
            </a:fld>
            <a:endParaRPr lang="zh-CN" altLang="en-US" dirty="0"/>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1_仅标题">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3" name="think-cell Slide" r:id="rId3" imgW="0" imgH="0" progId="TCLayout.ActiveDocument.1">
                  <p:embed/>
                </p:oleObj>
              </mc:Choice>
              <mc:Fallback>
                <p:oleObj name="think-cell Slide" r:id="rId3" imgW="0" imgH="0" progId="TCLayout.ActiveDocument.1">
                  <p:embed/>
                  <p:pic>
                    <p:nvPicPr>
                      <p:cNvPr id="0" name="对象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10" name="FooterSimple" hidden="1"/>
          <p:cNvSpPr txBox="1"/>
          <p:nvPr userDrawn="1">
            <p:custDataLst>
              <p:tags r:id="rId5"/>
            </p:custDataLst>
          </p:nvPr>
        </p:nvSpPr>
        <p:spPr>
          <a:xfrm rot="16200000">
            <a:off x="10561320" y="5117886"/>
            <a:ext cx="2743200" cy="96950"/>
          </a:xfrm>
          <a:prstGeom prst="rect">
            <a:avLst/>
          </a:prstGeom>
          <a:noFill/>
        </p:spPr>
        <p:txBody>
          <a:bodyPr wrap="square" lIns="0" tIns="0" rIns="0" bIns="0" rtlCol="0" anchor="b">
            <a:spAutoFit/>
          </a:bodyPr>
          <a:lstStyle/>
          <a:p>
            <a:pPr>
              <a:lnSpc>
                <a:spcPct val="90000"/>
              </a:lnSpc>
              <a:spcAft>
                <a:spcPts val="600"/>
              </a:spcAft>
            </a:pPr>
            <a:r>
              <a:rPr lang="en-US" altLang="zh-CN" sz="700">
                <a:solidFill>
                  <a:schemeClr val="bg1">
                    <a:lumMod val="50000"/>
                  </a:schemeClr>
                </a:solidFill>
                <a:latin typeface="+mn-lt"/>
                <a:sym typeface="Trebuchet MS" panose="020B0703020202090204" pitchFamily="34" charset="0"/>
              </a:rPr>
              <a:t>【</a:t>
            </a:r>
            <a:r>
              <a:rPr lang="zh-CN" altLang="en-US" sz="700">
                <a:solidFill>
                  <a:schemeClr val="bg1">
                    <a:lumMod val="50000"/>
                  </a:schemeClr>
                </a:solidFill>
                <a:latin typeface="+mn-lt"/>
                <a:sym typeface="Trebuchet MS" panose="020B0703020202090204" pitchFamily="34" charset="0"/>
              </a:rPr>
              <a:t>材料汇总</a:t>
            </a:r>
            <a:r>
              <a:rPr lang="en-US" altLang="zh-CN" sz="700">
                <a:solidFill>
                  <a:schemeClr val="bg1">
                    <a:lumMod val="50000"/>
                  </a:schemeClr>
                </a:solidFill>
                <a:latin typeface="+mn-lt"/>
                <a:sym typeface="Trebuchet MS" panose="020B0703020202090204" pitchFamily="34" charset="0"/>
              </a:rPr>
              <a:t>】201809CIO office sample sldies v5.pptx</a:t>
            </a:r>
            <a:endParaRPr lang="en-US" sz="700" dirty="0">
              <a:solidFill>
                <a:schemeClr val="bg1">
                  <a:lumMod val="50000"/>
                </a:schemeClr>
              </a:solidFill>
              <a:latin typeface="+mn-lt"/>
              <a:sym typeface="Trebuchet MS" panose="020B0703020202090204" pitchFamily="34" charset="0"/>
            </a:endParaRPr>
          </a:p>
        </p:txBody>
      </p:sp>
      <p:sp>
        <p:nvSpPr>
          <p:cNvPr id="7" name="Title Placeholder 1"/>
          <p:cNvSpPr>
            <a:spLocks noGrp="1"/>
          </p:cNvSpPr>
          <p:nvPr>
            <p:ph type="title" hasCustomPrompt="1"/>
          </p:nvPr>
        </p:nvSpPr>
        <p:spPr>
          <a:xfrm>
            <a:off x="360001" y="140399"/>
            <a:ext cx="10934700" cy="720000"/>
          </a:xfrm>
          <a:prstGeom prst="rect">
            <a:avLst/>
          </a:prstGeom>
        </p:spPr>
        <p:txBody>
          <a:bodyPr vert="horz" wrap="square" lIns="0" tIns="0" rIns="0" bIns="0" rtlCol="0" anchor="ctr">
            <a:noAutofit/>
          </a:bodyPr>
          <a:lstStyle>
            <a:lvl1pPr>
              <a:lnSpc>
                <a:spcPct val="100000"/>
              </a:lnSpc>
              <a:defRPr b="1"/>
            </a:lvl1pPr>
          </a:lstStyle>
          <a:p>
            <a:r>
              <a:rPr lang="en-US" altLang="zh-CN" dirty="0"/>
              <a:t>Click to add title</a:t>
            </a:r>
            <a:endParaRPr lang="en-US" dirty="0"/>
          </a:p>
        </p:txBody>
      </p:sp>
      <p:sp>
        <p:nvSpPr>
          <p:cNvPr id="6" name="矩形 5"/>
          <p:cNvSpPr/>
          <p:nvPr userDrawn="1"/>
        </p:nvSpPr>
        <p:spPr>
          <a:xfrm>
            <a:off x="203223" y="6461080"/>
            <a:ext cx="11051664" cy="297454"/>
          </a:xfrm>
          <a:prstGeom prst="rect">
            <a:avLst/>
          </a:prstGeom>
        </p:spPr>
        <p:txBody>
          <a:bodyPr wrap="square">
            <a:spAutoFit/>
          </a:bodyPr>
          <a:lstStyle/>
          <a:p>
            <a:r>
              <a:rPr lang="zh-CN" altLang="en-US" sz="1200" dirty="0">
                <a:solidFill>
                  <a:schemeClr val="accent5"/>
                </a:solidFill>
                <a:latin typeface="华文楷体" panose="02010600040101010101" pitchFamily="2" charset="-122"/>
                <a:ea typeface="+mj-ea"/>
                <a:cs typeface="+mj-cs"/>
                <a:sym typeface="Trebuchet MS" panose="020B0703020202090204" pitchFamily="34" charset="0"/>
              </a:rPr>
              <a:t>申明：本材料仅供集团内部学习交流使用，严禁出于商业目的使用，以避免不必要的纠纷。</a:t>
            </a:r>
            <a:r>
              <a:rPr lang="en-US" altLang="zh-CN" sz="1335" dirty="0">
                <a:solidFill>
                  <a:srgbClr val="FF0000"/>
                </a:solidFill>
                <a:latin typeface="华文楷体" panose="02010600040101010101" pitchFamily="2" charset="-122"/>
                <a:ea typeface="+mj-ea"/>
                <a:cs typeface="+mj-cs"/>
                <a:sym typeface="Trebuchet MS" panose="020B0703020202090204" pitchFamily="34" charset="0"/>
              </a:rPr>
              <a:t>		</a:t>
            </a:r>
            <a:endParaRPr lang="zh-CN" altLang="en-US" sz="1335" dirty="0">
              <a:solidFill>
                <a:schemeClr val="accent5"/>
              </a:solidFill>
              <a:latin typeface="华文楷体" panose="02010600040101010101" pitchFamily="2" charset="-122"/>
              <a:ea typeface="+mj-ea"/>
              <a:cs typeface="+mj-cs"/>
              <a:sym typeface="Trebuchet MS" panose="020B0703020202090204" pitchFamily="34" charset="0"/>
            </a:endParaRPr>
          </a:p>
        </p:txBody>
      </p:sp>
    </p:spTree>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userDrawn="1">
  <p:cSld name="1-封面">
    <p:spTree>
      <p:nvGrpSpPr>
        <p:cNvPr id="1" name=""/>
        <p:cNvGrpSpPr/>
        <p:nvPr/>
      </p:nvGrpSpPr>
      <p:grpSpPr>
        <a:xfrm>
          <a:off x="0" y="0"/>
          <a:ext cx="0" cy="0"/>
          <a:chOff x="0" y="0"/>
          <a:chExt cx="0" cy="0"/>
        </a:xfrm>
      </p:grpSpPr>
      <p:pic>
        <p:nvPicPr>
          <p:cNvPr id="7" name="图片 6"/>
          <p:cNvPicPr>
            <a:picLocks noChangeAspect="1"/>
          </p:cNvPicPr>
          <p:nvPr userDrawn="1"/>
        </p:nvPicPr>
        <p:blipFill>
          <a:blip r:embed="rId2">
            <a:extLst>
              <a:ext uri="{BEBA8EAE-BF5A-486C-A8C5-ECC9F3942E4B}">
                <a14:imgProps xmlns:a14="http://schemas.microsoft.com/office/drawing/2010/main">
                  <a14:imgLayer r:embed="rId3">
                    <a14:imgEffect>
                      <a14:artisticBlur/>
                    </a14:imgEffect>
                  </a14:imgLayer>
                </a14:imgProps>
              </a:ext>
              <a:ext uri="{28A0092B-C50C-407E-A947-70E740481C1C}">
                <a14:useLocalDpi xmlns:a14="http://schemas.microsoft.com/office/drawing/2010/main" val="0"/>
              </a:ext>
            </a:extLst>
          </a:blip>
          <a:srcRect t="42" b="42"/>
          <a:stretch>
            <a:fillRect/>
          </a:stretch>
        </p:blipFill>
        <p:spPr>
          <a:xfrm>
            <a:off x="1016697" y="10123"/>
            <a:ext cx="11168799" cy="6844996"/>
          </a:xfrm>
          <a:prstGeom prst="rect">
            <a:avLst/>
          </a:prstGeom>
          <a:ln w="12700">
            <a:miter lim="400000"/>
            <a:headEnd/>
            <a:tailEnd/>
          </a:ln>
        </p:spPr>
      </p:pic>
      <p:pic>
        <p:nvPicPr>
          <p:cNvPr id="4" name="图片 3"/>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45815" y="0"/>
            <a:ext cx="11146185" cy="6858000"/>
          </a:xfrm>
          <a:prstGeom prst="rect">
            <a:avLst/>
          </a:prstGeom>
        </p:spPr>
      </p:pic>
      <p:sp>
        <p:nvSpPr>
          <p:cNvPr id="8" name="矩形 7"/>
          <p:cNvSpPr/>
          <p:nvPr userDrawn="1"/>
        </p:nvSpPr>
        <p:spPr>
          <a:xfrm>
            <a:off x="0" y="0"/>
            <a:ext cx="12192000" cy="6858000"/>
          </a:xfrm>
          <a:prstGeom prst="rect">
            <a:avLst/>
          </a:prstGeom>
          <a:gradFill flip="none" rotWithShape="1">
            <a:gsLst>
              <a:gs pos="15000">
                <a:srgbClr val="FDF1ED">
                  <a:alpha val="97647"/>
                </a:srgbClr>
              </a:gs>
              <a:gs pos="27000">
                <a:srgbClr val="FEF8F6">
                  <a:alpha val="86000"/>
                </a:srgbClr>
              </a:gs>
              <a:gs pos="56000">
                <a:schemeClr val="bg1">
                  <a:alpha val="86000"/>
                </a:schemeClr>
              </a:gs>
              <a:gs pos="0">
                <a:srgbClr val="FDEAE3"/>
              </a:gs>
              <a:gs pos="100000">
                <a:schemeClr val="bg1">
                  <a:alpha val="6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微软雅黑" panose="020B0503020204020204" pitchFamily="34" charset="-122"/>
              <a:ea typeface="微软雅黑" panose="020B0503020204020204" pitchFamily="34" charset="-122"/>
            </a:endParaRPr>
          </a:p>
        </p:txBody>
      </p:sp>
      <p:sp>
        <p:nvSpPr>
          <p:cNvPr id="30" name="任意多边形: 形状 29"/>
          <p:cNvSpPr/>
          <p:nvPr userDrawn="1"/>
        </p:nvSpPr>
        <p:spPr>
          <a:xfrm>
            <a:off x="6918699" y="3183037"/>
            <a:ext cx="3984653" cy="3682203"/>
          </a:xfrm>
          <a:custGeom>
            <a:avLst/>
            <a:gdLst>
              <a:gd name="connsiteX0" fmla="*/ 2696901 w 5266797"/>
              <a:gd name="connsiteY0" fmla="*/ 0 h 6875362"/>
              <a:gd name="connsiteX1" fmla="*/ 5266797 w 5266797"/>
              <a:gd name="connsiteY1" fmla="*/ 0 h 6875362"/>
              <a:gd name="connsiteX2" fmla="*/ 5266797 w 5266797"/>
              <a:gd name="connsiteY2" fmla="*/ 1408772 h 6875362"/>
              <a:gd name="connsiteX3" fmla="*/ 3126080 w 5266797"/>
              <a:gd name="connsiteY3" fmla="*/ 6866222 h 6875362"/>
              <a:gd name="connsiteX4" fmla="*/ 0 w 5266797"/>
              <a:gd name="connsiteY4" fmla="*/ 6875362 h 68753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66797" h="6875362">
                <a:moveTo>
                  <a:pt x="2696901" y="0"/>
                </a:moveTo>
                <a:lnTo>
                  <a:pt x="5266797" y="0"/>
                </a:lnTo>
                <a:lnTo>
                  <a:pt x="5266797" y="1408772"/>
                </a:lnTo>
                <a:lnTo>
                  <a:pt x="3126080" y="6866222"/>
                </a:lnTo>
                <a:lnTo>
                  <a:pt x="0" y="6875362"/>
                </a:lnTo>
                <a:close/>
              </a:path>
            </a:pathLst>
          </a:custGeom>
          <a:gradFill flip="none" rotWithShape="1">
            <a:gsLst>
              <a:gs pos="32000">
                <a:srgbClr val="FE832C"/>
              </a:gs>
              <a:gs pos="88000">
                <a:srgbClr val="FFCEAB"/>
              </a:gs>
              <a:gs pos="0">
                <a:srgbClr val="EA5504"/>
              </a:gs>
              <a:gs pos="100000">
                <a:srgbClr val="FBE9D5"/>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dirty="0">
              <a:latin typeface="微软雅黑" panose="020B0503020204020204" pitchFamily="34" charset="-122"/>
              <a:ea typeface="微软雅黑" panose="020B0503020204020204" pitchFamily="34" charset="-122"/>
            </a:endParaRPr>
          </a:p>
        </p:txBody>
      </p:sp>
      <p:pic>
        <p:nvPicPr>
          <p:cNvPr id="12" name="图片 11"/>
          <p:cNvPicPr>
            <a:picLocks noChangeAspect="1"/>
          </p:cNvPicPr>
          <p:nvPr userDrawn="1"/>
        </p:nvPicPr>
        <p:blipFill rotWithShape="1">
          <a:blip r:embed="rId5">
            <a:extLst>
              <a:ext uri="{28A0092B-C50C-407E-A947-70E740481C1C}">
                <a14:useLocalDpi xmlns:a14="http://schemas.microsoft.com/office/drawing/2010/main" val="0"/>
              </a:ext>
            </a:extLst>
          </a:blip>
          <a:srcRect/>
          <a:stretch>
            <a:fillRect/>
          </a:stretch>
        </p:blipFill>
        <p:spPr>
          <a:xfrm flipH="1">
            <a:off x="6229392" y="1300480"/>
            <a:ext cx="5962607" cy="5557520"/>
          </a:xfrm>
          <a:prstGeom prst="rect">
            <a:avLst/>
          </a:prstGeom>
        </p:spPr>
      </p:pic>
      <p:sp>
        <p:nvSpPr>
          <p:cNvPr id="13" name="任意多边形: 形状 12"/>
          <p:cNvSpPr/>
          <p:nvPr userDrawn="1"/>
        </p:nvSpPr>
        <p:spPr>
          <a:xfrm>
            <a:off x="0" y="0"/>
            <a:ext cx="690654" cy="745871"/>
          </a:xfrm>
          <a:custGeom>
            <a:avLst/>
            <a:gdLst>
              <a:gd name="connsiteX0" fmla="*/ 590479 w 631437"/>
              <a:gd name="connsiteY0" fmla="*/ 600003 h 681919"/>
              <a:gd name="connsiteX1" fmla="*/ 631437 w 631437"/>
              <a:gd name="connsiteY1" fmla="*/ 640961 h 681919"/>
              <a:gd name="connsiteX2" fmla="*/ 590479 w 631437"/>
              <a:gd name="connsiteY2" fmla="*/ 681919 h 681919"/>
              <a:gd name="connsiteX3" fmla="*/ 549521 w 631437"/>
              <a:gd name="connsiteY3" fmla="*/ 640961 h 681919"/>
              <a:gd name="connsiteX4" fmla="*/ 590479 w 631437"/>
              <a:gd name="connsiteY4" fmla="*/ 600003 h 681919"/>
              <a:gd name="connsiteX5" fmla="*/ 448555 w 631437"/>
              <a:gd name="connsiteY5" fmla="*/ 600003 h 681919"/>
              <a:gd name="connsiteX6" fmla="*/ 489513 w 631437"/>
              <a:gd name="connsiteY6" fmla="*/ 640961 h 681919"/>
              <a:gd name="connsiteX7" fmla="*/ 448555 w 631437"/>
              <a:gd name="connsiteY7" fmla="*/ 681919 h 681919"/>
              <a:gd name="connsiteX8" fmla="*/ 407597 w 631437"/>
              <a:gd name="connsiteY8" fmla="*/ 640961 h 681919"/>
              <a:gd name="connsiteX9" fmla="*/ 448555 w 631437"/>
              <a:gd name="connsiteY9" fmla="*/ 600003 h 681919"/>
              <a:gd name="connsiteX10" fmla="*/ 306633 w 631437"/>
              <a:gd name="connsiteY10" fmla="*/ 600003 h 681919"/>
              <a:gd name="connsiteX11" fmla="*/ 347591 w 631437"/>
              <a:gd name="connsiteY11" fmla="*/ 640961 h 681919"/>
              <a:gd name="connsiteX12" fmla="*/ 306633 w 631437"/>
              <a:gd name="connsiteY12" fmla="*/ 681919 h 681919"/>
              <a:gd name="connsiteX13" fmla="*/ 265675 w 631437"/>
              <a:gd name="connsiteY13" fmla="*/ 640961 h 681919"/>
              <a:gd name="connsiteX14" fmla="*/ 306633 w 631437"/>
              <a:gd name="connsiteY14" fmla="*/ 600003 h 681919"/>
              <a:gd name="connsiteX15" fmla="*/ 164711 w 631437"/>
              <a:gd name="connsiteY15" fmla="*/ 600003 h 681919"/>
              <a:gd name="connsiteX16" fmla="*/ 205669 w 631437"/>
              <a:gd name="connsiteY16" fmla="*/ 640961 h 681919"/>
              <a:gd name="connsiteX17" fmla="*/ 164711 w 631437"/>
              <a:gd name="connsiteY17" fmla="*/ 681919 h 681919"/>
              <a:gd name="connsiteX18" fmla="*/ 123753 w 631437"/>
              <a:gd name="connsiteY18" fmla="*/ 640961 h 681919"/>
              <a:gd name="connsiteX19" fmla="*/ 164711 w 631437"/>
              <a:gd name="connsiteY19" fmla="*/ 600003 h 681919"/>
              <a:gd name="connsiteX20" fmla="*/ 22789 w 631437"/>
              <a:gd name="connsiteY20" fmla="*/ 600003 h 681919"/>
              <a:gd name="connsiteX21" fmla="*/ 63747 w 631437"/>
              <a:gd name="connsiteY21" fmla="*/ 640961 h 681919"/>
              <a:gd name="connsiteX22" fmla="*/ 22789 w 631437"/>
              <a:gd name="connsiteY22" fmla="*/ 681919 h 681919"/>
              <a:gd name="connsiteX23" fmla="*/ 0 w 631437"/>
              <a:gd name="connsiteY23" fmla="*/ 672479 h 681919"/>
              <a:gd name="connsiteX24" fmla="*/ 0 w 631437"/>
              <a:gd name="connsiteY24" fmla="*/ 609443 h 681919"/>
              <a:gd name="connsiteX25" fmla="*/ 590479 w 631437"/>
              <a:gd name="connsiteY25" fmla="*/ 441888 h 681919"/>
              <a:gd name="connsiteX26" fmla="*/ 631437 w 631437"/>
              <a:gd name="connsiteY26" fmla="*/ 482846 h 681919"/>
              <a:gd name="connsiteX27" fmla="*/ 590479 w 631437"/>
              <a:gd name="connsiteY27" fmla="*/ 523804 h 681919"/>
              <a:gd name="connsiteX28" fmla="*/ 549521 w 631437"/>
              <a:gd name="connsiteY28" fmla="*/ 482846 h 681919"/>
              <a:gd name="connsiteX29" fmla="*/ 590479 w 631437"/>
              <a:gd name="connsiteY29" fmla="*/ 441888 h 681919"/>
              <a:gd name="connsiteX30" fmla="*/ 448555 w 631437"/>
              <a:gd name="connsiteY30" fmla="*/ 441888 h 681919"/>
              <a:gd name="connsiteX31" fmla="*/ 489513 w 631437"/>
              <a:gd name="connsiteY31" fmla="*/ 482846 h 681919"/>
              <a:gd name="connsiteX32" fmla="*/ 448555 w 631437"/>
              <a:gd name="connsiteY32" fmla="*/ 523804 h 681919"/>
              <a:gd name="connsiteX33" fmla="*/ 407597 w 631437"/>
              <a:gd name="connsiteY33" fmla="*/ 482846 h 681919"/>
              <a:gd name="connsiteX34" fmla="*/ 448555 w 631437"/>
              <a:gd name="connsiteY34" fmla="*/ 441888 h 681919"/>
              <a:gd name="connsiteX35" fmla="*/ 306633 w 631437"/>
              <a:gd name="connsiteY35" fmla="*/ 441888 h 681919"/>
              <a:gd name="connsiteX36" fmla="*/ 347591 w 631437"/>
              <a:gd name="connsiteY36" fmla="*/ 482846 h 681919"/>
              <a:gd name="connsiteX37" fmla="*/ 306633 w 631437"/>
              <a:gd name="connsiteY37" fmla="*/ 523804 h 681919"/>
              <a:gd name="connsiteX38" fmla="*/ 265675 w 631437"/>
              <a:gd name="connsiteY38" fmla="*/ 482846 h 681919"/>
              <a:gd name="connsiteX39" fmla="*/ 306633 w 631437"/>
              <a:gd name="connsiteY39" fmla="*/ 441888 h 681919"/>
              <a:gd name="connsiteX40" fmla="*/ 164711 w 631437"/>
              <a:gd name="connsiteY40" fmla="*/ 441888 h 681919"/>
              <a:gd name="connsiteX41" fmla="*/ 205669 w 631437"/>
              <a:gd name="connsiteY41" fmla="*/ 482846 h 681919"/>
              <a:gd name="connsiteX42" fmla="*/ 164711 w 631437"/>
              <a:gd name="connsiteY42" fmla="*/ 523804 h 681919"/>
              <a:gd name="connsiteX43" fmla="*/ 123753 w 631437"/>
              <a:gd name="connsiteY43" fmla="*/ 482846 h 681919"/>
              <a:gd name="connsiteX44" fmla="*/ 164711 w 631437"/>
              <a:gd name="connsiteY44" fmla="*/ 441888 h 681919"/>
              <a:gd name="connsiteX45" fmla="*/ 22789 w 631437"/>
              <a:gd name="connsiteY45" fmla="*/ 441888 h 681919"/>
              <a:gd name="connsiteX46" fmla="*/ 63747 w 631437"/>
              <a:gd name="connsiteY46" fmla="*/ 482846 h 681919"/>
              <a:gd name="connsiteX47" fmla="*/ 22789 w 631437"/>
              <a:gd name="connsiteY47" fmla="*/ 523804 h 681919"/>
              <a:gd name="connsiteX48" fmla="*/ 0 w 631437"/>
              <a:gd name="connsiteY48" fmla="*/ 514364 h 681919"/>
              <a:gd name="connsiteX49" fmla="*/ 0 w 631437"/>
              <a:gd name="connsiteY49" fmla="*/ 451328 h 681919"/>
              <a:gd name="connsiteX50" fmla="*/ 590479 w 631437"/>
              <a:gd name="connsiteY50" fmla="*/ 283773 h 681919"/>
              <a:gd name="connsiteX51" fmla="*/ 631437 w 631437"/>
              <a:gd name="connsiteY51" fmla="*/ 324731 h 681919"/>
              <a:gd name="connsiteX52" fmla="*/ 590479 w 631437"/>
              <a:gd name="connsiteY52" fmla="*/ 365689 h 681919"/>
              <a:gd name="connsiteX53" fmla="*/ 549521 w 631437"/>
              <a:gd name="connsiteY53" fmla="*/ 324731 h 681919"/>
              <a:gd name="connsiteX54" fmla="*/ 590479 w 631437"/>
              <a:gd name="connsiteY54" fmla="*/ 283773 h 681919"/>
              <a:gd name="connsiteX55" fmla="*/ 448555 w 631437"/>
              <a:gd name="connsiteY55" fmla="*/ 283773 h 681919"/>
              <a:gd name="connsiteX56" fmla="*/ 489513 w 631437"/>
              <a:gd name="connsiteY56" fmla="*/ 324731 h 681919"/>
              <a:gd name="connsiteX57" fmla="*/ 448555 w 631437"/>
              <a:gd name="connsiteY57" fmla="*/ 365689 h 681919"/>
              <a:gd name="connsiteX58" fmla="*/ 407597 w 631437"/>
              <a:gd name="connsiteY58" fmla="*/ 324731 h 681919"/>
              <a:gd name="connsiteX59" fmla="*/ 448555 w 631437"/>
              <a:gd name="connsiteY59" fmla="*/ 283773 h 681919"/>
              <a:gd name="connsiteX60" fmla="*/ 306633 w 631437"/>
              <a:gd name="connsiteY60" fmla="*/ 283773 h 681919"/>
              <a:gd name="connsiteX61" fmla="*/ 347591 w 631437"/>
              <a:gd name="connsiteY61" fmla="*/ 324731 h 681919"/>
              <a:gd name="connsiteX62" fmla="*/ 306633 w 631437"/>
              <a:gd name="connsiteY62" fmla="*/ 365689 h 681919"/>
              <a:gd name="connsiteX63" fmla="*/ 265675 w 631437"/>
              <a:gd name="connsiteY63" fmla="*/ 324731 h 681919"/>
              <a:gd name="connsiteX64" fmla="*/ 306633 w 631437"/>
              <a:gd name="connsiteY64" fmla="*/ 283773 h 681919"/>
              <a:gd name="connsiteX65" fmla="*/ 164711 w 631437"/>
              <a:gd name="connsiteY65" fmla="*/ 283773 h 681919"/>
              <a:gd name="connsiteX66" fmla="*/ 205669 w 631437"/>
              <a:gd name="connsiteY66" fmla="*/ 324731 h 681919"/>
              <a:gd name="connsiteX67" fmla="*/ 164711 w 631437"/>
              <a:gd name="connsiteY67" fmla="*/ 365689 h 681919"/>
              <a:gd name="connsiteX68" fmla="*/ 123753 w 631437"/>
              <a:gd name="connsiteY68" fmla="*/ 324731 h 681919"/>
              <a:gd name="connsiteX69" fmla="*/ 164711 w 631437"/>
              <a:gd name="connsiteY69" fmla="*/ 283773 h 681919"/>
              <a:gd name="connsiteX70" fmla="*/ 22789 w 631437"/>
              <a:gd name="connsiteY70" fmla="*/ 283773 h 681919"/>
              <a:gd name="connsiteX71" fmla="*/ 63747 w 631437"/>
              <a:gd name="connsiteY71" fmla="*/ 324731 h 681919"/>
              <a:gd name="connsiteX72" fmla="*/ 22789 w 631437"/>
              <a:gd name="connsiteY72" fmla="*/ 365689 h 681919"/>
              <a:gd name="connsiteX73" fmla="*/ 0 w 631437"/>
              <a:gd name="connsiteY73" fmla="*/ 356249 h 681919"/>
              <a:gd name="connsiteX74" fmla="*/ 0 w 631437"/>
              <a:gd name="connsiteY74" fmla="*/ 293213 h 681919"/>
              <a:gd name="connsiteX75" fmla="*/ 448555 w 631437"/>
              <a:gd name="connsiteY75" fmla="*/ 125658 h 681919"/>
              <a:gd name="connsiteX76" fmla="*/ 489513 w 631437"/>
              <a:gd name="connsiteY76" fmla="*/ 166616 h 681919"/>
              <a:gd name="connsiteX77" fmla="*/ 448555 w 631437"/>
              <a:gd name="connsiteY77" fmla="*/ 207574 h 681919"/>
              <a:gd name="connsiteX78" fmla="*/ 407597 w 631437"/>
              <a:gd name="connsiteY78" fmla="*/ 166616 h 681919"/>
              <a:gd name="connsiteX79" fmla="*/ 448555 w 631437"/>
              <a:gd name="connsiteY79" fmla="*/ 125658 h 681919"/>
              <a:gd name="connsiteX80" fmla="*/ 306633 w 631437"/>
              <a:gd name="connsiteY80" fmla="*/ 125658 h 681919"/>
              <a:gd name="connsiteX81" fmla="*/ 347591 w 631437"/>
              <a:gd name="connsiteY81" fmla="*/ 166616 h 681919"/>
              <a:gd name="connsiteX82" fmla="*/ 306633 w 631437"/>
              <a:gd name="connsiteY82" fmla="*/ 207574 h 681919"/>
              <a:gd name="connsiteX83" fmla="*/ 265675 w 631437"/>
              <a:gd name="connsiteY83" fmla="*/ 166616 h 681919"/>
              <a:gd name="connsiteX84" fmla="*/ 306633 w 631437"/>
              <a:gd name="connsiteY84" fmla="*/ 125658 h 681919"/>
              <a:gd name="connsiteX85" fmla="*/ 164711 w 631437"/>
              <a:gd name="connsiteY85" fmla="*/ 125658 h 681919"/>
              <a:gd name="connsiteX86" fmla="*/ 205669 w 631437"/>
              <a:gd name="connsiteY86" fmla="*/ 166616 h 681919"/>
              <a:gd name="connsiteX87" fmla="*/ 164711 w 631437"/>
              <a:gd name="connsiteY87" fmla="*/ 207574 h 681919"/>
              <a:gd name="connsiteX88" fmla="*/ 123753 w 631437"/>
              <a:gd name="connsiteY88" fmla="*/ 166616 h 681919"/>
              <a:gd name="connsiteX89" fmla="*/ 164711 w 631437"/>
              <a:gd name="connsiteY89" fmla="*/ 125658 h 681919"/>
              <a:gd name="connsiteX90" fmla="*/ 22789 w 631437"/>
              <a:gd name="connsiteY90" fmla="*/ 125658 h 681919"/>
              <a:gd name="connsiteX91" fmla="*/ 63747 w 631437"/>
              <a:gd name="connsiteY91" fmla="*/ 166616 h 681919"/>
              <a:gd name="connsiteX92" fmla="*/ 22789 w 631437"/>
              <a:gd name="connsiteY92" fmla="*/ 207574 h 681919"/>
              <a:gd name="connsiteX93" fmla="*/ 0 w 631437"/>
              <a:gd name="connsiteY93" fmla="*/ 198134 h 681919"/>
              <a:gd name="connsiteX94" fmla="*/ 0 w 631437"/>
              <a:gd name="connsiteY94" fmla="*/ 135098 h 681919"/>
              <a:gd name="connsiteX95" fmla="*/ 590479 w 631437"/>
              <a:gd name="connsiteY95" fmla="*/ 125658 h 681919"/>
              <a:gd name="connsiteX96" fmla="*/ 631437 w 631437"/>
              <a:gd name="connsiteY96" fmla="*/ 166616 h 681919"/>
              <a:gd name="connsiteX97" fmla="*/ 590479 w 631437"/>
              <a:gd name="connsiteY97" fmla="*/ 207574 h 681919"/>
              <a:gd name="connsiteX98" fmla="*/ 549521 w 631437"/>
              <a:gd name="connsiteY98" fmla="*/ 166616 h 681919"/>
              <a:gd name="connsiteX99" fmla="*/ 590479 w 631437"/>
              <a:gd name="connsiteY99" fmla="*/ 125658 h 681919"/>
              <a:gd name="connsiteX100" fmla="*/ 553042 w 631437"/>
              <a:gd name="connsiteY100" fmla="*/ 0 h 681919"/>
              <a:gd name="connsiteX101" fmla="*/ 627916 w 631437"/>
              <a:gd name="connsiteY101" fmla="*/ 0 h 681919"/>
              <a:gd name="connsiteX102" fmla="*/ 631437 w 631437"/>
              <a:gd name="connsiteY102" fmla="*/ 8501 h 681919"/>
              <a:gd name="connsiteX103" fmla="*/ 590479 w 631437"/>
              <a:gd name="connsiteY103" fmla="*/ 49459 h 681919"/>
              <a:gd name="connsiteX104" fmla="*/ 549521 w 631437"/>
              <a:gd name="connsiteY104" fmla="*/ 8501 h 681919"/>
              <a:gd name="connsiteX105" fmla="*/ 411118 w 631437"/>
              <a:gd name="connsiteY105" fmla="*/ 0 h 681919"/>
              <a:gd name="connsiteX106" fmla="*/ 485992 w 631437"/>
              <a:gd name="connsiteY106" fmla="*/ 0 h 681919"/>
              <a:gd name="connsiteX107" fmla="*/ 489513 w 631437"/>
              <a:gd name="connsiteY107" fmla="*/ 8501 h 681919"/>
              <a:gd name="connsiteX108" fmla="*/ 448555 w 631437"/>
              <a:gd name="connsiteY108" fmla="*/ 49459 h 681919"/>
              <a:gd name="connsiteX109" fmla="*/ 407597 w 631437"/>
              <a:gd name="connsiteY109" fmla="*/ 8501 h 681919"/>
              <a:gd name="connsiteX110" fmla="*/ 269196 w 631437"/>
              <a:gd name="connsiteY110" fmla="*/ 0 h 681919"/>
              <a:gd name="connsiteX111" fmla="*/ 344070 w 631437"/>
              <a:gd name="connsiteY111" fmla="*/ 0 h 681919"/>
              <a:gd name="connsiteX112" fmla="*/ 347591 w 631437"/>
              <a:gd name="connsiteY112" fmla="*/ 8501 h 681919"/>
              <a:gd name="connsiteX113" fmla="*/ 306633 w 631437"/>
              <a:gd name="connsiteY113" fmla="*/ 49459 h 681919"/>
              <a:gd name="connsiteX114" fmla="*/ 265675 w 631437"/>
              <a:gd name="connsiteY114" fmla="*/ 8501 h 681919"/>
              <a:gd name="connsiteX115" fmla="*/ 127274 w 631437"/>
              <a:gd name="connsiteY115" fmla="*/ 0 h 681919"/>
              <a:gd name="connsiteX116" fmla="*/ 202148 w 631437"/>
              <a:gd name="connsiteY116" fmla="*/ 0 h 681919"/>
              <a:gd name="connsiteX117" fmla="*/ 205669 w 631437"/>
              <a:gd name="connsiteY117" fmla="*/ 8501 h 681919"/>
              <a:gd name="connsiteX118" fmla="*/ 164711 w 631437"/>
              <a:gd name="connsiteY118" fmla="*/ 49459 h 681919"/>
              <a:gd name="connsiteX119" fmla="*/ 123753 w 631437"/>
              <a:gd name="connsiteY119" fmla="*/ 8501 h 681919"/>
              <a:gd name="connsiteX120" fmla="*/ 0 w 631437"/>
              <a:gd name="connsiteY120" fmla="*/ 0 h 681919"/>
              <a:gd name="connsiteX121" fmla="*/ 60226 w 631437"/>
              <a:gd name="connsiteY121" fmla="*/ 0 h 681919"/>
              <a:gd name="connsiteX122" fmla="*/ 63747 w 631437"/>
              <a:gd name="connsiteY122" fmla="*/ 8501 h 681919"/>
              <a:gd name="connsiteX123" fmla="*/ 22789 w 631437"/>
              <a:gd name="connsiteY123" fmla="*/ 49459 h 681919"/>
              <a:gd name="connsiteX124" fmla="*/ 0 w 631437"/>
              <a:gd name="connsiteY124" fmla="*/ 40019 h 681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Lst>
            <a:rect l="l" t="t" r="r" b="b"/>
            <a:pathLst>
              <a:path w="631437" h="681919">
                <a:moveTo>
                  <a:pt x="590479" y="600003"/>
                </a:moveTo>
                <a:cubicBezTo>
                  <a:pt x="613099" y="600003"/>
                  <a:pt x="631437" y="618341"/>
                  <a:pt x="631437" y="640961"/>
                </a:cubicBezTo>
                <a:cubicBezTo>
                  <a:pt x="631437" y="663581"/>
                  <a:pt x="613099" y="681919"/>
                  <a:pt x="590479" y="681919"/>
                </a:cubicBezTo>
                <a:cubicBezTo>
                  <a:pt x="567859" y="681919"/>
                  <a:pt x="549521" y="663581"/>
                  <a:pt x="549521" y="640961"/>
                </a:cubicBezTo>
                <a:cubicBezTo>
                  <a:pt x="549521" y="618341"/>
                  <a:pt x="567859" y="600003"/>
                  <a:pt x="590479" y="600003"/>
                </a:cubicBezTo>
                <a:close/>
                <a:moveTo>
                  <a:pt x="448555" y="600003"/>
                </a:moveTo>
                <a:cubicBezTo>
                  <a:pt x="471175" y="600003"/>
                  <a:pt x="489513" y="618341"/>
                  <a:pt x="489513" y="640961"/>
                </a:cubicBezTo>
                <a:cubicBezTo>
                  <a:pt x="489513" y="663581"/>
                  <a:pt x="471175" y="681919"/>
                  <a:pt x="448555" y="681919"/>
                </a:cubicBezTo>
                <a:cubicBezTo>
                  <a:pt x="425935" y="681919"/>
                  <a:pt x="407597" y="663581"/>
                  <a:pt x="407597" y="640961"/>
                </a:cubicBezTo>
                <a:cubicBezTo>
                  <a:pt x="407597" y="618341"/>
                  <a:pt x="425935" y="600003"/>
                  <a:pt x="448555" y="600003"/>
                </a:cubicBezTo>
                <a:close/>
                <a:moveTo>
                  <a:pt x="306633" y="600003"/>
                </a:moveTo>
                <a:cubicBezTo>
                  <a:pt x="329253" y="600003"/>
                  <a:pt x="347591" y="618341"/>
                  <a:pt x="347591" y="640961"/>
                </a:cubicBezTo>
                <a:cubicBezTo>
                  <a:pt x="347591" y="663581"/>
                  <a:pt x="329253" y="681919"/>
                  <a:pt x="306633" y="681919"/>
                </a:cubicBezTo>
                <a:cubicBezTo>
                  <a:pt x="284013" y="681919"/>
                  <a:pt x="265675" y="663581"/>
                  <a:pt x="265675" y="640961"/>
                </a:cubicBezTo>
                <a:cubicBezTo>
                  <a:pt x="265675" y="618341"/>
                  <a:pt x="284013" y="600003"/>
                  <a:pt x="306633" y="600003"/>
                </a:cubicBezTo>
                <a:close/>
                <a:moveTo>
                  <a:pt x="164711" y="600003"/>
                </a:moveTo>
                <a:cubicBezTo>
                  <a:pt x="187331" y="600003"/>
                  <a:pt x="205669" y="618341"/>
                  <a:pt x="205669" y="640961"/>
                </a:cubicBezTo>
                <a:cubicBezTo>
                  <a:pt x="205669" y="663581"/>
                  <a:pt x="187331" y="681919"/>
                  <a:pt x="164711" y="681919"/>
                </a:cubicBezTo>
                <a:cubicBezTo>
                  <a:pt x="142091" y="681919"/>
                  <a:pt x="123753" y="663581"/>
                  <a:pt x="123753" y="640961"/>
                </a:cubicBezTo>
                <a:cubicBezTo>
                  <a:pt x="123753" y="618341"/>
                  <a:pt x="142091" y="600003"/>
                  <a:pt x="164711" y="600003"/>
                </a:cubicBezTo>
                <a:close/>
                <a:moveTo>
                  <a:pt x="22789" y="600003"/>
                </a:moveTo>
                <a:cubicBezTo>
                  <a:pt x="45409" y="600003"/>
                  <a:pt x="63747" y="618341"/>
                  <a:pt x="63747" y="640961"/>
                </a:cubicBezTo>
                <a:cubicBezTo>
                  <a:pt x="63747" y="663581"/>
                  <a:pt x="45409" y="681919"/>
                  <a:pt x="22789" y="681919"/>
                </a:cubicBezTo>
                <a:lnTo>
                  <a:pt x="0" y="672479"/>
                </a:lnTo>
                <a:lnTo>
                  <a:pt x="0" y="609443"/>
                </a:lnTo>
                <a:close/>
                <a:moveTo>
                  <a:pt x="590479" y="441888"/>
                </a:moveTo>
                <a:cubicBezTo>
                  <a:pt x="613099" y="441888"/>
                  <a:pt x="631437" y="460226"/>
                  <a:pt x="631437" y="482846"/>
                </a:cubicBezTo>
                <a:cubicBezTo>
                  <a:pt x="631437" y="505466"/>
                  <a:pt x="613099" y="523804"/>
                  <a:pt x="590479" y="523804"/>
                </a:cubicBezTo>
                <a:cubicBezTo>
                  <a:pt x="567859" y="523804"/>
                  <a:pt x="549521" y="505466"/>
                  <a:pt x="549521" y="482846"/>
                </a:cubicBezTo>
                <a:cubicBezTo>
                  <a:pt x="549521" y="460226"/>
                  <a:pt x="567859" y="441888"/>
                  <a:pt x="590479" y="441888"/>
                </a:cubicBezTo>
                <a:close/>
                <a:moveTo>
                  <a:pt x="448555" y="441888"/>
                </a:moveTo>
                <a:cubicBezTo>
                  <a:pt x="471175" y="441888"/>
                  <a:pt x="489513" y="460226"/>
                  <a:pt x="489513" y="482846"/>
                </a:cubicBezTo>
                <a:cubicBezTo>
                  <a:pt x="489513" y="505466"/>
                  <a:pt x="471175" y="523804"/>
                  <a:pt x="448555" y="523804"/>
                </a:cubicBezTo>
                <a:cubicBezTo>
                  <a:pt x="425935" y="523804"/>
                  <a:pt x="407597" y="505466"/>
                  <a:pt x="407597" y="482846"/>
                </a:cubicBezTo>
                <a:cubicBezTo>
                  <a:pt x="407597" y="460226"/>
                  <a:pt x="425935" y="441888"/>
                  <a:pt x="448555" y="441888"/>
                </a:cubicBezTo>
                <a:close/>
                <a:moveTo>
                  <a:pt x="306633" y="441888"/>
                </a:moveTo>
                <a:cubicBezTo>
                  <a:pt x="329253" y="441888"/>
                  <a:pt x="347591" y="460226"/>
                  <a:pt x="347591" y="482846"/>
                </a:cubicBezTo>
                <a:cubicBezTo>
                  <a:pt x="347591" y="505466"/>
                  <a:pt x="329253" y="523804"/>
                  <a:pt x="306633" y="523804"/>
                </a:cubicBezTo>
                <a:cubicBezTo>
                  <a:pt x="284013" y="523804"/>
                  <a:pt x="265675" y="505466"/>
                  <a:pt x="265675" y="482846"/>
                </a:cubicBezTo>
                <a:cubicBezTo>
                  <a:pt x="265675" y="460226"/>
                  <a:pt x="284013" y="441888"/>
                  <a:pt x="306633" y="441888"/>
                </a:cubicBezTo>
                <a:close/>
                <a:moveTo>
                  <a:pt x="164711" y="441888"/>
                </a:moveTo>
                <a:cubicBezTo>
                  <a:pt x="187331" y="441888"/>
                  <a:pt x="205669" y="460226"/>
                  <a:pt x="205669" y="482846"/>
                </a:cubicBezTo>
                <a:cubicBezTo>
                  <a:pt x="205669" y="505466"/>
                  <a:pt x="187331" y="523804"/>
                  <a:pt x="164711" y="523804"/>
                </a:cubicBezTo>
                <a:cubicBezTo>
                  <a:pt x="142091" y="523804"/>
                  <a:pt x="123753" y="505466"/>
                  <a:pt x="123753" y="482846"/>
                </a:cubicBezTo>
                <a:cubicBezTo>
                  <a:pt x="123753" y="460226"/>
                  <a:pt x="142091" y="441888"/>
                  <a:pt x="164711" y="441888"/>
                </a:cubicBezTo>
                <a:close/>
                <a:moveTo>
                  <a:pt x="22789" y="441888"/>
                </a:moveTo>
                <a:cubicBezTo>
                  <a:pt x="45409" y="441888"/>
                  <a:pt x="63747" y="460226"/>
                  <a:pt x="63747" y="482846"/>
                </a:cubicBezTo>
                <a:cubicBezTo>
                  <a:pt x="63747" y="505466"/>
                  <a:pt x="45409" y="523804"/>
                  <a:pt x="22789" y="523804"/>
                </a:cubicBezTo>
                <a:lnTo>
                  <a:pt x="0" y="514364"/>
                </a:lnTo>
                <a:lnTo>
                  <a:pt x="0" y="451328"/>
                </a:lnTo>
                <a:close/>
                <a:moveTo>
                  <a:pt x="590479" y="283773"/>
                </a:moveTo>
                <a:cubicBezTo>
                  <a:pt x="613099" y="283773"/>
                  <a:pt x="631437" y="302111"/>
                  <a:pt x="631437" y="324731"/>
                </a:cubicBezTo>
                <a:cubicBezTo>
                  <a:pt x="631437" y="347351"/>
                  <a:pt x="613099" y="365689"/>
                  <a:pt x="590479" y="365689"/>
                </a:cubicBezTo>
                <a:cubicBezTo>
                  <a:pt x="567859" y="365689"/>
                  <a:pt x="549521" y="347351"/>
                  <a:pt x="549521" y="324731"/>
                </a:cubicBezTo>
                <a:cubicBezTo>
                  <a:pt x="549521" y="302111"/>
                  <a:pt x="567859" y="283773"/>
                  <a:pt x="590479" y="283773"/>
                </a:cubicBezTo>
                <a:close/>
                <a:moveTo>
                  <a:pt x="448555" y="283773"/>
                </a:moveTo>
                <a:cubicBezTo>
                  <a:pt x="471175" y="283773"/>
                  <a:pt x="489513" y="302111"/>
                  <a:pt x="489513" y="324731"/>
                </a:cubicBezTo>
                <a:cubicBezTo>
                  <a:pt x="489513" y="347351"/>
                  <a:pt x="471175" y="365689"/>
                  <a:pt x="448555" y="365689"/>
                </a:cubicBezTo>
                <a:cubicBezTo>
                  <a:pt x="425935" y="365689"/>
                  <a:pt x="407597" y="347351"/>
                  <a:pt x="407597" y="324731"/>
                </a:cubicBezTo>
                <a:cubicBezTo>
                  <a:pt x="407597" y="302111"/>
                  <a:pt x="425935" y="283773"/>
                  <a:pt x="448555" y="283773"/>
                </a:cubicBezTo>
                <a:close/>
                <a:moveTo>
                  <a:pt x="306633" y="283773"/>
                </a:moveTo>
                <a:cubicBezTo>
                  <a:pt x="329253" y="283773"/>
                  <a:pt x="347591" y="302111"/>
                  <a:pt x="347591" y="324731"/>
                </a:cubicBezTo>
                <a:cubicBezTo>
                  <a:pt x="347591" y="347351"/>
                  <a:pt x="329253" y="365689"/>
                  <a:pt x="306633" y="365689"/>
                </a:cubicBezTo>
                <a:cubicBezTo>
                  <a:pt x="284013" y="365689"/>
                  <a:pt x="265675" y="347351"/>
                  <a:pt x="265675" y="324731"/>
                </a:cubicBezTo>
                <a:cubicBezTo>
                  <a:pt x="265675" y="302111"/>
                  <a:pt x="284013" y="283773"/>
                  <a:pt x="306633" y="283773"/>
                </a:cubicBezTo>
                <a:close/>
                <a:moveTo>
                  <a:pt x="164711" y="283773"/>
                </a:moveTo>
                <a:cubicBezTo>
                  <a:pt x="187331" y="283773"/>
                  <a:pt x="205669" y="302111"/>
                  <a:pt x="205669" y="324731"/>
                </a:cubicBezTo>
                <a:cubicBezTo>
                  <a:pt x="205669" y="347351"/>
                  <a:pt x="187331" y="365689"/>
                  <a:pt x="164711" y="365689"/>
                </a:cubicBezTo>
                <a:cubicBezTo>
                  <a:pt x="142091" y="365689"/>
                  <a:pt x="123753" y="347351"/>
                  <a:pt x="123753" y="324731"/>
                </a:cubicBezTo>
                <a:cubicBezTo>
                  <a:pt x="123753" y="302111"/>
                  <a:pt x="142091" y="283773"/>
                  <a:pt x="164711" y="283773"/>
                </a:cubicBezTo>
                <a:close/>
                <a:moveTo>
                  <a:pt x="22789" y="283773"/>
                </a:moveTo>
                <a:cubicBezTo>
                  <a:pt x="45409" y="283773"/>
                  <a:pt x="63747" y="302111"/>
                  <a:pt x="63747" y="324731"/>
                </a:cubicBezTo>
                <a:cubicBezTo>
                  <a:pt x="63747" y="347351"/>
                  <a:pt x="45409" y="365689"/>
                  <a:pt x="22789" y="365689"/>
                </a:cubicBezTo>
                <a:lnTo>
                  <a:pt x="0" y="356249"/>
                </a:lnTo>
                <a:lnTo>
                  <a:pt x="0" y="293213"/>
                </a:lnTo>
                <a:close/>
                <a:moveTo>
                  <a:pt x="448555" y="125658"/>
                </a:moveTo>
                <a:cubicBezTo>
                  <a:pt x="471175" y="125658"/>
                  <a:pt x="489513" y="143996"/>
                  <a:pt x="489513" y="166616"/>
                </a:cubicBezTo>
                <a:cubicBezTo>
                  <a:pt x="489513" y="189236"/>
                  <a:pt x="471175" y="207574"/>
                  <a:pt x="448555" y="207574"/>
                </a:cubicBezTo>
                <a:cubicBezTo>
                  <a:pt x="425935" y="207574"/>
                  <a:pt x="407597" y="189236"/>
                  <a:pt x="407597" y="166616"/>
                </a:cubicBezTo>
                <a:cubicBezTo>
                  <a:pt x="407597" y="143996"/>
                  <a:pt x="425935" y="125658"/>
                  <a:pt x="448555" y="125658"/>
                </a:cubicBezTo>
                <a:close/>
                <a:moveTo>
                  <a:pt x="306633" y="125658"/>
                </a:moveTo>
                <a:cubicBezTo>
                  <a:pt x="329253" y="125658"/>
                  <a:pt x="347591" y="143996"/>
                  <a:pt x="347591" y="166616"/>
                </a:cubicBezTo>
                <a:cubicBezTo>
                  <a:pt x="347591" y="189236"/>
                  <a:pt x="329253" y="207574"/>
                  <a:pt x="306633" y="207574"/>
                </a:cubicBezTo>
                <a:cubicBezTo>
                  <a:pt x="284013" y="207574"/>
                  <a:pt x="265675" y="189236"/>
                  <a:pt x="265675" y="166616"/>
                </a:cubicBezTo>
                <a:cubicBezTo>
                  <a:pt x="265675" y="143996"/>
                  <a:pt x="284013" y="125658"/>
                  <a:pt x="306633" y="125658"/>
                </a:cubicBezTo>
                <a:close/>
                <a:moveTo>
                  <a:pt x="164711" y="125658"/>
                </a:moveTo>
                <a:cubicBezTo>
                  <a:pt x="187331" y="125658"/>
                  <a:pt x="205669" y="143996"/>
                  <a:pt x="205669" y="166616"/>
                </a:cubicBezTo>
                <a:cubicBezTo>
                  <a:pt x="205669" y="189236"/>
                  <a:pt x="187331" y="207574"/>
                  <a:pt x="164711" y="207574"/>
                </a:cubicBezTo>
                <a:cubicBezTo>
                  <a:pt x="142091" y="207574"/>
                  <a:pt x="123753" y="189236"/>
                  <a:pt x="123753" y="166616"/>
                </a:cubicBezTo>
                <a:cubicBezTo>
                  <a:pt x="123753" y="143996"/>
                  <a:pt x="142091" y="125658"/>
                  <a:pt x="164711" y="125658"/>
                </a:cubicBezTo>
                <a:close/>
                <a:moveTo>
                  <a:pt x="22789" y="125658"/>
                </a:moveTo>
                <a:cubicBezTo>
                  <a:pt x="45409" y="125658"/>
                  <a:pt x="63747" y="143996"/>
                  <a:pt x="63747" y="166616"/>
                </a:cubicBezTo>
                <a:cubicBezTo>
                  <a:pt x="63747" y="189236"/>
                  <a:pt x="45409" y="207574"/>
                  <a:pt x="22789" y="207574"/>
                </a:cubicBezTo>
                <a:lnTo>
                  <a:pt x="0" y="198134"/>
                </a:lnTo>
                <a:lnTo>
                  <a:pt x="0" y="135098"/>
                </a:lnTo>
                <a:close/>
                <a:moveTo>
                  <a:pt x="590479" y="125658"/>
                </a:moveTo>
                <a:cubicBezTo>
                  <a:pt x="613099" y="125658"/>
                  <a:pt x="631437" y="143996"/>
                  <a:pt x="631437" y="166616"/>
                </a:cubicBezTo>
                <a:cubicBezTo>
                  <a:pt x="631437" y="189236"/>
                  <a:pt x="613099" y="207574"/>
                  <a:pt x="590479" y="207574"/>
                </a:cubicBezTo>
                <a:cubicBezTo>
                  <a:pt x="567859" y="207574"/>
                  <a:pt x="549521" y="189236"/>
                  <a:pt x="549521" y="166616"/>
                </a:cubicBezTo>
                <a:cubicBezTo>
                  <a:pt x="549521" y="143996"/>
                  <a:pt x="567859" y="125658"/>
                  <a:pt x="590479" y="125658"/>
                </a:cubicBezTo>
                <a:close/>
                <a:moveTo>
                  <a:pt x="553042" y="0"/>
                </a:moveTo>
                <a:lnTo>
                  <a:pt x="627916" y="0"/>
                </a:lnTo>
                <a:lnTo>
                  <a:pt x="631437" y="8501"/>
                </a:lnTo>
                <a:cubicBezTo>
                  <a:pt x="631437" y="31121"/>
                  <a:pt x="613099" y="49459"/>
                  <a:pt x="590479" y="49459"/>
                </a:cubicBezTo>
                <a:cubicBezTo>
                  <a:pt x="567859" y="49459"/>
                  <a:pt x="549521" y="31121"/>
                  <a:pt x="549521" y="8501"/>
                </a:cubicBezTo>
                <a:close/>
                <a:moveTo>
                  <a:pt x="411118" y="0"/>
                </a:moveTo>
                <a:lnTo>
                  <a:pt x="485992" y="0"/>
                </a:lnTo>
                <a:lnTo>
                  <a:pt x="489513" y="8501"/>
                </a:lnTo>
                <a:cubicBezTo>
                  <a:pt x="489513" y="31121"/>
                  <a:pt x="471175" y="49459"/>
                  <a:pt x="448555" y="49459"/>
                </a:cubicBezTo>
                <a:cubicBezTo>
                  <a:pt x="425935" y="49459"/>
                  <a:pt x="407597" y="31121"/>
                  <a:pt x="407597" y="8501"/>
                </a:cubicBezTo>
                <a:close/>
                <a:moveTo>
                  <a:pt x="269196" y="0"/>
                </a:moveTo>
                <a:lnTo>
                  <a:pt x="344070" y="0"/>
                </a:lnTo>
                <a:lnTo>
                  <a:pt x="347591" y="8501"/>
                </a:lnTo>
                <a:cubicBezTo>
                  <a:pt x="347591" y="31121"/>
                  <a:pt x="329253" y="49459"/>
                  <a:pt x="306633" y="49459"/>
                </a:cubicBezTo>
                <a:cubicBezTo>
                  <a:pt x="284013" y="49459"/>
                  <a:pt x="265675" y="31121"/>
                  <a:pt x="265675" y="8501"/>
                </a:cubicBezTo>
                <a:close/>
                <a:moveTo>
                  <a:pt x="127274" y="0"/>
                </a:moveTo>
                <a:lnTo>
                  <a:pt x="202148" y="0"/>
                </a:lnTo>
                <a:lnTo>
                  <a:pt x="205669" y="8501"/>
                </a:lnTo>
                <a:cubicBezTo>
                  <a:pt x="205669" y="31121"/>
                  <a:pt x="187331" y="49459"/>
                  <a:pt x="164711" y="49459"/>
                </a:cubicBezTo>
                <a:cubicBezTo>
                  <a:pt x="142091" y="49459"/>
                  <a:pt x="123753" y="31121"/>
                  <a:pt x="123753" y="8501"/>
                </a:cubicBezTo>
                <a:close/>
                <a:moveTo>
                  <a:pt x="0" y="0"/>
                </a:moveTo>
                <a:lnTo>
                  <a:pt x="60226" y="0"/>
                </a:lnTo>
                <a:lnTo>
                  <a:pt x="63747" y="8501"/>
                </a:lnTo>
                <a:cubicBezTo>
                  <a:pt x="63747" y="31121"/>
                  <a:pt x="45409" y="49459"/>
                  <a:pt x="22789" y="49459"/>
                </a:cubicBezTo>
                <a:lnTo>
                  <a:pt x="0" y="40019"/>
                </a:lnTo>
                <a:close/>
              </a:path>
            </a:pathLst>
          </a:custGeom>
          <a:gradFill flip="none" rotWithShape="1">
            <a:gsLst>
              <a:gs pos="6000">
                <a:srgbClr val="FE832C"/>
              </a:gs>
              <a:gs pos="61000">
                <a:srgbClr val="FFCEAB"/>
              </a:gs>
              <a:gs pos="0">
                <a:srgbClr val="EA5504"/>
              </a:gs>
              <a:gs pos="100000">
                <a:srgbClr val="FBE9D5"/>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dirty="0">
              <a:latin typeface="微软雅黑" panose="020B0503020204020204" pitchFamily="34" charset="-122"/>
              <a:ea typeface="微软雅黑" panose="020B0503020204020204" pitchFamily="34" charset="-122"/>
            </a:endParaRPr>
          </a:p>
        </p:txBody>
      </p:sp>
      <p:grpSp>
        <p:nvGrpSpPr>
          <p:cNvPr id="14" name="组合 13"/>
          <p:cNvGrpSpPr/>
          <p:nvPr userDrawn="1"/>
        </p:nvGrpSpPr>
        <p:grpSpPr>
          <a:xfrm>
            <a:off x="741424" y="571834"/>
            <a:ext cx="2812005" cy="468667"/>
            <a:chOff x="660400" y="492126"/>
            <a:chExt cx="3257550" cy="542924"/>
          </a:xfrm>
        </p:grpSpPr>
        <p:sp>
          <p:nvSpPr>
            <p:cNvPr id="15" name="Freeform 5"/>
            <p:cNvSpPr>
              <a:spLocks noEditPoints="1"/>
            </p:cNvSpPr>
            <p:nvPr/>
          </p:nvSpPr>
          <p:spPr bwMode="auto">
            <a:xfrm>
              <a:off x="660400" y="492126"/>
              <a:ext cx="3257550" cy="285750"/>
            </a:xfrm>
            <a:custGeom>
              <a:avLst/>
              <a:gdLst>
                <a:gd name="T0" fmla="*/ 1282 w 1998"/>
                <a:gd name="T1" fmla="*/ 16 h 174"/>
                <a:gd name="T2" fmla="*/ 1247 w 1998"/>
                <a:gd name="T3" fmla="*/ 166 h 174"/>
                <a:gd name="T4" fmla="*/ 1376 w 1998"/>
                <a:gd name="T5" fmla="*/ 167 h 174"/>
                <a:gd name="T6" fmla="*/ 1409 w 1998"/>
                <a:gd name="T7" fmla="*/ 17 h 174"/>
                <a:gd name="T8" fmla="*/ 1184 w 1998"/>
                <a:gd name="T9" fmla="*/ 166 h 174"/>
                <a:gd name="T10" fmla="*/ 1214 w 1998"/>
                <a:gd name="T11" fmla="*/ 13 h 174"/>
                <a:gd name="T12" fmla="*/ 1122 w 1998"/>
                <a:gd name="T13" fmla="*/ 41 h 174"/>
                <a:gd name="T14" fmla="*/ 1007 w 1998"/>
                <a:gd name="T15" fmla="*/ 17 h 174"/>
                <a:gd name="T16" fmla="*/ 1042 w 1998"/>
                <a:gd name="T17" fmla="*/ 122 h 174"/>
                <a:gd name="T18" fmla="*/ 1994 w 1998"/>
                <a:gd name="T19" fmla="*/ 13 h 174"/>
                <a:gd name="T20" fmla="*/ 1863 w 1998"/>
                <a:gd name="T21" fmla="*/ 13 h 174"/>
                <a:gd name="T22" fmla="*/ 1840 w 1998"/>
                <a:gd name="T23" fmla="*/ 170 h 174"/>
                <a:gd name="T24" fmla="*/ 1971 w 1998"/>
                <a:gd name="T25" fmla="*/ 170 h 174"/>
                <a:gd name="T26" fmla="*/ 1994 w 1998"/>
                <a:gd name="T27" fmla="*/ 13 h 174"/>
                <a:gd name="T28" fmla="*/ 1488 w 1998"/>
                <a:gd name="T29" fmla="*/ 172 h 174"/>
                <a:gd name="T30" fmla="*/ 1513 w 1998"/>
                <a:gd name="T31" fmla="*/ 104 h 174"/>
                <a:gd name="T32" fmla="*/ 1471 w 1998"/>
                <a:gd name="T33" fmla="*/ 142 h 174"/>
                <a:gd name="T34" fmla="*/ 1562 w 1998"/>
                <a:gd name="T35" fmla="*/ 44 h 174"/>
                <a:gd name="T36" fmla="*/ 1596 w 1998"/>
                <a:gd name="T37" fmla="*/ 58 h 174"/>
                <a:gd name="T38" fmla="*/ 767 w 1998"/>
                <a:gd name="T39" fmla="*/ 112 h 174"/>
                <a:gd name="T40" fmla="*/ 894 w 1998"/>
                <a:gd name="T41" fmla="*/ 65 h 174"/>
                <a:gd name="T42" fmla="*/ 832 w 1998"/>
                <a:gd name="T43" fmla="*/ 51 h 174"/>
                <a:gd name="T44" fmla="*/ 731 w 1998"/>
                <a:gd name="T45" fmla="*/ 48 h 174"/>
                <a:gd name="T46" fmla="*/ 692 w 1998"/>
                <a:gd name="T47" fmla="*/ 85 h 174"/>
                <a:gd name="T48" fmla="*/ 767 w 1998"/>
                <a:gd name="T49" fmla="*/ 138 h 174"/>
                <a:gd name="T50" fmla="*/ 700 w 1998"/>
                <a:gd name="T51" fmla="*/ 170 h 174"/>
                <a:gd name="T52" fmla="*/ 859 w 1998"/>
                <a:gd name="T53" fmla="*/ 170 h 174"/>
                <a:gd name="T54" fmla="*/ 859 w 1998"/>
                <a:gd name="T55" fmla="*/ 146 h 174"/>
                <a:gd name="T56" fmla="*/ 894 w 1998"/>
                <a:gd name="T57" fmla="*/ 89 h 174"/>
                <a:gd name="T58" fmla="*/ 1740 w 1998"/>
                <a:gd name="T59" fmla="*/ 13 h 174"/>
                <a:gd name="T60" fmla="*/ 1663 w 1998"/>
                <a:gd name="T61" fmla="*/ 170 h 174"/>
                <a:gd name="T62" fmla="*/ 1816 w 1998"/>
                <a:gd name="T63" fmla="*/ 170 h 174"/>
                <a:gd name="T64" fmla="*/ 597 w 1998"/>
                <a:gd name="T65" fmla="*/ 98 h 174"/>
                <a:gd name="T66" fmla="*/ 654 w 1998"/>
                <a:gd name="T67" fmla="*/ 46 h 174"/>
                <a:gd name="T68" fmla="*/ 416 w 1998"/>
                <a:gd name="T69" fmla="*/ 28 h 174"/>
                <a:gd name="T70" fmla="*/ 239 w 1998"/>
                <a:gd name="T71" fmla="*/ 148 h 174"/>
                <a:gd name="T72" fmla="*/ 423 w 1998"/>
                <a:gd name="T73" fmla="*/ 6 h 174"/>
                <a:gd name="T74" fmla="*/ 872 w 1998"/>
                <a:gd name="T75" fmla="*/ 34 h 174"/>
                <a:gd name="T76" fmla="*/ 897 w 1998"/>
                <a:gd name="T77" fmla="*/ 32 h 174"/>
                <a:gd name="T78" fmla="*/ 782 w 1998"/>
                <a:gd name="T79" fmla="*/ 0 h 174"/>
                <a:gd name="T80" fmla="*/ 693 w 1998"/>
                <a:gd name="T81" fmla="*/ 45 h 174"/>
                <a:gd name="T82" fmla="*/ 179 w 1998"/>
                <a:gd name="T83" fmla="*/ 49 h 174"/>
                <a:gd name="T84" fmla="*/ 88 w 1998"/>
                <a:gd name="T85" fmla="*/ 49 h 174"/>
                <a:gd name="T86" fmla="*/ 118 w 1998"/>
                <a:gd name="T87" fmla="*/ 1 h 174"/>
                <a:gd name="T88" fmla="*/ 0 w 1998"/>
                <a:gd name="T89" fmla="*/ 46 h 174"/>
                <a:gd name="T90" fmla="*/ 91 w 1998"/>
                <a:gd name="T91" fmla="*/ 174 h 174"/>
                <a:gd name="T92" fmla="*/ 210 w 1998"/>
                <a:gd name="T93" fmla="*/ 118 h 174"/>
                <a:gd name="T94" fmla="*/ 379 w 1998"/>
                <a:gd name="T95" fmla="*/ 112 h 174"/>
                <a:gd name="T96" fmla="*/ 357 w 1998"/>
                <a:gd name="T97" fmla="*/ 75 h 174"/>
                <a:gd name="T98" fmla="*/ 284 w 1998"/>
                <a:gd name="T99" fmla="*/ 61 h 174"/>
                <a:gd name="T100" fmla="*/ 328 w 1998"/>
                <a:gd name="T101" fmla="*/ 93 h 174"/>
                <a:gd name="T102" fmla="*/ 401 w 1998"/>
                <a:gd name="T103" fmla="*/ 104 h 174"/>
                <a:gd name="T104" fmla="*/ 512 w 1998"/>
                <a:gd name="T105" fmla="*/ 46 h 174"/>
                <a:gd name="T106" fmla="*/ 669 w 1998"/>
                <a:gd name="T107" fmla="*/ 115 h 174"/>
                <a:gd name="T108" fmla="*/ 666 w 1998"/>
                <a:gd name="T109" fmla="*/ 14 h 174"/>
                <a:gd name="T110" fmla="*/ 479 w 1998"/>
                <a:gd name="T111" fmla="*/ 33 h 174"/>
                <a:gd name="T112" fmla="*/ 469 w 1998"/>
                <a:gd name="T113" fmla="*/ 135 h 174"/>
                <a:gd name="T114" fmla="*/ 583 w 1998"/>
                <a:gd name="T115" fmla="*/ 174 h 174"/>
                <a:gd name="T116" fmla="*/ 673 w 1998"/>
                <a:gd name="T117" fmla="*/ 119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98" h="174">
                  <a:moveTo>
                    <a:pt x="1405" y="13"/>
                  </a:moveTo>
                  <a:cubicBezTo>
                    <a:pt x="1382" y="13"/>
                    <a:pt x="1382" y="13"/>
                    <a:pt x="1382" y="13"/>
                  </a:cubicBezTo>
                  <a:cubicBezTo>
                    <a:pt x="1379" y="13"/>
                    <a:pt x="1378" y="15"/>
                    <a:pt x="1378" y="17"/>
                  </a:cubicBezTo>
                  <a:cubicBezTo>
                    <a:pt x="1378" y="125"/>
                    <a:pt x="1378" y="125"/>
                    <a:pt x="1378" y="125"/>
                  </a:cubicBezTo>
                  <a:cubicBezTo>
                    <a:pt x="1365" y="111"/>
                    <a:pt x="1284" y="18"/>
                    <a:pt x="1282" y="16"/>
                  </a:cubicBezTo>
                  <a:cubicBezTo>
                    <a:pt x="1279" y="13"/>
                    <a:pt x="1276" y="13"/>
                    <a:pt x="1275" y="13"/>
                  </a:cubicBezTo>
                  <a:cubicBezTo>
                    <a:pt x="1275" y="13"/>
                    <a:pt x="1275" y="13"/>
                    <a:pt x="1275" y="13"/>
                  </a:cubicBezTo>
                  <a:cubicBezTo>
                    <a:pt x="1251" y="13"/>
                    <a:pt x="1251" y="13"/>
                    <a:pt x="1251" y="13"/>
                  </a:cubicBezTo>
                  <a:cubicBezTo>
                    <a:pt x="1249" y="13"/>
                    <a:pt x="1247" y="15"/>
                    <a:pt x="1247" y="17"/>
                  </a:cubicBezTo>
                  <a:cubicBezTo>
                    <a:pt x="1247" y="166"/>
                    <a:pt x="1247" y="166"/>
                    <a:pt x="1247" y="166"/>
                  </a:cubicBezTo>
                  <a:cubicBezTo>
                    <a:pt x="1247" y="168"/>
                    <a:pt x="1249" y="170"/>
                    <a:pt x="1251" y="170"/>
                  </a:cubicBezTo>
                  <a:cubicBezTo>
                    <a:pt x="1275" y="170"/>
                    <a:pt x="1275" y="170"/>
                    <a:pt x="1275" y="170"/>
                  </a:cubicBezTo>
                  <a:cubicBezTo>
                    <a:pt x="1277" y="170"/>
                    <a:pt x="1279" y="168"/>
                    <a:pt x="1279" y="166"/>
                  </a:cubicBezTo>
                  <a:cubicBezTo>
                    <a:pt x="1279" y="57"/>
                    <a:pt x="1279" y="57"/>
                    <a:pt x="1279" y="57"/>
                  </a:cubicBezTo>
                  <a:cubicBezTo>
                    <a:pt x="1287" y="67"/>
                    <a:pt x="1373" y="165"/>
                    <a:pt x="1376" y="167"/>
                  </a:cubicBezTo>
                  <a:cubicBezTo>
                    <a:pt x="1378" y="169"/>
                    <a:pt x="1381" y="170"/>
                    <a:pt x="1383" y="170"/>
                  </a:cubicBezTo>
                  <a:cubicBezTo>
                    <a:pt x="1383" y="170"/>
                    <a:pt x="1383" y="170"/>
                    <a:pt x="1383" y="170"/>
                  </a:cubicBezTo>
                  <a:cubicBezTo>
                    <a:pt x="1405" y="170"/>
                    <a:pt x="1405" y="170"/>
                    <a:pt x="1405" y="170"/>
                  </a:cubicBezTo>
                  <a:cubicBezTo>
                    <a:pt x="1407" y="170"/>
                    <a:pt x="1409" y="168"/>
                    <a:pt x="1409" y="166"/>
                  </a:cubicBezTo>
                  <a:cubicBezTo>
                    <a:pt x="1409" y="17"/>
                    <a:pt x="1409" y="17"/>
                    <a:pt x="1409" y="17"/>
                  </a:cubicBezTo>
                  <a:cubicBezTo>
                    <a:pt x="1409" y="15"/>
                    <a:pt x="1407" y="13"/>
                    <a:pt x="1405" y="13"/>
                  </a:cubicBezTo>
                  <a:moveTo>
                    <a:pt x="1214" y="13"/>
                  </a:moveTo>
                  <a:cubicBezTo>
                    <a:pt x="1188" y="13"/>
                    <a:pt x="1188" y="13"/>
                    <a:pt x="1188" y="13"/>
                  </a:cubicBezTo>
                  <a:cubicBezTo>
                    <a:pt x="1186" y="13"/>
                    <a:pt x="1184" y="15"/>
                    <a:pt x="1184" y="17"/>
                  </a:cubicBezTo>
                  <a:cubicBezTo>
                    <a:pt x="1184" y="166"/>
                    <a:pt x="1184" y="166"/>
                    <a:pt x="1184" y="166"/>
                  </a:cubicBezTo>
                  <a:cubicBezTo>
                    <a:pt x="1184" y="168"/>
                    <a:pt x="1186" y="170"/>
                    <a:pt x="1188" y="170"/>
                  </a:cubicBezTo>
                  <a:cubicBezTo>
                    <a:pt x="1214" y="170"/>
                    <a:pt x="1214" y="170"/>
                    <a:pt x="1214" y="170"/>
                  </a:cubicBezTo>
                  <a:cubicBezTo>
                    <a:pt x="1216" y="170"/>
                    <a:pt x="1218" y="168"/>
                    <a:pt x="1218" y="166"/>
                  </a:cubicBezTo>
                  <a:cubicBezTo>
                    <a:pt x="1218" y="17"/>
                    <a:pt x="1218" y="17"/>
                    <a:pt x="1218" y="17"/>
                  </a:cubicBezTo>
                  <a:cubicBezTo>
                    <a:pt x="1218" y="15"/>
                    <a:pt x="1216" y="13"/>
                    <a:pt x="1214" y="13"/>
                  </a:cubicBezTo>
                  <a:moveTo>
                    <a:pt x="1125" y="91"/>
                  </a:moveTo>
                  <a:cubicBezTo>
                    <a:pt x="1125" y="93"/>
                    <a:pt x="1124" y="94"/>
                    <a:pt x="1122" y="94"/>
                  </a:cubicBezTo>
                  <a:cubicBezTo>
                    <a:pt x="1042" y="94"/>
                    <a:pt x="1042" y="94"/>
                    <a:pt x="1042" y="94"/>
                  </a:cubicBezTo>
                  <a:cubicBezTo>
                    <a:pt x="1042" y="41"/>
                    <a:pt x="1042" y="41"/>
                    <a:pt x="1042" y="41"/>
                  </a:cubicBezTo>
                  <a:cubicBezTo>
                    <a:pt x="1122" y="41"/>
                    <a:pt x="1122" y="41"/>
                    <a:pt x="1122" y="41"/>
                  </a:cubicBezTo>
                  <a:cubicBezTo>
                    <a:pt x="1124" y="41"/>
                    <a:pt x="1125" y="42"/>
                    <a:pt x="1125" y="44"/>
                  </a:cubicBezTo>
                  <a:lnTo>
                    <a:pt x="1125" y="91"/>
                  </a:lnTo>
                  <a:close/>
                  <a:moveTo>
                    <a:pt x="1108" y="13"/>
                  </a:moveTo>
                  <a:cubicBezTo>
                    <a:pt x="1011" y="13"/>
                    <a:pt x="1011" y="13"/>
                    <a:pt x="1011" y="13"/>
                  </a:cubicBezTo>
                  <a:cubicBezTo>
                    <a:pt x="1009" y="13"/>
                    <a:pt x="1007" y="15"/>
                    <a:pt x="1007" y="17"/>
                  </a:cubicBezTo>
                  <a:cubicBezTo>
                    <a:pt x="1007" y="166"/>
                    <a:pt x="1007" y="166"/>
                    <a:pt x="1007" y="166"/>
                  </a:cubicBezTo>
                  <a:cubicBezTo>
                    <a:pt x="1007" y="168"/>
                    <a:pt x="1009" y="170"/>
                    <a:pt x="1011" y="170"/>
                  </a:cubicBezTo>
                  <a:cubicBezTo>
                    <a:pt x="1038" y="170"/>
                    <a:pt x="1038" y="170"/>
                    <a:pt x="1038" y="170"/>
                  </a:cubicBezTo>
                  <a:cubicBezTo>
                    <a:pt x="1040" y="170"/>
                    <a:pt x="1042" y="168"/>
                    <a:pt x="1042" y="166"/>
                  </a:cubicBezTo>
                  <a:cubicBezTo>
                    <a:pt x="1042" y="122"/>
                    <a:pt x="1042" y="122"/>
                    <a:pt x="1042" y="122"/>
                  </a:cubicBezTo>
                  <a:cubicBezTo>
                    <a:pt x="1108" y="122"/>
                    <a:pt x="1108" y="122"/>
                    <a:pt x="1108" y="122"/>
                  </a:cubicBezTo>
                  <a:cubicBezTo>
                    <a:pt x="1137" y="122"/>
                    <a:pt x="1161" y="104"/>
                    <a:pt x="1161" y="78"/>
                  </a:cubicBezTo>
                  <a:cubicBezTo>
                    <a:pt x="1161" y="61"/>
                    <a:pt x="1161" y="61"/>
                    <a:pt x="1161" y="61"/>
                  </a:cubicBezTo>
                  <a:cubicBezTo>
                    <a:pt x="1161" y="34"/>
                    <a:pt x="1137" y="13"/>
                    <a:pt x="1108" y="13"/>
                  </a:cubicBezTo>
                  <a:moveTo>
                    <a:pt x="1994" y="13"/>
                  </a:moveTo>
                  <a:cubicBezTo>
                    <a:pt x="1970" y="13"/>
                    <a:pt x="1970" y="13"/>
                    <a:pt x="1970" y="13"/>
                  </a:cubicBezTo>
                  <a:cubicBezTo>
                    <a:pt x="1968" y="13"/>
                    <a:pt x="1967" y="15"/>
                    <a:pt x="1967" y="17"/>
                  </a:cubicBezTo>
                  <a:cubicBezTo>
                    <a:pt x="1967" y="125"/>
                    <a:pt x="1967" y="125"/>
                    <a:pt x="1967" y="125"/>
                  </a:cubicBezTo>
                  <a:cubicBezTo>
                    <a:pt x="1954" y="111"/>
                    <a:pt x="1872" y="18"/>
                    <a:pt x="1870" y="16"/>
                  </a:cubicBezTo>
                  <a:cubicBezTo>
                    <a:pt x="1868" y="13"/>
                    <a:pt x="1865" y="13"/>
                    <a:pt x="1863" y="13"/>
                  </a:cubicBezTo>
                  <a:cubicBezTo>
                    <a:pt x="1863" y="13"/>
                    <a:pt x="1863" y="13"/>
                    <a:pt x="1863" y="13"/>
                  </a:cubicBezTo>
                  <a:cubicBezTo>
                    <a:pt x="1840" y="13"/>
                    <a:pt x="1840" y="13"/>
                    <a:pt x="1840" y="13"/>
                  </a:cubicBezTo>
                  <a:cubicBezTo>
                    <a:pt x="1838" y="13"/>
                    <a:pt x="1836" y="15"/>
                    <a:pt x="1836" y="17"/>
                  </a:cubicBezTo>
                  <a:cubicBezTo>
                    <a:pt x="1836" y="166"/>
                    <a:pt x="1836" y="166"/>
                    <a:pt x="1836" y="166"/>
                  </a:cubicBezTo>
                  <a:cubicBezTo>
                    <a:pt x="1836" y="168"/>
                    <a:pt x="1838" y="170"/>
                    <a:pt x="1840" y="170"/>
                  </a:cubicBezTo>
                  <a:cubicBezTo>
                    <a:pt x="1864" y="170"/>
                    <a:pt x="1864" y="170"/>
                    <a:pt x="1864" y="170"/>
                  </a:cubicBezTo>
                  <a:cubicBezTo>
                    <a:pt x="1866" y="170"/>
                    <a:pt x="1867" y="168"/>
                    <a:pt x="1867" y="166"/>
                  </a:cubicBezTo>
                  <a:cubicBezTo>
                    <a:pt x="1867" y="57"/>
                    <a:pt x="1867" y="57"/>
                    <a:pt x="1867" y="57"/>
                  </a:cubicBezTo>
                  <a:cubicBezTo>
                    <a:pt x="1876" y="67"/>
                    <a:pt x="1962" y="165"/>
                    <a:pt x="1964" y="167"/>
                  </a:cubicBezTo>
                  <a:cubicBezTo>
                    <a:pt x="1967" y="169"/>
                    <a:pt x="1969" y="170"/>
                    <a:pt x="1971" y="170"/>
                  </a:cubicBezTo>
                  <a:cubicBezTo>
                    <a:pt x="1971" y="170"/>
                    <a:pt x="1971" y="170"/>
                    <a:pt x="1971" y="170"/>
                  </a:cubicBezTo>
                  <a:cubicBezTo>
                    <a:pt x="1994" y="170"/>
                    <a:pt x="1994" y="170"/>
                    <a:pt x="1994" y="170"/>
                  </a:cubicBezTo>
                  <a:cubicBezTo>
                    <a:pt x="1996" y="170"/>
                    <a:pt x="1998" y="168"/>
                    <a:pt x="1998" y="166"/>
                  </a:cubicBezTo>
                  <a:cubicBezTo>
                    <a:pt x="1998" y="17"/>
                    <a:pt x="1998" y="17"/>
                    <a:pt x="1998" y="17"/>
                  </a:cubicBezTo>
                  <a:cubicBezTo>
                    <a:pt x="1998" y="15"/>
                    <a:pt x="1996" y="13"/>
                    <a:pt x="1994" y="13"/>
                  </a:cubicBezTo>
                  <a:moveTo>
                    <a:pt x="1542" y="11"/>
                  </a:moveTo>
                  <a:cubicBezTo>
                    <a:pt x="1488" y="11"/>
                    <a:pt x="1488" y="11"/>
                    <a:pt x="1488" y="11"/>
                  </a:cubicBezTo>
                  <a:cubicBezTo>
                    <a:pt x="1458" y="11"/>
                    <a:pt x="1434" y="32"/>
                    <a:pt x="1434" y="58"/>
                  </a:cubicBezTo>
                  <a:cubicBezTo>
                    <a:pt x="1434" y="124"/>
                    <a:pt x="1434" y="124"/>
                    <a:pt x="1434" y="124"/>
                  </a:cubicBezTo>
                  <a:cubicBezTo>
                    <a:pt x="1434" y="150"/>
                    <a:pt x="1458" y="172"/>
                    <a:pt x="1488" y="172"/>
                  </a:cubicBezTo>
                  <a:cubicBezTo>
                    <a:pt x="1542" y="172"/>
                    <a:pt x="1542" y="172"/>
                    <a:pt x="1542" y="172"/>
                  </a:cubicBezTo>
                  <a:cubicBezTo>
                    <a:pt x="1572" y="172"/>
                    <a:pt x="1596" y="150"/>
                    <a:pt x="1596" y="124"/>
                  </a:cubicBezTo>
                  <a:cubicBezTo>
                    <a:pt x="1596" y="82"/>
                    <a:pt x="1596" y="82"/>
                    <a:pt x="1596" y="82"/>
                  </a:cubicBezTo>
                  <a:cubicBezTo>
                    <a:pt x="1513" y="82"/>
                    <a:pt x="1513" y="82"/>
                    <a:pt x="1513" y="82"/>
                  </a:cubicBezTo>
                  <a:cubicBezTo>
                    <a:pt x="1513" y="104"/>
                    <a:pt x="1513" y="104"/>
                    <a:pt x="1513" y="104"/>
                  </a:cubicBezTo>
                  <a:cubicBezTo>
                    <a:pt x="1513" y="106"/>
                    <a:pt x="1515" y="108"/>
                    <a:pt x="1517" y="108"/>
                  </a:cubicBezTo>
                  <a:cubicBezTo>
                    <a:pt x="1562" y="108"/>
                    <a:pt x="1562" y="108"/>
                    <a:pt x="1562" y="108"/>
                  </a:cubicBezTo>
                  <a:cubicBezTo>
                    <a:pt x="1562" y="138"/>
                    <a:pt x="1562" y="138"/>
                    <a:pt x="1562" y="138"/>
                  </a:cubicBezTo>
                  <a:cubicBezTo>
                    <a:pt x="1562" y="140"/>
                    <a:pt x="1560" y="142"/>
                    <a:pt x="1558" y="142"/>
                  </a:cubicBezTo>
                  <a:cubicBezTo>
                    <a:pt x="1471" y="142"/>
                    <a:pt x="1471" y="142"/>
                    <a:pt x="1471" y="142"/>
                  </a:cubicBezTo>
                  <a:cubicBezTo>
                    <a:pt x="1469" y="142"/>
                    <a:pt x="1468" y="140"/>
                    <a:pt x="1468" y="138"/>
                  </a:cubicBezTo>
                  <a:cubicBezTo>
                    <a:pt x="1468" y="44"/>
                    <a:pt x="1468" y="44"/>
                    <a:pt x="1468" y="44"/>
                  </a:cubicBezTo>
                  <a:cubicBezTo>
                    <a:pt x="1468" y="42"/>
                    <a:pt x="1469" y="41"/>
                    <a:pt x="1471" y="41"/>
                  </a:cubicBezTo>
                  <a:cubicBezTo>
                    <a:pt x="1558" y="41"/>
                    <a:pt x="1558" y="41"/>
                    <a:pt x="1558" y="41"/>
                  </a:cubicBezTo>
                  <a:cubicBezTo>
                    <a:pt x="1560" y="41"/>
                    <a:pt x="1562" y="42"/>
                    <a:pt x="1562" y="44"/>
                  </a:cubicBezTo>
                  <a:cubicBezTo>
                    <a:pt x="1562" y="62"/>
                    <a:pt x="1562" y="62"/>
                    <a:pt x="1562" y="62"/>
                  </a:cubicBezTo>
                  <a:cubicBezTo>
                    <a:pt x="1562" y="64"/>
                    <a:pt x="1564" y="66"/>
                    <a:pt x="1566" y="66"/>
                  </a:cubicBezTo>
                  <a:cubicBezTo>
                    <a:pt x="1592" y="66"/>
                    <a:pt x="1592" y="66"/>
                    <a:pt x="1592" y="66"/>
                  </a:cubicBezTo>
                  <a:cubicBezTo>
                    <a:pt x="1594" y="66"/>
                    <a:pt x="1596" y="64"/>
                    <a:pt x="1596" y="62"/>
                  </a:cubicBezTo>
                  <a:cubicBezTo>
                    <a:pt x="1596" y="58"/>
                    <a:pt x="1596" y="58"/>
                    <a:pt x="1596" y="58"/>
                  </a:cubicBezTo>
                  <a:cubicBezTo>
                    <a:pt x="1596" y="32"/>
                    <a:pt x="1572" y="11"/>
                    <a:pt x="1542" y="11"/>
                  </a:cubicBezTo>
                  <a:moveTo>
                    <a:pt x="832" y="96"/>
                  </a:moveTo>
                  <a:cubicBezTo>
                    <a:pt x="832" y="103"/>
                    <a:pt x="831" y="108"/>
                    <a:pt x="823" y="112"/>
                  </a:cubicBezTo>
                  <a:cubicBezTo>
                    <a:pt x="816" y="115"/>
                    <a:pt x="805" y="121"/>
                    <a:pt x="795" y="125"/>
                  </a:cubicBezTo>
                  <a:cubicBezTo>
                    <a:pt x="785" y="121"/>
                    <a:pt x="774" y="115"/>
                    <a:pt x="767" y="112"/>
                  </a:cubicBezTo>
                  <a:cubicBezTo>
                    <a:pt x="758" y="108"/>
                    <a:pt x="757" y="103"/>
                    <a:pt x="757" y="96"/>
                  </a:cubicBezTo>
                  <a:cubicBezTo>
                    <a:pt x="757" y="89"/>
                    <a:pt x="757" y="89"/>
                    <a:pt x="757" y="89"/>
                  </a:cubicBezTo>
                  <a:cubicBezTo>
                    <a:pt x="832" y="89"/>
                    <a:pt x="832" y="89"/>
                    <a:pt x="832" y="89"/>
                  </a:cubicBezTo>
                  <a:lnTo>
                    <a:pt x="832" y="96"/>
                  </a:lnTo>
                  <a:close/>
                  <a:moveTo>
                    <a:pt x="894" y="65"/>
                  </a:moveTo>
                  <a:cubicBezTo>
                    <a:pt x="862" y="65"/>
                    <a:pt x="862" y="65"/>
                    <a:pt x="862" y="65"/>
                  </a:cubicBezTo>
                  <a:cubicBezTo>
                    <a:pt x="862" y="51"/>
                    <a:pt x="862" y="51"/>
                    <a:pt x="862" y="51"/>
                  </a:cubicBezTo>
                  <a:cubicBezTo>
                    <a:pt x="862" y="49"/>
                    <a:pt x="860" y="48"/>
                    <a:pt x="858" y="48"/>
                  </a:cubicBezTo>
                  <a:cubicBezTo>
                    <a:pt x="836" y="48"/>
                    <a:pt x="836" y="48"/>
                    <a:pt x="836" y="48"/>
                  </a:cubicBezTo>
                  <a:cubicBezTo>
                    <a:pt x="834" y="48"/>
                    <a:pt x="832" y="49"/>
                    <a:pt x="832" y="51"/>
                  </a:cubicBezTo>
                  <a:cubicBezTo>
                    <a:pt x="832" y="65"/>
                    <a:pt x="832" y="65"/>
                    <a:pt x="832" y="65"/>
                  </a:cubicBezTo>
                  <a:cubicBezTo>
                    <a:pt x="757" y="65"/>
                    <a:pt x="757" y="65"/>
                    <a:pt x="757" y="65"/>
                  </a:cubicBezTo>
                  <a:cubicBezTo>
                    <a:pt x="757" y="51"/>
                    <a:pt x="757" y="51"/>
                    <a:pt x="757" y="51"/>
                  </a:cubicBezTo>
                  <a:cubicBezTo>
                    <a:pt x="757" y="49"/>
                    <a:pt x="755" y="48"/>
                    <a:pt x="753" y="48"/>
                  </a:cubicBezTo>
                  <a:cubicBezTo>
                    <a:pt x="731" y="48"/>
                    <a:pt x="731" y="48"/>
                    <a:pt x="731" y="48"/>
                  </a:cubicBezTo>
                  <a:cubicBezTo>
                    <a:pt x="729" y="48"/>
                    <a:pt x="728" y="49"/>
                    <a:pt x="728" y="51"/>
                  </a:cubicBezTo>
                  <a:cubicBezTo>
                    <a:pt x="728" y="65"/>
                    <a:pt x="728" y="65"/>
                    <a:pt x="728" y="65"/>
                  </a:cubicBezTo>
                  <a:cubicBezTo>
                    <a:pt x="695" y="65"/>
                    <a:pt x="695" y="65"/>
                    <a:pt x="695" y="65"/>
                  </a:cubicBezTo>
                  <a:cubicBezTo>
                    <a:pt x="693" y="65"/>
                    <a:pt x="692" y="67"/>
                    <a:pt x="692" y="69"/>
                  </a:cubicBezTo>
                  <a:cubicBezTo>
                    <a:pt x="692" y="85"/>
                    <a:pt x="692" y="85"/>
                    <a:pt x="692" y="85"/>
                  </a:cubicBezTo>
                  <a:cubicBezTo>
                    <a:pt x="692" y="87"/>
                    <a:pt x="693" y="89"/>
                    <a:pt x="695" y="89"/>
                  </a:cubicBezTo>
                  <a:cubicBezTo>
                    <a:pt x="727" y="89"/>
                    <a:pt x="727" y="89"/>
                    <a:pt x="727" y="89"/>
                  </a:cubicBezTo>
                  <a:cubicBezTo>
                    <a:pt x="727" y="99"/>
                    <a:pt x="727" y="99"/>
                    <a:pt x="727" y="99"/>
                  </a:cubicBezTo>
                  <a:cubicBezTo>
                    <a:pt x="727" y="111"/>
                    <a:pt x="733" y="122"/>
                    <a:pt x="747" y="129"/>
                  </a:cubicBezTo>
                  <a:cubicBezTo>
                    <a:pt x="753" y="132"/>
                    <a:pt x="760" y="135"/>
                    <a:pt x="767" y="138"/>
                  </a:cubicBezTo>
                  <a:cubicBezTo>
                    <a:pt x="754" y="143"/>
                    <a:pt x="743" y="146"/>
                    <a:pt x="731" y="146"/>
                  </a:cubicBezTo>
                  <a:cubicBezTo>
                    <a:pt x="700" y="146"/>
                    <a:pt x="700" y="146"/>
                    <a:pt x="700" y="146"/>
                  </a:cubicBezTo>
                  <a:cubicBezTo>
                    <a:pt x="698" y="146"/>
                    <a:pt x="696" y="148"/>
                    <a:pt x="696" y="150"/>
                  </a:cubicBezTo>
                  <a:cubicBezTo>
                    <a:pt x="696" y="166"/>
                    <a:pt x="696" y="166"/>
                    <a:pt x="696" y="166"/>
                  </a:cubicBezTo>
                  <a:cubicBezTo>
                    <a:pt x="696" y="168"/>
                    <a:pt x="698" y="170"/>
                    <a:pt x="700" y="170"/>
                  </a:cubicBezTo>
                  <a:cubicBezTo>
                    <a:pt x="730" y="170"/>
                    <a:pt x="730" y="170"/>
                    <a:pt x="730" y="170"/>
                  </a:cubicBezTo>
                  <a:cubicBezTo>
                    <a:pt x="742" y="170"/>
                    <a:pt x="757" y="167"/>
                    <a:pt x="769" y="162"/>
                  </a:cubicBezTo>
                  <a:cubicBezTo>
                    <a:pt x="774" y="161"/>
                    <a:pt x="784" y="156"/>
                    <a:pt x="795" y="151"/>
                  </a:cubicBezTo>
                  <a:cubicBezTo>
                    <a:pt x="806" y="156"/>
                    <a:pt x="815" y="161"/>
                    <a:pt x="820" y="162"/>
                  </a:cubicBezTo>
                  <a:cubicBezTo>
                    <a:pt x="833" y="167"/>
                    <a:pt x="847" y="170"/>
                    <a:pt x="859" y="170"/>
                  </a:cubicBezTo>
                  <a:cubicBezTo>
                    <a:pt x="889" y="170"/>
                    <a:pt x="889" y="170"/>
                    <a:pt x="889" y="170"/>
                  </a:cubicBezTo>
                  <a:cubicBezTo>
                    <a:pt x="891" y="170"/>
                    <a:pt x="893" y="168"/>
                    <a:pt x="893" y="166"/>
                  </a:cubicBezTo>
                  <a:cubicBezTo>
                    <a:pt x="893" y="150"/>
                    <a:pt x="893" y="150"/>
                    <a:pt x="893" y="150"/>
                  </a:cubicBezTo>
                  <a:cubicBezTo>
                    <a:pt x="893" y="148"/>
                    <a:pt x="891" y="146"/>
                    <a:pt x="889" y="146"/>
                  </a:cubicBezTo>
                  <a:cubicBezTo>
                    <a:pt x="859" y="146"/>
                    <a:pt x="859" y="146"/>
                    <a:pt x="859" y="146"/>
                  </a:cubicBezTo>
                  <a:cubicBezTo>
                    <a:pt x="847" y="146"/>
                    <a:pt x="835" y="143"/>
                    <a:pt x="823" y="138"/>
                  </a:cubicBezTo>
                  <a:cubicBezTo>
                    <a:pt x="830" y="135"/>
                    <a:pt x="837" y="132"/>
                    <a:pt x="842" y="129"/>
                  </a:cubicBezTo>
                  <a:cubicBezTo>
                    <a:pt x="857" y="122"/>
                    <a:pt x="862" y="111"/>
                    <a:pt x="862" y="99"/>
                  </a:cubicBezTo>
                  <a:cubicBezTo>
                    <a:pt x="862" y="89"/>
                    <a:pt x="862" y="89"/>
                    <a:pt x="862" y="89"/>
                  </a:cubicBezTo>
                  <a:cubicBezTo>
                    <a:pt x="894" y="89"/>
                    <a:pt x="894" y="89"/>
                    <a:pt x="894" y="89"/>
                  </a:cubicBezTo>
                  <a:cubicBezTo>
                    <a:pt x="896" y="89"/>
                    <a:pt x="898" y="87"/>
                    <a:pt x="898" y="85"/>
                  </a:cubicBezTo>
                  <a:cubicBezTo>
                    <a:pt x="898" y="69"/>
                    <a:pt x="898" y="69"/>
                    <a:pt x="898" y="69"/>
                  </a:cubicBezTo>
                  <a:cubicBezTo>
                    <a:pt x="898" y="67"/>
                    <a:pt x="896" y="65"/>
                    <a:pt x="894" y="65"/>
                  </a:cubicBezTo>
                  <a:moveTo>
                    <a:pt x="1747" y="17"/>
                  </a:moveTo>
                  <a:cubicBezTo>
                    <a:pt x="1745" y="14"/>
                    <a:pt x="1743" y="13"/>
                    <a:pt x="1740" y="13"/>
                  </a:cubicBezTo>
                  <a:cubicBezTo>
                    <a:pt x="1716" y="13"/>
                    <a:pt x="1716" y="13"/>
                    <a:pt x="1716" y="13"/>
                  </a:cubicBezTo>
                  <a:cubicBezTo>
                    <a:pt x="1713" y="13"/>
                    <a:pt x="1711" y="14"/>
                    <a:pt x="1710" y="17"/>
                  </a:cubicBezTo>
                  <a:cubicBezTo>
                    <a:pt x="1636" y="162"/>
                    <a:pt x="1636" y="162"/>
                    <a:pt x="1636" y="162"/>
                  </a:cubicBezTo>
                  <a:cubicBezTo>
                    <a:pt x="1634" y="167"/>
                    <a:pt x="1636" y="170"/>
                    <a:pt x="1640" y="170"/>
                  </a:cubicBezTo>
                  <a:cubicBezTo>
                    <a:pt x="1663" y="170"/>
                    <a:pt x="1663" y="170"/>
                    <a:pt x="1663" y="170"/>
                  </a:cubicBezTo>
                  <a:cubicBezTo>
                    <a:pt x="1667" y="170"/>
                    <a:pt x="1668" y="169"/>
                    <a:pt x="1670" y="165"/>
                  </a:cubicBezTo>
                  <a:cubicBezTo>
                    <a:pt x="1728" y="49"/>
                    <a:pt x="1728" y="49"/>
                    <a:pt x="1728" y="49"/>
                  </a:cubicBezTo>
                  <a:cubicBezTo>
                    <a:pt x="1786" y="165"/>
                    <a:pt x="1786" y="165"/>
                    <a:pt x="1786" y="165"/>
                  </a:cubicBezTo>
                  <a:cubicBezTo>
                    <a:pt x="1788" y="169"/>
                    <a:pt x="1789" y="170"/>
                    <a:pt x="1793" y="170"/>
                  </a:cubicBezTo>
                  <a:cubicBezTo>
                    <a:pt x="1816" y="170"/>
                    <a:pt x="1816" y="170"/>
                    <a:pt x="1816" y="170"/>
                  </a:cubicBezTo>
                  <a:cubicBezTo>
                    <a:pt x="1820" y="170"/>
                    <a:pt x="1823" y="167"/>
                    <a:pt x="1820" y="162"/>
                  </a:cubicBezTo>
                  <a:lnTo>
                    <a:pt x="1747" y="17"/>
                  </a:lnTo>
                  <a:close/>
                  <a:moveTo>
                    <a:pt x="629" y="46"/>
                  </a:moveTo>
                  <a:cubicBezTo>
                    <a:pt x="626" y="46"/>
                    <a:pt x="623" y="48"/>
                    <a:pt x="622" y="49"/>
                  </a:cubicBezTo>
                  <a:cubicBezTo>
                    <a:pt x="597" y="98"/>
                    <a:pt x="597" y="98"/>
                    <a:pt x="597" y="98"/>
                  </a:cubicBezTo>
                  <a:cubicBezTo>
                    <a:pt x="596" y="100"/>
                    <a:pt x="597" y="102"/>
                    <a:pt x="599" y="102"/>
                  </a:cubicBezTo>
                  <a:cubicBezTo>
                    <a:pt x="625" y="102"/>
                    <a:pt x="625" y="102"/>
                    <a:pt x="625" y="102"/>
                  </a:cubicBezTo>
                  <a:cubicBezTo>
                    <a:pt x="628" y="102"/>
                    <a:pt x="630" y="100"/>
                    <a:pt x="631" y="98"/>
                  </a:cubicBezTo>
                  <a:cubicBezTo>
                    <a:pt x="656" y="49"/>
                    <a:pt x="656" y="49"/>
                    <a:pt x="656" y="49"/>
                  </a:cubicBezTo>
                  <a:cubicBezTo>
                    <a:pt x="657" y="48"/>
                    <a:pt x="656" y="46"/>
                    <a:pt x="654" y="46"/>
                  </a:cubicBezTo>
                  <a:lnTo>
                    <a:pt x="629" y="46"/>
                  </a:lnTo>
                  <a:close/>
                  <a:moveTo>
                    <a:pt x="416" y="146"/>
                  </a:moveTo>
                  <a:cubicBezTo>
                    <a:pt x="269" y="146"/>
                    <a:pt x="269" y="146"/>
                    <a:pt x="269" y="146"/>
                  </a:cubicBezTo>
                  <a:cubicBezTo>
                    <a:pt x="269" y="28"/>
                    <a:pt x="269" y="28"/>
                    <a:pt x="269" y="28"/>
                  </a:cubicBezTo>
                  <a:cubicBezTo>
                    <a:pt x="416" y="28"/>
                    <a:pt x="416" y="28"/>
                    <a:pt x="416" y="28"/>
                  </a:cubicBezTo>
                  <a:lnTo>
                    <a:pt x="416" y="146"/>
                  </a:lnTo>
                  <a:close/>
                  <a:moveTo>
                    <a:pt x="423" y="6"/>
                  </a:moveTo>
                  <a:cubicBezTo>
                    <a:pt x="261" y="6"/>
                    <a:pt x="261" y="6"/>
                    <a:pt x="261" y="6"/>
                  </a:cubicBezTo>
                  <a:cubicBezTo>
                    <a:pt x="249" y="6"/>
                    <a:pt x="239" y="16"/>
                    <a:pt x="239" y="28"/>
                  </a:cubicBezTo>
                  <a:cubicBezTo>
                    <a:pt x="239" y="148"/>
                    <a:pt x="239" y="148"/>
                    <a:pt x="239" y="148"/>
                  </a:cubicBezTo>
                  <a:cubicBezTo>
                    <a:pt x="239" y="160"/>
                    <a:pt x="249" y="169"/>
                    <a:pt x="261" y="169"/>
                  </a:cubicBezTo>
                  <a:cubicBezTo>
                    <a:pt x="423" y="169"/>
                    <a:pt x="423" y="169"/>
                    <a:pt x="423" y="169"/>
                  </a:cubicBezTo>
                  <a:cubicBezTo>
                    <a:pt x="435" y="169"/>
                    <a:pt x="445" y="160"/>
                    <a:pt x="445" y="148"/>
                  </a:cubicBezTo>
                  <a:cubicBezTo>
                    <a:pt x="445" y="28"/>
                    <a:pt x="445" y="28"/>
                    <a:pt x="445" y="28"/>
                  </a:cubicBezTo>
                  <a:cubicBezTo>
                    <a:pt x="445" y="16"/>
                    <a:pt x="435" y="6"/>
                    <a:pt x="423" y="6"/>
                  </a:cubicBezTo>
                  <a:moveTo>
                    <a:pt x="697" y="49"/>
                  </a:moveTo>
                  <a:cubicBezTo>
                    <a:pt x="714" y="49"/>
                    <a:pt x="714" y="49"/>
                    <a:pt x="714" y="49"/>
                  </a:cubicBezTo>
                  <a:cubicBezTo>
                    <a:pt x="716" y="49"/>
                    <a:pt x="718" y="47"/>
                    <a:pt x="718" y="45"/>
                  </a:cubicBezTo>
                  <a:cubicBezTo>
                    <a:pt x="718" y="34"/>
                    <a:pt x="718" y="34"/>
                    <a:pt x="718" y="34"/>
                  </a:cubicBezTo>
                  <a:cubicBezTo>
                    <a:pt x="872" y="34"/>
                    <a:pt x="872" y="34"/>
                    <a:pt x="872" y="34"/>
                  </a:cubicBezTo>
                  <a:cubicBezTo>
                    <a:pt x="872" y="45"/>
                    <a:pt x="872" y="45"/>
                    <a:pt x="872" y="45"/>
                  </a:cubicBezTo>
                  <a:cubicBezTo>
                    <a:pt x="872" y="47"/>
                    <a:pt x="873" y="49"/>
                    <a:pt x="875" y="49"/>
                  </a:cubicBezTo>
                  <a:cubicBezTo>
                    <a:pt x="893" y="49"/>
                    <a:pt x="893" y="49"/>
                    <a:pt x="893" y="49"/>
                  </a:cubicBezTo>
                  <a:cubicBezTo>
                    <a:pt x="895" y="49"/>
                    <a:pt x="897" y="47"/>
                    <a:pt x="897" y="45"/>
                  </a:cubicBezTo>
                  <a:cubicBezTo>
                    <a:pt x="897" y="32"/>
                    <a:pt x="897" y="32"/>
                    <a:pt x="897" y="32"/>
                  </a:cubicBezTo>
                  <a:cubicBezTo>
                    <a:pt x="897" y="22"/>
                    <a:pt x="888" y="13"/>
                    <a:pt x="877" y="13"/>
                  </a:cubicBezTo>
                  <a:cubicBezTo>
                    <a:pt x="811" y="13"/>
                    <a:pt x="811" y="13"/>
                    <a:pt x="811" y="13"/>
                  </a:cubicBezTo>
                  <a:cubicBezTo>
                    <a:pt x="811" y="4"/>
                    <a:pt x="811" y="4"/>
                    <a:pt x="811" y="4"/>
                  </a:cubicBezTo>
                  <a:cubicBezTo>
                    <a:pt x="811" y="2"/>
                    <a:pt x="809" y="0"/>
                    <a:pt x="807" y="0"/>
                  </a:cubicBezTo>
                  <a:cubicBezTo>
                    <a:pt x="782" y="0"/>
                    <a:pt x="782" y="0"/>
                    <a:pt x="782" y="0"/>
                  </a:cubicBezTo>
                  <a:cubicBezTo>
                    <a:pt x="780" y="0"/>
                    <a:pt x="778" y="2"/>
                    <a:pt x="778" y="4"/>
                  </a:cubicBezTo>
                  <a:cubicBezTo>
                    <a:pt x="778" y="13"/>
                    <a:pt x="778" y="13"/>
                    <a:pt x="778" y="13"/>
                  </a:cubicBezTo>
                  <a:cubicBezTo>
                    <a:pt x="712" y="13"/>
                    <a:pt x="712" y="13"/>
                    <a:pt x="712" y="13"/>
                  </a:cubicBezTo>
                  <a:cubicBezTo>
                    <a:pt x="702" y="13"/>
                    <a:pt x="693" y="22"/>
                    <a:pt x="693" y="32"/>
                  </a:cubicBezTo>
                  <a:cubicBezTo>
                    <a:pt x="693" y="45"/>
                    <a:pt x="693" y="45"/>
                    <a:pt x="693" y="45"/>
                  </a:cubicBezTo>
                  <a:cubicBezTo>
                    <a:pt x="693" y="47"/>
                    <a:pt x="695" y="49"/>
                    <a:pt x="697" y="49"/>
                  </a:cubicBezTo>
                  <a:moveTo>
                    <a:pt x="179" y="115"/>
                  </a:moveTo>
                  <a:cubicBezTo>
                    <a:pt x="122" y="115"/>
                    <a:pt x="122" y="115"/>
                    <a:pt x="122" y="115"/>
                  </a:cubicBezTo>
                  <a:cubicBezTo>
                    <a:pt x="122" y="49"/>
                    <a:pt x="122" y="49"/>
                    <a:pt x="122" y="49"/>
                  </a:cubicBezTo>
                  <a:cubicBezTo>
                    <a:pt x="179" y="49"/>
                    <a:pt x="179" y="49"/>
                    <a:pt x="179" y="49"/>
                  </a:cubicBezTo>
                  <a:lnTo>
                    <a:pt x="179" y="115"/>
                  </a:lnTo>
                  <a:close/>
                  <a:moveTo>
                    <a:pt x="88" y="115"/>
                  </a:moveTo>
                  <a:cubicBezTo>
                    <a:pt x="31" y="115"/>
                    <a:pt x="31" y="115"/>
                    <a:pt x="31" y="115"/>
                  </a:cubicBezTo>
                  <a:cubicBezTo>
                    <a:pt x="31" y="49"/>
                    <a:pt x="31" y="49"/>
                    <a:pt x="31" y="49"/>
                  </a:cubicBezTo>
                  <a:cubicBezTo>
                    <a:pt x="88" y="49"/>
                    <a:pt x="88" y="49"/>
                    <a:pt x="88" y="49"/>
                  </a:cubicBezTo>
                  <a:lnTo>
                    <a:pt x="88" y="115"/>
                  </a:lnTo>
                  <a:close/>
                  <a:moveTo>
                    <a:pt x="188" y="24"/>
                  </a:moveTo>
                  <a:cubicBezTo>
                    <a:pt x="122" y="24"/>
                    <a:pt x="122" y="24"/>
                    <a:pt x="122" y="24"/>
                  </a:cubicBezTo>
                  <a:cubicBezTo>
                    <a:pt x="122" y="5"/>
                    <a:pt x="122" y="5"/>
                    <a:pt x="122" y="5"/>
                  </a:cubicBezTo>
                  <a:cubicBezTo>
                    <a:pt x="122" y="3"/>
                    <a:pt x="120" y="1"/>
                    <a:pt x="118" y="1"/>
                  </a:cubicBezTo>
                  <a:cubicBezTo>
                    <a:pt x="91" y="1"/>
                    <a:pt x="91" y="1"/>
                    <a:pt x="91" y="1"/>
                  </a:cubicBezTo>
                  <a:cubicBezTo>
                    <a:pt x="89" y="1"/>
                    <a:pt x="88" y="3"/>
                    <a:pt x="88" y="5"/>
                  </a:cubicBezTo>
                  <a:cubicBezTo>
                    <a:pt x="88" y="24"/>
                    <a:pt x="88" y="24"/>
                    <a:pt x="88" y="24"/>
                  </a:cubicBezTo>
                  <a:cubicBezTo>
                    <a:pt x="22" y="24"/>
                    <a:pt x="22" y="24"/>
                    <a:pt x="22" y="24"/>
                  </a:cubicBezTo>
                  <a:cubicBezTo>
                    <a:pt x="10" y="24"/>
                    <a:pt x="0" y="34"/>
                    <a:pt x="0" y="46"/>
                  </a:cubicBezTo>
                  <a:cubicBezTo>
                    <a:pt x="0" y="118"/>
                    <a:pt x="0" y="118"/>
                    <a:pt x="0" y="118"/>
                  </a:cubicBezTo>
                  <a:cubicBezTo>
                    <a:pt x="0" y="130"/>
                    <a:pt x="10" y="140"/>
                    <a:pt x="22" y="140"/>
                  </a:cubicBezTo>
                  <a:cubicBezTo>
                    <a:pt x="88" y="140"/>
                    <a:pt x="88" y="140"/>
                    <a:pt x="88" y="140"/>
                  </a:cubicBezTo>
                  <a:cubicBezTo>
                    <a:pt x="88" y="171"/>
                    <a:pt x="88" y="171"/>
                    <a:pt x="88" y="171"/>
                  </a:cubicBezTo>
                  <a:cubicBezTo>
                    <a:pt x="88" y="173"/>
                    <a:pt x="89" y="174"/>
                    <a:pt x="91" y="174"/>
                  </a:cubicBezTo>
                  <a:cubicBezTo>
                    <a:pt x="118" y="174"/>
                    <a:pt x="118" y="174"/>
                    <a:pt x="118" y="174"/>
                  </a:cubicBezTo>
                  <a:cubicBezTo>
                    <a:pt x="120" y="174"/>
                    <a:pt x="122" y="173"/>
                    <a:pt x="122" y="171"/>
                  </a:cubicBezTo>
                  <a:cubicBezTo>
                    <a:pt x="122" y="140"/>
                    <a:pt x="122" y="140"/>
                    <a:pt x="122" y="140"/>
                  </a:cubicBezTo>
                  <a:cubicBezTo>
                    <a:pt x="188" y="140"/>
                    <a:pt x="188" y="140"/>
                    <a:pt x="188" y="140"/>
                  </a:cubicBezTo>
                  <a:cubicBezTo>
                    <a:pt x="200" y="140"/>
                    <a:pt x="210" y="130"/>
                    <a:pt x="210" y="118"/>
                  </a:cubicBezTo>
                  <a:cubicBezTo>
                    <a:pt x="210" y="46"/>
                    <a:pt x="210" y="46"/>
                    <a:pt x="210" y="46"/>
                  </a:cubicBezTo>
                  <a:cubicBezTo>
                    <a:pt x="210" y="34"/>
                    <a:pt x="200" y="24"/>
                    <a:pt x="188" y="24"/>
                  </a:cubicBezTo>
                  <a:moveTo>
                    <a:pt x="401" y="104"/>
                  </a:moveTo>
                  <a:cubicBezTo>
                    <a:pt x="379" y="104"/>
                    <a:pt x="379" y="104"/>
                    <a:pt x="379" y="104"/>
                  </a:cubicBezTo>
                  <a:cubicBezTo>
                    <a:pt x="379" y="112"/>
                    <a:pt x="379" y="112"/>
                    <a:pt x="379" y="112"/>
                  </a:cubicBezTo>
                  <a:cubicBezTo>
                    <a:pt x="357" y="112"/>
                    <a:pt x="357" y="112"/>
                    <a:pt x="357" y="112"/>
                  </a:cubicBezTo>
                  <a:cubicBezTo>
                    <a:pt x="357" y="93"/>
                    <a:pt x="357" y="93"/>
                    <a:pt x="357" y="93"/>
                  </a:cubicBezTo>
                  <a:cubicBezTo>
                    <a:pt x="395" y="93"/>
                    <a:pt x="395" y="93"/>
                    <a:pt x="395" y="93"/>
                  </a:cubicBezTo>
                  <a:cubicBezTo>
                    <a:pt x="395" y="75"/>
                    <a:pt x="395" y="75"/>
                    <a:pt x="395" y="75"/>
                  </a:cubicBezTo>
                  <a:cubicBezTo>
                    <a:pt x="357" y="75"/>
                    <a:pt x="357" y="75"/>
                    <a:pt x="357" y="75"/>
                  </a:cubicBezTo>
                  <a:cubicBezTo>
                    <a:pt x="357" y="61"/>
                    <a:pt x="357" y="61"/>
                    <a:pt x="357" y="61"/>
                  </a:cubicBezTo>
                  <a:cubicBezTo>
                    <a:pt x="401" y="61"/>
                    <a:pt x="401" y="61"/>
                    <a:pt x="401" y="61"/>
                  </a:cubicBezTo>
                  <a:cubicBezTo>
                    <a:pt x="401" y="41"/>
                    <a:pt x="401" y="41"/>
                    <a:pt x="401" y="41"/>
                  </a:cubicBezTo>
                  <a:cubicBezTo>
                    <a:pt x="284" y="41"/>
                    <a:pt x="284" y="41"/>
                    <a:pt x="284" y="41"/>
                  </a:cubicBezTo>
                  <a:cubicBezTo>
                    <a:pt x="284" y="61"/>
                    <a:pt x="284" y="61"/>
                    <a:pt x="284" y="61"/>
                  </a:cubicBezTo>
                  <a:cubicBezTo>
                    <a:pt x="328" y="61"/>
                    <a:pt x="328" y="61"/>
                    <a:pt x="328" y="61"/>
                  </a:cubicBezTo>
                  <a:cubicBezTo>
                    <a:pt x="328" y="75"/>
                    <a:pt x="328" y="75"/>
                    <a:pt x="328" y="75"/>
                  </a:cubicBezTo>
                  <a:cubicBezTo>
                    <a:pt x="290" y="75"/>
                    <a:pt x="290" y="75"/>
                    <a:pt x="290" y="75"/>
                  </a:cubicBezTo>
                  <a:cubicBezTo>
                    <a:pt x="290" y="93"/>
                    <a:pt x="290" y="93"/>
                    <a:pt x="290" y="93"/>
                  </a:cubicBezTo>
                  <a:cubicBezTo>
                    <a:pt x="328" y="93"/>
                    <a:pt x="328" y="93"/>
                    <a:pt x="328" y="93"/>
                  </a:cubicBezTo>
                  <a:cubicBezTo>
                    <a:pt x="328" y="112"/>
                    <a:pt x="328" y="112"/>
                    <a:pt x="328" y="112"/>
                  </a:cubicBezTo>
                  <a:cubicBezTo>
                    <a:pt x="284" y="112"/>
                    <a:pt x="284" y="112"/>
                    <a:pt x="284" y="112"/>
                  </a:cubicBezTo>
                  <a:cubicBezTo>
                    <a:pt x="284" y="132"/>
                    <a:pt x="284" y="132"/>
                    <a:pt x="284" y="132"/>
                  </a:cubicBezTo>
                  <a:cubicBezTo>
                    <a:pt x="401" y="132"/>
                    <a:pt x="401" y="132"/>
                    <a:pt x="401" y="132"/>
                  </a:cubicBezTo>
                  <a:lnTo>
                    <a:pt x="401" y="104"/>
                  </a:lnTo>
                  <a:close/>
                  <a:moveTo>
                    <a:pt x="516" y="102"/>
                  </a:moveTo>
                  <a:cubicBezTo>
                    <a:pt x="542" y="102"/>
                    <a:pt x="542" y="102"/>
                    <a:pt x="542" y="102"/>
                  </a:cubicBezTo>
                  <a:cubicBezTo>
                    <a:pt x="544" y="102"/>
                    <a:pt x="545" y="100"/>
                    <a:pt x="544" y="98"/>
                  </a:cubicBezTo>
                  <a:cubicBezTo>
                    <a:pt x="519" y="49"/>
                    <a:pt x="519" y="49"/>
                    <a:pt x="519" y="49"/>
                  </a:cubicBezTo>
                  <a:cubicBezTo>
                    <a:pt x="518" y="48"/>
                    <a:pt x="515" y="46"/>
                    <a:pt x="512" y="46"/>
                  </a:cubicBezTo>
                  <a:cubicBezTo>
                    <a:pt x="487" y="46"/>
                    <a:pt x="487" y="46"/>
                    <a:pt x="487" y="46"/>
                  </a:cubicBezTo>
                  <a:cubicBezTo>
                    <a:pt x="485" y="46"/>
                    <a:pt x="484" y="48"/>
                    <a:pt x="485" y="49"/>
                  </a:cubicBezTo>
                  <a:cubicBezTo>
                    <a:pt x="510" y="98"/>
                    <a:pt x="510" y="98"/>
                    <a:pt x="510" y="98"/>
                  </a:cubicBezTo>
                  <a:cubicBezTo>
                    <a:pt x="511" y="100"/>
                    <a:pt x="513" y="102"/>
                    <a:pt x="516" y="102"/>
                  </a:cubicBezTo>
                  <a:moveTo>
                    <a:pt x="669" y="115"/>
                  </a:moveTo>
                  <a:cubicBezTo>
                    <a:pt x="587" y="115"/>
                    <a:pt x="587" y="115"/>
                    <a:pt x="587" y="115"/>
                  </a:cubicBezTo>
                  <a:cubicBezTo>
                    <a:pt x="587" y="33"/>
                    <a:pt x="587" y="33"/>
                    <a:pt x="587" y="33"/>
                  </a:cubicBezTo>
                  <a:cubicBezTo>
                    <a:pt x="662" y="33"/>
                    <a:pt x="662" y="33"/>
                    <a:pt x="662" y="33"/>
                  </a:cubicBezTo>
                  <a:cubicBezTo>
                    <a:pt x="664" y="33"/>
                    <a:pt x="666" y="31"/>
                    <a:pt x="666" y="29"/>
                  </a:cubicBezTo>
                  <a:cubicBezTo>
                    <a:pt x="666" y="14"/>
                    <a:pt x="666" y="14"/>
                    <a:pt x="666" y="14"/>
                  </a:cubicBezTo>
                  <a:cubicBezTo>
                    <a:pt x="666" y="11"/>
                    <a:pt x="664" y="10"/>
                    <a:pt x="662" y="10"/>
                  </a:cubicBezTo>
                  <a:cubicBezTo>
                    <a:pt x="479" y="10"/>
                    <a:pt x="479" y="10"/>
                    <a:pt x="479" y="10"/>
                  </a:cubicBezTo>
                  <a:cubicBezTo>
                    <a:pt x="477" y="10"/>
                    <a:pt x="475" y="11"/>
                    <a:pt x="475" y="14"/>
                  </a:cubicBezTo>
                  <a:cubicBezTo>
                    <a:pt x="475" y="29"/>
                    <a:pt x="475" y="29"/>
                    <a:pt x="475" y="29"/>
                  </a:cubicBezTo>
                  <a:cubicBezTo>
                    <a:pt x="475" y="31"/>
                    <a:pt x="477" y="33"/>
                    <a:pt x="479" y="33"/>
                  </a:cubicBezTo>
                  <a:cubicBezTo>
                    <a:pt x="554" y="33"/>
                    <a:pt x="554" y="33"/>
                    <a:pt x="554" y="33"/>
                  </a:cubicBezTo>
                  <a:cubicBezTo>
                    <a:pt x="554" y="115"/>
                    <a:pt x="554" y="115"/>
                    <a:pt x="554" y="115"/>
                  </a:cubicBezTo>
                  <a:cubicBezTo>
                    <a:pt x="472" y="115"/>
                    <a:pt x="472" y="115"/>
                    <a:pt x="472" y="115"/>
                  </a:cubicBezTo>
                  <a:cubicBezTo>
                    <a:pt x="470" y="115"/>
                    <a:pt x="469" y="117"/>
                    <a:pt x="469" y="119"/>
                  </a:cubicBezTo>
                  <a:cubicBezTo>
                    <a:pt x="469" y="135"/>
                    <a:pt x="469" y="135"/>
                    <a:pt x="469" y="135"/>
                  </a:cubicBezTo>
                  <a:cubicBezTo>
                    <a:pt x="469" y="137"/>
                    <a:pt x="470" y="139"/>
                    <a:pt x="472" y="139"/>
                  </a:cubicBezTo>
                  <a:cubicBezTo>
                    <a:pt x="554" y="139"/>
                    <a:pt x="554" y="139"/>
                    <a:pt x="554" y="139"/>
                  </a:cubicBezTo>
                  <a:cubicBezTo>
                    <a:pt x="554" y="171"/>
                    <a:pt x="554" y="171"/>
                    <a:pt x="554" y="171"/>
                  </a:cubicBezTo>
                  <a:cubicBezTo>
                    <a:pt x="554" y="173"/>
                    <a:pt x="556" y="174"/>
                    <a:pt x="558" y="174"/>
                  </a:cubicBezTo>
                  <a:cubicBezTo>
                    <a:pt x="583" y="174"/>
                    <a:pt x="583" y="174"/>
                    <a:pt x="583" y="174"/>
                  </a:cubicBezTo>
                  <a:cubicBezTo>
                    <a:pt x="585" y="174"/>
                    <a:pt x="587" y="173"/>
                    <a:pt x="587" y="171"/>
                  </a:cubicBezTo>
                  <a:cubicBezTo>
                    <a:pt x="587" y="139"/>
                    <a:pt x="587" y="139"/>
                    <a:pt x="587" y="139"/>
                  </a:cubicBezTo>
                  <a:cubicBezTo>
                    <a:pt x="669" y="139"/>
                    <a:pt x="669" y="139"/>
                    <a:pt x="669" y="139"/>
                  </a:cubicBezTo>
                  <a:cubicBezTo>
                    <a:pt x="671" y="139"/>
                    <a:pt x="673" y="137"/>
                    <a:pt x="673" y="135"/>
                  </a:cubicBezTo>
                  <a:cubicBezTo>
                    <a:pt x="673" y="119"/>
                    <a:pt x="673" y="119"/>
                    <a:pt x="673" y="119"/>
                  </a:cubicBezTo>
                  <a:cubicBezTo>
                    <a:pt x="673" y="117"/>
                    <a:pt x="671" y="115"/>
                    <a:pt x="669" y="115"/>
                  </a:cubicBezTo>
                </a:path>
              </a:pathLst>
            </a:custGeom>
            <a:solidFill>
              <a:srgbClr val="EA550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dirty="0">
                <a:latin typeface="微软雅黑" panose="020B0503020204020204" pitchFamily="34" charset="-122"/>
                <a:ea typeface="微软雅黑" panose="020B0503020204020204" pitchFamily="34" charset="-122"/>
              </a:endParaRPr>
            </a:p>
          </p:txBody>
        </p:sp>
        <p:sp>
          <p:nvSpPr>
            <p:cNvPr id="16" name="Freeform 6"/>
            <p:cNvSpPr/>
            <p:nvPr/>
          </p:nvSpPr>
          <p:spPr bwMode="auto">
            <a:xfrm>
              <a:off x="3438525" y="693738"/>
              <a:ext cx="77788" cy="76200"/>
            </a:xfrm>
            <a:custGeom>
              <a:avLst/>
              <a:gdLst>
                <a:gd name="T0" fmla="*/ 44 w 48"/>
                <a:gd name="T1" fmla="*/ 0 h 46"/>
                <a:gd name="T2" fmla="*/ 4 w 48"/>
                <a:gd name="T3" fmla="*/ 0 h 46"/>
                <a:gd name="T4" fmla="*/ 0 w 48"/>
                <a:gd name="T5" fmla="*/ 3 h 46"/>
                <a:gd name="T6" fmla="*/ 0 w 48"/>
                <a:gd name="T7" fmla="*/ 43 h 46"/>
                <a:gd name="T8" fmla="*/ 4 w 48"/>
                <a:gd name="T9" fmla="*/ 46 h 46"/>
                <a:gd name="T10" fmla="*/ 44 w 48"/>
                <a:gd name="T11" fmla="*/ 46 h 46"/>
                <a:gd name="T12" fmla="*/ 48 w 48"/>
                <a:gd name="T13" fmla="*/ 43 h 46"/>
                <a:gd name="T14" fmla="*/ 48 w 48"/>
                <a:gd name="T15" fmla="*/ 3 h 46"/>
                <a:gd name="T16" fmla="*/ 44 w 48"/>
                <a:gd name="T1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46">
                  <a:moveTo>
                    <a:pt x="44" y="0"/>
                  </a:moveTo>
                  <a:cubicBezTo>
                    <a:pt x="4" y="0"/>
                    <a:pt x="4" y="0"/>
                    <a:pt x="4" y="0"/>
                  </a:cubicBezTo>
                  <a:cubicBezTo>
                    <a:pt x="2" y="0"/>
                    <a:pt x="0" y="1"/>
                    <a:pt x="0" y="3"/>
                  </a:cubicBezTo>
                  <a:cubicBezTo>
                    <a:pt x="0" y="43"/>
                    <a:pt x="0" y="43"/>
                    <a:pt x="0" y="43"/>
                  </a:cubicBezTo>
                  <a:cubicBezTo>
                    <a:pt x="0" y="45"/>
                    <a:pt x="2" y="46"/>
                    <a:pt x="4" y="46"/>
                  </a:cubicBezTo>
                  <a:cubicBezTo>
                    <a:pt x="44" y="46"/>
                    <a:pt x="44" y="46"/>
                    <a:pt x="44" y="46"/>
                  </a:cubicBezTo>
                  <a:cubicBezTo>
                    <a:pt x="46" y="46"/>
                    <a:pt x="48" y="45"/>
                    <a:pt x="48" y="43"/>
                  </a:cubicBezTo>
                  <a:cubicBezTo>
                    <a:pt x="48" y="3"/>
                    <a:pt x="48" y="3"/>
                    <a:pt x="48" y="3"/>
                  </a:cubicBezTo>
                  <a:cubicBezTo>
                    <a:pt x="48" y="1"/>
                    <a:pt x="46" y="0"/>
                    <a:pt x="44" y="0"/>
                  </a:cubicBezTo>
                </a:path>
              </a:pathLst>
            </a:custGeom>
            <a:solidFill>
              <a:srgbClr val="005E3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dirty="0">
                <a:latin typeface="微软雅黑" panose="020B0503020204020204" pitchFamily="34" charset="-122"/>
                <a:ea typeface="微软雅黑" panose="020B0503020204020204" pitchFamily="34" charset="-122"/>
              </a:endParaRPr>
            </a:p>
          </p:txBody>
        </p:sp>
        <p:sp>
          <p:nvSpPr>
            <p:cNvPr id="17" name="Oval 7"/>
            <p:cNvSpPr>
              <a:spLocks noChangeArrowheads="1"/>
            </p:cNvSpPr>
            <p:nvPr/>
          </p:nvSpPr>
          <p:spPr bwMode="auto">
            <a:xfrm>
              <a:off x="1385888" y="952500"/>
              <a:ext cx="17463" cy="20637"/>
            </a:xfrm>
            <a:prstGeom prst="ellipse">
              <a:avLst/>
            </a:prstGeom>
            <a:solidFill>
              <a:srgbClr val="EA550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dirty="0">
                <a:latin typeface="微软雅黑" panose="020B0503020204020204" pitchFamily="34" charset="-122"/>
                <a:ea typeface="微软雅黑" panose="020B0503020204020204" pitchFamily="34" charset="-122"/>
              </a:endParaRPr>
            </a:p>
          </p:txBody>
        </p:sp>
        <p:sp>
          <p:nvSpPr>
            <p:cNvPr id="18" name="Freeform 8"/>
            <p:cNvSpPr>
              <a:spLocks noEditPoints="1"/>
            </p:cNvSpPr>
            <p:nvPr/>
          </p:nvSpPr>
          <p:spPr bwMode="auto">
            <a:xfrm>
              <a:off x="1001713" y="893763"/>
              <a:ext cx="142875" cy="133350"/>
            </a:xfrm>
            <a:custGeom>
              <a:avLst/>
              <a:gdLst>
                <a:gd name="T0" fmla="*/ 43 w 88"/>
                <a:gd name="T1" fmla="*/ 0 h 81"/>
                <a:gd name="T2" fmla="*/ 51 w 88"/>
                <a:gd name="T3" fmla="*/ 4 h 81"/>
                <a:gd name="T4" fmla="*/ 84 w 88"/>
                <a:gd name="T5" fmla="*/ 22 h 81"/>
                <a:gd name="T6" fmla="*/ 87 w 88"/>
                <a:gd name="T7" fmla="*/ 28 h 81"/>
                <a:gd name="T8" fmla="*/ 82 w 88"/>
                <a:gd name="T9" fmla="*/ 29 h 81"/>
                <a:gd name="T10" fmla="*/ 49 w 88"/>
                <a:gd name="T11" fmla="*/ 12 h 81"/>
                <a:gd name="T12" fmla="*/ 43 w 88"/>
                <a:gd name="T13" fmla="*/ 8 h 81"/>
                <a:gd name="T14" fmla="*/ 38 w 88"/>
                <a:gd name="T15" fmla="*/ 11 h 81"/>
                <a:gd name="T16" fmla="*/ 6 w 88"/>
                <a:gd name="T17" fmla="*/ 30 h 81"/>
                <a:gd name="T18" fmla="*/ 1 w 88"/>
                <a:gd name="T19" fmla="*/ 28 h 81"/>
                <a:gd name="T20" fmla="*/ 3 w 88"/>
                <a:gd name="T21" fmla="*/ 23 h 81"/>
                <a:gd name="T22" fmla="*/ 35 w 88"/>
                <a:gd name="T23" fmla="*/ 5 h 81"/>
                <a:gd name="T24" fmla="*/ 43 w 88"/>
                <a:gd name="T25" fmla="*/ 0 h 81"/>
                <a:gd name="T26" fmla="*/ 21 w 88"/>
                <a:gd name="T27" fmla="*/ 25 h 81"/>
                <a:gd name="T28" fmla="*/ 68 w 88"/>
                <a:gd name="T29" fmla="*/ 25 h 81"/>
                <a:gd name="T30" fmla="*/ 71 w 88"/>
                <a:gd name="T31" fmla="*/ 28 h 81"/>
                <a:gd name="T32" fmla="*/ 68 w 88"/>
                <a:gd name="T33" fmla="*/ 31 h 81"/>
                <a:gd name="T34" fmla="*/ 48 w 88"/>
                <a:gd name="T35" fmla="*/ 31 h 81"/>
                <a:gd name="T36" fmla="*/ 48 w 88"/>
                <a:gd name="T37" fmla="*/ 42 h 81"/>
                <a:gd name="T38" fmla="*/ 80 w 88"/>
                <a:gd name="T39" fmla="*/ 42 h 81"/>
                <a:gd name="T40" fmla="*/ 83 w 88"/>
                <a:gd name="T41" fmla="*/ 46 h 81"/>
                <a:gd name="T42" fmla="*/ 80 w 88"/>
                <a:gd name="T43" fmla="*/ 49 h 81"/>
                <a:gd name="T44" fmla="*/ 48 w 88"/>
                <a:gd name="T45" fmla="*/ 49 h 81"/>
                <a:gd name="T46" fmla="*/ 48 w 88"/>
                <a:gd name="T47" fmla="*/ 74 h 81"/>
                <a:gd name="T48" fmla="*/ 61 w 88"/>
                <a:gd name="T49" fmla="*/ 74 h 81"/>
                <a:gd name="T50" fmla="*/ 60 w 88"/>
                <a:gd name="T51" fmla="*/ 70 h 81"/>
                <a:gd name="T52" fmla="*/ 70 w 88"/>
                <a:gd name="T53" fmla="*/ 53 h 81"/>
                <a:gd name="T54" fmla="*/ 75 w 88"/>
                <a:gd name="T55" fmla="*/ 51 h 81"/>
                <a:gd name="T56" fmla="*/ 76 w 88"/>
                <a:gd name="T57" fmla="*/ 56 h 81"/>
                <a:gd name="T58" fmla="*/ 66 w 88"/>
                <a:gd name="T59" fmla="*/ 73 h 81"/>
                <a:gd name="T60" fmla="*/ 64 w 88"/>
                <a:gd name="T61" fmla="*/ 74 h 81"/>
                <a:gd name="T62" fmla="*/ 84 w 88"/>
                <a:gd name="T63" fmla="*/ 74 h 81"/>
                <a:gd name="T64" fmla="*/ 87 w 88"/>
                <a:gd name="T65" fmla="*/ 77 h 81"/>
                <a:gd name="T66" fmla="*/ 84 w 88"/>
                <a:gd name="T67" fmla="*/ 81 h 81"/>
                <a:gd name="T68" fmla="*/ 6 w 88"/>
                <a:gd name="T69" fmla="*/ 81 h 81"/>
                <a:gd name="T70" fmla="*/ 2 w 88"/>
                <a:gd name="T71" fmla="*/ 77 h 81"/>
                <a:gd name="T72" fmla="*/ 6 w 88"/>
                <a:gd name="T73" fmla="*/ 74 h 81"/>
                <a:gd name="T74" fmla="*/ 40 w 88"/>
                <a:gd name="T75" fmla="*/ 74 h 81"/>
                <a:gd name="T76" fmla="*/ 40 w 88"/>
                <a:gd name="T77" fmla="*/ 49 h 81"/>
                <a:gd name="T78" fmla="*/ 9 w 88"/>
                <a:gd name="T79" fmla="*/ 49 h 81"/>
                <a:gd name="T80" fmla="*/ 6 w 88"/>
                <a:gd name="T81" fmla="*/ 46 h 81"/>
                <a:gd name="T82" fmla="*/ 9 w 88"/>
                <a:gd name="T83" fmla="*/ 42 h 81"/>
                <a:gd name="T84" fmla="*/ 40 w 88"/>
                <a:gd name="T85" fmla="*/ 42 h 81"/>
                <a:gd name="T86" fmla="*/ 40 w 88"/>
                <a:gd name="T87" fmla="*/ 31 h 81"/>
                <a:gd name="T88" fmla="*/ 21 w 88"/>
                <a:gd name="T89" fmla="*/ 31 h 81"/>
                <a:gd name="T90" fmla="*/ 18 w 88"/>
                <a:gd name="T91" fmla="*/ 28 h 81"/>
                <a:gd name="T92" fmla="*/ 21 w 88"/>
                <a:gd name="T93" fmla="*/ 25 h 81"/>
                <a:gd name="T94" fmla="*/ 20 w 88"/>
                <a:gd name="T95" fmla="*/ 54 h 81"/>
                <a:gd name="T96" fmla="*/ 27 w 88"/>
                <a:gd name="T97" fmla="*/ 67 h 81"/>
                <a:gd name="T98" fmla="*/ 26 w 88"/>
                <a:gd name="T99" fmla="*/ 72 h 81"/>
                <a:gd name="T100" fmla="*/ 21 w 88"/>
                <a:gd name="T101" fmla="*/ 71 h 81"/>
                <a:gd name="T102" fmla="*/ 14 w 88"/>
                <a:gd name="T103" fmla="*/ 57 h 81"/>
                <a:gd name="T104" fmla="*/ 14 w 88"/>
                <a:gd name="T105" fmla="*/ 53 h 81"/>
                <a:gd name="T106" fmla="*/ 20 w 88"/>
                <a:gd name="T107" fmla="*/ 5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8" h="81">
                  <a:moveTo>
                    <a:pt x="43" y="0"/>
                  </a:moveTo>
                  <a:cubicBezTo>
                    <a:pt x="44" y="0"/>
                    <a:pt x="47" y="1"/>
                    <a:pt x="51" y="4"/>
                  </a:cubicBezTo>
                  <a:cubicBezTo>
                    <a:pt x="61" y="12"/>
                    <a:pt x="72" y="18"/>
                    <a:pt x="84" y="22"/>
                  </a:cubicBezTo>
                  <a:cubicBezTo>
                    <a:pt x="87" y="23"/>
                    <a:pt x="88" y="25"/>
                    <a:pt x="87" y="28"/>
                  </a:cubicBezTo>
                  <a:cubicBezTo>
                    <a:pt x="86" y="30"/>
                    <a:pt x="85" y="30"/>
                    <a:pt x="82" y="29"/>
                  </a:cubicBezTo>
                  <a:cubicBezTo>
                    <a:pt x="70" y="25"/>
                    <a:pt x="59" y="19"/>
                    <a:pt x="49" y="12"/>
                  </a:cubicBezTo>
                  <a:cubicBezTo>
                    <a:pt x="46" y="10"/>
                    <a:pt x="44" y="8"/>
                    <a:pt x="43" y="8"/>
                  </a:cubicBezTo>
                  <a:cubicBezTo>
                    <a:pt x="43" y="8"/>
                    <a:pt x="41" y="9"/>
                    <a:pt x="38" y="11"/>
                  </a:cubicBezTo>
                  <a:cubicBezTo>
                    <a:pt x="28" y="19"/>
                    <a:pt x="18" y="25"/>
                    <a:pt x="6" y="30"/>
                  </a:cubicBezTo>
                  <a:cubicBezTo>
                    <a:pt x="4" y="31"/>
                    <a:pt x="2" y="30"/>
                    <a:pt x="1" y="28"/>
                  </a:cubicBezTo>
                  <a:cubicBezTo>
                    <a:pt x="0" y="26"/>
                    <a:pt x="1" y="24"/>
                    <a:pt x="3" y="23"/>
                  </a:cubicBezTo>
                  <a:cubicBezTo>
                    <a:pt x="15" y="19"/>
                    <a:pt x="26" y="13"/>
                    <a:pt x="35" y="5"/>
                  </a:cubicBezTo>
                  <a:cubicBezTo>
                    <a:pt x="39" y="2"/>
                    <a:pt x="42" y="0"/>
                    <a:pt x="43" y="0"/>
                  </a:cubicBezTo>
                  <a:close/>
                  <a:moveTo>
                    <a:pt x="21" y="25"/>
                  </a:moveTo>
                  <a:cubicBezTo>
                    <a:pt x="68" y="25"/>
                    <a:pt x="68" y="25"/>
                    <a:pt x="68" y="25"/>
                  </a:cubicBezTo>
                  <a:cubicBezTo>
                    <a:pt x="70" y="25"/>
                    <a:pt x="71" y="26"/>
                    <a:pt x="71" y="28"/>
                  </a:cubicBezTo>
                  <a:cubicBezTo>
                    <a:pt x="71" y="30"/>
                    <a:pt x="70" y="31"/>
                    <a:pt x="68" y="31"/>
                  </a:cubicBezTo>
                  <a:cubicBezTo>
                    <a:pt x="48" y="31"/>
                    <a:pt x="48" y="31"/>
                    <a:pt x="48" y="31"/>
                  </a:cubicBezTo>
                  <a:cubicBezTo>
                    <a:pt x="48" y="42"/>
                    <a:pt x="48" y="42"/>
                    <a:pt x="48" y="42"/>
                  </a:cubicBezTo>
                  <a:cubicBezTo>
                    <a:pt x="80" y="42"/>
                    <a:pt x="80" y="42"/>
                    <a:pt x="80" y="42"/>
                  </a:cubicBezTo>
                  <a:cubicBezTo>
                    <a:pt x="82" y="42"/>
                    <a:pt x="83" y="43"/>
                    <a:pt x="83" y="46"/>
                  </a:cubicBezTo>
                  <a:cubicBezTo>
                    <a:pt x="83" y="48"/>
                    <a:pt x="82" y="49"/>
                    <a:pt x="80" y="49"/>
                  </a:cubicBezTo>
                  <a:cubicBezTo>
                    <a:pt x="48" y="49"/>
                    <a:pt x="48" y="49"/>
                    <a:pt x="48" y="49"/>
                  </a:cubicBezTo>
                  <a:cubicBezTo>
                    <a:pt x="48" y="74"/>
                    <a:pt x="48" y="74"/>
                    <a:pt x="48" y="74"/>
                  </a:cubicBezTo>
                  <a:cubicBezTo>
                    <a:pt x="61" y="74"/>
                    <a:pt x="61" y="74"/>
                    <a:pt x="61" y="74"/>
                  </a:cubicBezTo>
                  <a:cubicBezTo>
                    <a:pt x="59" y="73"/>
                    <a:pt x="59" y="72"/>
                    <a:pt x="60" y="70"/>
                  </a:cubicBezTo>
                  <a:cubicBezTo>
                    <a:pt x="64" y="64"/>
                    <a:pt x="67" y="59"/>
                    <a:pt x="70" y="53"/>
                  </a:cubicBezTo>
                  <a:cubicBezTo>
                    <a:pt x="71" y="51"/>
                    <a:pt x="73" y="50"/>
                    <a:pt x="75" y="51"/>
                  </a:cubicBezTo>
                  <a:cubicBezTo>
                    <a:pt x="76" y="52"/>
                    <a:pt x="77" y="54"/>
                    <a:pt x="76" y="56"/>
                  </a:cubicBezTo>
                  <a:cubicBezTo>
                    <a:pt x="72" y="65"/>
                    <a:pt x="69" y="70"/>
                    <a:pt x="66" y="73"/>
                  </a:cubicBezTo>
                  <a:cubicBezTo>
                    <a:pt x="65" y="74"/>
                    <a:pt x="65" y="74"/>
                    <a:pt x="64" y="74"/>
                  </a:cubicBezTo>
                  <a:cubicBezTo>
                    <a:pt x="84" y="74"/>
                    <a:pt x="84" y="74"/>
                    <a:pt x="84" y="74"/>
                  </a:cubicBezTo>
                  <a:cubicBezTo>
                    <a:pt x="86" y="74"/>
                    <a:pt x="87" y="75"/>
                    <a:pt x="87" y="77"/>
                  </a:cubicBezTo>
                  <a:cubicBezTo>
                    <a:pt x="87" y="79"/>
                    <a:pt x="86" y="81"/>
                    <a:pt x="84" y="81"/>
                  </a:cubicBezTo>
                  <a:cubicBezTo>
                    <a:pt x="6" y="81"/>
                    <a:pt x="6" y="81"/>
                    <a:pt x="6" y="81"/>
                  </a:cubicBezTo>
                  <a:cubicBezTo>
                    <a:pt x="3" y="81"/>
                    <a:pt x="2" y="79"/>
                    <a:pt x="2" y="77"/>
                  </a:cubicBezTo>
                  <a:cubicBezTo>
                    <a:pt x="2" y="75"/>
                    <a:pt x="3" y="74"/>
                    <a:pt x="6" y="74"/>
                  </a:cubicBezTo>
                  <a:cubicBezTo>
                    <a:pt x="40" y="74"/>
                    <a:pt x="40" y="74"/>
                    <a:pt x="40" y="74"/>
                  </a:cubicBezTo>
                  <a:cubicBezTo>
                    <a:pt x="40" y="49"/>
                    <a:pt x="40" y="49"/>
                    <a:pt x="40" y="49"/>
                  </a:cubicBezTo>
                  <a:cubicBezTo>
                    <a:pt x="9" y="49"/>
                    <a:pt x="9" y="49"/>
                    <a:pt x="9" y="49"/>
                  </a:cubicBezTo>
                  <a:cubicBezTo>
                    <a:pt x="7" y="49"/>
                    <a:pt x="6" y="48"/>
                    <a:pt x="6" y="46"/>
                  </a:cubicBezTo>
                  <a:cubicBezTo>
                    <a:pt x="6" y="43"/>
                    <a:pt x="7" y="42"/>
                    <a:pt x="9" y="42"/>
                  </a:cubicBezTo>
                  <a:cubicBezTo>
                    <a:pt x="40" y="42"/>
                    <a:pt x="40" y="42"/>
                    <a:pt x="40" y="42"/>
                  </a:cubicBezTo>
                  <a:cubicBezTo>
                    <a:pt x="40" y="31"/>
                    <a:pt x="40" y="31"/>
                    <a:pt x="40" y="31"/>
                  </a:cubicBezTo>
                  <a:cubicBezTo>
                    <a:pt x="21" y="31"/>
                    <a:pt x="21" y="31"/>
                    <a:pt x="21" y="31"/>
                  </a:cubicBezTo>
                  <a:cubicBezTo>
                    <a:pt x="19" y="31"/>
                    <a:pt x="18" y="30"/>
                    <a:pt x="18" y="28"/>
                  </a:cubicBezTo>
                  <a:cubicBezTo>
                    <a:pt x="18" y="26"/>
                    <a:pt x="19" y="25"/>
                    <a:pt x="21" y="25"/>
                  </a:cubicBezTo>
                  <a:close/>
                  <a:moveTo>
                    <a:pt x="20" y="54"/>
                  </a:moveTo>
                  <a:cubicBezTo>
                    <a:pt x="23" y="58"/>
                    <a:pt x="25" y="63"/>
                    <a:pt x="27" y="67"/>
                  </a:cubicBezTo>
                  <a:cubicBezTo>
                    <a:pt x="28" y="69"/>
                    <a:pt x="28" y="71"/>
                    <a:pt x="26" y="72"/>
                  </a:cubicBezTo>
                  <a:cubicBezTo>
                    <a:pt x="24" y="73"/>
                    <a:pt x="23" y="73"/>
                    <a:pt x="21" y="71"/>
                  </a:cubicBezTo>
                  <a:cubicBezTo>
                    <a:pt x="19" y="67"/>
                    <a:pt x="17" y="62"/>
                    <a:pt x="14" y="57"/>
                  </a:cubicBezTo>
                  <a:cubicBezTo>
                    <a:pt x="12" y="55"/>
                    <a:pt x="13" y="54"/>
                    <a:pt x="14" y="53"/>
                  </a:cubicBezTo>
                  <a:cubicBezTo>
                    <a:pt x="16" y="52"/>
                    <a:pt x="18" y="52"/>
                    <a:pt x="20" y="54"/>
                  </a:cubicBezTo>
                  <a:close/>
                </a:path>
              </a:pathLst>
            </a:custGeom>
            <a:solidFill>
              <a:srgbClr val="EA550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dirty="0">
                <a:latin typeface="微软雅黑" panose="020B0503020204020204" pitchFamily="34" charset="-122"/>
                <a:ea typeface="微软雅黑" panose="020B0503020204020204" pitchFamily="34" charset="-122"/>
              </a:endParaRPr>
            </a:p>
          </p:txBody>
        </p:sp>
        <p:sp>
          <p:nvSpPr>
            <p:cNvPr id="19" name="Freeform 9"/>
            <p:cNvSpPr>
              <a:spLocks noEditPoints="1"/>
            </p:cNvSpPr>
            <p:nvPr/>
          </p:nvSpPr>
          <p:spPr bwMode="auto">
            <a:xfrm>
              <a:off x="1168400" y="895350"/>
              <a:ext cx="136525" cy="139700"/>
            </a:xfrm>
            <a:custGeom>
              <a:avLst/>
              <a:gdLst>
                <a:gd name="T0" fmla="*/ 39 w 83"/>
                <a:gd name="T1" fmla="*/ 1 h 85"/>
                <a:gd name="T2" fmla="*/ 39 w 83"/>
                <a:gd name="T3" fmla="*/ 7 h 85"/>
                <a:gd name="T4" fmla="*/ 0 w 83"/>
                <a:gd name="T5" fmla="*/ 4 h 85"/>
                <a:gd name="T6" fmla="*/ 6 w 83"/>
                <a:gd name="T7" fmla="*/ 35 h 85"/>
                <a:gd name="T8" fmla="*/ 42 w 83"/>
                <a:gd name="T9" fmla="*/ 41 h 85"/>
                <a:gd name="T10" fmla="*/ 28 w 83"/>
                <a:gd name="T11" fmla="*/ 80 h 85"/>
                <a:gd name="T12" fmla="*/ 30 w 83"/>
                <a:gd name="T13" fmla="*/ 74 h 85"/>
                <a:gd name="T14" fmla="*/ 36 w 83"/>
                <a:gd name="T15" fmla="*/ 42 h 85"/>
                <a:gd name="T16" fmla="*/ 8 w 83"/>
                <a:gd name="T17" fmla="*/ 40 h 85"/>
                <a:gd name="T18" fmla="*/ 6 w 83"/>
                <a:gd name="T19" fmla="*/ 79 h 85"/>
                <a:gd name="T20" fmla="*/ 0 w 83"/>
                <a:gd name="T21" fmla="*/ 79 h 85"/>
                <a:gd name="T22" fmla="*/ 6 w 83"/>
                <a:gd name="T23" fmla="*/ 35 h 85"/>
                <a:gd name="T24" fmla="*/ 32 w 83"/>
                <a:gd name="T25" fmla="*/ 11 h 85"/>
                <a:gd name="T26" fmla="*/ 37 w 83"/>
                <a:gd name="T27" fmla="*/ 23 h 85"/>
                <a:gd name="T28" fmla="*/ 9 w 83"/>
                <a:gd name="T29" fmla="*/ 29 h 85"/>
                <a:gd name="T30" fmla="*/ 4 w 83"/>
                <a:gd name="T31" fmla="*/ 17 h 85"/>
                <a:gd name="T32" fmla="*/ 10 w 83"/>
                <a:gd name="T33" fmla="*/ 56 h 85"/>
                <a:gd name="T34" fmla="*/ 23 w 83"/>
                <a:gd name="T35" fmla="*/ 53 h 85"/>
                <a:gd name="T36" fmla="*/ 31 w 83"/>
                <a:gd name="T37" fmla="*/ 41 h 85"/>
                <a:gd name="T38" fmla="*/ 31 w 83"/>
                <a:gd name="T39" fmla="*/ 48 h 85"/>
                <a:gd name="T40" fmla="*/ 32 w 83"/>
                <a:gd name="T41" fmla="*/ 56 h 85"/>
                <a:gd name="T42" fmla="*/ 32 w 83"/>
                <a:gd name="T43" fmla="*/ 61 h 85"/>
                <a:gd name="T44" fmla="*/ 24 w 83"/>
                <a:gd name="T45" fmla="*/ 76 h 85"/>
                <a:gd name="T46" fmla="*/ 18 w 83"/>
                <a:gd name="T47" fmla="*/ 76 h 85"/>
                <a:gd name="T48" fmla="*/ 10 w 83"/>
                <a:gd name="T49" fmla="*/ 61 h 85"/>
                <a:gd name="T50" fmla="*/ 10 w 83"/>
                <a:gd name="T51" fmla="*/ 56 h 85"/>
                <a:gd name="T52" fmla="*/ 17 w 83"/>
                <a:gd name="T53" fmla="*/ 46 h 85"/>
                <a:gd name="T54" fmla="*/ 17 w 83"/>
                <a:gd name="T55" fmla="*/ 55 h 85"/>
                <a:gd name="T56" fmla="*/ 11 w 83"/>
                <a:gd name="T57" fmla="*/ 50 h 85"/>
                <a:gd name="T58" fmla="*/ 11 w 83"/>
                <a:gd name="T59" fmla="*/ 42 h 85"/>
                <a:gd name="T60" fmla="*/ 30 w 83"/>
                <a:gd name="T61" fmla="*/ 17 h 85"/>
                <a:gd name="T62" fmla="*/ 10 w 83"/>
                <a:gd name="T63" fmla="*/ 19 h 85"/>
                <a:gd name="T64" fmla="*/ 12 w 83"/>
                <a:gd name="T65" fmla="*/ 23 h 85"/>
                <a:gd name="T66" fmla="*/ 31 w 83"/>
                <a:gd name="T67" fmla="*/ 21 h 85"/>
                <a:gd name="T68" fmla="*/ 30 w 83"/>
                <a:gd name="T69" fmla="*/ 17 h 85"/>
                <a:gd name="T70" fmla="*/ 66 w 83"/>
                <a:gd name="T71" fmla="*/ 11 h 85"/>
                <a:gd name="T72" fmla="*/ 79 w 83"/>
                <a:gd name="T73" fmla="*/ 16 h 85"/>
                <a:gd name="T74" fmla="*/ 75 w 83"/>
                <a:gd name="T75" fmla="*/ 54 h 85"/>
                <a:gd name="T76" fmla="*/ 66 w 83"/>
                <a:gd name="T77" fmla="*/ 73 h 85"/>
                <a:gd name="T78" fmla="*/ 71 w 83"/>
                <a:gd name="T79" fmla="*/ 63 h 85"/>
                <a:gd name="T80" fmla="*/ 77 w 83"/>
                <a:gd name="T81" fmla="*/ 61 h 85"/>
                <a:gd name="T82" fmla="*/ 81 w 83"/>
                <a:gd name="T83" fmla="*/ 84 h 85"/>
                <a:gd name="T84" fmla="*/ 75 w 83"/>
                <a:gd name="T85" fmla="*/ 77 h 85"/>
                <a:gd name="T86" fmla="*/ 44 w 83"/>
                <a:gd name="T87" fmla="*/ 78 h 85"/>
                <a:gd name="T88" fmla="*/ 59 w 83"/>
                <a:gd name="T89" fmla="*/ 73 h 85"/>
                <a:gd name="T90" fmla="*/ 52 w 83"/>
                <a:gd name="T91" fmla="*/ 54 h 85"/>
                <a:gd name="T92" fmla="*/ 46 w 83"/>
                <a:gd name="T93" fmla="*/ 16 h 85"/>
                <a:gd name="T94" fmla="*/ 59 w 83"/>
                <a:gd name="T95" fmla="*/ 11 h 85"/>
                <a:gd name="T96" fmla="*/ 62 w 83"/>
                <a:gd name="T97" fmla="*/ 0 h 85"/>
                <a:gd name="T98" fmla="*/ 55 w 83"/>
                <a:gd name="T99" fmla="*/ 17 h 85"/>
                <a:gd name="T100" fmla="*/ 52 w 83"/>
                <a:gd name="T101" fmla="*/ 46 h 85"/>
                <a:gd name="T102" fmla="*/ 59 w 83"/>
                <a:gd name="T103" fmla="*/ 47 h 85"/>
                <a:gd name="T104" fmla="*/ 55 w 83"/>
                <a:gd name="T105" fmla="*/ 17 h 85"/>
                <a:gd name="T106" fmla="*/ 66 w 83"/>
                <a:gd name="T107" fmla="*/ 17 h 85"/>
                <a:gd name="T108" fmla="*/ 71 w 83"/>
                <a:gd name="T109" fmla="*/ 47 h 85"/>
                <a:gd name="T110" fmla="*/ 73 w 83"/>
                <a:gd name="T111" fmla="*/ 2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3" h="85">
                  <a:moveTo>
                    <a:pt x="4" y="1"/>
                  </a:moveTo>
                  <a:cubicBezTo>
                    <a:pt x="39" y="1"/>
                    <a:pt x="39" y="1"/>
                    <a:pt x="39" y="1"/>
                  </a:cubicBezTo>
                  <a:cubicBezTo>
                    <a:pt x="41" y="1"/>
                    <a:pt x="42" y="2"/>
                    <a:pt x="42" y="4"/>
                  </a:cubicBezTo>
                  <a:cubicBezTo>
                    <a:pt x="42" y="6"/>
                    <a:pt x="41" y="7"/>
                    <a:pt x="39" y="7"/>
                  </a:cubicBezTo>
                  <a:cubicBezTo>
                    <a:pt x="4" y="7"/>
                    <a:pt x="4" y="7"/>
                    <a:pt x="4" y="7"/>
                  </a:cubicBezTo>
                  <a:cubicBezTo>
                    <a:pt x="1" y="7"/>
                    <a:pt x="0" y="6"/>
                    <a:pt x="0" y="4"/>
                  </a:cubicBezTo>
                  <a:cubicBezTo>
                    <a:pt x="0" y="2"/>
                    <a:pt x="1" y="1"/>
                    <a:pt x="4" y="1"/>
                  </a:cubicBezTo>
                  <a:close/>
                  <a:moveTo>
                    <a:pt x="6" y="35"/>
                  </a:moveTo>
                  <a:cubicBezTo>
                    <a:pt x="35" y="35"/>
                    <a:pt x="35" y="35"/>
                    <a:pt x="35" y="35"/>
                  </a:cubicBezTo>
                  <a:cubicBezTo>
                    <a:pt x="40" y="35"/>
                    <a:pt x="43" y="37"/>
                    <a:pt x="42" y="41"/>
                  </a:cubicBezTo>
                  <a:cubicBezTo>
                    <a:pt x="42" y="74"/>
                    <a:pt x="42" y="74"/>
                    <a:pt x="42" y="74"/>
                  </a:cubicBezTo>
                  <a:cubicBezTo>
                    <a:pt x="42" y="81"/>
                    <a:pt x="37" y="82"/>
                    <a:pt x="28" y="80"/>
                  </a:cubicBezTo>
                  <a:cubicBezTo>
                    <a:pt x="26" y="79"/>
                    <a:pt x="26" y="78"/>
                    <a:pt x="26" y="76"/>
                  </a:cubicBezTo>
                  <a:cubicBezTo>
                    <a:pt x="27" y="74"/>
                    <a:pt x="28" y="74"/>
                    <a:pt x="30" y="74"/>
                  </a:cubicBezTo>
                  <a:cubicBezTo>
                    <a:pt x="34" y="76"/>
                    <a:pt x="36" y="76"/>
                    <a:pt x="36" y="73"/>
                  </a:cubicBezTo>
                  <a:cubicBezTo>
                    <a:pt x="36" y="42"/>
                    <a:pt x="36" y="42"/>
                    <a:pt x="36" y="42"/>
                  </a:cubicBezTo>
                  <a:cubicBezTo>
                    <a:pt x="36" y="41"/>
                    <a:pt x="36" y="40"/>
                    <a:pt x="35" y="40"/>
                  </a:cubicBezTo>
                  <a:cubicBezTo>
                    <a:pt x="8" y="40"/>
                    <a:pt x="8" y="40"/>
                    <a:pt x="8" y="40"/>
                  </a:cubicBezTo>
                  <a:cubicBezTo>
                    <a:pt x="6" y="40"/>
                    <a:pt x="5" y="41"/>
                    <a:pt x="6" y="43"/>
                  </a:cubicBezTo>
                  <a:cubicBezTo>
                    <a:pt x="6" y="79"/>
                    <a:pt x="6" y="79"/>
                    <a:pt x="6" y="79"/>
                  </a:cubicBezTo>
                  <a:cubicBezTo>
                    <a:pt x="5" y="81"/>
                    <a:pt x="4" y="82"/>
                    <a:pt x="3" y="82"/>
                  </a:cubicBezTo>
                  <a:cubicBezTo>
                    <a:pt x="1" y="82"/>
                    <a:pt x="0" y="81"/>
                    <a:pt x="0" y="79"/>
                  </a:cubicBezTo>
                  <a:cubicBezTo>
                    <a:pt x="0" y="40"/>
                    <a:pt x="0" y="40"/>
                    <a:pt x="0" y="40"/>
                  </a:cubicBezTo>
                  <a:cubicBezTo>
                    <a:pt x="0" y="37"/>
                    <a:pt x="2" y="35"/>
                    <a:pt x="6" y="35"/>
                  </a:cubicBezTo>
                  <a:close/>
                  <a:moveTo>
                    <a:pt x="9" y="11"/>
                  </a:moveTo>
                  <a:cubicBezTo>
                    <a:pt x="32" y="11"/>
                    <a:pt x="32" y="11"/>
                    <a:pt x="32" y="11"/>
                  </a:cubicBezTo>
                  <a:cubicBezTo>
                    <a:pt x="36" y="11"/>
                    <a:pt x="38" y="13"/>
                    <a:pt x="37" y="17"/>
                  </a:cubicBezTo>
                  <a:cubicBezTo>
                    <a:pt x="37" y="23"/>
                    <a:pt x="37" y="23"/>
                    <a:pt x="37" y="23"/>
                  </a:cubicBezTo>
                  <a:cubicBezTo>
                    <a:pt x="38" y="28"/>
                    <a:pt x="36" y="30"/>
                    <a:pt x="32" y="29"/>
                  </a:cubicBezTo>
                  <a:cubicBezTo>
                    <a:pt x="9" y="29"/>
                    <a:pt x="9" y="29"/>
                    <a:pt x="9" y="29"/>
                  </a:cubicBezTo>
                  <a:cubicBezTo>
                    <a:pt x="5" y="29"/>
                    <a:pt x="4" y="27"/>
                    <a:pt x="4" y="23"/>
                  </a:cubicBezTo>
                  <a:cubicBezTo>
                    <a:pt x="4" y="17"/>
                    <a:pt x="4" y="17"/>
                    <a:pt x="4" y="17"/>
                  </a:cubicBezTo>
                  <a:cubicBezTo>
                    <a:pt x="3" y="13"/>
                    <a:pt x="5" y="11"/>
                    <a:pt x="9" y="11"/>
                  </a:cubicBezTo>
                  <a:close/>
                  <a:moveTo>
                    <a:pt x="10" y="56"/>
                  </a:moveTo>
                  <a:cubicBezTo>
                    <a:pt x="22" y="56"/>
                    <a:pt x="22" y="56"/>
                    <a:pt x="22" y="56"/>
                  </a:cubicBezTo>
                  <a:cubicBezTo>
                    <a:pt x="22" y="55"/>
                    <a:pt x="22" y="54"/>
                    <a:pt x="23" y="53"/>
                  </a:cubicBezTo>
                  <a:cubicBezTo>
                    <a:pt x="24" y="50"/>
                    <a:pt x="26" y="46"/>
                    <a:pt x="27" y="43"/>
                  </a:cubicBezTo>
                  <a:cubicBezTo>
                    <a:pt x="28" y="41"/>
                    <a:pt x="29" y="41"/>
                    <a:pt x="31" y="41"/>
                  </a:cubicBezTo>
                  <a:cubicBezTo>
                    <a:pt x="33" y="42"/>
                    <a:pt x="33" y="44"/>
                    <a:pt x="33" y="46"/>
                  </a:cubicBezTo>
                  <a:cubicBezTo>
                    <a:pt x="32" y="47"/>
                    <a:pt x="32" y="47"/>
                    <a:pt x="31" y="48"/>
                  </a:cubicBezTo>
                  <a:cubicBezTo>
                    <a:pt x="30" y="52"/>
                    <a:pt x="29" y="54"/>
                    <a:pt x="28" y="56"/>
                  </a:cubicBezTo>
                  <a:cubicBezTo>
                    <a:pt x="32" y="56"/>
                    <a:pt x="32" y="56"/>
                    <a:pt x="32" y="56"/>
                  </a:cubicBezTo>
                  <a:cubicBezTo>
                    <a:pt x="33" y="56"/>
                    <a:pt x="34" y="57"/>
                    <a:pt x="34" y="59"/>
                  </a:cubicBezTo>
                  <a:cubicBezTo>
                    <a:pt x="34" y="61"/>
                    <a:pt x="33" y="61"/>
                    <a:pt x="32" y="61"/>
                  </a:cubicBezTo>
                  <a:cubicBezTo>
                    <a:pt x="24" y="61"/>
                    <a:pt x="24" y="61"/>
                    <a:pt x="24" y="61"/>
                  </a:cubicBezTo>
                  <a:cubicBezTo>
                    <a:pt x="24" y="76"/>
                    <a:pt x="24" y="76"/>
                    <a:pt x="24" y="76"/>
                  </a:cubicBezTo>
                  <a:cubicBezTo>
                    <a:pt x="23" y="77"/>
                    <a:pt x="22" y="78"/>
                    <a:pt x="20" y="78"/>
                  </a:cubicBezTo>
                  <a:cubicBezTo>
                    <a:pt x="19" y="78"/>
                    <a:pt x="18" y="77"/>
                    <a:pt x="18" y="76"/>
                  </a:cubicBezTo>
                  <a:cubicBezTo>
                    <a:pt x="18" y="61"/>
                    <a:pt x="18" y="61"/>
                    <a:pt x="18" y="61"/>
                  </a:cubicBezTo>
                  <a:cubicBezTo>
                    <a:pt x="10" y="61"/>
                    <a:pt x="10" y="61"/>
                    <a:pt x="10" y="61"/>
                  </a:cubicBezTo>
                  <a:cubicBezTo>
                    <a:pt x="8" y="61"/>
                    <a:pt x="7" y="61"/>
                    <a:pt x="7" y="59"/>
                  </a:cubicBezTo>
                  <a:cubicBezTo>
                    <a:pt x="7" y="57"/>
                    <a:pt x="8" y="56"/>
                    <a:pt x="10" y="56"/>
                  </a:cubicBezTo>
                  <a:close/>
                  <a:moveTo>
                    <a:pt x="15" y="43"/>
                  </a:moveTo>
                  <a:cubicBezTo>
                    <a:pt x="15" y="44"/>
                    <a:pt x="16" y="45"/>
                    <a:pt x="17" y="46"/>
                  </a:cubicBezTo>
                  <a:cubicBezTo>
                    <a:pt x="17" y="48"/>
                    <a:pt x="18" y="49"/>
                    <a:pt x="19" y="51"/>
                  </a:cubicBezTo>
                  <a:cubicBezTo>
                    <a:pt x="19" y="53"/>
                    <a:pt x="19" y="54"/>
                    <a:pt x="17" y="55"/>
                  </a:cubicBezTo>
                  <a:cubicBezTo>
                    <a:pt x="15" y="56"/>
                    <a:pt x="13" y="55"/>
                    <a:pt x="13" y="53"/>
                  </a:cubicBezTo>
                  <a:cubicBezTo>
                    <a:pt x="12" y="52"/>
                    <a:pt x="12" y="51"/>
                    <a:pt x="11" y="50"/>
                  </a:cubicBezTo>
                  <a:cubicBezTo>
                    <a:pt x="11" y="48"/>
                    <a:pt x="10" y="47"/>
                    <a:pt x="10" y="46"/>
                  </a:cubicBezTo>
                  <a:cubicBezTo>
                    <a:pt x="9" y="44"/>
                    <a:pt x="9" y="43"/>
                    <a:pt x="11" y="42"/>
                  </a:cubicBezTo>
                  <a:cubicBezTo>
                    <a:pt x="13" y="41"/>
                    <a:pt x="14" y="41"/>
                    <a:pt x="15" y="43"/>
                  </a:cubicBezTo>
                  <a:close/>
                  <a:moveTo>
                    <a:pt x="30" y="17"/>
                  </a:moveTo>
                  <a:cubicBezTo>
                    <a:pt x="11" y="17"/>
                    <a:pt x="11" y="17"/>
                    <a:pt x="11" y="17"/>
                  </a:cubicBezTo>
                  <a:cubicBezTo>
                    <a:pt x="10" y="17"/>
                    <a:pt x="9" y="18"/>
                    <a:pt x="10" y="19"/>
                  </a:cubicBezTo>
                  <a:cubicBezTo>
                    <a:pt x="10" y="21"/>
                    <a:pt x="10" y="21"/>
                    <a:pt x="10" y="21"/>
                  </a:cubicBezTo>
                  <a:cubicBezTo>
                    <a:pt x="10" y="23"/>
                    <a:pt x="10" y="23"/>
                    <a:pt x="12" y="23"/>
                  </a:cubicBezTo>
                  <a:cubicBezTo>
                    <a:pt x="30" y="23"/>
                    <a:pt x="30" y="23"/>
                    <a:pt x="30" y="23"/>
                  </a:cubicBezTo>
                  <a:cubicBezTo>
                    <a:pt x="31" y="23"/>
                    <a:pt x="31" y="23"/>
                    <a:pt x="31" y="21"/>
                  </a:cubicBezTo>
                  <a:cubicBezTo>
                    <a:pt x="31" y="19"/>
                    <a:pt x="31" y="19"/>
                    <a:pt x="31" y="19"/>
                  </a:cubicBezTo>
                  <a:cubicBezTo>
                    <a:pt x="31" y="18"/>
                    <a:pt x="31" y="17"/>
                    <a:pt x="30" y="17"/>
                  </a:cubicBezTo>
                  <a:close/>
                  <a:moveTo>
                    <a:pt x="66" y="3"/>
                  </a:moveTo>
                  <a:cubicBezTo>
                    <a:pt x="66" y="11"/>
                    <a:pt x="66" y="11"/>
                    <a:pt x="66" y="11"/>
                  </a:cubicBezTo>
                  <a:cubicBezTo>
                    <a:pt x="74" y="11"/>
                    <a:pt x="74" y="11"/>
                    <a:pt x="74" y="11"/>
                  </a:cubicBezTo>
                  <a:cubicBezTo>
                    <a:pt x="78" y="11"/>
                    <a:pt x="79" y="12"/>
                    <a:pt x="79" y="16"/>
                  </a:cubicBezTo>
                  <a:cubicBezTo>
                    <a:pt x="79" y="48"/>
                    <a:pt x="79" y="48"/>
                    <a:pt x="79" y="48"/>
                  </a:cubicBezTo>
                  <a:cubicBezTo>
                    <a:pt x="79" y="52"/>
                    <a:pt x="78" y="54"/>
                    <a:pt x="75" y="54"/>
                  </a:cubicBezTo>
                  <a:cubicBezTo>
                    <a:pt x="66" y="54"/>
                    <a:pt x="66" y="54"/>
                    <a:pt x="66" y="54"/>
                  </a:cubicBezTo>
                  <a:cubicBezTo>
                    <a:pt x="66" y="73"/>
                    <a:pt x="66" y="73"/>
                    <a:pt x="66" y="73"/>
                  </a:cubicBezTo>
                  <a:cubicBezTo>
                    <a:pt x="74" y="72"/>
                    <a:pt x="74" y="72"/>
                    <a:pt x="74" y="72"/>
                  </a:cubicBezTo>
                  <a:cubicBezTo>
                    <a:pt x="72" y="67"/>
                    <a:pt x="71" y="64"/>
                    <a:pt x="71" y="63"/>
                  </a:cubicBezTo>
                  <a:cubicBezTo>
                    <a:pt x="70" y="61"/>
                    <a:pt x="71" y="60"/>
                    <a:pt x="73" y="59"/>
                  </a:cubicBezTo>
                  <a:cubicBezTo>
                    <a:pt x="75" y="59"/>
                    <a:pt x="76" y="59"/>
                    <a:pt x="77" y="61"/>
                  </a:cubicBezTo>
                  <a:cubicBezTo>
                    <a:pt x="80" y="69"/>
                    <a:pt x="82" y="76"/>
                    <a:pt x="83" y="81"/>
                  </a:cubicBezTo>
                  <a:cubicBezTo>
                    <a:pt x="83" y="83"/>
                    <a:pt x="83" y="84"/>
                    <a:pt x="81" y="84"/>
                  </a:cubicBezTo>
                  <a:cubicBezTo>
                    <a:pt x="79" y="85"/>
                    <a:pt x="77" y="84"/>
                    <a:pt x="77" y="82"/>
                  </a:cubicBezTo>
                  <a:cubicBezTo>
                    <a:pt x="77" y="82"/>
                    <a:pt x="76" y="80"/>
                    <a:pt x="75" y="77"/>
                  </a:cubicBezTo>
                  <a:cubicBezTo>
                    <a:pt x="58" y="79"/>
                    <a:pt x="48" y="81"/>
                    <a:pt x="48" y="81"/>
                  </a:cubicBezTo>
                  <a:cubicBezTo>
                    <a:pt x="46" y="81"/>
                    <a:pt x="44" y="80"/>
                    <a:pt x="44" y="78"/>
                  </a:cubicBezTo>
                  <a:cubicBezTo>
                    <a:pt x="44" y="76"/>
                    <a:pt x="45" y="75"/>
                    <a:pt x="47" y="74"/>
                  </a:cubicBezTo>
                  <a:cubicBezTo>
                    <a:pt x="48" y="74"/>
                    <a:pt x="52" y="74"/>
                    <a:pt x="59" y="73"/>
                  </a:cubicBezTo>
                  <a:cubicBezTo>
                    <a:pt x="59" y="54"/>
                    <a:pt x="59" y="54"/>
                    <a:pt x="59" y="54"/>
                  </a:cubicBezTo>
                  <a:cubicBezTo>
                    <a:pt x="52" y="54"/>
                    <a:pt x="52" y="54"/>
                    <a:pt x="52" y="54"/>
                  </a:cubicBezTo>
                  <a:cubicBezTo>
                    <a:pt x="48" y="54"/>
                    <a:pt x="45" y="52"/>
                    <a:pt x="46" y="49"/>
                  </a:cubicBezTo>
                  <a:cubicBezTo>
                    <a:pt x="46" y="16"/>
                    <a:pt x="46" y="16"/>
                    <a:pt x="46" y="16"/>
                  </a:cubicBezTo>
                  <a:cubicBezTo>
                    <a:pt x="46" y="12"/>
                    <a:pt x="48" y="11"/>
                    <a:pt x="52" y="11"/>
                  </a:cubicBezTo>
                  <a:cubicBezTo>
                    <a:pt x="59" y="11"/>
                    <a:pt x="59" y="11"/>
                    <a:pt x="59" y="11"/>
                  </a:cubicBezTo>
                  <a:cubicBezTo>
                    <a:pt x="59" y="3"/>
                    <a:pt x="59" y="3"/>
                    <a:pt x="59" y="3"/>
                  </a:cubicBezTo>
                  <a:cubicBezTo>
                    <a:pt x="59" y="1"/>
                    <a:pt x="60" y="0"/>
                    <a:pt x="62" y="0"/>
                  </a:cubicBezTo>
                  <a:cubicBezTo>
                    <a:pt x="65" y="0"/>
                    <a:pt x="66" y="1"/>
                    <a:pt x="66" y="3"/>
                  </a:cubicBezTo>
                  <a:close/>
                  <a:moveTo>
                    <a:pt x="55" y="17"/>
                  </a:moveTo>
                  <a:cubicBezTo>
                    <a:pt x="53" y="17"/>
                    <a:pt x="52" y="18"/>
                    <a:pt x="52" y="20"/>
                  </a:cubicBezTo>
                  <a:cubicBezTo>
                    <a:pt x="52" y="46"/>
                    <a:pt x="52" y="46"/>
                    <a:pt x="52" y="46"/>
                  </a:cubicBezTo>
                  <a:cubicBezTo>
                    <a:pt x="52" y="47"/>
                    <a:pt x="53" y="48"/>
                    <a:pt x="54" y="47"/>
                  </a:cubicBezTo>
                  <a:cubicBezTo>
                    <a:pt x="59" y="47"/>
                    <a:pt x="59" y="47"/>
                    <a:pt x="59" y="47"/>
                  </a:cubicBezTo>
                  <a:cubicBezTo>
                    <a:pt x="59" y="17"/>
                    <a:pt x="59" y="17"/>
                    <a:pt x="59" y="17"/>
                  </a:cubicBezTo>
                  <a:lnTo>
                    <a:pt x="55" y="17"/>
                  </a:lnTo>
                  <a:close/>
                  <a:moveTo>
                    <a:pt x="71" y="17"/>
                  </a:moveTo>
                  <a:cubicBezTo>
                    <a:pt x="66" y="17"/>
                    <a:pt x="66" y="17"/>
                    <a:pt x="66" y="17"/>
                  </a:cubicBezTo>
                  <a:cubicBezTo>
                    <a:pt x="66" y="47"/>
                    <a:pt x="66" y="47"/>
                    <a:pt x="66" y="47"/>
                  </a:cubicBezTo>
                  <a:cubicBezTo>
                    <a:pt x="71" y="47"/>
                    <a:pt x="71" y="47"/>
                    <a:pt x="71" y="47"/>
                  </a:cubicBezTo>
                  <a:cubicBezTo>
                    <a:pt x="72" y="48"/>
                    <a:pt x="73" y="47"/>
                    <a:pt x="73" y="46"/>
                  </a:cubicBezTo>
                  <a:cubicBezTo>
                    <a:pt x="73" y="20"/>
                    <a:pt x="73" y="20"/>
                    <a:pt x="73" y="20"/>
                  </a:cubicBezTo>
                  <a:cubicBezTo>
                    <a:pt x="73" y="18"/>
                    <a:pt x="72" y="17"/>
                    <a:pt x="71" y="17"/>
                  </a:cubicBezTo>
                  <a:close/>
                </a:path>
              </a:pathLst>
            </a:custGeom>
            <a:solidFill>
              <a:srgbClr val="EA550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dirty="0">
                <a:latin typeface="微软雅黑" panose="020B0503020204020204" pitchFamily="34" charset="-122"/>
                <a:ea typeface="微软雅黑" panose="020B0503020204020204" pitchFamily="34" charset="-122"/>
              </a:endParaRPr>
            </a:p>
          </p:txBody>
        </p:sp>
        <p:sp>
          <p:nvSpPr>
            <p:cNvPr id="20" name="Freeform 10"/>
            <p:cNvSpPr>
              <a:spLocks noEditPoints="1"/>
            </p:cNvSpPr>
            <p:nvPr/>
          </p:nvSpPr>
          <p:spPr bwMode="auto">
            <a:xfrm>
              <a:off x="1476375" y="896938"/>
              <a:ext cx="144463" cy="136525"/>
            </a:xfrm>
            <a:custGeom>
              <a:avLst/>
              <a:gdLst>
                <a:gd name="T0" fmla="*/ 34 w 88"/>
                <a:gd name="T1" fmla="*/ 0 h 83"/>
                <a:gd name="T2" fmla="*/ 38 w 88"/>
                <a:gd name="T3" fmla="*/ 2 h 83"/>
                <a:gd name="T4" fmla="*/ 36 w 88"/>
                <a:gd name="T5" fmla="*/ 6 h 83"/>
                <a:gd name="T6" fmla="*/ 25 w 88"/>
                <a:gd name="T7" fmla="*/ 8 h 83"/>
                <a:gd name="T8" fmla="*/ 25 w 88"/>
                <a:gd name="T9" fmla="*/ 23 h 83"/>
                <a:gd name="T10" fmla="*/ 37 w 88"/>
                <a:gd name="T11" fmla="*/ 23 h 83"/>
                <a:gd name="T12" fmla="*/ 37 w 88"/>
                <a:gd name="T13" fmla="*/ 30 h 83"/>
                <a:gd name="T14" fmla="*/ 25 w 88"/>
                <a:gd name="T15" fmla="*/ 30 h 83"/>
                <a:gd name="T16" fmla="*/ 25 w 88"/>
                <a:gd name="T17" fmla="*/ 32 h 83"/>
                <a:gd name="T18" fmla="*/ 39 w 88"/>
                <a:gd name="T19" fmla="*/ 49 h 83"/>
                <a:gd name="T20" fmla="*/ 38 w 88"/>
                <a:gd name="T21" fmla="*/ 54 h 83"/>
                <a:gd name="T22" fmla="*/ 34 w 88"/>
                <a:gd name="T23" fmla="*/ 53 h 83"/>
                <a:gd name="T24" fmla="*/ 25 w 88"/>
                <a:gd name="T25" fmla="*/ 41 h 83"/>
                <a:gd name="T26" fmla="*/ 25 w 88"/>
                <a:gd name="T27" fmla="*/ 79 h 83"/>
                <a:gd name="T28" fmla="*/ 22 w 88"/>
                <a:gd name="T29" fmla="*/ 82 h 83"/>
                <a:gd name="T30" fmla="*/ 19 w 88"/>
                <a:gd name="T31" fmla="*/ 79 h 83"/>
                <a:gd name="T32" fmla="*/ 19 w 88"/>
                <a:gd name="T33" fmla="*/ 42 h 83"/>
                <a:gd name="T34" fmla="*/ 7 w 88"/>
                <a:gd name="T35" fmla="*/ 59 h 83"/>
                <a:gd name="T36" fmla="*/ 1 w 88"/>
                <a:gd name="T37" fmla="*/ 59 h 83"/>
                <a:gd name="T38" fmla="*/ 2 w 88"/>
                <a:gd name="T39" fmla="*/ 54 h 83"/>
                <a:gd name="T40" fmla="*/ 18 w 88"/>
                <a:gd name="T41" fmla="*/ 30 h 83"/>
                <a:gd name="T42" fmla="*/ 5 w 88"/>
                <a:gd name="T43" fmla="*/ 30 h 83"/>
                <a:gd name="T44" fmla="*/ 5 w 88"/>
                <a:gd name="T45" fmla="*/ 23 h 83"/>
                <a:gd name="T46" fmla="*/ 19 w 88"/>
                <a:gd name="T47" fmla="*/ 23 h 83"/>
                <a:gd name="T48" fmla="*/ 19 w 88"/>
                <a:gd name="T49" fmla="*/ 9 h 83"/>
                <a:gd name="T50" fmla="*/ 7 w 88"/>
                <a:gd name="T51" fmla="*/ 10 h 83"/>
                <a:gd name="T52" fmla="*/ 6 w 88"/>
                <a:gd name="T53" fmla="*/ 3 h 83"/>
                <a:gd name="T54" fmla="*/ 34 w 88"/>
                <a:gd name="T55" fmla="*/ 0 h 83"/>
                <a:gd name="T56" fmla="*/ 76 w 88"/>
                <a:gd name="T57" fmla="*/ 4 h 83"/>
                <a:gd name="T58" fmla="*/ 76 w 88"/>
                <a:gd name="T59" fmla="*/ 52 h 83"/>
                <a:gd name="T60" fmla="*/ 81 w 88"/>
                <a:gd name="T61" fmla="*/ 51 h 83"/>
                <a:gd name="T62" fmla="*/ 84 w 88"/>
                <a:gd name="T63" fmla="*/ 50 h 83"/>
                <a:gd name="T64" fmla="*/ 85 w 88"/>
                <a:gd name="T65" fmla="*/ 58 h 83"/>
                <a:gd name="T66" fmla="*/ 76 w 88"/>
                <a:gd name="T67" fmla="*/ 59 h 83"/>
                <a:gd name="T68" fmla="*/ 76 w 88"/>
                <a:gd name="T69" fmla="*/ 80 h 83"/>
                <a:gd name="T70" fmla="*/ 72 w 88"/>
                <a:gd name="T71" fmla="*/ 83 h 83"/>
                <a:gd name="T72" fmla="*/ 69 w 88"/>
                <a:gd name="T73" fmla="*/ 80 h 83"/>
                <a:gd name="T74" fmla="*/ 69 w 88"/>
                <a:gd name="T75" fmla="*/ 60 h 83"/>
                <a:gd name="T76" fmla="*/ 37 w 88"/>
                <a:gd name="T77" fmla="*/ 65 h 83"/>
                <a:gd name="T78" fmla="*/ 33 w 88"/>
                <a:gd name="T79" fmla="*/ 62 h 83"/>
                <a:gd name="T80" fmla="*/ 36 w 88"/>
                <a:gd name="T81" fmla="*/ 58 h 83"/>
                <a:gd name="T82" fmla="*/ 42 w 88"/>
                <a:gd name="T83" fmla="*/ 57 h 83"/>
                <a:gd name="T84" fmla="*/ 69 w 88"/>
                <a:gd name="T85" fmla="*/ 53 h 83"/>
                <a:gd name="T86" fmla="*/ 69 w 88"/>
                <a:gd name="T87" fmla="*/ 5 h 83"/>
                <a:gd name="T88" fmla="*/ 72 w 88"/>
                <a:gd name="T89" fmla="*/ 2 h 83"/>
                <a:gd name="T90" fmla="*/ 76 w 88"/>
                <a:gd name="T91" fmla="*/ 4 h 83"/>
                <a:gd name="T92" fmla="*/ 47 w 88"/>
                <a:gd name="T93" fmla="*/ 26 h 83"/>
                <a:gd name="T94" fmla="*/ 60 w 88"/>
                <a:gd name="T95" fmla="*/ 40 h 83"/>
                <a:gd name="T96" fmla="*/ 59 w 88"/>
                <a:gd name="T97" fmla="*/ 45 h 83"/>
                <a:gd name="T98" fmla="*/ 55 w 88"/>
                <a:gd name="T99" fmla="*/ 45 h 83"/>
                <a:gd name="T100" fmla="*/ 42 w 88"/>
                <a:gd name="T101" fmla="*/ 31 h 83"/>
                <a:gd name="T102" fmla="*/ 42 w 88"/>
                <a:gd name="T103" fmla="*/ 26 h 83"/>
                <a:gd name="T104" fmla="*/ 47 w 88"/>
                <a:gd name="T105" fmla="*/ 26 h 83"/>
                <a:gd name="T106" fmla="*/ 51 w 88"/>
                <a:gd name="T107" fmla="*/ 5 h 83"/>
                <a:gd name="T108" fmla="*/ 65 w 88"/>
                <a:gd name="T109" fmla="*/ 21 h 83"/>
                <a:gd name="T110" fmla="*/ 64 w 88"/>
                <a:gd name="T111" fmla="*/ 26 h 83"/>
                <a:gd name="T112" fmla="*/ 60 w 88"/>
                <a:gd name="T113" fmla="*/ 25 h 83"/>
                <a:gd name="T114" fmla="*/ 46 w 88"/>
                <a:gd name="T115" fmla="*/ 10 h 83"/>
                <a:gd name="T116" fmla="*/ 46 w 88"/>
                <a:gd name="T117" fmla="*/ 5 h 83"/>
                <a:gd name="T118" fmla="*/ 51 w 88"/>
                <a:gd name="T119" fmla="*/ 5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8" h="83">
                  <a:moveTo>
                    <a:pt x="34" y="0"/>
                  </a:moveTo>
                  <a:cubicBezTo>
                    <a:pt x="36" y="0"/>
                    <a:pt x="38" y="0"/>
                    <a:pt x="38" y="2"/>
                  </a:cubicBezTo>
                  <a:cubicBezTo>
                    <a:pt x="39" y="4"/>
                    <a:pt x="38" y="6"/>
                    <a:pt x="36" y="6"/>
                  </a:cubicBezTo>
                  <a:cubicBezTo>
                    <a:pt x="33" y="7"/>
                    <a:pt x="29" y="8"/>
                    <a:pt x="25" y="8"/>
                  </a:cubicBezTo>
                  <a:cubicBezTo>
                    <a:pt x="25" y="23"/>
                    <a:pt x="25" y="23"/>
                    <a:pt x="25" y="23"/>
                  </a:cubicBezTo>
                  <a:cubicBezTo>
                    <a:pt x="37" y="23"/>
                    <a:pt x="37" y="23"/>
                    <a:pt x="37" y="23"/>
                  </a:cubicBezTo>
                  <a:cubicBezTo>
                    <a:pt x="41" y="26"/>
                    <a:pt x="41" y="28"/>
                    <a:pt x="37" y="30"/>
                  </a:cubicBezTo>
                  <a:cubicBezTo>
                    <a:pt x="25" y="30"/>
                    <a:pt x="25" y="30"/>
                    <a:pt x="25" y="30"/>
                  </a:cubicBezTo>
                  <a:cubicBezTo>
                    <a:pt x="25" y="32"/>
                    <a:pt x="25" y="32"/>
                    <a:pt x="25" y="32"/>
                  </a:cubicBezTo>
                  <a:cubicBezTo>
                    <a:pt x="31" y="38"/>
                    <a:pt x="36" y="43"/>
                    <a:pt x="39" y="49"/>
                  </a:cubicBezTo>
                  <a:cubicBezTo>
                    <a:pt x="40" y="51"/>
                    <a:pt x="40" y="53"/>
                    <a:pt x="38" y="54"/>
                  </a:cubicBezTo>
                  <a:cubicBezTo>
                    <a:pt x="36" y="56"/>
                    <a:pt x="35" y="55"/>
                    <a:pt x="34" y="53"/>
                  </a:cubicBezTo>
                  <a:cubicBezTo>
                    <a:pt x="32" y="50"/>
                    <a:pt x="29" y="46"/>
                    <a:pt x="25" y="41"/>
                  </a:cubicBezTo>
                  <a:cubicBezTo>
                    <a:pt x="25" y="79"/>
                    <a:pt x="25" y="79"/>
                    <a:pt x="25" y="79"/>
                  </a:cubicBezTo>
                  <a:cubicBezTo>
                    <a:pt x="25" y="80"/>
                    <a:pt x="24" y="81"/>
                    <a:pt x="22" y="82"/>
                  </a:cubicBezTo>
                  <a:cubicBezTo>
                    <a:pt x="20" y="81"/>
                    <a:pt x="19" y="80"/>
                    <a:pt x="19" y="79"/>
                  </a:cubicBezTo>
                  <a:cubicBezTo>
                    <a:pt x="19" y="42"/>
                    <a:pt x="19" y="42"/>
                    <a:pt x="19" y="42"/>
                  </a:cubicBezTo>
                  <a:cubicBezTo>
                    <a:pt x="15" y="49"/>
                    <a:pt x="11" y="54"/>
                    <a:pt x="7" y="59"/>
                  </a:cubicBezTo>
                  <a:cubicBezTo>
                    <a:pt x="5" y="61"/>
                    <a:pt x="3" y="61"/>
                    <a:pt x="1" y="59"/>
                  </a:cubicBezTo>
                  <a:cubicBezTo>
                    <a:pt x="0" y="58"/>
                    <a:pt x="0" y="56"/>
                    <a:pt x="2" y="54"/>
                  </a:cubicBezTo>
                  <a:cubicBezTo>
                    <a:pt x="9" y="48"/>
                    <a:pt x="14" y="40"/>
                    <a:pt x="18" y="30"/>
                  </a:cubicBezTo>
                  <a:cubicBezTo>
                    <a:pt x="5" y="30"/>
                    <a:pt x="5" y="30"/>
                    <a:pt x="5" y="30"/>
                  </a:cubicBezTo>
                  <a:cubicBezTo>
                    <a:pt x="1" y="28"/>
                    <a:pt x="1" y="25"/>
                    <a:pt x="5" y="23"/>
                  </a:cubicBezTo>
                  <a:cubicBezTo>
                    <a:pt x="19" y="23"/>
                    <a:pt x="19" y="23"/>
                    <a:pt x="19" y="23"/>
                  </a:cubicBezTo>
                  <a:cubicBezTo>
                    <a:pt x="19" y="9"/>
                    <a:pt x="19" y="9"/>
                    <a:pt x="19" y="9"/>
                  </a:cubicBezTo>
                  <a:cubicBezTo>
                    <a:pt x="15" y="10"/>
                    <a:pt x="11" y="10"/>
                    <a:pt x="7" y="10"/>
                  </a:cubicBezTo>
                  <a:cubicBezTo>
                    <a:pt x="3" y="9"/>
                    <a:pt x="3" y="6"/>
                    <a:pt x="6" y="3"/>
                  </a:cubicBezTo>
                  <a:cubicBezTo>
                    <a:pt x="15" y="3"/>
                    <a:pt x="25" y="2"/>
                    <a:pt x="34" y="0"/>
                  </a:cubicBezTo>
                  <a:close/>
                  <a:moveTo>
                    <a:pt x="76" y="4"/>
                  </a:moveTo>
                  <a:cubicBezTo>
                    <a:pt x="76" y="52"/>
                    <a:pt x="76" y="52"/>
                    <a:pt x="76" y="52"/>
                  </a:cubicBezTo>
                  <a:cubicBezTo>
                    <a:pt x="77" y="51"/>
                    <a:pt x="79" y="51"/>
                    <a:pt x="81" y="51"/>
                  </a:cubicBezTo>
                  <a:cubicBezTo>
                    <a:pt x="83" y="51"/>
                    <a:pt x="84" y="50"/>
                    <a:pt x="84" y="50"/>
                  </a:cubicBezTo>
                  <a:cubicBezTo>
                    <a:pt x="88" y="53"/>
                    <a:pt x="88" y="55"/>
                    <a:pt x="85" y="58"/>
                  </a:cubicBezTo>
                  <a:cubicBezTo>
                    <a:pt x="80" y="58"/>
                    <a:pt x="77" y="59"/>
                    <a:pt x="76" y="59"/>
                  </a:cubicBezTo>
                  <a:cubicBezTo>
                    <a:pt x="76" y="80"/>
                    <a:pt x="76" y="80"/>
                    <a:pt x="76" y="80"/>
                  </a:cubicBezTo>
                  <a:cubicBezTo>
                    <a:pt x="75" y="82"/>
                    <a:pt x="74" y="83"/>
                    <a:pt x="72" y="83"/>
                  </a:cubicBezTo>
                  <a:cubicBezTo>
                    <a:pt x="70" y="83"/>
                    <a:pt x="69" y="82"/>
                    <a:pt x="69" y="80"/>
                  </a:cubicBezTo>
                  <a:cubicBezTo>
                    <a:pt x="69" y="60"/>
                    <a:pt x="69" y="60"/>
                    <a:pt x="69" y="60"/>
                  </a:cubicBezTo>
                  <a:cubicBezTo>
                    <a:pt x="54" y="63"/>
                    <a:pt x="43" y="64"/>
                    <a:pt x="37" y="65"/>
                  </a:cubicBezTo>
                  <a:cubicBezTo>
                    <a:pt x="35" y="65"/>
                    <a:pt x="34" y="64"/>
                    <a:pt x="33" y="62"/>
                  </a:cubicBezTo>
                  <a:cubicBezTo>
                    <a:pt x="33" y="60"/>
                    <a:pt x="34" y="58"/>
                    <a:pt x="36" y="58"/>
                  </a:cubicBezTo>
                  <a:cubicBezTo>
                    <a:pt x="37" y="58"/>
                    <a:pt x="39" y="57"/>
                    <a:pt x="42" y="57"/>
                  </a:cubicBezTo>
                  <a:cubicBezTo>
                    <a:pt x="53" y="55"/>
                    <a:pt x="62" y="54"/>
                    <a:pt x="69" y="53"/>
                  </a:cubicBezTo>
                  <a:cubicBezTo>
                    <a:pt x="69" y="5"/>
                    <a:pt x="69" y="5"/>
                    <a:pt x="69" y="5"/>
                  </a:cubicBezTo>
                  <a:cubicBezTo>
                    <a:pt x="69" y="3"/>
                    <a:pt x="70" y="2"/>
                    <a:pt x="72" y="2"/>
                  </a:cubicBezTo>
                  <a:cubicBezTo>
                    <a:pt x="74" y="2"/>
                    <a:pt x="75" y="3"/>
                    <a:pt x="76" y="4"/>
                  </a:cubicBezTo>
                  <a:close/>
                  <a:moveTo>
                    <a:pt x="47" y="26"/>
                  </a:moveTo>
                  <a:cubicBezTo>
                    <a:pt x="52" y="30"/>
                    <a:pt x="56" y="34"/>
                    <a:pt x="60" y="40"/>
                  </a:cubicBezTo>
                  <a:cubicBezTo>
                    <a:pt x="61" y="42"/>
                    <a:pt x="61" y="44"/>
                    <a:pt x="59" y="45"/>
                  </a:cubicBezTo>
                  <a:cubicBezTo>
                    <a:pt x="57" y="47"/>
                    <a:pt x="56" y="46"/>
                    <a:pt x="55" y="45"/>
                  </a:cubicBezTo>
                  <a:cubicBezTo>
                    <a:pt x="51" y="39"/>
                    <a:pt x="47" y="35"/>
                    <a:pt x="42" y="31"/>
                  </a:cubicBezTo>
                  <a:cubicBezTo>
                    <a:pt x="41" y="30"/>
                    <a:pt x="40" y="28"/>
                    <a:pt x="42" y="26"/>
                  </a:cubicBezTo>
                  <a:cubicBezTo>
                    <a:pt x="43" y="25"/>
                    <a:pt x="45" y="25"/>
                    <a:pt x="47" y="26"/>
                  </a:cubicBezTo>
                  <a:close/>
                  <a:moveTo>
                    <a:pt x="51" y="5"/>
                  </a:moveTo>
                  <a:cubicBezTo>
                    <a:pt x="56" y="10"/>
                    <a:pt x="61" y="15"/>
                    <a:pt x="65" y="21"/>
                  </a:cubicBezTo>
                  <a:cubicBezTo>
                    <a:pt x="66" y="23"/>
                    <a:pt x="66" y="25"/>
                    <a:pt x="64" y="26"/>
                  </a:cubicBezTo>
                  <a:cubicBezTo>
                    <a:pt x="63" y="27"/>
                    <a:pt x="61" y="27"/>
                    <a:pt x="60" y="25"/>
                  </a:cubicBezTo>
                  <a:cubicBezTo>
                    <a:pt x="56" y="20"/>
                    <a:pt x="51" y="15"/>
                    <a:pt x="46" y="10"/>
                  </a:cubicBezTo>
                  <a:cubicBezTo>
                    <a:pt x="45" y="9"/>
                    <a:pt x="44" y="7"/>
                    <a:pt x="46" y="5"/>
                  </a:cubicBezTo>
                  <a:cubicBezTo>
                    <a:pt x="47" y="4"/>
                    <a:pt x="49" y="4"/>
                    <a:pt x="51" y="5"/>
                  </a:cubicBezTo>
                  <a:close/>
                </a:path>
              </a:pathLst>
            </a:custGeom>
            <a:solidFill>
              <a:srgbClr val="EA550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dirty="0">
                <a:latin typeface="微软雅黑" panose="020B0503020204020204" pitchFamily="34" charset="-122"/>
                <a:ea typeface="微软雅黑" panose="020B0503020204020204" pitchFamily="34" charset="-122"/>
              </a:endParaRPr>
            </a:p>
          </p:txBody>
        </p:sp>
        <p:sp>
          <p:nvSpPr>
            <p:cNvPr id="21" name="Freeform 11"/>
            <p:cNvSpPr>
              <a:spLocks noEditPoints="1"/>
            </p:cNvSpPr>
            <p:nvPr/>
          </p:nvSpPr>
          <p:spPr bwMode="auto">
            <a:xfrm>
              <a:off x="1644650" y="896938"/>
              <a:ext cx="144463" cy="134937"/>
            </a:xfrm>
            <a:custGeom>
              <a:avLst/>
              <a:gdLst>
                <a:gd name="T0" fmla="*/ 20 w 88"/>
                <a:gd name="T1" fmla="*/ 17 h 82"/>
                <a:gd name="T2" fmla="*/ 30 w 88"/>
                <a:gd name="T3" fmla="*/ 20 h 82"/>
                <a:gd name="T4" fmla="*/ 20 w 88"/>
                <a:gd name="T5" fmla="*/ 23 h 82"/>
                <a:gd name="T6" fmla="*/ 26 w 88"/>
                <a:gd name="T7" fmla="*/ 38 h 82"/>
                <a:gd name="T8" fmla="*/ 30 w 88"/>
                <a:gd name="T9" fmla="*/ 43 h 82"/>
                <a:gd name="T10" fmla="*/ 20 w 88"/>
                <a:gd name="T11" fmla="*/ 75 h 82"/>
                <a:gd name="T12" fmla="*/ 3 w 88"/>
                <a:gd name="T13" fmla="*/ 76 h 82"/>
                <a:gd name="T14" fmla="*/ 13 w 88"/>
                <a:gd name="T15" fmla="*/ 72 h 82"/>
                <a:gd name="T16" fmla="*/ 9 w 88"/>
                <a:gd name="T17" fmla="*/ 52 h 82"/>
                <a:gd name="T18" fmla="*/ 0 w 88"/>
                <a:gd name="T19" fmla="*/ 52 h 82"/>
                <a:gd name="T20" fmla="*/ 5 w 88"/>
                <a:gd name="T21" fmla="*/ 47 h 82"/>
                <a:gd name="T22" fmla="*/ 13 w 88"/>
                <a:gd name="T23" fmla="*/ 23 h 82"/>
                <a:gd name="T24" fmla="*/ 2 w 88"/>
                <a:gd name="T25" fmla="*/ 20 h 82"/>
                <a:gd name="T26" fmla="*/ 13 w 88"/>
                <a:gd name="T27" fmla="*/ 17 h 82"/>
                <a:gd name="T28" fmla="*/ 17 w 88"/>
                <a:gd name="T29" fmla="*/ 1 h 82"/>
                <a:gd name="T30" fmla="*/ 58 w 88"/>
                <a:gd name="T31" fmla="*/ 3 h 82"/>
                <a:gd name="T32" fmla="*/ 81 w 88"/>
                <a:gd name="T33" fmla="*/ 8 h 82"/>
                <a:gd name="T34" fmla="*/ 81 w 88"/>
                <a:gd name="T35" fmla="*/ 15 h 82"/>
                <a:gd name="T36" fmla="*/ 58 w 88"/>
                <a:gd name="T37" fmla="*/ 28 h 82"/>
                <a:gd name="T38" fmla="*/ 80 w 88"/>
                <a:gd name="T39" fmla="*/ 38 h 82"/>
                <a:gd name="T40" fmla="*/ 85 w 88"/>
                <a:gd name="T41" fmla="*/ 75 h 82"/>
                <a:gd name="T42" fmla="*/ 82 w 88"/>
                <a:gd name="T43" fmla="*/ 82 h 82"/>
                <a:gd name="T44" fmla="*/ 29 w 88"/>
                <a:gd name="T45" fmla="*/ 81 h 82"/>
                <a:gd name="T46" fmla="*/ 26 w 88"/>
                <a:gd name="T47" fmla="*/ 74 h 82"/>
                <a:gd name="T48" fmla="*/ 34 w 88"/>
                <a:gd name="T49" fmla="*/ 40 h 82"/>
                <a:gd name="T50" fmla="*/ 33 w 88"/>
                <a:gd name="T51" fmla="*/ 35 h 82"/>
                <a:gd name="T52" fmla="*/ 34 w 88"/>
                <a:gd name="T53" fmla="*/ 28 h 82"/>
                <a:gd name="T54" fmla="*/ 51 w 88"/>
                <a:gd name="T55" fmla="*/ 15 h 82"/>
                <a:gd name="T56" fmla="*/ 28 w 88"/>
                <a:gd name="T57" fmla="*/ 12 h 82"/>
                <a:gd name="T58" fmla="*/ 51 w 88"/>
                <a:gd name="T59" fmla="*/ 8 h 82"/>
                <a:gd name="T60" fmla="*/ 55 w 88"/>
                <a:gd name="T61" fmla="*/ 0 h 82"/>
                <a:gd name="T62" fmla="*/ 70 w 88"/>
                <a:gd name="T63" fmla="*/ 35 h 82"/>
                <a:gd name="T64" fmla="*/ 40 w 88"/>
                <a:gd name="T65" fmla="*/ 36 h 82"/>
                <a:gd name="T66" fmla="*/ 72 w 88"/>
                <a:gd name="T67" fmla="*/ 38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8" h="82">
                  <a:moveTo>
                    <a:pt x="20" y="4"/>
                  </a:moveTo>
                  <a:cubicBezTo>
                    <a:pt x="20" y="17"/>
                    <a:pt x="20" y="17"/>
                    <a:pt x="20" y="17"/>
                  </a:cubicBezTo>
                  <a:cubicBezTo>
                    <a:pt x="27" y="17"/>
                    <a:pt x="27" y="17"/>
                    <a:pt x="27" y="17"/>
                  </a:cubicBezTo>
                  <a:cubicBezTo>
                    <a:pt x="29" y="17"/>
                    <a:pt x="30" y="18"/>
                    <a:pt x="30" y="20"/>
                  </a:cubicBezTo>
                  <a:cubicBezTo>
                    <a:pt x="30" y="22"/>
                    <a:pt x="29" y="23"/>
                    <a:pt x="27" y="23"/>
                  </a:cubicBezTo>
                  <a:cubicBezTo>
                    <a:pt x="20" y="23"/>
                    <a:pt x="20" y="23"/>
                    <a:pt x="20" y="23"/>
                  </a:cubicBezTo>
                  <a:cubicBezTo>
                    <a:pt x="20" y="41"/>
                    <a:pt x="20" y="41"/>
                    <a:pt x="20" y="41"/>
                  </a:cubicBezTo>
                  <a:cubicBezTo>
                    <a:pt x="22" y="40"/>
                    <a:pt x="24" y="39"/>
                    <a:pt x="26" y="38"/>
                  </a:cubicBezTo>
                  <a:cubicBezTo>
                    <a:pt x="28" y="37"/>
                    <a:pt x="29" y="38"/>
                    <a:pt x="30" y="39"/>
                  </a:cubicBezTo>
                  <a:cubicBezTo>
                    <a:pt x="31" y="41"/>
                    <a:pt x="31" y="42"/>
                    <a:pt x="30" y="43"/>
                  </a:cubicBezTo>
                  <a:cubicBezTo>
                    <a:pt x="28" y="44"/>
                    <a:pt x="25" y="46"/>
                    <a:pt x="20" y="48"/>
                  </a:cubicBezTo>
                  <a:cubicBezTo>
                    <a:pt x="20" y="75"/>
                    <a:pt x="20" y="75"/>
                    <a:pt x="20" y="75"/>
                  </a:cubicBezTo>
                  <a:cubicBezTo>
                    <a:pt x="19" y="80"/>
                    <a:pt x="15" y="82"/>
                    <a:pt x="6" y="80"/>
                  </a:cubicBezTo>
                  <a:cubicBezTo>
                    <a:pt x="4" y="80"/>
                    <a:pt x="3" y="78"/>
                    <a:pt x="3" y="76"/>
                  </a:cubicBezTo>
                  <a:cubicBezTo>
                    <a:pt x="4" y="74"/>
                    <a:pt x="5" y="73"/>
                    <a:pt x="7" y="74"/>
                  </a:cubicBezTo>
                  <a:cubicBezTo>
                    <a:pt x="12" y="75"/>
                    <a:pt x="14" y="75"/>
                    <a:pt x="13" y="72"/>
                  </a:cubicBezTo>
                  <a:cubicBezTo>
                    <a:pt x="13" y="51"/>
                    <a:pt x="13" y="51"/>
                    <a:pt x="13" y="51"/>
                  </a:cubicBezTo>
                  <a:cubicBezTo>
                    <a:pt x="13" y="51"/>
                    <a:pt x="11" y="52"/>
                    <a:pt x="9" y="52"/>
                  </a:cubicBezTo>
                  <a:cubicBezTo>
                    <a:pt x="7" y="53"/>
                    <a:pt x="5" y="54"/>
                    <a:pt x="5" y="54"/>
                  </a:cubicBezTo>
                  <a:cubicBezTo>
                    <a:pt x="2" y="55"/>
                    <a:pt x="1" y="54"/>
                    <a:pt x="0" y="52"/>
                  </a:cubicBezTo>
                  <a:cubicBezTo>
                    <a:pt x="0" y="50"/>
                    <a:pt x="0" y="49"/>
                    <a:pt x="2" y="48"/>
                  </a:cubicBezTo>
                  <a:cubicBezTo>
                    <a:pt x="3" y="48"/>
                    <a:pt x="4" y="48"/>
                    <a:pt x="5" y="47"/>
                  </a:cubicBezTo>
                  <a:cubicBezTo>
                    <a:pt x="8" y="46"/>
                    <a:pt x="11" y="45"/>
                    <a:pt x="13" y="44"/>
                  </a:cubicBezTo>
                  <a:cubicBezTo>
                    <a:pt x="13" y="23"/>
                    <a:pt x="13" y="23"/>
                    <a:pt x="13" y="23"/>
                  </a:cubicBezTo>
                  <a:cubicBezTo>
                    <a:pt x="5" y="23"/>
                    <a:pt x="5" y="23"/>
                    <a:pt x="5" y="23"/>
                  </a:cubicBezTo>
                  <a:cubicBezTo>
                    <a:pt x="3" y="23"/>
                    <a:pt x="2" y="22"/>
                    <a:pt x="2" y="20"/>
                  </a:cubicBezTo>
                  <a:cubicBezTo>
                    <a:pt x="2" y="18"/>
                    <a:pt x="3" y="17"/>
                    <a:pt x="5" y="17"/>
                  </a:cubicBezTo>
                  <a:cubicBezTo>
                    <a:pt x="13" y="17"/>
                    <a:pt x="13" y="17"/>
                    <a:pt x="13" y="17"/>
                  </a:cubicBezTo>
                  <a:cubicBezTo>
                    <a:pt x="13" y="4"/>
                    <a:pt x="13" y="4"/>
                    <a:pt x="13" y="4"/>
                  </a:cubicBezTo>
                  <a:cubicBezTo>
                    <a:pt x="13" y="2"/>
                    <a:pt x="14" y="1"/>
                    <a:pt x="17" y="1"/>
                  </a:cubicBezTo>
                  <a:cubicBezTo>
                    <a:pt x="19" y="1"/>
                    <a:pt x="20" y="2"/>
                    <a:pt x="20" y="4"/>
                  </a:cubicBezTo>
                  <a:close/>
                  <a:moveTo>
                    <a:pt x="58" y="3"/>
                  </a:moveTo>
                  <a:cubicBezTo>
                    <a:pt x="58" y="8"/>
                    <a:pt x="58" y="8"/>
                    <a:pt x="58" y="8"/>
                  </a:cubicBezTo>
                  <a:cubicBezTo>
                    <a:pt x="81" y="8"/>
                    <a:pt x="81" y="8"/>
                    <a:pt x="81" y="8"/>
                  </a:cubicBezTo>
                  <a:cubicBezTo>
                    <a:pt x="83" y="9"/>
                    <a:pt x="84" y="10"/>
                    <a:pt x="85" y="12"/>
                  </a:cubicBezTo>
                  <a:cubicBezTo>
                    <a:pt x="84" y="14"/>
                    <a:pt x="83" y="15"/>
                    <a:pt x="81" y="15"/>
                  </a:cubicBezTo>
                  <a:cubicBezTo>
                    <a:pt x="58" y="15"/>
                    <a:pt x="58" y="15"/>
                    <a:pt x="58" y="15"/>
                  </a:cubicBezTo>
                  <a:cubicBezTo>
                    <a:pt x="58" y="28"/>
                    <a:pt x="58" y="28"/>
                    <a:pt x="58" y="28"/>
                  </a:cubicBezTo>
                  <a:cubicBezTo>
                    <a:pt x="75" y="28"/>
                    <a:pt x="75" y="28"/>
                    <a:pt x="75" y="28"/>
                  </a:cubicBezTo>
                  <a:cubicBezTo>
                    <a:pt x="80" y="29"/>
                    <a:pt x="82" y="32"/>
                    <a:pt x="80" y="38"/>
                  </a:cubicBezTo>
                  <a:cubicBezTo>
                    <a:pt x="76" y="48"/>
                    <a:pt x="70" y="56"/>
                    <a:pt x="62" y="63"/>
                  </a:cubicBezTo>
                  <a:cubicBezTo>
                    <a:pt x="69" y="68"/>
                    <a:pt x="77" y="72"/>
                    <a:pt x="85" y="75"/>
                  </a:cubicBezTo>
                  <a:cubicBezTo>
                    <a:pt x="87" y="76"/>
                    <a:pt x="88" y="77"/>
                    <a:pt x="87" y="80"/>
                  </a:cubicBezTo>
                  <a:cubicBezTo>
                    <a:pt x="86" y="82"/>
                    <a:pt x="84" y="82"/>
                    <a:pt x="82" y="82"/>
                  </a:cubicBezTo>
                  <a:cubicBezTo>
                    <a:pt x="74" y="78"/>
                    <a:pt x="65" y="74"/>
                    <a:pt x="56" y="68"/>
                  </a:cubicBezTo>
                  <a:cubicBezTo>
                    <a:pt x="48" y="73"/>
                    <a:pt x="39" y="77"/>
                    <a:pt x="29" y="81"/>
                  </a:cubicBezTo>
                  <a:cubicBezTo>
                    <a:pt x="26" y="81"/>
                    <a:pt x="25" y="81"/>
                    <a:pt x="24" y="78"/>
                  </a:cubicBezTo>
                  <a:cubicBezTo>
                    <a:pt x="23" y="76"/>
                    <a:pt x="24" y="75"/>
                    <a:pt x="26" y="74"/>
                  </a:cubicBezTo>
                  <a:cubicBezTo>
                    <a:pt x="36" y="71"/>
                    <a:pt x="44" y="68"/>
                    <a:pt x="50" y="63"/>
                  </a:cubicBezTo>
                  <a:cubicBezTo>
                    <a:pt x="45" y="59"/>
                    <a:pt x="40" y="51"/>
                    <a:pt x="34" y="40"/>
                  </a:cubicBezTo>
                  <a:cubicBezTo>
                    <a:pt x="33" y="38"/>
                    <a:pt x="33" y="37"/>
                    <a:pt x="35" y="35"/>
                  </a:cubicBezTo>
                  <a:cubicBezTo>
                    <a:pt x="33" y="35"/>
                    <a:pt x="33" y="35"/>
                    <a:pt x="33" y="35"/>
                  </a:cubicBezTo>
                  <a:cubicBezTo>
                    <a:pt x="32" y="35"/>
                    <a:pt x="31" y="34"/>
                    <a:pt x="30" y="32"/>
                  </a:cubicBezTo>
                  <a:cubicBezTo>
                    <a:pt x="31" y="29"/>
                    <a:pt x="32" y="28"/>
                    <a:pt x="34" y="28"/>
                  </a:cubicBezTo>
                  <a:cubicBezTo>
                    <a:pt x="51" y="28"/>
                    <a:pt x="51" y="28"/>
                    <a:pt x="51" y="28"/>
                  </a:cubicBezTo>
                  <a:cubicBezTo>
                    <a:pt x="51" y="15"/>
                    <a:pt x="51" y="15"/>
                    <a:pt x="51" y="15"/>
                  </a:cubicBezTo>
                  <a:cubicBezTo>
                    <a:pt x="31" y="15"/>
                    <a:pt x="31" y="15"/>
                    <a:pt x="31" y="15"/>
                  </a:cubicBezTo>
                  <a:cubicBezTo>
                    <a:pt x="29" y="15"/>
                    <a:pt x="28" y="14"/>
                    <a:pt x="28" y="12"/>
                  </a:cubicBezTo>
                  <a:cubicBezTo>
                    <a:pt x="28" y="10"/>
                    <a:pt x="29" y="9"/>
                    <a:pt x="31" y="8"/>
                  </a:cubicBezTo>
                  <a:cubicBezTo>
                    <a:pt x="51" y="8"/>
                    <a:pt x="51" y="8"/>
                    <a:pt x="51" y="8"/>
                  </a:cubicBezTo>
                  <a:cubicBezTo>
                    <a:pt x="51" y="3"/>
                    <a:pt x="51" y="3"/>
                    <a:pt x="51" y="3"/>
                  </a:cubicBezTo>
                  <a:cubicBezTo>
                    <a:pt x="51" y="1"/>
                    <a:pt x="52" y="0"/>
                    <a:pt x="55" y="0"/>
                  </a:cubicBezTo>
                  <a:cubicBezTo>
                    <a:pt x="57" y="0"/>
                    <a:pt x="58" y="1"/>
                    <a:pt x="58" y="3"/>
                  </a:cubicBezTo>
                  <a:close/>
                  <a:moveTo>
                    <a:pt x="70" y="35"/>
                  </a:moveTo>
                  <a:cubicBezTo>
                    <a:pt x="39" y="35"/>
                    <a:pt x="39" y="35"/>
                    <a:pt x="39" y="35"/>
                  </a:cubicBezTo>
                  <a:cubicBezTo>
                    <a:pt x="39" y="36"/>
                    <a:pt x="39" y="36"/>
                    <a:pt x="40" y="36"/>
                  </a:cubicBezTo>
                  <a:cubicBezTo>
                    <a:pt x="47" y="47"/>
                    <a:pt x="52" y="55"/>
                    <a:pt x="56" y="58"/>
                  </a:cubicBezTo>
                  <a:cubicBezTo>
                    <a:pt x="63" y="52"/>
                    <a:pt x="68" y="46"/>
                    <a:pt x="72" y="38"/>
                  </a:cubicBezTo>
                  <a:cubicBezTo>
                    <a:pt x="72" y="37"/>
                    <a:pt x="72" y="36"/>
                    <a:pt x="70" y="35"/>
                  </a:cubicBezTo>
                  <a:close/>
                </a:path>
              </a:pathLst>
            </a:custGeom>
            <a:solidFill>
              <a:srgbClr val="EA550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dirty="0">
                <a:latin typeface="微软雅黑" panose="020B0503020204020204" pitchFamily="34" charset="-122"/>
                <a:ea typeface="微软雅黑" panose="020B0503020204020204" pitchFamily="34" charset="-122"/>
              </a:endParaRPr>
            </a:p>
          </p:txBody>
        </p:sp>
      </p:grpSp>
      <p:grpSp>
        <p:nvGrpSpPr>
          <p:cNvPr id="26" name="组合 25"/>
          <p:cNvGrpSpPr/>
          <p:nvPr userDrawn="1"/>
        </p:nvGrpSpPr>
        <p:grpSpPr>
          <a:xfrm>
            <a:off x="741424" y="4676044"/>
            <a:ext cx="5694681" cy="45719"/>
            <a:chOff x="777184" y="3817770"/>
            <a:chExt cx="5694681" cy="45719"/>
          </a:xfrm>
        </p:grpSpPr>
        <p:sp>
          <p:nvSpPr>
            <p:cNvPr id="27" name="矩形 26"/>
            <p:cNvSpPr/>
            <p:nvPr/>
          </p:nvSpPr>
          <p:spPr>
            <a:xfrm>
              <a:off x="777184" y="3817770"/>
              <a:ext cx="857551" cy="45719"/>
            </a:xfrm>
            <a:prstGeom prst="rect">
              <a:avLst/>
            </a:prstGeom>
            <a:solidFill>
              <a:srgbClr val="EA550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微软雅黑" panose="020B0503020204020204" pitchFamily="34" charset="-122"/>
                <a:ea typeface="微软雅黑" panose="020B0503020204020204" pitchFamily="34" charset="-122"/>
              </a:endParaRPr>
            </a:p>
          </p:txBody>
        </p:sp>
        <p:cxnSp>
          <p:nvCxnSpPr>
            <p:cNvPr id="28" name="直接连接符 27"/>
            <p:cNvCxnSpPr/>
            <p:nvPr/>
          </p:nvCxnSpPr>
          <p:spPr>
            <a:xfrm>
              <a:off x="1606260" y="3837412"/>
              <a:ext cx="4865605" cy="0"/>
            </a:xfrm>
            <a:prstGeom prst="line">
              <a:avLst/>
            </a:prstGeom>
            <a:ln w="22225">
              <a:gradFill flip="none" rotWithShape="1">
                <a:gsLst>
                  <a:gs pos="0">
                    <a:schemeClr val="accent1">
                      <a:lumMod val="5000"/>
                      <a:lumOff val="95000"/>
                      <a:alpha val="0"/>
                    </a:schemeClr>
                  </a:gs>
                  <a:gs pos="54000">
                    <a:schemeClr val="accent1">
                      <a:lumMod val="45000"/>
                      <a:lumOff val="55000"/>
                    </a:schemeClr>
                  </a:gs>
                  <a:gs pos="83000">
                    <a:srgbClr val="FB832D"/>
                  </a:gs>
                  <a:gs pos="100000">
                    <a:srgbClr val="EA5504"/>
                  </a:gs>
                </a:gsLst>
                <a:lin ang="10800000" scaled="1"/>
                <a:tileRect/>
              </a:gradFill>
            </a:ln>
          </p:spPr>
          <p:style>
            <a:lnRef idx="1">
              <a:schemeClr val="accent1"/>
            </a:lnRef>
            <a:fillRef idx="0">
              <a:schemeClr val="accent1"/>
            </a:fillRef>
            <a:effectRef idx="0">
              <a:schemeClr val="accent1"/>
            </a:effectRef>
            <a:fontRef idx="minor">
              <a:schemeClr val="tx1"/>
            </a:fontRef>
          </p:style>
        </p:cxnSp>
      </p:grpSp>
      <p:sp>
        <p:nvSpPr>
          <p:cNvPr id="32" name="文本占位符 31"/>
          <p:cNvSpPr>
            <a:spLocks noGrp="1"/>
          </p:cNvSpPr>
          <p:nvPr>
            <p:ph type="body" sz="quarter" idx="10" hasCustomPrompt="1"/>
          </p:nvPr>
        </p:nvSpPr>
        <p:spPr>
          <a:xfrm>
            <a:off x="639824" y="1727200"/>
            <a:ext cx="7241433" cy="2802791"/>
          </a:xfrm>
          <a:prstGeom prst="rect">
            <a:avLst/>
          </a:prstGeom>
          <a:noFill/>
        </p:spPr>
        <p:txBody>
          <a:bodyPr anchor="ctr">
            <a:normAutofit/>
          </a:bodyPr>
          <a:lstStyle>
            <a:lvl1pPr marL="0" indent="0" algn="l" defTabSz="914400" rtl="0" eaLnBrk="1" latinLnBrk="0" hangingPunct="1">
              <a:lnSpc>
                <a:spcPct val="100000"/>
              </a:lnSpc>
              <a:buNone/>
              <a:defRPr lang="zh-CN" altLang="en-US" sz="5400" b="1" kern="2300" spc="240" dirty="0" smtClean="0">
                <a:ln w="15875">
                  <a:solidFill>
                    <a:schemeClr val="accent1"/>
                  </a:solidFill>
                </a:ln>
                <a:noFill/>
                <a:latin typeface="微软雅黑" panose="020B0503020204020204" pitchFamily="34" charset="-122"/>
                <a:ea typeface="微软雅黑" panose="020B0503020204020204" pitchFamily="34" charset="-122"/>
                <a:cs typeface="+mn-cs"/>
              </a:defRPr>
            </a:lvl1pPr>
            <a:lvl2pPr marL="457200" indent="0">
              <a:buNone/>
              <a:defRPr/>
            </a:lvl2pPr>
          </a:lstStyle>
          <a:p>
            <a:pPr marL="0" marR="0" lvl="0" indent="0" algn="l" defTabSz="914400" rtl="0" eaLnBrk="1" fontAlgn="auto" latinLnBrk="0" hangingPunct="1">
              <a:lnSpc>
                <a:spcPct val="90000"/>
              </a:lnSpc>
              <a:spcBef>
                <a:spcPts val="1000"/>
              </a:spcBef>
              <a:spcAft>
                <a:spcPts val="0"/>
              </a:spcAft>
              <a:buClrTx/>
              <a:buSzTx/>
              <a:buFont typeface="Arial" panose="020B0604020202090204" pitchFamily="34" charset="0"/>
              <a:buNone/>
              <a:defRPr/>
            </a:pPr>
            <a:r>
              <a:rPr lang="zh-CN" altLang="en-US"/>
              <a:t>平安集团</a:t>
            </a:r>
            <a:endParaRPr lang="en-US" altLang="zh-CN" dirty="0"/>
          </a:p>
        </p:txBody>
      </p:sp>
      <p:sp>
        <p:nvSpPr>
          <p:cNvPr id="31" name="文本占位符 2"/>
          <p:cNvSpPr>
            <a:spLocks noGrp="1"/>
          </p:cNvSpPr>
          <p:nvPr>
            <p:ph type="body" sz="quarter" idx="13" hasCustomPrompt="1"/>
          </p:nvPr>
        </p:nvSpPr>
        <p:spPr>
          <a:xfrm>
            <a:off x="628248" y="5553571"/>
            <a:ext cx="4612632" cy="248285"/>
          </a:xfrm>
          <a:prstGeom prst="rect">
            <a:avLst/>
          </a:prstGeom>
        </p:spPr>
        <p:txBody>
          <a:bodyPr>
            <a:noAutofit/>
          </a:bodyPr>
          <a:lstStyle>
            <a:lvl1pPr marL="0" indent="0" algn="l" defTabSz="914400" rtl="0" eaLnBrk="1" latinLnBrk="0" hangingPunct="1">
              <a:lnSpc>
                <a:spcPct val="90000"/>
              </a:lnSpc>
              <a:spcBef>
                <a:spcPts val="1000"/>
              </a:spcBef>
              <a:buSzPct val="80000"/>
              <a:buFont typeface="+mj-ea"/>
              <a:buNone/>
              <a:defRPr lang="en-US" altLang="zh-CN" sz="1400" kern="1200" dirty="0">
                <a:solidFill>
                  <a:schemeClr val="tx1">
                    <a:lumMod val="65000"/>
                    <a:lumOff val="35000"/>
                  </a:schemeClr>
                </a:solidFill>
                <a:latin typeface="微软雅黑" panose="020B0503020204020204" pitchFamily="34" charset="-122"/>
                <a:ea typeface="微软雅黑" panose="020B0503020204020204" pitchFamily="34" charset="-122"/>
                <a:cs typeface="+mn-cs"/>
              </a:defRPr>
            </a:lvl1pPr>
          </a:lstStyle>
          <a:p>
            <a:pPr marL="0" indent="0">
              <a:buNone/>
            </a:pPr>
            <a:r>
              <a:rPr lang="en-US" altLang="zh-CN" sz="1600" dirty="0">
                <a:latin typeface="微软雅黑" panose="020B0503020204020204" pitchFamily="34" charset="-122"/>
                <a:ea typeface="微软雅黑" panose="020B0503020204020204" pitchFamily="34" charset="-122"/>
              </a:rPr>
              <a:t>Speaker name and title</a:t>
            </a:r>
            <a:endParaRPr lang="en-US" altLang="zh-CN" sz="1600" dirty="0">
              <a:latin typeface="微软雅黑" panose="020B0503020204020204" pitchFamily="34" charset="-122"/>
              <a:ea typeface="微软雅黑" panose="020B0503020204020204" pitchFamily="34" charset="-122"/>
            </a:endParaRPr>
          </a:p>
        </p:txBody>
      </p:sp>
      <p:sp>
        <p:nvSpPr>
          <p:cNvPr id="34" name="文本占位符 2"/>
          <p:cNvSpPr>
            <a:spLocks noGrp="1"/>
          </p:cNvSpPr>
          <p:nvPr>
            <p:ph type="body" sz="quarter" idx="14" hasCustomPrompt="1"/>
          </p:nvPr>
        </p:nvSpPr>
        <p:spPr>
          <a:xfrm>
            <a:off x="628248" y="5848201"/>
            <a:ext cx="4612632" cy="248285"/>
          </a:xfrm>
          <a:prstGeom prst="rect">
            <a:avLst/>
          </a:prstGeom>
        </p:spPr>
        <p:txBody>
          <a:bodyPr>
            <a:noAutofit/>
          </a:bodyPr>
          <a:lstStyle>
            <a:lvl1pPr marL="0" indent="0" algn="l" defTabSz="914400" rtl="0" eaLnBrk="1" latinLnBrk="0" hangingPunct="1">
              <a:lnSpc>
                <a:spcPct val="90000"/>
              </a:lnSpc>
              <a:spcBef>
                <a:spcPts val="1000"/>
              </a:spcBef>
              <a:buSzPct val="80000"/>
              <a:buFont typeface="+mj-ea"/>
              <a:buNone/>
              <a:defRPr lang="en-US" altLang="zh-CN" sz="1400" kern="1200" dirty="0">
                <a:solidFill>
                  <a:schemeClr val="tx1">
                    <a:lumMod val="65000"/>
                    <a:lumOff val="35000"/>
                  </a:schemeClr>
                </a:solidFill>
                <a:latin typeface="微软雅黑" panose="020B0503020204020204" pitchFamily="34" charset="-122"/>
                <a:ea typeface="微软雅黑" panose="020B0503020204020204" pitchFamily="34" charset="-122"/>
                <a:cs typeface="+mn-cs"/>
              </a:defRPr>
            </a:lvl1pPr>
          </a:lstStyle>
          <a:p>
            <a:pPr marL="0" indent="0">
              <a:buNone/>
            </a:pPr>
            <a:r>
              <a:rPr lang="en-US" altLang="en-US" sz="1600" dirty="0">
                <a:latin typeface="微软雅黑" panose="020B0503020204020204" pitchFamily="34" charset="-122"/>
                <a:ea typeface="微软雅黑" panose="020B0503020204020204" pitchFamily="34" charset="-122"/>
              </a:rPr>
              <a:t>D</a:t>
            </a:r>
            <a:r>
              <a:rPr lang="en-US" altLang="zh-CN" sz="1600" dirty="0">
                <a:latin typeface="微软雅黑" panose="020B0503020204020204" pitchFamily="34" charset="-122"/>
                <a:ea typeface="微软雅黑" panose="020B0503020204020204" pitchFamily="34" charset="-122"/>
              </a:rPr>
              <a:t>ate &amp; Time</a:t>
            </a:r>
            <a:endParaRPr lang="en-US" altLang="en-US" sz="1600" dirty="0">
              <a:latin typeface="微软雅黑" panose="020B0503020204020204" pitchFamily="34" charset="-122"/>
              <a:ea typeface="微软雅黑" panose="020B0503020204020204" pitchFamily="34" charset="-122"/>
            </a:endParaRPr>
          </a:p>
        </p:txBody>
      </p:sp>
    </p:spTree>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45D8AE3A-C62D-4AF0-9E0E-4E3C49938C44}" type="datetimeFigureOut">
              <a:rPr lang="zh-CN" altLang="en-US" smtClean="0"/>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B479F964-9077-479C-84FE-FD00BAF75217}" type="slidenum">
              <a:rPr lang="zh-CN" altLang="en-US" smtClean="0"/>
            </a:fld>
            <a:endParaRPr lang="zh-CN" alt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showMasterSp="0" userDrawn="1">
  <p:cSld name="4-空白">
    <p:spTree>
      <p:nvGrpSpPr>
        <p:cNvPr id="1" name=""/>
        <p:cNvGrpSpPr/>
        <p:nvPr/>
      </p:nvGrpSpPr>
      <p:grpSpPr>
        <a:xfrm>
          <a:off x="0" y="0"/>
          <a:ext cx="0" cy="0"/>
          <a:chOff x="0" y="0"/>
          <a:chExt cx="0" cy="0"/>
        </a:xfrm>
      </p:grpSpPr>
      <p:sp>
        <p:nvSpPr>
          <p:cNvPr id="4" name="灯片编号占位符 8"/>
          <p:cNvSpPr>
            <a:spLocks noGrp="1"/>
          </p:cNvSpPr>
          <p:nvPr>
            <p:ph type="sldNum" sz="quarter" idx="10"/>
          </p:nvPr>
        </p:nvSpPr>
        <p:spPr>
          <a:xfrm>
            <a:off x="11287844" y="6289488"/>
            <a:ext cx="526143" cy="365125"/>
          </a:xfrm>
        </p:spPr>
        <p:txBody>
          <a:bodyPr/>
          <a:lstStyle/>
          <a:p>
            <a:fld id="{09321FF8-95CF-4FCD-B001-FA7673DD6BBC}" type="slidenum">
              <a:rPr lang="zh-CN" altLang="en-US" smtClean="0"/>
            </a:fld>
            <a:endParaRPr lang="zh-CN" alt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showMasterSp="0" userDrawn="1">
  <p:cSld name="5-章节隔断">
    <p:spTree>
      <p:nvGrpSpPr>
        <p:cNvPr id="1" name=""/>
        <p:cNvGrpSpPr/>
        <p:nvPr/>
      </p:nvGrpSpPr>
      <p:grpSpPr>
        <a:xfrm>
          <a:off x="0" y="0"/>
          <a:ext cx="0" cy="0"/>
          <a:chOff x="0" y="0"/>
          <a:chExt cx="0" cy="0"/>
        </a:xfrm>
      </p:grpSpPr>
      <p:sp>
        <p:nvSpPr>
          <p:cNvPr id="7" name="矩形 6"/>
          <p:cNvSpPr/>
          <p:nvPr userDrawn="1"/>
        </p:nvSpPr>
        <p:spPr>
          <a:xfrm>
            <a:off x="0" y="1"/>
            <a:ext cx="12185496" cy="6855118"/>
          </a:xfrm>
          <a:prstGeom prst="rect">
            <a:avLst/>
          </a:prstGeom>
          <a:gradFill flip="none" rotWithShape="1">
            <a:gsLst>
              <a:gs pos="6000">
                <a:srgbClr val="FEF6F4"/>
              </a:gs>
              <a:gs pos="23000">
                <a:srgbClr val="FFFCFB">
                  <a:alpha val="80000"/>
                </a:srgbClr>
              </a:gs>
              <a:gs pos="55000">
                <a:schemeClr val="bg1">
                  <a:alpha val="76000"/>
                </a:schemeClr>
              </a:gs>
              <a:gs pos="0">
                <a:srgbClr val="FDEEE9"/>
              </a:gs>
              <a:gs pos="87000">
                <a:schemeClr val="bg1">
                  <a:alpha val="76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微软雅黑" panose="020B0503020204020204" pitchFamily="34" charset="-122"/>
              <a:ea typeface="微软雅黑" panose="020B0503020204020204" pitchFamily="34" charset="-122"/>
            </a:endParaRPr>
          </a:p>
        </p:txBody>
      </p:sp>
      <p:sp>
        <p:nvSpPr>
          <p:cNvPr id="31" name="文本占位符 29"/>
          <p:cNvSpPr>
            <a:spLocks noGrp="1"/>
          </p:cNvSpPr>
          <p:nvPr>
            <p:ph type="body" sz="quarter" idx="11" hasCustomPrompt="1"/>
          </p:nvPr>
        </p:nvSpPr>
        <p:spPr>
          <a:xfrm>
            <a:off x="1453621" y="2190334"/>
            <a:ext cx="3282643" cy="461665"/>
          </a:xfrm>
          <a:prstGeom prst="rect">
            <a:avLst/>
          </a:prstGeom>
        </p:spPr>
        <p:txBody>
          <a:bodyPr anchor="ctr">
            <a:noAutofit/>
          </a:bodyPr>
          <a:lstStyle>
            <a:lvl1pPr marL="0" indent="0" algn="l" defTabSz="914400" rtl="0" eaLnBrk="1" latinLnBrk="0" hangingPunct="1">
              <a:buNone/>
              <a:defRPr lang="zh-CN" altLang="en-US" sz="2400" b="1" kern="1800" spc="110" dirty="0">
                <a:solidFill>
                  <a:schemeClr val="accent1"/>
                </a:solidFill>
                <a:latin typeface="微软雅黑" panose="020B0503020204020204" pitchFamily="34" charset="-122"/>
                <a:ea typeface="微软雅黑" panose="020B0503020204020204" pitchFamily="34" charset="-122"/>
                <a:cs typeface="Arial" panose="020B0604020202090204" pitchFamily="34" charset="0"/>
              </a:defRPr>
            </a:lvl1pPr>
          </a:lstStyle>
          <a:p>
            <a:pPr lvl="0"/>
            <a:r>
              <a:rPr lang="zh-CN" altLang="en-US" dirty="0"/>
              <a:t>章节标题</a:t>
            </a:r>
            <a:endParaRPr lang="zh-CN" altLang="en-US" dirty="0"/>
          </a:p>
        </p:txBody>
      </p:sp>
      <p:grpSp>
        <p:nvGrpSpPr>
          <p:cNvPr id="22" name="组合 21"/>
          <p:cNvGrpSpPr/>
          <p:nvPr/>
        </p:nvGrpSpPr>
        <p:grpSpPr>
          <a:xfrm>
            <a:off x="701506" y="2698605"/>
            <a:ext cx="2784066" cy="45719"/>
            <a:chOff x="777185" y="3817770"/>
            <a:chExt cx="2784066" cy="45719"/>
          </a:xfrm>
        </p:grpSpPr>
        <p:sp>
          <p:nvSpPr>
            <p:cNvPr id="25" name="矩形 24"/>
            <p:cNvSpPr/>
            <p:nvPr/>
          </p:nvSpPr>
          <p:spPr>
            <a:xfrm>
              <a:off x="777185" y="3817770"/>
              <a:ext cx="644526" cy="45719"/>
            </a:xfrm>
            <a:prstGeom prst="rect">
              <a:avLst/>
            </a:prstGeom>
            <a:solidFill>
              <a:srgbClr val="EA550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微软雅黑" panose="020B0503020204020204" pitchFamily="34" charset="-122"/>
                <a:ea typeface="微软雅黑" panose="020B0503020204020204" pitchFamily="34" charset="-122"/>
              </a:endParaRPr>
            </a:p>
          </p:txBody>
        </p:sp>
        <p:cxnSp>
          <p:nvCxnSpPr>
            <p:cNvPr id="26" name="直接连接符 25"/>
            <p:cNvCxnSpPr/>
            <p:nvPr/>
          </p:nvCxnSpPr>
          <p:spPr>
            <a:xfrm>
              <a:off x="1398615" y="3840629"/>
              <a:ext cx="2162636" cy="0"/>
            </a:xfrm>
            <a:prstGeom prst="line">
              <a:avLst/>
            </a:prstGeom>
            <a:ln w="22225">
              <a:gradFill flip="none" rotWithShape="1">
                <a:gsLst>
                  <a:gs pos="0">
                    <a:schemeClr val="accent1">
                      <a:lumMod val="5000"/>
                      <a:lumOff val="95000"/>
                      <a:alpha val="0"/>
                    </a:schemeClr>
                  </a:gs>
                  <a:gs pos="54000">
                    <a:srgbClr val="FFC000"/>
                  </a:gs>
                  <a:gs pos="83000">
                    <a:srgbClr val="FB832D"/>
                  </a:gs>
                  <a:gs pos="100000">
                    <a:srgbClr val="EA5504"/>
                  </a:gs>
                </a:gsLst>
                <a:lin ang="10800000" scaled="1"/>
                <a:tileRect/>
              </a:gradFill>
            </a:ln>
          </p:spPr>
          <p:style>
            <a:lnRef idx="1">
              <a:schemeClr val="accent1"/>
            </a:lnRef>
            <a:fillRef idx="0">
              <a:schemeClr val="accent1"/>
            </a:fillRef>
            <a:effectRef idx="0">
              <a:schemeClr val="accent1"/>
            </a:effectRef>
            <a:fontRef idx="minor">
              <a:schemeClr val="tx1"/>
            </a:fontRef>
          </p:style>
        </p:cxnSp>
      </p:grpSp>
      <p:sp>
        <p:nvSpPr>
          <p:cNvPr id="8" name="任意多边形: 形状 7"/>
          <p:cNvSpPr/>
          <p:nvPr userDrawn="1"/>
        </p:nvSpPr>
        <p:spPr>
          <a:xfrm>
            <a:off x="5552100" y="0"/>
            <a:ext cx="6672969" cy="6855118"/>
          </a:xfrm>
          <a:custGeom>
            <a:avLst/>
            <a:gdLst>
              <a:gd name="connsiteX0" fmla="*/ 3417208 w 6672969"/>
              <a:gd name="connsiteY0" fmla="*/ 0 h 6855118"/>
              <a:gd name="connsiteX1" fmla="*/ 6672969 w 6672969"/>
              <a:gd name="connsiteY1" fmla="*/ 0 h 6855118"/>
              <a:gd name="connsiteX2" fmla="*/ 6672969 w 6672969"/>
              <a:gd name="connsiteY2" fmla="*/ 6855118 h 6855118"/>
              <a:gd name="connsiteX3" fmla="*/ 0 w 6672969"/>
              <a:gd name="connsiteY3" fmla="*/ 6855118 h 6855118"/>
            </a:gdLst>
            <a:ahLst/>
            <a:cxnLst>
              <a:cxn ang="0">
                <a:pos x="connsiteX0" y="connsiteY0"/>
              </a:cxn>
              <a:cxn ang="0">
                <a:pos x="connsiteX1" y="connsiteY1"/>
              </a:cxn>
              <a:cxn ang="0">
                <a:pos x="connsiteX2" y="connsiteY2"/>
              </a:cxn>
              <a:cxn ang="0">
                <a:pos x="connsiteX3" y="connsiteY3"/>
              </a:cxn>
            </a:cxnLst>
            <a:rect l="l" t="t" r="r" b="b"/>
            <a:pathLst>
              <a:path w="6672969" h="6855118">
                <a:moveTo>
                  <a:pt x="3417208" y="0"/>
                </a:moveTo>
                <a:lnTo>
                  <a:pt x="6672969" y="0"/>
                </a:lnTo>
                <a:lnTo>
                  <a:pt x="6672969" y="6855118"/>
                </a:lnTo>
                <a:lnTo>
                  <a:pt x="0" y="6855118"/>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dirty="0">
              <a:latin typeface="微软雅黑" panose="020B0503020204020204" pitchFamily="34" charset="-122"/>
              <a:ea typeface="微软雅黑" panose="020B0503020204020204" pitchFamily="34" charset="-122"/>
            </a:endParaRPr>
          </a:p>
        </p:txBody>
      </p:sp>
      <p:pic>
        <p:nvPicPr>
          <p:cNvPr id="9" name="图片 8"/>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a:xfrm>
            <a:off x="5506720" y="1399720"/>
            <a:ext cx="6685280" cy="5458280"/>
          </a:xfrm>
          <a:custGeom>
            <a:avLst/>
            <a:gdLst>
              <a:gd name="connsiteX0" fmla="*/ 2932311 w 6685280"/>
              <a:gd name="connsiteY0" fmla="*/ 2241 h 5458280"/>
              <a:gd name="connsiteX1" fmla="*/ 3027680 w 6685280"/>
              <a:gd name="connsiteY1" fmla="*/ 2360 h 5458280"/>
              <a:gd name="connsiteX2" fmla="*/ 3769360 w 6685280"/>
              <a:gd name="connsiteY2" fmla="*/ 12520 h 5458280"/>
              <a:gd name="connsiteX3" fmla="*/ 4084320 w 6685280"/>
              <a:gd name="connsiteY3" fmla="*/ 286840 h 5458280"/>
              <a:gd name="connsiteX4" fmla="*/ 6685280 w 6685280"/>
              <a:gd name="connsiteY4" fmla="*/ 5458280 h 5458280"/>
              <a:gd name="connsiteX5" fmla="*/ 4201160 w 6685280"/>
              <a:gd name="connsiteY5" fmla="*/ 5458280 h 5458280"/>
              <a:gd name="connsiteX6" fmla="*/ 4201160 w 6685280"/>
              <a:gd name="connsiteY6" fmla="*/ 4110784 h 5458280"/>
              <a:gd name="connsiteX7" fmla="*/ 4072917 w 6685280"/>
              <a:gd name="connsiteY7" fmla="*/ 3982541 h 5458280"/>
              <a:gd name="connsiteX8" fmla="*/ 2637763 w 6685280"/>
              <a:gd name="connsiteY8" fmla="*/ 3982541 h 5458280"/>
              <a:gd name="connsiteX9" fmla="*/ 2509520 w 6685280"/>
              <a:gd name="connsiteY9" fmla="*/ 4110784 h 5458280"/>
              <a:gd name="connsiteX10" fmla="*/ 2509520 w 6685280"/>
              <a:gd name="connsiteY10" fmla="*/ 5458280 h 5458280"/>
              <a:gd name="connsiteX11" fmla="*/ 0 w 6685280"/>
              <a:gd name="connsiteY11" fmla="*/ 5458280 h 5458280"/>
              <a:gd name="connsiteX12" fmla="*/ 2604770 w 6685280"/>
              <a:gd name="connsiteY12" fmla="*/ 341450 h 5458280"/>
              <a:gd name="connsiteX13" fmla="*/ 2932311 w 6685280"/>
              <a:gd name="connsiteY13" fmla="*/ 2241 h 5458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85280" h="5458280">
                <a:moveTo>
                  <a:pt x="2932311" y="2241"/>
                </a:moveTo>
                <a:cubicBezTo>
                  <a:pt x="2960826" y="-716"/>
                  <a:pt x="2992437" y="-815"/>
                  <a:pt x="3027680" y="2360"/>
                </a:cubicBezTo>
                <a:lnTo>
                  <a:pt x="3769360" y="12520"/>
                </a:lnTo>
                <a:cubicBezTo>
                  <a:pt x="3889587" y="4900"/>
                  <a:pt x="3948853" y="31570"/>
                  <a:pt x="4084320" y="286840"/>
                </a:cubicBezTo>
                <a:lnTo>
                  <a:pt x="6685280" y="5458280"/>
                </a:lnTo>
                <a:lnTo>
                  <a:pt x="4201160" y="5458280"/>
                </a:lnTo>
                <a:lnTo>
                  <a:pt x="4201160" y="4110784"/>
                </a:lnTo>
                <a:cubicBezTo>
                  <a:pt x="4201160" y="4039957"/>
                  <a:pt x="4143744" y="3982541"/>
                  <a:pt x="4072917" y="3982541"/>
                </a:cubicBezTo>
                <a:lnTo>
                  <a:pt x="2637763" y="3982541"/>
                </a:lnTo>
                <a:cubicBezTo>
                  <a:pt x="2566936" y="3982541"/>
                  <a:pt x="2509520" y="4039957"/>
                  <a:pt x="2509520" y="4110784"/>
                </a:cubicBezTo>
                <a:lnTo>
                  <a:pt x="2509520" y="5458280"/>
                </a:lnTo>
                <a:lnTo>
                  <a:pt x="0" y="5458280"/>
                </a:lnTo>
                <a:lnTo>
                  <a:pt x="2604770" y="341450"/>
                </a:lnTo>
                <a:cubicBezTo>
                  <a:pt x="2684780" y="183653"/>
                  <a:pt x="2732703" y="22938"/>
                  <a:pt x="2932311" y="2241"/>
                </a:cubicBezTo>
                <a:close/>
              </a:path>
            </a:pathLst>
          </a:custGeom>
        </p:spPr>
      </p:pic>
      <p:grpSp>
        <p:nvGrpSpPr>
          <p:cNvPr id="10" name="组合 9"/>
          <p:cNvGrpSpPr/>
          <p:nvPr userDrawn="1"/>
        </p:nvGrpSpPr>
        <p:grpSpPr>
          <a:xfrm>
            <a:off x="9753600" y="566798"/>
            <a:ext cx="1765300" cy="294216"/>
            <a:chOff x="660400" y="492126"/>
            <a:chExt cx="3257550" cy="542924"/>
          </a:xfrm>
        </p:grpSpPr>
        <p:sp>
          <p:nvSpPr>
            <p:cNvPr id="11" name="Freeform 5"/>
            <p:cNvSpPr>
              <a:spLocks noEditPoints="1"/>
            </p:cNvSpPr>
            <p:nvPr/>
          </p:nvSpPr>
          <p:spPr bwMode="auto">
            <a:xfrm>
              <a:off x="660400" y="492126"/>
              <a:ext cx="3257550" cy="285750"/>
            </a:xfrm>
            <a:custGeom>
              <a:avLst/>
              <a:gdLst>
                <a:gd name="T0" fmla="*/ 1282 w 1998"/>
                <a:gd name="T1" fmla="*/ 16 h 174"/>
                <a:gd name="T2" fmla="*/ 1247 w 1998"/>
                <a:gd name="T3" fmla="*/ 166 h 174"/>
                <a:gd name="T4" fmla="*/ 1376 w 1998"/>
                <a:gd name="T5" fmla="*/ 167 h 174"/>
                <a:gd name="T6" fmla="*/ 1409 w 1998"/>
                <a:gd name="T7" fmla="*/ 17 h 174"/>
                <a:gd name="T8" fmla="*/ 1184 w 1998"/>
                <a:gd name="T9" fmla="*/ 166 h 174"/>
                <a:gd name="T10" fmla="*/ 1214 w 1998"/>
                <a:gd name="T11" fmla="*/ 13 h 174"/>
                <a:gd name="T12" fmla="*/ 1122 w 1998"/>
                <a:gd name="T13" fmla="*/ 41 h 174"/>
                <a:gd name="T14" fmla="*/ 1007 w 1998"/>
                <a:gd name="T15" fmla="*/ 17 h 174"/>
                <a:gd name="T16" fmla="*/ 1042 w 1998"/>
                <a:gd name="T17" fmla="*/ 122 h 174"/>
                <a:gd name="T18" fmla="*/ 1994 w 1998"/>
                <a:gd name="T19" fmla="*/ 13 h 174"/>
                <a:gd name="T20" fmla="*/ 1863 w 1998"/>
                <a:gd name="T21" fmla="*/ 13 h 174"/>
                <a:gd name="T22" fmla="*/ 1840 w 1998"/>
                <a:gd name="T23" fmla="*/ 170 h 174"/>
                <a:gd name="T24" fmla="*/ 1971 w 1998"/>
                <a:gd name="T25" fmla="*/ 170 h 174"/>
                <a:gd name="T26" fmla="*/ 1994 w 1998"/>
                <a:gd name="T27" fmla="*/ 13 h 174"/>
                <a:gd name="T28" fmla="*/ 1488 w 1998"/>
                <a:gd name="T29" fmla="*/ 172 h 174"/>
                <a:gd name="T30" fmla="*/ 1513 w 1998"/>
                <a:gd name="T31" fmla="*/ 104 h 174"/>
                <a:gd name="T32" fmla="*/ 1471 w 1998"/>
                <a:gd name="T33" fmla="*/ 142 h 174"/>
                <a:gd name="T34" fmla="*/ 1562 w 1998"/>
                <a:gd name="T35" fmla="*/ 44 h 174"/>
                <a:gd name="T36" fmla="*/ 1596 w 1998"/>
                <a:gd name="T37" fmla="*/ 58 h 174"/>
                <a:gd name="T38" fmla="*/ 767 w 1998"/>
                <a:gd name="T39" fmla="*/ 112 h 174"/>
                <a:gd name="T40" fmla="*/ 894 w 1998"/>
                <a:gd name="T41" fmla="*/ 65 h 174"/>
                <a:gd name="T42" fmla="*/ 832 w 1998"/>
                <a:gd name="T43" fmla="*/ 51 h 174"/>
                <a:gd name="T44" fmla="*/ 731 w 1998"/>
                <a:gd name="T45" fmla="*/ 48 h 174"/>
                <a:gd name="T46" fmla="*/ 692 w 1998"/>
                <a:gd name="T47" fmla="*/ 85 h 174"/>
                <a:gd name="T48" fmla="*/ 767 w 1998"/>
                <a:gd name="T49" fmla="*/ 138 h 174"/>
                <a:gd name="T50" fmla="*/ 700 w 1998"/>
                <a:gd name="T51" fmla="*/ 170 h 174"/>
                <a:gd name="T52" fmla="*/ 859 w 1998"/>
                <a:gd name="T53" fmla="*/ 170 h 174"/>
                <a:gd name="T54" fmla="*/ 859 w 1998"/>
                <a:gd name="T55" fmla="*/ 146 h 174"/>
                <a:gd name="T56" fmla="*/ 894 w 1998"/>
                <a:gd name="T57" fmla="*/ 89 h 174"/>
                <a:gd name="T58" fmla="*/ 1740 w 1998"/>
                <a:gd name="T59" fmla="*/ 13 h 174"/>
                <a:gd name="T60" fmla="*/ 1663 w 1998"/>
                <a:gd name="T61" fmla="*/ 170 h 174"/>
                <a:gd name="T62" fmla="*/ 1816 w 1998"/>
                <a:gd name="T63" fmla="*/ 170 h 174"/>
                <a:gd name="T64" fmla="*/ 597 w 1998"/>
                <a:gd name="T65" fmla="*/ 98 h 174"/>
                <a:gd name="T66" fmla="*/ 654 w 1998"/>
                <a:gd name="T67" fmla="*/ 46 h 174"/>
                <a:gd name="T68" fmla="*/ 416 w 1998"/>
                <a:gd name="T69" fmla="*/ 28 h 174"/>
                <a:gd name="T70" fmla="*/ 239 w 1998"/>
                <a:gd name="T71" fmla="*/ 148 h 174"/>
                <a:gd name="T72" fmla="*/ 423 w 1998"/>
                <a:gd name="T73" fmla="*/ 6 h 174"/>
                <a:gd name="T74" fmla="*/ 872 w 1998"/>
                <a:gd name="T75" fmla="*/ 34 h 174"/>
                <a:gd name="T76" fmla="*/ 897 w 1998"/>
                <a:gd name="T77" fmla="*/ 32 h 174"/>
                <a:gd name="T78" fmla="*/ 782 w 1998"/>
                <a:gd name="T79" fmla="*/ 0 h 174"/>
                <a:gd name="T80" fmla="*/ 693 w 1998"/>
                <a:gd name="T81" fmla="*/ 45 h 174"/>
                <a:gd name="T82" fmla="*/ 179 w 1998"/>
                <a:gd name="T83" fmla="*/ 49 h 174"/>
                <a:gd name="T84" fmla="*/ 88 w 1998"/>
                <a:gd name="T85" fmla="*/ 49 h 174"/>
                <a:gd name="T86" fmla="*/ 118 w 1998"/>
                <a:gd name="T87" fmla="*/ 1 h 174"/>
                <a:gd name="T88" fmla="*/ 0 w 1998"/>
                <a:gd name="T89" fmla="*/ 46 h 174"/>
                <a:gd name="T90" fmla="*/ 91 w 1998"/>
                <a:gd name="T91" fmla="*/ 174 h 174"/>
                <a:gd name="T92" fmla="*/ 210 w 1998"/>
                <a:gd name="T93" fmla="*/ 118 h 174"/>
                <a:gd name="T94" fmla="*/ 379 w 1998"/>
                <a:gd name="T95" fmla="*/ 112 h 174"/>
                <a:gd name="T96" fmla="*/ 357 w 1998"/>
                <a:gd name="T97" fmla="*/ 75 h 174"/>
                <a:gd name="T98" fmla="*/ 284 w 1998"/>
                <a:gd name="T99" fmla="*/ 61 h 174"/>
                <a:gd name="T100" fmla="*/ 328 w 1998"/>
                <a:gd name="T101" fmla="*/ 93 h 174"/>
                <a:gd name="T102" fmla="*/ 401 w 1998"/>
                <a:gd name="T103" fmla="*/ 104 h 174"/>
                <a:gd name="T104" fmla="*/ 512 w 1998"/>
                <a:gd name="T105" fmla="*/ 46 h 174"/>
                <a:gd name="T106" fmla="*/ 669 w 1998"/>
                <a:gd name="T107" fmla="*/ 115 h 174"/>
                <a:gd name="T108" fmla="*/ 666 w 1998"/>
                <a:gd name="T109" fmla="*/ 14 h 174"/>
                <a:gd name="T110" fmla="*/ 479 w 1998"/>
                <a:gd name="T111" fmla="*/ 33 h 174"/>
                <a:gd name="T112" fmla="*/ 469 w 1998"/>
                <a:gd name="T113" fmla="*/ 135 h 174"/>
                <a:gd name="T114" fmla="*/ 583 w 1998"/>
                <a:gd name="T115" fmla="*/ 174 h 174"/>
                <a:gd name="T116" fmla="*/ 673 w 1998"/>
                <a:gd name="T117" fmla="*/ 119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98" h="174">
                  <a:moveTo>
                    <a:pt x="1405" y="13"/>
                  </a:moveTo>
                  <a:cubicBezTo>
                    <a:pt x="1382" y="13"/>
                    <a:pt x="1382" y="13"/>
                    <a:pt x="1382" y="13"/>
                  </a:cubicBezTo>
                  <a:cubicBezTo>
                    <a:pt x="1379" y="13"/>
                    <a:pt x="1378" y="15"/>
                    <a:pt x="1378" y="17"/>
                  </a:cubicBezTo>
                  <a:cubicBezTo>
                    <a:pt x="1378" y="125"/>
                    <a:pt x="1378" y="125"/>
                    <a:pt x="1378" y="125"/>
                  </a:cubicBezTo>
                  <a:cubicBezTo>
                    <a:pt x="1365" y="111"/>
                    <a:pt x="1284" y="18"/>
                    <a:pt x="1282" y="16"/>
                  </a:cubicBezTo>
                  <a:cubicBezTo>
                    <a:pt x="1279" y="13"/>
                    <a:pt x="1276" y="13"/>
                    <a:pt x="1275" y="13"/>
                  </a:cubicBezTo>
                  <a:cubicBezTo>
                    <a:pt x="1275" y="13"/>
                    <a:pt x="1275" y="13"/>
                    <a:pt x="1275" y="13"/>
                  </a:cubicBezTo>
                  <a:cubicBezTo>
                    <a:pt x="1251" y="13"/>
                    <a:pt x="1251" y="13"/>
                    <a:pt x="1251" y="13"/>
                  </a:cubicBezTo>
                  <a:cubicBezTo>
                    <a:pt x="1249" y="13"/>
                    <a:pt x="1247" y="15"/>
                    <a:pt x="1247" y="17"/>
                  </a:cubicBezTo>
                  <a:cubicBezTo>
                    <a:pt x="1247" y="166"/>
                    <a:pt x="1247" y="166"/>
                    <a:pt x="1247" y="166"/>
                  </a:cubicBezTo>
                  <a:cubicBezTo>
                    <a:pt x="1247" y="168"/>
                    <a:pt x="1249" y="170"/>
                    <a:pt x="1251" y="170"/>
                  </a:cubicBezTo>
                  <a:cubicBezTo>
                    <a:pt x="1275" y="170"/>
                    <a:pt x="1275" y="170"/>
                    <a:pt x="1275" y="170"/>
                  </a:cubicBezTo>
                  <a:cubicBezTo>
                    <a:pt x="1277" y="170"/>
                    <a:pt x="1279" y="168"/>
                    <a:pt x="1279" y="166"/>
                  </a:cubicBezTo>
                  <a:cubicBezTo>
                    <a:pt x="1279" y="57"/>
                    <a:pt x="1279" y="57"/>
                    <a:pt x="1279" y="57"/>
                  </a:cubicBezTo>
                  <a:cubicBezTo>
                    <a:pt x="1287" y="67"/>
                    <a:pt x="1373" y="165"/>
                    <a:pt x="1376" y="167"/>
                  </a:cubicBezTo>
                  <a:cubicBezTo>
                    <a:pt x="1378" y="169"/>
                    <a:pt x="1381" y="170"/>
                    <a:pt x="1383" y="170"/>
                  </a:cubicBezTo>
                  <a:cubicBezTo>
                    <a:pt x="1383" y="170"/>
                    <a:pt x="1383" y="170"/>
                    <a:pt x="1383" y="170"/>
                  </a:cubicBezTo>
                  <a:cubicBezTo>
                    <a:pt x="1405" y="170"/>
                    <a:pt x="1405" y="170"/>
                    <a:pt x="1405" y="170"/>
                  </a:cubicBezTo>
                  <a:cubicBezTo>
                    <a:pt x="1407" y="170"/>
                    <a:pt x="1409" y="168"/>
                    <a:pt x="1409" y="166"/>
                  </a:cubicBezTo>
                  <a:cubicBezTo>
                    <a:pt x="1409" y="17"/>
                    <a:pt x="1409" y="17"/>
                    <a:pt x="1409" y="17"/>
                  </a:cubicBezTo>
                  <a:cubicBezTo>
                    <a:pt x="1409" y="15"/>
                    <a:pt x="1407" y="13"/>
                    <a:pt x="1405" y="13"/>
                  </a:cubicBezTo>
                  <a:moveTo>
                    <a:pt x="1214" y="13"/>
                  </a:moveTo>
                  <a:cubicBezTo>
                    <a:pt x="1188" y="13"/>
                    <a:pt x="1188" y="13"/>
                    <a:pt x="1188" y="13"/>
                  </a:cubicBezTo>
                  <a:cubicBezTo>
                    <a:pt x="1186" y="13"/>
                    <a:pt x="1184" y="15"/>
                    <a:pt x="1184" y="17"/>
                  </a:cubicBezTo>
                  <a:cubicBezTo>
                    <a:pt x="1184" y="166"/>
                    <a:pt x="1184" y="166"/>
                    <a:pt x="1184" y="166"/>
                  </a:cubicBezTo>
                  <a:cubicBezTo>
                    <a:pt x="1184" y="168"/>
                    <a:pt x="1186" y="170"/>
                    <a:pt x="1188" y="170"/>
                  </a:cubicBezTo>
                  <a:cubicBezTo>
                    <a:pt x="1214" y="170"/>
                    <a:pt x="1214" y="170"/>
                    <a:pt x="1214" y="170"/>
                  </a:cubicBezTo>
                  <a:cubicBezTo>
                    <a:pt x="1216" y="170"/>
                    <a:pt x="1218" y="168"/>
                    <a:pt x="1218" y="166"/>
                  </a:cubicBezTo>
                  <a:cubicBezTo>
                    <a:pt x="1218" y="17"/>
                    <a:pt x="1218" y="17"/>
                    <a:pt x="1218" y="17"/>
                  </a:cubicBezTo>
                  <a:cubicBezTo>
                    <a:pt x="1218" y="15"/>
                    <a:pt x="1216" y="13"/>
                    <a:pt x="1214" y="13"/>
                  </a:cubicBezTo>
                  <a:moveTo>
                    <a:pt x="1125" y="91"/>
                  </a:moveTo>
                  <a:cubicBezTo>
                    <a:pt x="1125" y="93"/>
                    <a:pt x="1124" y="94"/>
                    <a:pt x="1122" y="94"/>
                  </a:cubicBezTo>
                  <a:cubicBezTo>
                    <a:pt x="1042" y="94"/>
                    <a:pt x="1042" y="94"/>
                    <a:pt x="1042" y="94"/>
                  </a:cubicBezTo>
                  <a:cubicBezTo>
                    <a:pt x="1042" y="41"/>
                    <a:pt x="1042" y="41"/>
                    <a:pt x="1042" y="41"/>
                  </a:cubicBezTo>
                  <a:cubicBezTo>
                    <a:pt x="1122" y="41"/>
                    <a:pt x="1122" y="41"/>
                    <a:pt x="1122" y="41"/>
                  </a:cubicBezTo>
                  <a:cubicBezTo>
                    <a:pt x="1124" y="41"/>
                    <a:pt x="1125" y="42"/>
                    <a:pt x="1125" y="44"/>
                  </a:cubicBezTo>
                  <a:lnTo>
                    <a:pt x="1125" y="91"/>
                  </a:lnTo>
                  <a:close/>
                  <a:moveTo>
                    <a:pt x="1108" y="13"/>
                  </a:moveTo>
                  <a:cubicBezTo>
                    <a:pt x="1011" y="13"/>
                    <a:pt x="1011" y="13"/>
                    <a:pt x="1011" y="13"/>
                  </a:cubicBezTo>
                  <a:cubicBezTo>
                    <a:pt x="1009" y="13"/>
                    <a:pt x="1007" y="15"/>
                    <a:pt x="1007" y="17"/>
                  </a:cubicBezTo>
                  <a:cubicBezTo>
                    <a:pt x="1007" y="166"/>
                    <a:pt x="1007" y="166"/>
                    <a:pt x="1007" y="166"/>
                  </a:cubicBezTo>
                  <a:cubicBezTo>
                    <a:pt x="1007" y="168"/>
                    <a:pt x="1009" y="170"/>
                    <a:pt x="1011" y="170"/>
                  </a:cubicBezTo>
                  <a:cubicBezTo>
                    <a:pt x="1038" y="170"/>
                    <a:pt x="1038" y="170"/>
                    <a:pt x="1038" y="170"/>
                  </a:cubicBezTo>
                  <a:cubicBezTo>
                    <a:pt x="1040" y="170"/>
                    <a:pt x="1042" y="168"/>
                    <a:pt x="1042" y="166"/>
                  </a:cubicBezTo>
                  <a:cubicBezTo>
                    <a:pt x="1042" y="122"/>
                    <a:pt x="1042" y="122"/>
                    <a:pt x="1042" y="122"/>
                  </a:cubicBezTo>
                  <a:cubicBezTo>
                    <a:pt x="1108" y="122"/>
                    <a:pt x="1108" y="122"/>
                    <a:pt x="1108" y="122"/>
                  </a:cubicBezTo>
                  <a:cubicBezTo>
                    <a:pt x="1137" y="122"/>
                    <a:pt x="1161" y="104"/>
                    <a:pt x="1161" y="78"/>
                  </a:cubicBezTo>
                  <a:cubicBezTo>
                    <a:pt x="1161" y="61"/>
                    <a:pt x="1161" y="61"/>
                    <a:pt x="1161" y="61"/>
                  </a:cubicBezTo>
                  <a:cubicBezTo>
                    <a:pt x="1161" y="34"/>
                    <a:pt x="1137" y="13"/>
                    <a:pt x="1108" y="13"/>
                  </a:cubicBezTo>
                  <a:moveTo>
                    <a:pt x="1994" y="13"/>
                  </a:moveTo>
                  <a:cubicBezTo>
                    <a:pt x="1970" y="13"/>
                    <a:pt x="1970" y="13"/>
                    <a:pt x="1970" y="13"/>
                  </a:cubicBezTo>
                  <a:cubicBezTo>
                    <a:pt x="1968" y="13"/>
                    <a:pt x="1967" y="15"/>
                    <a:pt x="1967" y="17"/>
                  </a:cubicBezTo>
                  <a:cubicBezTo>
                    <a:pt x="1967" y="125"/>
                    <a:pt x="1967" y="125"/>
                    <a:pt x="1967" y="125"/>
                  </a:cubicBezTo>
                  <a:cubicBezTo>
                    <a:pt x="1954" y="111"/>
                    <a:pt x="1872" y="18"/>
                    <a:pt x="1870" y="16"/>
                  </a:cubicBezTo>
                  <a:cubicBezTo>
                    <a:pt x="1868" y="13"/>
                    <a:pt x="1865" y="13"/>
                    <a:pt x="1863" y="13"/>
                  </a:cubicBezTo>
                  <a:cubicBezTo>
                    <a:pt x="1863" y="13"/>
                    <a:pt x="1863" y="13"/>
                    <a:pt x="1863" y="13"/>
                  </a:cubicBezTo>
                  <a:cubicBezTo>
                    <a:pt x="1840" y="13"/>
                    <a:pt x="1840" y="13"/>
                    <a:pt x="1840" y="13"/>
                  </a:cubicBezTo>
                  <a:cubicBezTo>
                    <a:pt x="1838" y="13"/>
                    <a:pt x="1836" y="15"/>
                    <a:pt x="1836" y="17"/>
                  </a:cubicBezTo>
                  <a:cubicBezTo>
                    <a:pt x="1836" y="166"/>
                    <a:pt x="1836" y="166"/>
                    <a:pt x="1836" y="166"/>
                  </a:cubicBezTo>
                  <a:cubicBezTo>
                    <a:pt x="1836" y="168"/>
                    <a:pt x="1838" y="170"/>
                    <a:pt x="1840" y="170"/>
                  </a:cubicBezTo>
                  <a:cubicBezTo>
                    <a:pt x="1864" y="170"/>
                    <a:pt x="1864" y="170"/>
                    <a:pt x="1864" y="170"/>
                  </a:cubicBezTo>
                  <a:cubicBezTo>
                    <a:pt x="1866" y="170"/>
                    <a:pt x="1867" y="168"/>
                    <a:pt x="1867" y="166"/>
                  </a:cubicBezTo>
                  <a:cubicBezTo>
                    <a:pt x="1867" y="57"/>
                    <a:pt x="1867" y="57"/>
                    <a:pt x="1867" y="57"/>
                  </a:cubicBezTo>
                  <a:cubicBezTo>
                    <a:pt x="1876" y="67"/>
                    <a:pt x="1962" y="165"/>
                    <a:pt x="1964" y="167"/>
                  </a:cubicBezTo>
                  <a:cubicBezTo>
                    <a:pt x="1967" y="169"/>
                    <a:pt x="1969" y="170"/>
                    <a:pt x="1971" y="170"/>
                  </a:cubicBezTo>
                  <a:cubicBezTo>
                    <a:pt x="1971" y="170"/>
                    <a:pt x="1971" y="170"/>
                    <a:pt x="1971" y="170"/>
                  </a:cubicBezTo>
                  <a:cubicBezTo>
                    <a:pt x="1994" y="170"/>
                    <a:pt x="1994" y="170"/>
                    <a:pt x="1994" y="170"/>
                  </a:cubicBezTo>
                  <a:cubicBezTo>
                    <a:pt x="1996" y="170"/>
                    <a:pt x="1998" y="168"/>
                    <a:pt x="1998" y="166"/>
                  </a:cubicBezTo>
                  <a:cubicBezTo>
                    <a:pt x="1998" y="17"/>
                    <a:pt x="1998" y="17"/>
                    <a:pt x="1998" y="17"/>
                  </a:cubicBezTo>
                  <a:cubicBezTo>
                    <a:pt x="1998" y="15"/>
                    <a:pt x="1996" y="13"/>
                    <a:pt x="1994" y="13"/>
                  </a:cubicBezTo>
                  <a:moveTo>
                    <a:pt x="1542" y="11"/>
                  </a:moveTo>
                  <a:cubicBezTo>
                    <a:pt x="1488" y="11"/>
                    <a:pt x="1488" y="11"/>
                    <a:pt x="1488" y="11"/>
                  </a:cubicBezTo>
                  <a:cubicBezTo>
                    <a:pt x="1458" y="11"/>
                    <a:pt x="1434" y="32"/>
                    <a:pt x="1434" y="58"/>
                  </a:cubicBezTo>
                  <a:cubicBezTo>
                    <a:pt x="1434" y="124"/>
                    <a:pt x="1434" y="124"/>
                    <a:pt x="1434" y="124"/>
                  </a:cubicBezTo>
                  <a:cubicBezTo>
                    <a:pt x="1434" y="150"/>
                    <a:pt x="1458" y="172"/>
                    <a:pt x="1488" y="172"/>
                  </a:cubicBezTo>
                  <a:cubicBezTo>
                    <a:pt x="1542" y="172"/>
                    <a:pt x="1542" y="172"/>
                    <a:pt x="1542" y="172"/>
                  </a:cubicBezTo>
                  <a:cubicBezTo>
                    <a:pt x="1572" y="172"/>
                    <a:pt x="1596" y="150"/>
                    <a:pt x="1596" y="124"/>
                  </a:cubicBezTo>
                  <a:cubicBezTo>
                    <a:pt x="1596" y="82"/>
                    <a:pt x="1596" y="82"/>
                    <a:pt x="1596" y="82"/>
                  </a:cubicBezTo>
                  <a:cubicBezTo>
                    <a:pt x="1513" y="82"/>
                    <a:pt x="1513" y="82"/>
                    <a:pt x="1513" y="82"/>
                  </a:cubicBezTo>
                  <a:cubicBezTo>
                    <a:pt x="1513" y="104"/>
                    <a:pt x="1513" y="104"/>
                    <a:pt x="1513" y="104"/>
                  </a:cubicBezTo>
                  <a:cubicBezTo>
                    <a:pt x="1513" y="106"/>
                    <a:pt x="1515" y="108"/>
                    <a:pt x="1517" y="108"/>
                  </a:cubicBezTo>
                  <a:cubicBezTo>
                    <a:pt x="1562" y="108"/>
                    <a:pt x="1562" y="108"/>
                    <a:pt x="1562" y="108"/>
                  </a:cubicBezTo>
                  <a:cubicBezTo>
                    <a:pt x="1562" y="138"/>
                    <a:pt x="1562" y="138"/>
                    <a:pt x="1562" y="138"/>
                  </a:cubicBezTo>
                  <a:cubicBezTo>
                    <a:pt x="1562" y="140"/>
                    <a:pt x="1560" y="142"/>
                    <a:pt x="1558" y="142"/>
                  </a:cubicBezTo>
                  <a:cubicBezTo>
                    <a:pt x="1471" y="142"/>
                    <a:pt x="1471" y="142"/>
                    <a:pt x="1471" y="142"/>
                  </a:cubicBezTo>
                  <a:cubicBezTo>
                    <a:pt x="1469" y="142"/>
                    <a:pt x="1468" y="140"/>
                    <a:pt x="1468" y="138"/>
                  </a:cubicBezTo>
                  <a:cubicBezTo>
                    <a:pt x="1468" y="44"/>
                    <a:pt x="1468" y="44"/>
                    <a:pt x="1468" y="44"/>
                  </a:cubicBezTo>
                  <a:cubicBezTo>
                    <a:pt x="1468" y="42"/>
                    <a:pt x="1469" y="41"/>
                    <a:pt x="1471" y="41"/>
                  </a:cubicBezTo>
                  <a:cubicBezTo>
                    <a:pt x="1558" y="41"/>
                    <a:pt x="1558" y="41"/>
                    <a:pt x="1558" y="41"/>
                  </a:cubicBezTo>
                  <a:cubicBezTo>
                    <a:pt x="1560" y="41"/>
                    <a:pt x="1562" y="42"/>
                    <a:pt x="1562" y="44"/>
                  </a:cubicBezTo>
                  <a:cubicBezTo>
                    <a:pt x="1562" y="62"/>
                    <a:pt x="1562" y="62"/>
                    <a:pt x="1562" y="62"/>
                  </a:cubicBezTo>
                  <a:cubicBezTo>
                    <a:pt x="1562" y="64"/>
                    <a:pt x="1564" y="66"/>
                    <a:pt x="1566" y="66"/>
                  </a:cubicBezTo>
                  <a:cubicBezTo>
                    <a:pt x="1592" y="66"/>
                    <a:pt x="1592" y="66"/>
                    <a:pt x="1592" y="66"/>
                  </a:cubicBezTo>
                  <a:cubicBezTo>
                    <a:pt x="1594" y="66"/>
                    <a:pt x="1596" y="64"/>
                    <a:pt x="1596" y="62"/>
                  </a:cubicBezTo>
                  <a:cubicBezTo>
                    <a:pt x="1596" y="58"/>
                    <a:pt x="1596" y="58"/>
                    <a:pt x="1596" y="58"/>
                  </a:cubicBezTo>
                  <a:cubicBezTo>
                    <a:pt x="1596" y="32"/>
                    <a:pt x="1572" y="11"/>
                    <a:pt x="1542" y="11"/>
                  </a:cubicBezTo>
                  <a:moveTo>
                    <a:pt x="832" y="96"/>
                  </a:moveTo>
                  <a:cubicBezTo>
                    <a:pt x="832" y="103"/>
                    <a:pt x="831" y="108"/>
                    <a:pt x="823" y="112"/>
                  </a:cubicBezTo>
                  <a:cubicBezTo>
                    <a:pt x="816" y="115"/>
                    <a:pt x="805" y="121"/>
                    <a:pt x="795" y="125"/>
                  </a:cubicBezTo>
                  <a:cubicBezTo>
                    <a:pt x="785" y="121"/>
                    <a:pt x="774" y="115"/>
                    <a:pt x="767" y="112"/>
                  </a:cubicBezTo>
                  <a:cubicBezTo>
                    <a:pt x="758" y="108"/>
                    <a:pt x="757" y="103"/>
                    <a:pt x="757" y="96"/>
                  </a:cubicBezTo>
                  <a:cubicBezTo>
                    <a:pt x="757" y="89"/>
                    <a:pt x="757" y="89"/>
                    <a:pt x="757" y="89"/>
                  </a:cubicBezTo>
                  <a:cubicBezTo>
                    <a:pt x="832" y="89"/>
                    <a:pt x="832" y="89"/>
                    <a:pt x="832" y="89"/>
                  </a:cubicBezTo>
                  <a:lnTo>
                    <a:pt x="832" y="96"/>
                  </a:lnTo>
                  <a:close/>
                  <a:moveTo>
                    <a:pt x="894" y="65"/>
                  </a:moveTo>
                  <a:cubicBezTo>
                    <a:pt x="862" y="65"/>
                    <a:pt x="862" y="65"/>
                    <a:pt x="862" y="65"/>
                  </a:cubicBezTo>
                  <a:cubicBezTo>
                    <a:pt x="862" y="51"/>
                    <a:pt x="862" y="51"/>
                    <a:pt x="862" y="51"/>
                  </a:cubicBezTo>
                  <a:cubicBezTo>
                    <a:pt x="862" y="49"/>
                    <a:pt x="860" y="48"/>
                    <a:pt x="858" y="48"/>
                  </a:cubicBezTo>
                  <a:cubicBezTo>
                    <a:pt x="836" y="48"/>
                    <a:pt x="836" y="48"/>
                    <a:pt x="836" y="48"/>
                  </a:cubicBezTo>
                  <a:cubicBezTo>
                    <a:pt x="834" y="48"/>
                    <a:pt x="832" y="49"/>
                    <a:pt x="832" y="51"/>
                  </a:cubicBezTo>
                  <a:cubicBezTo>
                    <a:pt x="832" y="65"/>
                    <a:pt x="832" y="65"/>
                    <a:pt x="832" y="65"/>
                  </a:cubicBezTo>
                  <a:cubicBezTo>
                    <a:pt x="757" y="65"/>
                    <a:pt x="757" y="65"/>
                    <a:pt x="757" y="65"/>
                  </a:cubicBezTo>
                  <a:cubicBezTo>
                    <a:pt x="757" y="51"/>
                    <a:pt x="757" y="51"/>
                    <a:pt x="757" y="51"/>
                  </a:cubicBezTo>
                  <a:cubicBezTo>
                    <a:pt x="757" y="49"/>
                    <a:pt x="755" y="48"/>
                    <a:pt x="753" y="48"/>
                  </a:cubicBezTo>
                  <a:cubicBezTo>
                    <a:pt x="731" y="48"/>
                    <a:pt x="731" y="48"/>
                    <a:pt x="731" y="48"/>
                  </a:cubicBezTo>
                  <a:cubicBezTo>
                    <a:pt x="729" y="48"/>
                    <a:pt x="728" y="49"/>
                    <a:pt x="728" y="51"/>
                  </a:cubicBezTo>
                  <a:cubicBezTo>
                    <a:pt x="728" y="65"/>
                    <a:pt x="728" y="65"/>
                    <a:pt x="728" y="65"/>
                  </a:cubicBezTo>
                  <a:cubicBezTo>
                    <a:pt x="695" y="65"/>
                    <a:pt x="695" y="65"/>
                    <a:pt x="695" y="65"/>
                  </a:cubicBezTo>
                  <a:cubicBezTo>
                    <a:pt x="693" y="65"/>
                    <a:pt x="692" y="67"/>
                    <a:pt x="692" y="69"/>
                  </a:cubicBezTo>
                  <a:cubicBezTo>
                    <a:pt x="692" y="85"/>
                    <a:pt x="692" y="85"/>
                    <a:pt x="692" y="85"/>
                  </a:cubicBezTo>
                  <a:cubicBezTo>
                    <a:pt x="692" y="87"/>
                    <a:pt x="693" y="89"/>
                    <a:pt x="695" y="89"/>
                  </a:cubicBezTo>
                  <a:cubicBezTo>
                    <a:pt x="727" y="89"/>
                    <a:pt x="727" y="89"/>
                    <a:pt x="727" y="89"/>
                  </a:cubicBezTo>
                  <a:cubicBezTo>
                    <a:pt x="727" y="99"/>
                    <a:pt x="727" y="99"/>
                    <a:pt x="727" y="99"/>
                  </a:cubicBezTo>
                  <a:cubicBezTo>
                    <a:pt x="727" y="111"/>
                    <a:pt x="733" y="122"/>
                    <a:pt x="747" y="129"/>
                  </a:cubicBezTo>
                  <a:cubicBezTo>
                    <a:pt x="753" y="132"/>
                    <a:pt x="760" y="135"/>
                    <a:pt x="767" y="138"/>
                  </a:cubicBezTo>
                  <a:cubicBezTo>
                    <a:pt x="754" y="143"/>
                    <a:pt x="743" y="146"/>
                    <a:pt x="731" y="146"/>
                  </a:cubicBezTo>
                  <a:cubicBezTo>
                    <a:pt x="700" y="146"/>
                    <a:pt x="700" y="146"/>
                    <a:pt x="700" y="146"/>
                  </a:cubicBezTo>
                  <a:cubicBezTo>
                    <a:pt x="698" y="146"/>
                    <a:pt x="696" y="148"/>
                    <a:pt x="696" y="150"/>
                  </a:cubicBezTo>
                  <a:cubicBezTo>
                    <a:pt x="696" y="166"/>
                    <a:pt x="696" y="166"/>
                    <a:pt x="696" y="166"/>
                  </a:cubicBezTo>
                  <a:cubicBezTo>
                    <a:pt x="696" y="168"/>
                    <a:pt x="698" y="170"/>
                    <a:pt x="700" y="170"/>
                  </a:cubicBezTo>
                  <a:cubicBezTo>
                    <a:pt x="730" y="170"/>
                    <a:pt x="730" y="170"/>
                    <a:pt x="730" y="170"/>
                  </a:cubicBezTo>
                  <a:cubicBezTo>
                    <a:pt x="742" y="170"/>
                    <a:pt x="757" y="167"/>
                    <a:pt x="769" y="162"/>
                  </a:cubicBezTo>
                  <a:cubicBezTo>
                    <a:pt x="774" y="161"/>
                    <a:pt x="784" y="156"/>
                    <a:pt x="795" y="151"/>
                  </a:cubicBezTo>
                  <a:cubicBezTo>
                    <a:pt x="806" y="156"/>
                    <a:pt x="815" y="161"/>
                    <a:pt x="820" y="162"/>
                  </a:cubicBezTo>
                  <a:cubicBezTo>
                    <a:pt x="833" y="167"/>
                    <a:pt x="847" y="170"/>
                    <a:pt x="859" y="170"/>
                  </a:cubicBezTo>
                  <a:cubicBezTo>
                    <a:pt x="889" y="170"/>
                    <a:pt x="889" y="170"/>
                    <a:pt x="889" y="170"/>
                  </a:cubicBezTo>
                  <a:cubicBezTo>
                    <a:pt x="891" y="170"/>
                    <a:pt x="893" y="168"/>
                    <a:pt x="893" y="166"/>
                  </a:cubicBezTo>
                  <a:cubicBezTo>
                    <a:pt x="893" y="150"/>
                    <a:pt x="893" y="150"/>
                    <a:pt x="893" y="150"/>
                  </a:cubicBezTo>
                  <a:cubicBezTo>
                    <a:pt x="893" y="148"/>
                    <a:pt x="891" y="146"/>
                    <a:pt x="889" y="146"/>
                  </a:cubicBezTo>
                  <a:cubicBezTo>
                    <a:pt x="859" y="146"/>
                    <a:pt x="859" y="146"/>
                    <a:pt x="859" y="146"/>
                  </a:cubicBezTo>
                  <a:cubicBezTo>
                    <a:pt x="847" y="146"/>
                    <a:pt x="835" y="143"/>
                    <a:pt x="823" y="138"/>
                  </a:cubicBezTo>
                  <a:cubicBezTo>
                    <a:pt x="830" y="135"/>
                    <a:pt x="837" y="132"/>
                    <a:pt x="842" y="129"/>
                  </a:cubicBezTo>
                  <a:cubicBezTo>
                    <a:pt x="857" y="122"/>
                    <a:pt x="862" y="111"/>
                    <a:pt x="862" y="99"/>
                  </a:cubicBezTo>
                  <a:cubicBezTo>
                    <a:pt x="862" y="89"/>
                    <a:pt x="862" y="89"/>
                    <a:pt x="862" y="89"/>
                  </a:cubicBezTo>
                  <a:cubicBezTo>
                    <a:pt x="894" y="89"/>
                    <a:pt x="894" y="89"/>
                    <a:pt x="894" y="89"/>
                  </a:cubicBezTo>
                  <a:cubicBezTo>
                    <a:pt x="896" y="89"/>
                    <a:pt x="898" y="87"/>
                    <a:pt x="898" y="85"/>
                  </a:cubicBezTo>
                  <a:cubicBezTo>
                    <a:pt x="898" y="69"/>
                    <a:pt x="898" y="69"/>
                    <a:pt x="898" y="69"/>
                  </a:cubicBezTo>
                  <a:cubicBezTo>
                    <a:pt x="898" y="67"/>
                    <a:pt x="896" y="65"/>
                    <a:pt x="894" y="65"/>
                  </a:cubicBezTo>
                  <a:moveTo>
                    <a:pt x="1747" y="17"/>
                  </a:moveTo>
                  <a:cubicBezTo>
                    <a:pt x="1745" y="14"/>
                    <a:pt x="1743" y="13"/>
                    <a:pt x="1740" y="13"/>
                  </a:cubicBezTo>
                  <a:cubicBezTo>
                    <a:pt x="1716" y="13"/>
                    <a:pt x="1716" y="13"/>
                    <a:pt x="1716" y="13"/>
                  </a:cubicBezTo>
                  <a:cubicBezTo>
                    <a:pt x="1713" y="13"/>
                    <a:pt x="1711" y="14"/>
                    <a:pt x="1710" y="17"/>
                  </a:cubicBezTo>
                  <a:cubicBezTo>
                    <a:pt x="1636" y="162"/>
                    <a:pt x="1636" y="162"/>
                    <a:pt x="1636" y="162"/>
                  </a:cubicBezTo>
                  <a:cubicBezTo>
                    <a:pt x="1634" y="167"/>
                    <a:pt x="1636" y="170"/>
                    <a:pt x="1640" y="170"/>
                  </a:cubicBezTo>
                  <a:cubicBezTo>
                    <a:pt x="1663" y="170"/>
                    <a:pt x="1663" y="170"/>
                    <a:pt x="1663" y="170"/>
                  </a:cubicBezTo>
                  <a:cubicBezTo>
                    <a:pt x="1667" y="170"/>
                    <a:pt x="1668" y="169"/>
                    <a:pt x="1670" y="165"/>
                  </a:cubicBezTo>
                  <a:cubicBezTo>
                    <a:pt x="1728" y="49"/>
                    <a:pt x="1728" y="49"/>
                    <a:pt x="1728" y="49"/>
                  </a:cubicBezTo>
                  <a:cubicBezTo>
                    <a:pt x="1786" y="165"/>
                    <a:pt x="1786" y="165"/>
                    <a:pt x="1786" y="165"/>
                  </a:cubicBezTo>
                  <a:cubicBezTo>
                    <a:pt x="1788" y="169"/>
                    <a:pt x="1789" y="170"/>
                    <a:pt x="1793" y="170"/>
                  </a:cubicBezTo>
                  <a:cubicBezTo>
                    <a:pt x="1816" y="170"/>
                    <a:pt x="1816" y="170"/>
                    <a:pt x="1816" y="170"/>
                  </a:cubicBezTo>
                  <a:cubicBezTo>
                    <a:pt x="1820" y="170"/>
                    <a:pt x="1823" y="167"/>
                    <a:pt x="1820" y="162"/>
                  </a:cubicBezTo>
                  <a:lnTo>
                    <a:pt x="1747" y="17"/>
                  </a:lnTo>
                  <a:close/>
                  <a:moveTo>
                    <a:pt x="629" y="46"/>
                  </a:moveTo>
                  <a:cubicBezTo>
                    <a:pt x="626" y="46"/>
                    <a:pt x="623" y="48"/>
                    <a:pt x="622" y="49"/>
                  </a:cubicBezTo>
                  <a:cubicBezTo>
                    <a:pt x="597" y="98"/>
                    <a:pt x="597" y="98"/>
                    <a:pt x="597" y="98"/>
                  </a:cubicBezTo>
                  <a:cubicBezTo>
                    <a:pt x="596" y="100"/>
                    <a:pt x="597" y="102"/>
                    <a:pt x="599" y="102"/>
                  </a:cubicBezTo>
                  <a:cubicBezTo>
                    <a:pt x="625" y="102"/>
                    <a:pt x="625" y="102"/>
                    <a:pt x="625" y="102"/>
                  </a:cubicBezTo>
                  <a:cubicBezTo>
                    <a:pt x="628" y="102"/>
                    <a:pt x="630" y="100"/>
                    <a:pt x="631" y="98"/>
                  </a:cubicBezTo>
                  <a:cubicBezTo>
                    <a:pt x="656" y="49"/>
                    <a:pt x="656" y="49"/>
                    <a:pt x="656" y="49"/>
                  </a:cubicBezTo>
                  <a:cubicBezTo>
                    <a:pt x="657" y="48"/>
                    <a:pt x="656" y="46"/>
                    <a:pt x="654" y="46"/>
                  </a:cubicBezTo>
                  <a:lnTo>
                    <a:pt x="629" y="46"/>
                  </a:lnTo>
                  <a:close/>
                  <a:moveTo>
                    <a:pt x="416" y="146"/>
                  </a:moveTo>
                  <a:cubicBezTo>
                    <a:pt x="269" y="146"/>
                    <a:pt x="269" y="146"/>
                    <a:pt x="269" y="146"/>
                  </a:cubicBezTo>
                  <a:cubicBezTo>
                    <a:pt x="269" y="28"/>
                    <a:pt x="269" y="28"/>
                    <a:pt x="269" y="28"/>
                  </a:cubicBezTo>
                  <a:cubicBezTo>
                    <a:pt x="416" y="28"/>
                    <a:pt x="416" y="28"/>
                    <a:pt x="416" y="28"/>
                  </a:cubicBezTo>
                  <a:lnTo>
                    <a:pt x="416" y="146"/>
                  </a:lnTo>
                  <a:close/>
                  <a:moveTo>
                    <a:pt x="423" y="6"/>
                  </a:moveTo>
                  <a:cubicBezTo>
                    <a:pt x="261" y="6"/>
                    <a:pt x="261" y="6"/>
                    <a:pt x="261" y="6"/>
                  </a:cubicBezTo>
                  <a:cubicBezTo>
                    <a:pt x="249" y="6"/>
                    <a:pt x="239" y="16"/>
                    <a:pt x="239" y="28"/>
                  </a:cubicBezTo>
                  <a:cubicBezTo>
                    <a:pt x="239" y="148"/>
                    <a:pt x="239" y="148"/>
                    <a:pt x="239" y="148"/>
                  </a:cubicBezTo>
                  <a:cubicBezTo>
                    <a:pt x="239" y="160"/>
                    <a:pt x="249" y="169"/>
                    <a:pt x="261" y="169"/>
                  </a:cubicBezTo>
                  <a:cubicBezTo>
                    <a:pt x="423" y="169"/>
                    <a:pt x="423" y="169"/>
                    <a:pt x="423" y="169"/>
                  </a:cubicBezTo>
                  <a:cubicBezTo>
                    <a:pt x="435" y="169"/>
                    <a:pt x="445" y="160"/>
                    <a:pt x="445" y="148"/>
                  </a:cubicBezTo>
                  <a:cubicBezTo>
                    <a:pt x="445" y="28"/>
                    <a:pt x="445" y="28"/>
                    <a:pt x="445" y="28"/>
                  </a:cubicBezTo>
                  <a:cubicBezTo>
                    <a:pt x="445" y="16"/>
                    <a:pt x="435" y="6"/>
                    <a:pt x="423" y="6"/>
                  </a:cubicBezTo>
                  <a:moveTo>
                    <a:pt x="697" y="49"/>
                  </a:moveTo>
                  <a:cubicBezTo>
                    <a:pt x="714" y="49"/>
                    <a:pt x="714" y="49"/>
                    <a:pt x="714" y="49"/>
                  </a:cubicBezTo>
                  <a:cubicBezTo>
                    <a:pt x="716" y="49"/>
                    <a:pt x="718" y="47"/>
                    <a:pt x="718" y="45"/>
                  </a:cubicBezTo>
                  <a:cubicBezTo>
                    <a:pt x="718" y="34"/>
                    <a:pt x="718" y="34"/>
                    <a:pt x="718" y="34"/>
                  </a:cubicBezTo>
                  <a:cubicBezTo>
                    <a:pt x="872" y="34"/>
                    <a:pt x="872" y="34"/>
                    <a:pt x="872" y="34"/>
                  </a:cubicBezTo>
                  <a:cubicBezTo>
                    <a:pt x="872" y="45"/>
                    <a:pt x="872" y="45"/>
                    <a:pt x="872" y="45"/>
                  </a:cubicBezTo>
                  <a:cubicBezTo>
                    <a:pt x="872" y="47"/>
                    <a:pt x="873" y="49"/>
                    <a:pt x="875" y="49"/>
                  </a:cubicBezTo>
                  <a:cubicBezTo>
                    <a:pt x="893" y="49"/>
                    <a:pt x="893" y="49"/>
                    <a:pt x="893" y="49"/>
                  </a:cubicBezTo>
                  <a:cubicBezTo>
                    <a:pt x="895" y="49"/>
                    <a:pt x="897" y="47"/>
                    <a:pt x="897" y="45"/>
                  </a:cubicBezTo>
                  <a:cubicBezTo>
                    <a:pt x="897" y="32"/>
                    <a:pt x="897" y="32"/>
                    <a:pt x="897" y="32"/>
                  </a:cubicBezTo>
                  <a:cubicBezTo>
                    <a:pt x="897" y="22"/>
                    <a:pt x="888" y="13"/>
                    <a:pt x="877" y="13"/>
                  </a:cubicBezTo>
                  <a:cubicBezTo>
                    <a:pt x="811" y="13"/>
                    <a:pt x="811" y="13"/>
                    <a:pt x="811" y="13"/>
                  </a:cubicBezTo>
                  <a:cubicBezTo>
                    <a:pt x="811" y="4"/>
                    <a:pt x="811" y="4"/>
                    <a:pt x="811" y="4"/>
                  </a:cubicBezTo>
                  <a:cubicBezTo>
                    <a:pt x="811" y="2"/>
                    <a:pt x="809" y="0"/>
                    <a:pt x="807" y="0"/>
                  </a:cubicBezTo>
                  <a:cubicBezTo>
                    <a:pt x="782" y="0"/>
                    <a:pt x="782" y="0"/>
                    <a:pt x="782" y="0"/>
                  </a:cubicBezTo>
                  <a:cubicBezTo>
                    <a:pt x="780" y="0"/>
                    <a:pt x="778" y="2"/>
                    <a:pt x="778" y="4"/>
                  </a:cubicBezTo>
                  <a:cubicBezTo>
                    <a:pt x="778" y="13"/>
                    <a:pt x="778" y="13"/>
                    <a:pt x="778" y="13"/>
                  </a:cubicBezTo>
                  <a:cubicBezTo>
                    <a:pt x="712" y="13"/>
                    <a:pt x="712" y="13"/>
                    <a:pt x="712" y="13"/>
                  </a:cubicBezTo>
                  <a:cubicBezTo>
                    <a:pt x="702" y="13"/>
                    <a:pt x="693" y="22"/>
                    <a:pt x="693" y="32"/>
                  </a:cubicBezTo>
                  <a:cubicBezTo>
                    <a:pt x="693" y="45"/>
                    <a:pt x="693" y="45"/>
                    <a:pt x="693" y="45"/>
                  </a:cubicBezTo>
                  <a:cubicBezTo>
                    <a:pt x="693" y="47"/>
                    <a:pt x="695" y="49"/>
                    <a:pt x="697" y="49"/>
                  </a:cubicBezTo>
                  <a:moveTo>
                    <a:pt x="179" y="115"/>
                  </a:moveTo>
                  <a:cubicBezTo>
                    <a:pt x="122" y="115"/>
                    <a:pt x="122" y="115"/>
                    <a:pt x="122" y="115"/>
                  </a:cubicBezTo>
                  <a:cubicBezTo>
                    <a:pt x="122" y="49"/>
                    <a:pt x="122" y="49"/>
                    <a:pt x="122" y="49"/>
                  </a:cubicBezTo>
                  <a:cubicBezTo>
                    <a:pt x="179" y="49"/>
                    <a:pt x="179" y="49"/>
                    <a:pt x="179" y="49"/>
                  </a:cubicBezTo>
                  <a:lnTo>
                    <a:pt x="179" y="115"/>
                  </a:lnTo>
                  <a:close/>
                  <a:moveTo>
                    <a:pt x="88" y="115"/>
                  </a:moveTo>
                  <a:cubicBezTo>
                    <a:pt x="31" y="115"/>
                    <a:pt x="31" y="115"/>
                    <a:pt x="31" y="115"/>
                  </a:cubicBezTo>
                  <a:cubicBezTo>
                    <a:pt x="31" y="49"/>
                    <a:pt x="31" y="49"/>
                    <a:pt x="31" y="49"/>
                  </a:cubicBezTo>
                  <a:cubicBezTo>
                    <a:pt x="88" y="49"/>
                    <a:pt x="88" y="49"/>
                    <a:pt x="88" y="49"/>
                  </a:cubicBezTo>
                  <a:lnTo>
                    <a:pt x="88" y="115"/>
                  </a:lnTo>
                  <a:close/>
                  <a:moveTo>
                    <a:pt x="188" y="24"/>
                  </a:moveTo>
                  <a:cubicBezTo>
                    <a:pt x="122" y="24"/>
                    <a:pt x="122" y="24"/>
                    <a:pt x="122" y="24"/>
                  </a:cubicBezTo>
                  <a:cubicBezTo>
                    <a:pt x="122" y="5"/>
                    <a:pt x="122" y="5"/>
                    <a:pt x="122" y="5"/>
                  </a:cubicBezTo>
                  <a:cubicBezTo>
                    <a:pt x="122" y="3"/>
                    <a:pt x="120" y="1"/>
                    <a:pt x="118" y="1"/>
                  </a:cubicBezTo>
                  <a:cubicBezTo>
                    <a:pt x="91" y="1"/>
                    <a:pt x="91" y="1"/>
                    <a:pt x="91" y="1"/>
                  </a:cubicBezTo>
                  <a:cubicBezTo>
                    <a:pt x="89" y="1"/>
                    <a:pt x="88" y="3"/>
                    <a:pt x="88" y="5"/>
                  </a:cubicBezTo>
                  <a:cubicBezTo>
                    <a:pt x="88" y="24"/>
                    <a:pt x="88" y="24"/>
                    <a:pt x="88" y="24"/>
                  </a:cubicBezTo>
                  <a:cubicBezTo>
                    <a:pt x="22" y="24"/>
                    <a:pt x="22" y="24"/>
                    <a:pt x="22" y="24"/>
                  </a:cubicBezTo>
                  <a:cubicBezTo>
                    <a:pt x="10" y="24"/>
                    <a:pt x="0" y="34"/>
                    <a:pt x="0" y="46"/>
                  </a:cubicBezTo>
                  <a:cubicBezTo>
                    <a:pt x="0" y="118"/>
                    <a:pt x="0" y="118"/>
                    <a:pt x="0" y="118"/>
                  </a:cubicBezTo>
                  <a:cubicBezTo>
                    <a:pt x="0" y="130"/>
                    <a:pt x="10" y="140"/>
                    <a:pt x="22" y="140"/>
                  </a:cubicBezTo>
                  <a:cubicBezTo>
                    <a:pt x="88" y="140"/>
                    <a:pt x="88" y="140"/>
                    <a:pt x="88" y="140"/>
                  </a:cubicBezTo>
                  <a:cubicBezTo>
                    <a:pt x="88" y="171"/>
                    <a:pt x="88" y="171"/>
                    <a:pt x="88" y="171"/>
                  </a:cubicBezTo>
                  <a:cubicBezTo>
                    <a:pt x="88" y="173"/>
                    <a:pt x="89" y="174"/>
                    <a:pt x="91" y="174"/>
                  </a:cubicBezTo>
                  <a:cubicBezTo>
                    <a:pt x="118" y="174"/>
                    <a:pt x="118" y="174"/>
                    <a:pt x="118" y="174"/>
                  </a:cubicBezTo>
                  <a:cubicBezTo>
                    <a:pt x="120" y="174"/>
                    <a:pt x="122" y="173"/>
                    <a:pt x="122" y="171"/>
                  </a:cubicBezTo>
                  <a:cubicBezTo>
                    <a:pt x="122" y="140"/>
                    <a:pt x="122" y="140"/>
                    <a:pt x="122" y="140"/>
                  </a:cubicBezTo>
                  <a:cubicBezTo>
                    <a:pt x="188" y="140"/>
                    <a:pt x="188" y="140"/>
                    <a:pt x="188" y="140"/>
                  </a:cubicBezTo>
                  <a:cubicBezTo>
                    <a:pt x="200" y="140"/>
                    <a:pt x="210" y="130"/>
                    <a:pt x="210" y="118"/>
                  </a:cubicBezTo>
                  <a:cubicBezTo>
                    <a:pt x="210" y="46"/>
                    <a:pt x="210" y="46"/>
                    <a:pt x="210" y="46"/>
                  </a:cubicBezTo>
                  <a:cubicBezTo>
                    <a:pt x="210" y="34"/>
                    <a:pt x="200" y="24"/>
                    <a:pt x="188" y="24"/>
                  </a:cubicBezTo>
                  <a:moveTo>
                    <a:pt x="401" y="104"/>
                  </a:moveTo>
                  <a:cubicBezTo>
                    <a:pt x="379" y="104"/>
                    <a:pt x="379" y="104"/>
                    <a:pt x="379" y="104"/>
                  </a:cubicBezTo>
                  <a:cubicBezTo>
                    <a:pt x="379" y="112"/>
                    <a:pt x="379" y="112"/>
                    <a:pt x="379" y="112"/>
                  </a:cubicBezTo>
                  <a:cubicBezTo>
                    <a:pt x="357" y="112"/>
                    <a:pt x="357" y="112"/>
                    <a:pt x="357" y="112"/>
                  </a:cubicBezTo>
                  <a:cubicBezTo>
                    <a:pt x="357" y="93"/>
                    <a:pt x="357" y="93"/>
                    <a:pt x="357" y="93"/>
                  </a:cubicBezTo>
                  <a:cubicBezTo>
                    <a:pt x="395" y="93"/>
                    <a:pt x="395" y="93"/>
                    <a:pt x="395" y="93"/>
                  </a:cubicBezTo>
                  <a:cubicBezTo>
                    <a:pt x="395" y="75"/>
                    <a:pt x="395" y="75"/>
                    <a:pt x="395" y="75"/>
                  </a:cubicBezTo>
                  <a:cubicBezTo>
                    <a:pt x="357" y="75"/>
                    <a:pt x="357" y="75"/>
                    <a:pt x="357" y="75"/>
                  </a:cubicBezTo>
                  <a:cubicBezTo>
                    <a:pt x="357" y="61"/>
                    <a:pt x="357" y="61"/>
                    <a:pt x="357" y="61"/>
                  </a:cubicBezTo>
                  <a:cubicBezTo>
                    <a:pt x="401" y="61"/>
                    <a:pt x="401" y="61"/>
                    <a:pt x="401" y="61"/>
                  </a:cubicBezTo>
                  <a:cubicBezTo>
                    <a:pt x="401" y="41"/>
                    <a:pt x="401" y="41"/>
                    <a:pt x="401" y="41"/>
                  </a:cubicBezTo>
                  <a:cubicBezTo>
                    <a:pt x="284" y="41"/>
                    <a:pt x="284" y="41"/>
                    <a:pt x="284" y="41"/>
                  </a:cubicBezTo>
                  <a:cubicBezTo>
                    <a:pt x="284" y="61"/>
                    <a:pt x="284" y="61"/>
                    <a:pt x="284" y="61"/>
                  </a:cubicBezTo>
                  <a:cubicBezTo>
                    <a:pt x="328" y="61"/>
                    <a:pt x="328" y="61"/>
                    <a:pt x="328" y="61"/>
                  </a:cubicBezTo>
                  <a:cubicBezTo>
                    <a:pt x="328" y="75"/>
                    <a:pt x="328" y="75"/>
                    <a:pt x="328" y="75"/>
                  </a:cubicBezTo>
                  <a:cubicBezTo>
                    <a:pt x="290" y="75"/>
                    <a:pt x="290" y="75"/>
                    <a:pt x="290" y="75"/>
                  </a:cubicBezTo>
                  <a:cubicBezTo>
                    <a:pt x="290" y="93"/>
                    <a:pt x="290" y="93"/>
                    <a:pt x="290" y="93"/>
                  </a:cubicBezTo>
                  <a:cubicBezTo>
                    <a:pt x="328" y="93"/>
                    <a:pt x="328" y="93"/>
                    <a:pt x="328" y="93"/>
                  </a:cubicBezTo>
                  <a:cubicBezTo>
                    <a:pt x="328" y="112"/>
                    <a:pt x="328" y="112"/>
                    <a:pt x="328" y="112"/>
                  </a:cubicBezTo>
                  <a:cubicBezTo>
                    <a:pt x="284" y="112"/>
                    <a:pt x="284" y="112"/>
                    <a:pt x="284" y="112"/>
                  </a:cubicBezTo>
                  <a:cubicBezTo>
                    <a:pt x="284" y="132"/>
                    <a:pt x="284" y="132"/>
                    <a:pt x="284" y="132"/>
                  </a:cubicBezTo>
                  <a:cubicBezTo>
                    <a:pt x="401" y="132"/>
                    <a:pt x="401" y="132"/>
                    <a:pt x="401" y="132"/>
                  </a:cubicBezTo>
                  <a:lnTo>
                    <a:pt x="401" y="104"/>
                  </a:lnTo>
                  <a:close/>
                  <a:moveTo>
                    <a:pt x="516" y="102"/>
                  </a:moveTo>
                  <a:cubicBezTo>
                    <a:pt x="542" y="102"/>
                    <a:pt x="542" y="102"/>
                    <a:pt x="542" y="102"/>
                  </a:cubicBezTo>
                  <a:cubicBezTo>
                    <a:pt x="544" y="102"/>
                    <a:pt x="545" y="100"/>
                    <a:pt x="544" y="98"/>
                  </a:cubicBezTo>
                  <a:cubicBezTo>
                    <a:pt x="519" y="49"/>
                    <a:pt x="519" y="49"/>
                    <a:pt x="519" y="49"/>
                  </a:cubicBezTo>
                  <a:cubicBezTo>
                    <a:pt x="518" y="48"/>
                    <a:pt x="515" y="46"/>
                    <a:pt x="512" y="46"/>
                  </a:cubicBezTo>
                  <a:cubicBezTo>
                    <a:pt x="487" y="46"/>
                    <a:pt x="487" y="46"/>
                    <a:pt x="487" y="46"/>
                  </a:cubicBezTo>
                  <a:cubicBezTo>
                    <a:pt x="485" y="46"/>
                    <a:pt x="484" y="48"/>
                    <a:pt x="485" y="49"/>
                  </a:cubicBezTo>
                  <a:cubicBezTo>
                    <a:pt x="510" y="98"/>
                    <a:pt x="510" y="98"/>
                    <a:pt x="510" y="98"/>
                  </a:cubicBezTo>
                  <a:cubicBezTo>
                    <a:pt x="511" y="100"/>
                    <a:pt x="513" y="102"/>
                    <a:pt x="516" y="102"/>
                  </a:cubicBezTo>
                  <a:moveTo>
                    <a:pt x="669" y="115"/>
                  </a:moveTo>
                  <a:cubicBezTo>
                    <a:pt x="587" y="115"/>
                    <a:pt x="587" y="115"/>
                    <a:pt x="587" y="115"/>
                  </a:cubicBezTo>
                  <a:cubicBezTo>
                    <a:pt x="587" y="33"/>
                    <a:pt x="587" y="33"/>
                    <a:pt x="587" y="33"/>
                  </a:cubicBezTo>
                  <a:cubicBezTo>
                    <a:pt x="662" y="33"/>
                    <a:pt x="662" y="33"/>
                    <a:pt x="662" y="33"/>
                  </a:cubicBezTo>
                  <a:cubicBezTo>
                    <a:pt x="664" y="33"/>
                    <a:pt x="666" y="31"/>
                    <a:pt x="666" y="29"/>
                  </a:cubicBezTo>
                  <a:cubicBezTo>
                    <a:pt x="666" y="14"/>
                    <a:pt x="666" y="14"/>
                    <a:pt x="666" y="14"/>
                  </a:cubicBezTo>
                  <a:cubicBezTo>
                    <a:pt x="666" y="11"/>
                    <a:pt x="664" y="10"/>
                    <a:pt x="662" y="10"/>
                  </a:cubicBezTo>
                  <a:cubicBezTo>
                    <a:pt x="479" y="10"/>
                    <a:pt x="479" y="10"/>
                    <a:pt x="479" y="10"/>
                  </a:cubicBezTo>
                  <a:cubicBezTo>
                    <a:pt x="477" y="10"/>
                    <a:pt x="475" y="11"/>
                    <a:pt x="475" y="14"/>
                  </a:cubicBezTo>
                  <a:cubicBezTo>
                    <a:pt x="475" y="29"/>
                    <a:pt x="475" y="29"/>
                    <a:pt x="475" y="29"/>
                  </a:cubicBezTo>
                  <a:cubicBezTo>
                    <a:pt x="475" y="31"/>
                    <a:pt x="477" y="33"/>
                    <a:pt x="479" y="33"/>
                  </a:cubicBezTo>
                  <a:cubicBezTo>
                    <a:pt x="554" y="33"/>
                    <a:pt x="554" y="33"/>
                    <a:pt x="554" y="33"/>
                  </a:cubicBezTo>
                  <a:cubicBezTo>
                    <a:pt x="554" y="115"/>
                    <a:pt x="554" y="115"/>
                    <a:pt x="554" y="115"/>
                  </a:cubicBezTo>
                  <a:cubicBezTo>
                    <a:pt x="472" y="115"/>
                    <a:pt x="472" y="115"/>
                    <a:pt x="472" y="115"/>
                  </a:cubicBezTo>
                  <a:cubicBezTo>
                    <a:pt x="470" y="115"/>
                    <a:pt x="469" y="117"/>
                    <a:pt x="469" y="119"/>
                  </a:cubicBezTo>
                  <a:cubicBezTo>
                    <a:pt x="469" y="135"/>
                    <a:pt x="469" y="135"/>
                    <a:pt x="469" y="135"/>
                  </a:cubicBezTo>
                  <a:cubicBezTo>
                    <a:pt x="469" y="137"/>
                    <a:pt x="470" y="139"/>
                    <a:pt x="472" y="139"/>
                  </a:cubicBezTo>
                  <a:cubicBezTo>
                    <a:pt x="554" y="139"/>
                    <a:pt x="554" y="139"/>
                    <a:pt x="554" y="139"/>
                  </a:cubicBezTo>
                  <a:cubicBezTo>
                    <a:pt x="554" y="171"/>
                    <a:pt x="554" y="171"/>
                    <a:pt x="554" y="171"/>
                  </a:cubicBezTo>
                  <a:cubicBezTo>
                    <a:pt x="554" y="173"/>
                    <a:pt x="556" y="174"/>
                    <a:pt x="558" y="174"/>
                  </a:cubicBezTo>
                  <a:cubicBezTo>
                    <a:pt x="583" y="174"/>
                    <a:pt x="583" y="174"/>
                    <a:pt x="583" y="174"/>
                  </a:cubicBezTo>
                  <a:cubicBezTo>
                    <a:pt x="585" y="174"/>
                    <a:pt x="587" y="173"/>
                    <a:pt x="587" y="171"/>
                  </a:cubicBezTo>
                  <a:cubicBezTo>
                    <a:pt x="587" y="139"/>
                    <a:pt x="587" y="139"/>
                    <a:pt x="587" y="139"/>
                  </a:cubicBezTo>
                  <a:cubicBezTo>
                    <a:pt x="669" y="139"/>
                    <a:pt x="669" y="139"/>
                    <a:pt x="669" y="139"/>
                  </a:cubicBezTo>
                  <a:cubicBezTo>
                    <a:pt x="671" y="139"/>
                    <a:pt x="673" y="137"/>
                    <a:pt x="673" y="135"/>
                  </a:cubicBezTo>
                  <a:cubicBezTo>
                    <a:pt x="673" y="119"/>
                    <a:pt x="673" y="119"/>
                    <a:pt x="673" y="119"/>
                  </a:cubicBezTo>
                  <a:cubicBezTo>
                    <a:pt x="673" y="117"/>
                    <a:pt x="671" y="115"/>
                    <a:pt x="669" y="115"/>
                  </a:cubicBezTo>
                </a:path>
              </a:pathLst>
            </a:custGeom>
            <a:solidFill>
              <a:srgbClr val="EA550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dirty="0">
                <a:latin typeface="微软雅黑" panose="020B0503020204020204" pitchFamily="34" charset="-122"/>
                <a:ea typeface="微软雅黑" panose="020B0503020204020204" pitchFamily="34" charset="-122"/>
              </a:endParaRPr>
            </a:p>
          </p:txBody>
        </p:sp>
        <p:sp>
          <p:nvSpPr>
            <p:cNvPr id="12" name="Freeform 6"/>
            <p:cNvSpPr/>
            <p:nvPr/>
          </p:nvSpPr>
          <p:spPr bwMode="auto">
            <a:xfrm>
              <a:off x="3438525" y="693738"/>
              <a:ext cx="77788" cy="76200"/>
            </a:xfrm>
            <a:custGeom>
              <a:avLst/>
              <a:gdLst>
                <a:gd name="T0" fmla="*/ 44 w 48"/>
                <a:gd name="T1" fmla="*/ 0 h 46"/>
                <a:gd name="T2" fmla="*/ 4 w 48"/>
                <a:gd name="T3" fmla="*/ 0 h 46"/>
                <a:gd name="T4" fmla="*/ 0 w 48"/>
                <a:gd name="T5" fmla="*/ 3 h 46"/>
                <a:gd name="T6" fmla="*/ 0 w 48"/>
                <a:gd name="T7" fmla="*/ 43 h 46"/>
                <a:gd name="T8" fmla="*/ 4 w 48"/>
                <a:gd name="T9" fmla="*/ 46 h 46"/>
                <a:gd name="T10" fmla="*/ 44 w 48"/>
                <a:gd name="T11" fmla="*/ 46 h 46"/>
                <a:gd name="T12" fmla="*/ 48 w 48"/>
                <a:gd name="T13" fmla="*/ 43 h 46"/>
                <a:gd name="T14" fmla="*/ 48 w 48"/>
                <a:gd name="T15" fmla="*/ 3 h 46"/>
                <a:gd name="T16" fmla="*/ 44 w 48"/>
                <a:gd name="T1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46">
                  <a:moveTo>
                    <a:pt x="44" y="0"/>
                  </a:moveTo>
                  <a:cubicBezTo>
                    <a:pt x="4" y="0"/>
                    <a:pt x="4" y="0"/>
                    <a:pt x="4" y="0"/>
                  </a:cubicBezTo>
                  <a:cubicBezTo>
                    <a:pt x="2" y="0"/>
                    <a:pt x="0" y="1"/>
                    <a:pt x="0" y="3"/>
                  </a:cubicBezTo>
                  <a:cubicBezTo>
                    <a:pt x="0" y="43"/>
                    <a:pt x="0" y="43"/>
                    <a:pt x="0" y="43"/>
                  </a:cubicBezTo>
                  <a:cubicBezTo>
                    <a:pt x="0" y="45"/>
                    <a:pt x="2" y="46"/>
                    <a:pt x="4" y="46"/>
                  </a:cubicBezTo>
                  <a:cubicBezTo>
                    <a:pt x="44" y="46"/>
                    <a:pt x="44" y="46"/>
                    <a:pt x="44" y="46"/>
                  </a:cubicBezTo>
                  <a:cubicBezTo>
                    <a:pt x="46" y="46"/>
                    <a:pt x="48" y="45"/>
                    <a:pt x="48" y="43"/>
                  </a:cubicBezTo>
                  <a:cubicBezTo>
                    <a:pt x="48" y="3"/>
                    <a:pt x="48" y="3"/>
                    <a:pt x="48" y="3"/>
                  </a:cubicBezTo>
                  <a:cubicBezTo>
                    <a:pt x="48" y="1"/>
                    <a:pt x="46" y="0"/>
                    <a:pt x="44" y="0"/>
                  </a:cubicBezTo>
                </a:path>
              </a:pathLst>
            </a:custGeom>
            <a:solidFill>
              <a:srgbClr val="005E3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dirty="0">
                <a:latin typeface="微软雅黑" panose="020B0503020204020204" pitchFamily="34" charset="-122"/>
                <a:ea typeface="微软雅黑" panose="020B0503020204020204" pitchFamily="34" charset="-122"/>
              </a:endParaRPr>
            </a:p>
          </p:txBody>
        </p:sp>
        <p:sp>
          <p:nvSpPr>
            <p:cNvPr id="13" name="Oval 7"/>
            <p:cNvSpPr>
              <a:spLocks noChangeArrowheads="1"/>
            </p:cNvSpPr>
            <p:nvPr/>
          </p:nvSpPr>
          <p:spPr bwMode="auto">
            <a:xfrm>
              <a:off x="1385888" y="952500"/>
              <a:ext cx="17463" cy="20637"/>
            </a:xfrm>
            <a:prstGeom prst="ellipse">
              <a:avLst/>
            </a:prstGeom>
            <a:solidFill>
              <a:srgbClr val="EA550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dirty="0">
                <a:latin typeface="微软雅黑" panose="020B0503020204020204" pitchFamily="34" charset="-122"/>
                <a:ea typeface="微软雅黑" panose="020B0503020204020204" pitchFamily="34" charset="-122"/>
              </a:endParaRPr>
            </a:p>
          </p:txBody>
        </p:sp>
        <p:sp>
          <p:nvSpPr>
            <p:cNvPr id="14" name="Freeform 8"/>
            <p:cNvSpPr>
              <a:spLocks noEditPoints="1"/>
            </p:cNvSpPr>
            <p:nvPr/>
          </p:nvSpPr>
          <p:spPr bwMode="auto">
            <a:xfrm>
              <a:off x="1001713" y="893763"/>
              <a:ext cx="142875" cy="133350"/>
            </a:xfrm>
            <a:custGeom>
              <a:avLst/>
              <a:gdLst>
                <a:gd name="T0" fmla="*/ 43 w 88"/>
                <a:gd name="T1" fmla="*/ 0 h 81"/>
                <a:gd name="T2" fmla="*/ 51 w 88"/>
                <a:gd name="T3" fmla="*/ 4 h 81"/>
                <a:gd name="T4" fmla="*/ 84 w 88"/>
                <a:gd name="T5" fmla="*/ 22 h 81"/>
                <a:gd name="T6" fmla="*/ 87 w 88"/>
                <a:gd name="T7" fmla="*/ 28 h 81"/>
                <a:gd name="T8" fmla="*/ 82 w 88"/>
                <a:gd name="T9" fmla="*/ 29 h 81"/>
                <a:gd name="T10" fmla="*/ 49 w 88"/>
                <a:gd name="T11" fmla="*/ 12 h 81"/>
                <a:gd name="T12" fmla="*/ 43 w 88"/>
                <a:gd name="T13" fmla="*/ 8 h 81"/>
                <a:gd name="T14" fmla="*/ 38 w 88"/>
                <a:gd name="T15" fmla="*/ 11 h 81"/>
                <a:gd name="T16" fmla="*/ 6 w 88"/>
                <a:gd name="T17" fmla="*/ 30 h 81"/>
                <a:gd name="T18" fmla="*/ 1 w 88"/>
                <a:gd name="T19" fmla="*/ 28 h 81"/>
                <a:gd name="T20" fmla="*/ 3 w 88"/>
                <a:gd name="T21" fmla="*/ 23 h 81"/>
                <a:gd name="T22" fmla="*/ 35 w 88"/>
                <a:gd name="T23" fmla="*/ 5 h 81"/>
                <a:gd name="T24" fmla="*/ 43 w 88"/>
                <a:gd name="T25" fmla="*/ 0 h 81"/>
                <a:gd name="T26" fmla="*/ 21 w 88"/>
                <a:gd name="T27" fmla="*/ 25 h 81"/>
                <a:gd name="T28" fmla="*/ 68 w 88"/>
                <a:gd name="T29" fmla="*/ 25 h 81"/>
                <a:gd name="T30" fmla="*/ 71 w 88"/>
                <a:gd name="T31" fmla="*/ 28 h 81"/>
                <a:gd name="T32" fmla="*/ 68 w 88"/>
                <a:gd name="T33" fmla="*/ 31 h 81"/>
                <a:gd name="T34" fmla="*/ 48 w 88"/>
                <a:gd name="T35" fmla="*/ 31 h 81"/>
                <a:gd name="T36" fmla="*/ 48 w 88"/>
                <a:gd name="T37" fmla="*/ 42 h 81"/>
                <a:gd name="T38" fmla="*/ 80 w 88"/>
                <a:gd name="T39" fmla="*/ 42 h 81"/>
                <a:gd name="T40" fmla="*/ 83 w 88"/>
                <a:gd name="T41" fmla="*/ 46 h 81"/>
                <a:gd name="T42" fmla="*/ 80 w 88"/>
                <a:gd name="T43" fmla="*/ 49 h 81"/>
                <a:gd name="T44" fmla="*/ 48 w 88"/>
                <a:gd name="T45" fmla="*/ 49 h 81"/>
                <a:gd name="T46" fmla="*/ 48 w 88"/>
                <a:gd name="T47" fmla="*/ 74 h 81"/>
                <a:gd name="T48" fmla="*/ 61 w 88"/>
                <a:gd name="T49" fmla="*/ 74 h 81"/>
                <a:gd name="T50" fmla="*/ 60 w 88"/>
                <a:gd name="T51" fmla="*/ 70 h 81"/>
                <a:gd name="T52" fmla="*/ 70 w 88"/>
                <a:gd name="T53" fmla="*/ 53 h 81"/>
                <a:gd name="T54" fmla="*/ 75 w 88"/>
                <a:gd name="T55" fmla="*/ 51 h 81"/>
                <a:gd name="T56" fmla="*/ 76 w 88"/>
                <a:gd name="T57" fmla="*/ 56 h 81"/>
                <a:gd name="T58" fmla="*/ 66 w 88"/>
                <a:gd name="T59" fmla="*/ 73 h 81"/>
                <a:gd name="T60" fmla="*/ 64 w 88"/>
                <a:gd name="T61" fmla="*/ 74 h 81"/>
                <a:gd name="T62" fmla="*/ 84 w 88"/>
                <a:gd name="T63" fmla="*/ 74 h 81"/>
                <a:gd name="T64" fmla="*/ 87 w 88"/>
                <a:gd name="T65" fmla="*/ 77 h 81"/>
                <a:gd name="T66" fmla="*/ 84 w 88"/>
                <a:gd name="T67" fmla="*/ 81 h 81"/>
                <a:gd name="T68" fmla="*/ 6 w 88"/>
                <a:gd name="T69" fmla="*/ 81 h 81"/>
                <a:gd name="T70" fmla="*/ 2 w 88"/>
                <a:gd name="T71" fmla="*/ 77 h 81"/>
                <a:gd name="T72" fmla="*/ 6 w 88"/>
                <a:gd name="T73" fmla="*/ 74 h 81"/>
                <a:gd name="T74" fmla="*/ 40 w 88"/>
                <a:gd name="T75" fmla="*/ 74 h 81"/>
                <a:gd name="T76" fmla="*/ 40 w 88"/>
                <a:gd name="T77" fmla="*/ 49 h 81"/>
                <a:gd name="T78" fmla="*/ 9 w 88"/>
                <a:gd name="T79" fmla="*/ 49 h 81"/>
                <a:gd name="T80" fmla="*/ 6 w 88"/>
                <a:gd name="T81" fmla="*/ 46 h 81"/>
                <a:gd name="T82" fmla="*/ 9 w 88"/>
                <a:gd name="T83" fmla="*/ 42 h 81"/>
                <a:gd name="T84" fmla="*/ 40 w 88"/>
                <a:gd name="T85" fmla="*/ 42 h 81"/>
                <a:gd name="T86" fmla="*/ 40 w 88"/>
                <a:gd name="T87" fmla="*/ 31 h 81"/>
                <a:gd name="T88" fmla="*/ 21 w 88"/>
                <a:gd name="T89" fmla="*/ 31 h 81"/>
                <a:gd name="T90" fmla="*/ 18 w 88"/>
                <a:gd name="T91" fmla="*/ 28 h 81"/>
                <a:gd name="T92" fmla="*/ 21 w 88"/>
                <a:gd name="T93" fmla="*/ 25 h 81"/>
                <a:gd name="T94" fmla="*/ 20 w 88"/>
                <a:gd name="T95" fmla="*/ 54 h 81"/>
                <a:gd name="T96" fmla="*/ 27 w 88"/>
                <a:gd name="T97" fmla="*/ 67 h 81"/>
                <a:gd name="T98" fmla="*/ 26 w 88"/>
                <a:gd name="T99" fmla="*/ 72 h 81"/>
                <a:gd name="T100" fmla="*/ 21 w 88"/>
                <a:gd name="T101" fmla="*/ 71 h 81"/>
                <a:gd name="T102" fmla="*/ 14 w 88"/>
                <a:gd name="T103" fmla="*/ 57 h 81"/>
                <a:gd name="T104" fmla="*/ 14 w 88"/>
                <a:gd name="T105" fmla="*/ 53 h 81"/>
                <a:gd name="T106" fmla="*/ 20 w 88"/>
                <a:gd name="T107" fmla="*/ 5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8" h="81">
                  <a:moveTo>
                    <a:pt x="43" y="0"/>
                  </a:moveTo>
                  <a:cubicBezTo>
                    <a:pt x="44" y="0"/>
                    <a:pt x="47" y="1"/>
                    <a:pt x="51" y="4"/>
                  </a:cubicBezTo>
                  <a:cubicBezTo>
                    <a:pt x="61" y="12"/>
                    <a:pt x="72" y="18"/>
                    <a:pt x="84" y="22"/>
                  </a:cubicBezTo>
                  <a:cubicBezTo>
                    <a:pt x="87" y="23"/>
                    <a:pt x="88" y="25"/>
                    <a:pt x="87" y="28"/>
                  </a:cubicBezTo>
                  <a:cubicBezTo>
                    <a:pt x="86" y="30"/>
                    <a:pt x="85" y="30"/>
                    <a:pt x="82" y="29"/>
                  </a:cubicBezTo>
                  <a:cubicBezTo>
                    <a:pt x="70" y="25"/>
                    <a:pt x="59" y="19"/>
                    <a:pt x="49" y="12"/>
                  </a:cubicBezTo>
                  <a:cubicBezTo>
                    <a:pt x="46" y="10"/>
                    <a:pt x="44" y="8"/>
                    <a:pt x="43" y="8"/>
                  </a:cubicBezTo>
                  <a:cubicBezTo>
                    <a:pt x="43" y="8"/>
                    <a:pt x="41" y="9"/>
                    <a:pt x="38" y="11"/>
                  </a:cubicBezTo>
                  <a:cubicBezTo>
                    <a:pt x="28" y="19"/>
                    <a:pt x="18" y="25"/>
                    <a:pt x="6" y="30"/>
                  </a:cubicBezTo>
                  <a:cubicBezTo>
                    <a:pt x="4" y="31"/>
                    <a:pt x="2" y="30"/>
                    <a:pt x="1" y="28"/>
                  </a:cubicBezTo>
                  <a:cubicBezTo>
                    <a:pt x="0" y="26"/>
                    <a:pt x="1" y="24"/>
                    <a:pt x="3" y="23"/>
                  </a:cubicBezTo>
                  <a:cubicBezTo>
                    <a:pt x="15" y="19"/>
                    <a:pt x="26" y="13"/>
                    <a:pt x="35" y="5"/>
                  </a:cubicBezTo>
                  <a:cubicBezTo>
                    <a:pt x="39" y="2"/>
                    <a:pt x="42" y="0"/>
                    <a:pt x="43" y="0"/>
                  </a:cubicBezTo>
                  <a:close/>
                  <a:moveTo>
                    <a:pt x="21" y="25"/>
                  </a:moveTo>
                  <a:cubicBezTo>
                    <a:pt x="68" y="25"/>
                    <a:pt x="68" y="25"/>
                    <a:pt x="68" y="25"/>
                  </a:cubicBezTo>
                  <a:cubicBezTo>
                    <a:pt x="70" y="25"/>
                    <a:pt x="71" y="26"/>
                    <a:pt x="71" y="28"/>
                  </a:cubicBezTo>
                  <a:cubicBezTo>
                    <a:pt x="71" y="30"/>
                    <a:pt x="70" y="31"/>
                    <a:pt x="68" y="31"/>
                  </a:cubicBezTo>
                  <a:cubicBezTo>
                    <a:pt x="48" y="31"/>
                    <a:pt x="48" y="31"/>
                    <a:pt x="48" y="31"/>
                  </a:cubicBezTo>
                  <a:cubicBezTo>
                    <a:pt x="48" y="42"/>
                    <a:pt x="48" y="42"/>
                    <a:pt x="48" y="42"/>
                  </a:cubicBezTo>
                  <a:cubicBezTo>
                    <a:pt x="80" y="42"/>
                    <a:pt x="80" y="42"/>
                    <a:pt x="80" y="42"/>
                  </a:cubicBezTo>
                  <a:cubicBezTo>
                    <a:pt x="82" y="42"/>
                    <a:pt x="83" y="43"/>
                    <a:pt x="83" y="46"/>
                  </a:cubicBezTo>
                  <a:cubicBezTo>
                    <a:pt x="83" y="48"/>
                    <a:pt x="82" y="49"/>
                    <a:pt x="80" y="49"/>
                  </a:cubicBezTo>
                  <a:cubicBezTo>
                    <a:pt x="48" y="49"/>
                    <a:pt x="48" y="49"/>
                    <a:pt x="48" y="49"/>
                  </a:cubicBezTo>
                  <a:cubicBezTo>
                    <a:pt x="48" y="74"/>
                    <a:pt x="48" y="74"/>
                    <a:pt x="48" y="74"/>
                  </a:cubicBezTo>
                  <a:cubicBezTo>
                    <a:pt x="61" y="74"/>
                    <a:pt x="61" y="74"/>
                    <a:pt x="61" y="74"/>
                  </a:cubicBezTo>
                  <a:cubicBezTo>
                    <a:pt x="59" y="73"/>
                    <a:pt x="59" y="72"/>
                    <a:pt x="60" y="70"/>
                  </a:cubicBezTo>
                  <a:cubicBezTo>
                    <a:pt x="64" y="64"/>
                    <a:pt x="67" y="59"/>
                    <a:pt x="70" y="53"/>
                  </a:cubicBezTo>
                  <a:cubicBezTo>
                    <a:pt x="71" y="51"/>
                    <a:pt x="73" y="50"/>
                    <a:pt x="75" y="51"/>
                  </a:cubicBezTo>
                  <a:cubicBezTo>
                    <a:pt x="76" y="52"/>
                    <a:pt x="77" y="54"/>
                    <a:pt x="76" y="56"/>
                  </a:cubicBezTo>
                  <a:cubicBezTo>
                    <a:pt x="72" y="65"/>
                    <a:pt x="69" y="70"/>
                    <a:pt x="66" y="73"/>
                  </a:cubicBezTo>
                  <a:cubicBezTo>
                    <a:pt x="65" y="74"/>
                    <a:pt x="65" y="74"/>
                    <a:pt x="64" y="74"/>
                  </a:cubicBezTo>
                  <a:cubicBezTo>
                    <a:pt x="84" y="74"/>
                    <a:pt x="84" y="74"/>
                    <a:pt x="84" y="74"/>
                  </a:cubicBezTo>
                  <a:cubicBezTo>
                    <a:pt x="86" y="74"/>
                    <a:pt x="87" y="75"/>
                    <a:pt x="87" y="77"/>
                  </a:cubicBezTo>
                  <a:cubicBezTo>
                    <a:pt x="87" y="79"/>
                    <a:pt x="86" y="81"/>
                    <a:pt x="84" y="81"/>
                  </a:cubicBezTo>
                  <a:cubicBezTo>
                    <a:pt x="6" y="81"/>
                    <a:pt x="6" y="81"/>
                    <a:pt x="6" y="81"/>
                  </a:cubicBezTo>
                  <a:cubicBezTo>
                    <a:pt x="3" y="81"/>
                    <a:pt x="2" y="79"/>
                    <a:pt x="2" y="77"/>
                  </a:cubicBezTo>
                  <a:cubicBezTo>
                    <a:pt x="2" y="75"/>
                    <a:pt x="3" y="74"/>
                    <a:pt x="6" y="74"/>
                  </a:cubicBezTo>
                  <a:cubicBezTo>
                    <a:pt x="40" y="74"/>
                    <a:pt x="40" y="74"/>
                    <a:pt x="40" y="74"/>
                  </a:cubicBezTo>
                  <a:cubicBezTo>
                    <a:pt x="40" y="49"/>
                    <a:pt x="40" y="49"/>
                    <a:pt x="40" y="49"/>
                  </a:cubicBezTo>
                  <a:cubicBezTo>
                    <a:pt x="9" y="49"/>
                    <a:pt x="9" y="49"/>
                    <a:pt x="9" y="49"/>
                  </a:cubicBezTo>
                  <a:cubicBezTo>
                    <a:pt x="7" y="49"/>
                    <a:pt x="6" y="48"/>
                    <a:pt x="6" y="46"/>
                  </a:cubicBezTo>
                  <a:cubicBezTo>
                    <a:pt x="6" y="43"/>
                    <a:pt x="7" y="42"/>
                    <a:pt x="9" y="42"/>
                  </a:cubicBezTo>
                  <a:cubicBezTo>
                    <a:pt x="40" y="42"/>
                    <a:pt x="40" y="42"/>
                    <a:pt x="40" y="42"/>
                  </a:cubicBezTo>
                  <a:cubicBezTo>
                    <a:pt x="40" y="31"/>
                    <a:pt x="40" y="31"/>
                    <a:pt x="40" y="31"/>
                  </a:cubicBezTo>
                  <a:cubicBezTo>
                    <a:pt x="21" y="31"/>
                    <a:pt x="21" y="31"/>
                    <a:pt x="21" y="31"/>
                  </a:cubicBezTo>
                  <a:cubicBezTo>
                    <a:pt x="19" y="31"/>
                    <a:pt x="18" y="30"/>
                    <a:pt x="18" y="28"/>
                  </a:cubicBezTo>
                  <a:cubicBezTo>
                    <a:pt x="18" y="26"/>
                    <a:pt x="19" y="25"/>
                    <a:pt x="21" y="25"/>
                  </a:cubicBezTo>
                  <a:close/>
                  <a:moveTo>
                    <a:pt x="20" y="54"/>
                  </a:moveTo>
                  <a:cubicBezTo>
                    <a:pt x="23" y="58"/>
                    <a:pt x="25" y="63"/>
                    <a:pt x="27" y="67"/>
                  </a:cubicBezTo>
                  <a:cubicBezTo>
                    <a:pt x="28" y="69"/>
                    <a:pt x="28" y="71"/>
                    <a:pt x="26" y="72"/>
                  </a:cubicBezTo>
                  <a:cubicBezTo>
                    <a:pt x="24" y="73"/>
                    <a:pt x="23" y="73"/>
                    <a:pt x="21" y="71"/>
                  </a:cubicBezTo>
                  <a:cubicBezTo>
                    <a:pt x="19" y="67"/>
                    <a:pt x="17" y="62"/>
                    <a:pt x="14" y="57"/>
                  </a:cubicBezTo>
                  <a:cubicBezTo>
                    <a:pt x="12" y="55"/>
                    <a:pt x="13" y="54"/>
                    <a:pt x="14" y="53"/>
                  </a:cubicBezTo>
                  <a:cubicBezTo>
                    <a:pt x="16" y="52"/>
                    <a:pt x="18" y="52"/>
                    <a:pt x="20" y="54"/>
                  </a:cubicBezTo>
                  <a:close/>
                </a:path>
              </a:pathLst>
            </a:custGeom>
            <a:solidFill>
              <a:srgbClr val="EA550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dirty="0">
                <a:latin typeface="微软雅黑" panose="020B0503020204020204" pitchFamily="34" charset="-122"/>
                <a:ea typeface="微软雅黑" panose="020B0503020204020204" pitchFamily="34" charset="-122"/>
              </a:endParaRPr>
            </a:p>
          </p:txBody>
        </p:sp>
        <p:sp>
          <p:nvSpPr>
            <p:cNvPr id="15" name="Freeform 9"/>
            <p:cNvSpPr>
              <a:spLocks noEditPoints="1"/>
            </p:cNvSpPr>
            <p:nvPr/>
          </p:nvSpPr>
          <p:spPr bwMode="auto">
            <a:xfrm>
              <a:off x="1168400" y="895350"/>
              <a:ext cx="136525" cy="139700"/>
            </a:xfrm>
            <a:custGeom>
              <a:avLst/>
              <a:gdLst>
                <a:gd name="T0" fmla="*/ 39 w 83"/>
                <a:gd name="T1" fmla="*/ 1 h 85"/>
                <a:gd name="T2" fmla="*/ 39 w 83"/>
                <a:gd name="T3" fmla="*/ 7 h 85"/>
                <a:gd name="T4" fmla="*/ 0 w 83"/>
                <a:gd name="T5" fmla="*/ 4 h 85"/>
                <a:gd name="T6" fmla="*/ 6 w 83"/>
                <a:gd name="T7" fmla="*/ 35 h 85"/>
                <a:gd name="T8" fmla="*/ 42 w 83"/>
                <a:gd name="T9" fmla="*/ 41 h 85"/>
                <a:gd name="T10" fmla="*/ 28 w 83"/>
                <a:gd name="T11" fmla="*/ 80 h 85"/>
                <a:gd name="T12" fmla="*/ 30 w 83"/>
                <a:gd name="T13" fmla="*/ 74 h 85"/>
                <a:gd name="T14" fmla="*/ 36 w 83"/>
                <a:gd name="T15" fmla="*/ 42 h 85"/>
                <a:gd name="T16" fmla="*/ 8 w 83"/>
                <a:gd name="T17" fmla="*/ 40 h 85"/>
                <a:gd name="T18" fmla="*/ 6 w 83"/>
                <a:gd name="T19" fmla="*/ 79 h 85"/>
                <a:gd name="T20" fmla="*/ 0 w 83"/>
                <a:gd name="T21" fmla="*/ 79 h 85"/>
                <a:gd name="T22" fmla="*/ 6 w 83"/>
                <a:gd name="T23" fmla="*/ 35 h 85"/>
                <a:gd name="T24" fmla="*/ 32 w 83"/>
                <a:gd name="T25" fmla="*/ 11 h 85"/>
                <a:gd name="T26" fmla="*/ 37 w 83"/>
                <a:gd name="T27" fmla="*/ 23 h 85"/>
                <a:gd name="T28" fmla="*/ 9 w 83"/>
                <a:gd name="T29" fmla="*/ 29 h 85"/>
                <a:gd name="T30" fmla="*/ 4 w 83"/>
                <a:gd name="T31" fmla="*/ 17 h 85"/>
                <a:gd name="T32" fmla="*/ 10 w 83"/>
                <a:gd name="T33" fmla="*/ 56 h 85"/>
                <a:gd name="T34" fmla="*/ 23 w 83"/>
                <a:gd name="T35" fmla="*/ 53 h 85"/>
                <a:gd name="T36" fmla="*/ 31 w 83"/>
                <a:gd name="T37" fmla="*/ 41 h 85"/>
                <a:gd name="T38" fmla="*/ 31 w 83"/>
                <a:gd name="T39" fmla="*/ 48 h 85"/>
                <a:gd name="T40" fmla="*/ 32 w 83"/>
                <a:gd name="T41" fmla="*/ 56 h 85"/>
                <a:gd name="T42" fmla="*/ 32 w 83"/>
                <a:gd name="T43" fmla="*/ 61 h 85"/>
                <a:gd name="T44" fmla="*/ 24 w 83"/>
                <a:gd name="T45" fmla="*/ 76 h 85"/>
                <a:gd name="T46" fmla="*/ 18 w 83"/>
                <a:gd name="T47" fmla="*/ 76 h 85"/>
                <a:gd name="T48" fmla="*/ 10 w 83"/>
                <a:gd name="T49" fmla="*/ 61 h 85"/>
                <a:gd name="T50" fmla="*/ 10 w 83"/>
                <a:gd name="T51" fmla="*/ 56 h 85"/>
                <a:gd name="T52" fmla="*/ 17 w 83"/>
                <a:gd name="T53" fmla="*/ 46 h 85"/>
                <a:gd name="T54" fmla="*/ 17 w 83"/>
                <a:gd name="T55" fmla="*/ 55 h 85"/>
                <a:gd name="T56" fmla="*/ 11 w 83"/>
                <a:gd name="T57" fmla="*/ 50 h 85"/>
                <a:gd name="T58" fmla="*/ 11 w 83"/>
                <a:gd name="T59" fmla="*/ 42 h 85"/>
                <a:gd name="T60" fmla="*/ 30 w 83"/>
                <a:gd name="T61" fmla="*/ 17 h 85"/>
                <a:gd name="T62" fmla="*/ 10 w 83"/>
                <a:gd name="T63" fmla="*/ 19 h 85"/>
                <a:gd name="T64" fmla="*/ 12 w 83"/>
                <a:gd name="T65" fmla="*/ 23 h 85"/>
                <a:gd name="T66" fmla="*/ 31 w 83"/>
                <a:gd name="T67" fmla="*/ 21 h 85"/>
                <a:gd name="T68" fmla="*/ 30 w 83"/>
                <a:gd name="T69" fmla="*/ 17 h 85"/>
                <a:gd name="T70" fmla="*/ 66 w 83"/>
                <a:gd name="T71" fmla="*/ 11 h 85"/>
                <a:gd name="T72" fmla="*/ 79 w 83"/>
                <a:gd name="T73" fmla="*/ 16 h 85"/>
                <a:gd name="T74" fmla="*/ 75 w 83"/>
                <a:gd name="T75" fmla="*/ 54 h 85"/>
                <a:gd name="T76" fmla="*/ 66 w 83"/>
                <a:gd name="T77" fmla="*/ 73 h 85"/>
                <a:gd name="T78" fmla="*/ 71 w 83"/>
                <a:gd name="T79" fmla="*/ 63 h 85"/>
                <a:gd name="T80" fmla="*/ 77 w 83"/>
                <a:gd name="T81" fmla="*/ 61 h 85"/>
                <a:gd name="T82" fmla="*/ 81 w 83"/>
                <a:gd name="T83" fmla="*/ 84 h 85"/>
                <a:gd name="T84" fmla="*/ 75 w 83"/>
                <a:gd name="T85" fmla="*/ 77 h 85"/>
                <a:gd name="T86" fmla="*/ 44 w 83"/>
                <a:gd name="T87" fmla="*/ 78 h 85"/>
                <a:gd name="T88" fmla="*/ 59 w 83"/>
                <a:gd name="T89" fmla="*/ 73 h 85"/>
                <a:gd name="T90" fmla="*/ 52 w 83"/>
                <a:gd name="T91" fmla="*/ 54 h 85"/>
                <a:gd name="T92" fmla="*/ 46 w 83"/>
                <a:gd name="T93" fmla="*/ 16 h 85"/>
                <a:gd name="T94" fmla="*/ 59 w 83"/>
                <a:gd name="T95" fmla="*/ 11 h 85"/>
                <a:gd name="T96" fmla="*/ 62 w 83"/>
                <a:gd name="T97" fmla="*/ 0 h 85"/>
                <a:gd name="T98" fmla="*/ 55 w 83"/>
                <a:gd name="T99" fmla="*/ 17 h 85"/>
                <a:gd name="T100" fmla="*/ 52 w 83"/>
                <a:gd name="T101" fmla="*/ 46 h 85"/>
                <a:gd name="T102" fmla="*/ 59 w 83"/>
                <a:gd name="T103" fmla="*/ 47 h 85"/>
                <a:gd name="T104" fmla="*/ 55 w 83"/>
                <a:gd name="T105" fmla="*/ 17 h 85"/>
                <a:gd name="T106" fmla="*/ 66 w 83"/>
                <a:gd name="T107" fmla="*/ 17 h 85"/>
                <a:gd name="T108" fmla="*/ 71 w 83"/>
                <a:gd name="T109" fmla="*/ 47 h 85"/>
                <a:gd name="T110" fmla="*/ 73 w 83"/>
                <a:gd name="T111" fmla="*/ 2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3" h="85">
                  <a:moveTo>
                    <a:pt x="4" y="1"/>
                  </a:moveTo>
                  <a:cubicBezTo>
                    <a:pt x="39" y="1"/>
                    <a:pt x="39" y="1"/>
                    <a:pt x="39" y="1"/>
                  </a:cubicBezTo>
                  <a:cubicBezTo>
                    <a:pt x="41" y="1"/>
                    <a:pt x="42" y="2"/>
                    <a:pt x="42" y="4"/>
                  </a:cubicBezTo>
                  <a:cubicBezTo>
                    <a:pt x="42" y="6"/>
                    <a:pt x="41" y="7"/>
                    <a:pt x="39" y="7"/>
                  </a:cubicBezTo>
                  <a:cubicBezTo>
                    <a:pt x="4" y="7"/>
                    <a:pt x="4" y="7"/>
                    <a:pt x="4" y="7"/>
                  </a:cubicBezTo>
                  <a:cubicBezTo>
                    <a:pt x="1" y="7"/>
                    <a:pt x="0" y="6"/>
                    <a:pt x="0" y="4"/>
                  </a:cubicBezTo>
                  <a:cubicBezTo>
                    <a:pt x="0" y="2"/>
                    <a:pt x="1" y="1"/>
                    <a:pt x="4" y="1"/>
                  </a:cubicBezTo>
                  <a:close/>
                  <a:moveTo>
                    <a:pt x="6" y="35"/>
                  </a:moveTo>
                  <a:cubicBezTo>
                    <a:pt x="35" y="35"/>
                    <a:pt x="35" y="35"/>
                    <a:pt x="35" y="35"/>
                  </a:cubicBezTo>
                  <a:cubicBezTo>
                    <a:pt x="40" y="35"/>
                    <a:pt x="43" y="37"/>
                    <a:pt x="42" y="41"/>
                  </a:cubicBezTo>
                  <a:cubicBezTo>
                    <a:pt x="42" y="74"/>
                    <a:pt x="42" y="74"/>
                    <a:pt x="42" y="74"/>
                  </a:cubicBezTo>
                  <a:cubicBezTo>
                    <a:pt x="42" y="81"/>
                    <a:pt x="37" y="82"/>
                    <a:pt x="28" y="80"/>
                  </a:cubicBezTo>
                  <a:cubicBezTo>
                    <a:pt x="26" y="79"/>
                    <a:pt x="26" y="78"/>
                    <a:pt x="26" y="76"/>
                  </a:cubicBezTo>
                  <a:cubicBezTo>
                    <a:pt x="27" y="74"/>
                    <a:pt x="28" y="74"/>
                    <a:pt x="30" y="74"/>
                  </a:cubicBezTo>
                  <a:cubicBezTo>
                    <a:pt x="34" y="76"/>
                    <a:pt x="36" y="76"/>
                    <a:pt x="36" y="73"/>
                  </a:cubicBezTo>
                  <a:cubicBezTo>
                    <a:pt x="36" y="42"/>
                    <a:pt x="36" y="42"/>
                    <a:pt x="36" y="42"/>
                  </a:cubicBezTo>
                  <a:cubicBezTo>
                    <a:pt x="36" y="41"/>
                    <a:pt x="36" y="40"/>
                    <a:pt x="35" y="40"/>
                  </a:cubicBezTo>
                  <a:cubicBezTo>
                    <a:pt x="8" y="40"/>
                    <a:pt x="8" y="40"/>
                    <a:pt x="8" y="40"/>
                  </a:cubicBezTo>
                  <a:cubicBezTo>
                    <a:pt x="6" y="40"/>
                    <a:pt x="5" y="41"/>
                    <a:pt x="6" y="43"/>
                  </a:cubicBezTo>
                  <a:cubicBezTo>
                    <a:pt x="6" y="79"/>
                    <a:pt x="6" y="79"/>
                    <a:pt x="6" y="79"/>
                  </a:cubicBezTo>
                  <a:cubicBezTo>
                    <a:pt x="5" y="81"/>
                    <a:pt x="4" y="82"/>
                    <a:pt x="3" y="82"/>
                  </a:cubicBezTo>
                  <a:cubicBezTo>
                    <a:pt x="1" y="82"/>
                    <a:pt x="0" y="81"/>
                    <a:pt x="0" y="79"/>
                  </a:cubicBezTo>
                  <a:cubicBezTo>
                    <a:pt x="0" y="40"/>
                    <a:pt x="0" y="40"/>
                    <a:pt x="0" y="40"/>
                  </a:cubicBezTo>
                  <a:cubicBezTo>
                    <a:pt x="0" y="37"/>
                    <a:pt x="2" y="35"/>
                    <a:pt x="6" y="35"/>
                  </a:cubicBezTo>
                  <a:close/>
                  <a:moveTo>
                    <a:pt x="9" y="11"/>
                  </a:moveTo>
                  <a:cubicBezTo>
                    <a:pt x="32" y="11"/>
                    <a:pt x="32" y="11"/>
                    <a:pt x="32" y="11"/>
                  </a:cubicBezTo>
                  <a:cubicBezTo>
                    <a:pt x="36" y="11"/>
                    <a:pt x="38" y="13"/>
                    <a:pt x="37" y="17"/>
                  </a:cubicBezTo>
                  <a:cubicBezTo>
                    <a:pt x="37" y="23"/>
                    <a:pt x="37" y="23"/>
                    <a:pt x="37" y="23"/>
                  </a:cubicBezTo>
                  <a:cubicBezTo>
                    <a:pt x="38" y="28"/>
                    <a:pt x="36" y="30"/>
                    <a:pt x="32" y="29"/>
                  </a:cubicBezTo>
                  <a:cubicBezTo>
                    <a:pt x="9" y="29"/>
                    <a:pt x="9" y="29"/>
                    <a:pt x="9" y="29"/>
                  </a:cubicBezTo>
                  <a:cubicBezTo>
                    <a:pt x="5" y="29"/>
                    <a:pt x="4" y="27"/>
                    <a:pt x="4" y="23"/>
                  </a:cubicBezTo>
                  <a:cubicBezTo>
                    <a:pt x="4" y="17"/>
                    <a:pt x="4" y="17"/>
                    <a:pt x="4" y="17"/>
                  </a:cubicBezTo>
                  <a:cubicBezTo>
                    <a:pt x="3" y="13"/>
                    <a:pt x="5" y="11"/>
                    <a:pt x="9" y="11"/>
                  </a:cubicBezTo>
                  <a:close/>
                  <a:moveTo>
                    <a:pt x="10" y="56"/>
                  </a:moveTo>
                  <a:cubicBezTo>
                    <a:pt x="22" y="56"/>
                    <a:pt x="22" y="56"/>
                    <a:pt x="22" y="56"/>
                  </a:cubicBezTo>
                  <a:cubicBezTo>
                    <a:pt x="22" y="55"/>
                    <a:pt x="22" y="54"/>
                    <a:pt x="23" y="53"/>
                  </a:cubicBezTo>
                  <a:cubicBezTo>
                    <a:pt x="24" y="50"/>
                    <a:pt x="26" y="46"/>
                    <a:pt x="27" y="43"/>
                  </a:cubicBezTo>
                  <a:cubicBezTo>
                    <a:pt x="28" y="41"/>
                    <a:pt x="29" y="41"/>
                    <a:pt x="31" y="41"/>
                  </a:cubicBezTo>
                  <a:cubicBezTo>
                    <a:pt x="33" y="42"/>
                    <a:pt x="33" y="44"/>
                    <a:pt x="33" y="46"/>
                  </a:cubicBezTo>
                  <a:cubicBezTo>
                    <a:pt x="32" y="47"/>
                    <a:pt x="32" y="47"/>
                    <a:pt x="31" y="48"/>
                  </a:cubicBezTo>
                  <a:cubicBezTo>
                    <a:pt x="30" y="52"/>
                    <a:pt x="29" y="54"/>
                    <a:pt x="28" y="56"/>
                  </a:cubicBezTo>
                  <a:cubicBezTo>
                    <a:pt x="32" y="56"/>
                    <a:pt x="32" y="56"/>
                    <a:pt x="32" y="56"/>
                  </a:cubicBezTo>
                  <a:cubicBezTo>
                    <a:pt x="33" y="56"/>
                    <a:pt x="34" y="57"/>
                    <a:pt x="34" y="59"/>
                  </a:cubicBezTo>
                  <a:cubicBezTo>
                    <a:pt x="34" y="61"/>
                    <a:pt x="33" y="61"/>
                    <a:pt x="32" y="61"/>
                  </a:cubicBezTo>
                  <a:cubicBezTo>
                    <a:pt x="24" y="61"/>
                    <a:pt x="24" y="61"/>
                    <a:pt x="24" y="61"/>
                  </a:cubicBezTo>
                  <a:cubicBezTo>
                    <a:pt x="24" y="76"/>
                    <a:pt x="24" y="76"/>
                    <a:pt x="24" y="76"/>
                  </a:cubicBezTo>
                  <a:cubicBezTo>
                    <a:pt x="23" y="77"/>
                    <a:pt x="22" y="78"/>
                    <a:pt x="20" y="78"/>
                  </a:cubicBezTo>
                  <a:cubicBezTo>
                    <a:pt x="19" y="78"/>
                    <a:pt x="18" y="77"/>
                    <a:pt x="18" y="76"/>
                  </a:cubicBezTo>
                  <a:cubicBezTo>
                    <a:pt x="18" y="61"/>
                    <a:pt x="18" y="61"/>
                    <a:pt x="18" y="61"/>
                  </a:cubicBezTo>
                  <a:cubicBezTo>
                    <a:pt x="10" y="61"/>
                    <a:pt x="10" y="61"/>
                    <a:pt x="10" y="61"/>
                  </a:cubicBezTo>
                  <a:cubicBezTo>
                    <a:pt x="8" y="61"/>
                    <a:pt x="7" y="61"/>
                    <a:pt x="7" y="59"/>
                  </a:cubicBezTo>
                  <a:cubicBezTo>
                    <a:pt x="7" y="57"/>
                    <a:pt x="8" y="56"/>
                    <a:pt x="10" y="56"/>
                  </a:cubicBezTo>
                  <a:close/>
                  <a:moveTo>
                    <a:pt x="15" y="43"/>
                  </a:moveTo>
                  <a:cubicBezTo>
                    <a:pt x="15" y="44"/>
                    <a:pt x="16" y="45"/>
                    <a:pt x="17" y="46"/>
                  </a:cubicBezTo>
                  <a:cubicBezTo>
                    <a:pt x="17" y="48"/>
                    <a:pt x="18" y="49"/>
                    <a:pt x="19" y="51"/>
                  </a:cubicBezTo>
                  <a:cubicBezTo>
                    <a:pt x="19" y="53"/>
                    <a:pt x="19" y="54"/>
                    <a:pt x="17" y="55"/>
                  </a:cubicBezTo>
                  <a:cubicBezTo>
                    <a:pt x="15" y="56"/>
                    <a:pt x="13" y="55"/>
                    <a:pt x="13" y="53"/>
                  </a:cubicBezTo>
                  <a:cubicBezTo>
                    <a:pt x="12" y="52"/>
                    <a:pt x="12" y="51"/>
                    <a:pt x="11" y="50"/>
                  </a:cubicBezTo>
                  <a:cubicBezTo>
                    <a:pt x="11" y="48"/>
                    <a:pt x="10" y="47"/>
                    <a:pt x="10" y="46"/>
                  </a:cubicBezTo>
                  <a:cubicBezTo>
                    <a:pt x="9" y="44"/>
                    <a:pt x="9" y="43"/>
                    <a:pt x="11" y="42"/>
                  </a:cubicBezTo>
                  <a:cubicBezTo>
                    <a:pt x="13" y="41"/>
                    <a:pt x="14" y="41"/>
                    <a:pt x="15" y="43"/>
                  </a:cubicBezTo>
                  <a:close/>
                  <a:moveTo>
                    <a:pt x="30" y="17"/>
                  </a:moveTo>
                  <a:cubicBezTo>
                    <a:pt x="11" y="17"/>
                    <a:pt x="11" y="17"/>
                    <a:pt x="11" y="17"/>
                  </a:cubicBezTo>
                  <a:cubicBezTo>
                    <a:pt x="10" y="17"/>
                    <a:pt x="9" y="18"/>
                    <a:pt x="10" y="19"/>
                  </a:cubicBezTo>
                  <a:cubicBezTo>
                    <a:pt x="10" y="21"/>
                    <a:pt x="10" y="21"/>
                    <a:pt x="10" y="21"/>
                  </a:cubicBezTo>
                  <a:cubicBezTo>
                    <a:pt x="10" y="23"/>
                    <a:pt x="10" y="23"/>
                    <a:pt x="12" y="23"/>
                  </a:cubicBezTo>
                  <a:cubicBezTo>
                    <a:pt x="30" y="23"/>
                    <a:pt x="30" y="23"/>
                    <a:pt x="30" y="23"/>
                  </a:cubicBezTo>
                  <a:cubicBezTo>
                    <a:pt x="31" y="23"/>
                    <a:pt x="31" y="23"/>
                    <a:pt x="31" y="21"/>
                  </a:cubicBezTo>
                  <a:cubicBezTo>
                    <a:pt x="31" y="19"/>
                    <a:pt x="31" y="19"/>
                    <a:pt x="31" y="19"/>
                  </a:cubicBezTo>
                  <a:cubicBezTo>
                    <a:pt x="31" y="18"/>
                    <a:pt x="31" y="17"/>
                    <a:pt x="30" y="17"/>
                  </a:cubicBezTo>
                  <a:close/>
                  <a:moveTo>
                    <a:pt x="66" y="3"/>
                  </a:moveTo>
                  <a:cubicBezTo>
                    <a:pt x="66" y="11"/>
                    <a:pt x="66" y="11"/>
                    <a:pt x="66" y="11"/>
                  </a:cubicBezTo>
                  <a:cubicBezTo>
                    <a:pt x="74" y="11"/>
                    <a:pt x="74" y="11"/>
                    <a:pt x="74" y="11"/>
                  </a:cubicBezTo>
                  <a:cubicBezTo>
                    <a:pt x="78" y="11"/>
                    <a:pt x="79" y="12"/>
                    <a:pt x="79" y="16"/>
                  </a:cubicBezTo>
                  <a:cubicBezTo>
                    <a:pt x="79" y="48"/>
                    <a:pt x="79" y="48"/>
                    <a:pt x="79" y="48"/>
                  </a:cubicBezTo>
                  <a:cubicBezTo>
                    <a:pt x="79" y="52"/>
                    <a:pt x="78" y="54"/>
                    <a:pt x="75" y="54"/>
                  </a:cubicBezTo>
                  <a:cubicBezTo>
                    <a:pt x="66" y="54"/>
                    <a:pt x="66" y="54"/>
                    <a:pt x="66" y="54"/>
                  </a:cubicBezTo>
                  <a:cubicBezTo>
                    <a:pt x="66" y="73"/>
                    <a:pt x="66" y="73"/>
                    <a:pt x="66" y="73"/>
                  </a:cubicBezTo>
                  <a:cubicBezTo>
                    <a:pt x="74" y="72"/>
                    <a:pt x="74" y="72"/>
                    <a:pt x="74" y="72"/>
                  </a:cubicBezTo>
                  <a:cubicBezTo>
                    <a:pt x="72" y="67"/>
                    <a:pt x="71" y="64"/>
                    <a:pt x="71" y="63"/>
                  </a:cubicBezTo>
                  <a:cubicBezTo>
                    <a:pt x="70" y="61"/>
                    <a:pt x="71" y="60"/>
                    <a:pt x="73" y="59"/>
                  </a:cubicBezTo>
                  <a:cubicBezTo>
                    <a:pt x="75" y="59"/>
                    <a:pt x="76" y="59"/>
                    <a:pt x="77" y="61"/>
                  </a:cubicBezTo>
                  <a:cubicBezTo>
                    <a:pt x="80" y="69"/>
                    <a:pt x="82" y="76"/>
                    <a:pt x="83" y="81"/>
                  </a:cubicBezTo>
                  <a:cubicBezTo>
                    <a:pt x="83" y="83"/>
                    <a:pt x="83" y="84"/>
                    <a:pt x="81" y="84"/>
                  </a:cubicBezTo>
                  <a:cubicBezTo>
                    <a:pt x="79" y="85"/>
                    <a:pt x="77" y="84"/>
                    <a:pt x="77" y="82"/>
                  </a:cubicBezTo>
                  <a:cubicBezTo>
                    <a:pt x="77" y="82"/>
                    <a:pt x="76" y="80"/>
                    <a:pt x="75" y="77"/>
                  </a:cubicBezTo>
                  <a:cubicBezTo>
                    <a:pt x="58" y="79"/>
                    <a:pt x="48" y="81"/>
                    <a:pt x="48" y="81"/>
                  </a:cubicBezTo>
                  <a:cubicBezTo>
                    <a:pt x="46" y="81"/>
                    <a:pt x="44" y="80"/>
                    <a:pt x="44" y="78"/>
                  </a:cubicBezTo>
                  <a:cubicBezTo>
                    <a:pt x="44" y="76"/>
                    <a:pt x="45" y="75"/>
                    <a:pt x="47" y="74"/>
                  </a:cubicBezTo>
                  <a:cubicBezTo>
                    <a:pt x="48" y="74"/>
                    <a:pt x="52" y="74"/>
                    <a:pt x="59" y="73"/>
                  </a:cubicBezTo>
                  <a:cubicBezTo>
                    <a:pt x="59" y="54"/>
                    <a:pt x="59" y="54"/>
                    <a:pt x="59" y="54"/>
                  </a:cubicBezTo>
                  <a:cubicBezTo>
                    <a:pt x="52" y="54"/>
                    <a:pt x="52" y="54"/>
                    <a:pt x="52" y="54"/>
                  </a:cubicBezTo>
                  <a:cubicBezTo>
                    <a:pt x="48" y="54"/>
                    <a:pt x="45" y="52"/>
                    <a:pt x="46" y="49"/>
                  </a:cubicBezTo>
                  <a:cubicBezTo>
                    <a:pt x="46" y="16"/>
                    <a:pt x="46" y="16"/>
                    <a:pt x="46" y="16"/>
                  </a:cubicBezTo>
                  <a:cubicBezTo>
                    <a:pt x="46" y="12"/>
                    <a:pt x="48" y="11"/>
                    <a:pt x="52" y="11"/>
                  </a:cubicBezTo>
                  <a:cubicBezTo>
                    <a:pt x="59" y="11"/>
                    <a:pt x="59" y="11"/>
                    <a:pt x="59" y="11"/>
                  </a:cubicBezTo>
                  <a:cubicBezTo>
                    <a:pt x="59" y="3"/>
                    <a:pt x="59" y="3"/>
                    <a:pt x="59" y="3"/>
                  </a:cubicBezTo>
                  <a:cubicBezTo>
                    <a:pt x="59" y="1"/>
                    <a:pt x="60" y="0"/>
                    <a:pt x="62" y="0"/>
                  </a:cubicBezTo>
                  <a:cubicBezTo>
                    <a:pt x="65" y="0"/>
                    <a:pt x="66" y="1"/>
                    <a:pt x="66" y="3"/>
                  </a:cubicBezTo>
                  <a:close/>
                  <a:moveTo>
                    <a:pt x="55" y="17"/>
                  </a:moveTo>
                  <a:cubicBezTo>
                    <a:pt x="53" y="17"/>
                    <a:pt x="52" y="18"/>
                    <a:pt x="52" y="20"/>
                  </a:cubicBezTo>
                  <a:cubicBezTo>
                    <a:pt x="52" y="46"/>
                    <a:pt x="52" y="46"/>
                    <a:pt x="52" y="46"/>
                  </a:cubicBezTo>
                  <a:cubicBezTo>
                    <a:pt x="52" y="47"/>
                    <a:pt x="53" y="48"/>
                    <a:pt x="54" y="47"/>
                  </a:cubicBezTo>
                  <a:cubicBezTo>
                    <a:pt x="59" y="47"/>
                    <a:pt x="59" y="47"/>
                    <a:pt x="59" y="47"/>
                  </a:cubicBezTo>
                  <a:cubicBezTo>
                    <a:pt x="59" y="17"/>
                    <a:pt x="59" y="17"/>
                    <a:pt x="59" y="17"/>
                  </a:cubicBezTo>
                  <a:lnTo>
                    <a:pt x="55" y="17"/>
                  </a:lnTo>
                  <a:close/>
                  <a:moveTo>
                    <a:pt x="71" y="17"/>
                  </a:moveTo>
                  <a:cubicBezTo>
                    <a:pt x="66" y="17"/>
                    <a:pt x="66" y="17"/>
                    <a:pt x="66" y="17"/>
                  </a:cubicBezTo>
                  <a:cubicBezTo>
                    <a:pt x="66" y="47"/>
                    <a:pt x="66" y="47"/>
                    <a:pt x="66" y="47"/>
                  </a:cubicBezTo>
                  <a:cubicBezTo>
                    <a:pt x="71" y="47"/>
                    <a:pt x="71" y="47"/>
                    <a:pt x="71" y="47"/>
                  </a:cubicBezTo>
                  <a:cubicBezTo>
                    <a:pt x="72" y="48"/>
                    <a:pt x="73" y="47"/>
                    <a:pt x="73" y="46"/>
                  </a:cubicBezTo>
                  <a:cubicBezTo>
                    <a:pt x="73" y="20"/>
                    <a:pt x="73" y="20"/>
                    <a:pt x="73" y="20"/>
                  </a:cubicBezTo>
                  <a:cubicBezTo>
                    <a:pt x="73" y="18"/>
                    <a:pt x="72" y="17"/>
                    <a:pt x="71" y="17"/>
                  </a:cubicBezTo>
                  <a:close/>
                </a:path>
              </a:pathLst>
            </a:custGeom>
            <a:solidFill>
              <a:srgbClr val="EA550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dirty="0">
                <a:latin typeface="微软雅黑" panose="020B0503020204020204" pitchFamily="34" charset="-122"/>
                <a:ea typeface="微软雅黑" panose="020B0503020204020204" pitchFamily="34" charset="-122"/>
              </a:endParaRPr>
            </a:p>
          </p:txBody>
        </p:sp>
        <p:sp>
          <p:nvSpPr>
            <p:cNvPr id="16" name="Freeform 10"/>
            <p:cNvSpPr>
              <a:spLocks noEditPoints="1"/>
            </p:cNvSpPr>
            <p:nvPr/>
          </p:nvSpPr>
          <p:spPr bwMode="auto">
            <a:xfrm>
              <a:off x="1476375" y="896938"/>
              <a:ext cx="144463" cy="136525"/>
            </a:xfrm>
            <a:custGeom>
              <a:avLst/>
              <a:gdLst>
                <a:gd name="T0" fmla="*/ 34 w 88"/>
                <a:gd name="T1" fmla="*/ 0 h 83"/>
                <a:gd name="T2" fmla="*/ 38 w 88"/>
                <a:gd name="T3" fmla="*/ 2 h 83"/>
                <a:gd name="T4" fmla="*/ 36 w 88"/>
                <a:gd name="T5" fmla="*/ 6 h 83"/>
                <a:gd name="T6" fmla="*/ 25 w 88"/>
                <a:gd name="T7" fmla="*/ 8 h 83"/>
                <a:gd name="T8" fmla="*/ 25 w 88"/>
                <a:gd name="T9" fmla="*/ 23 h 83"/>
                <a:gd name="T10" fmla="*/ 37 w 88"/>
                <a:gd name="T11" fmla="*/ 23 h 83"/>
                <a:gd name="T12" fmla="*/ 37 w 88"/>
                <a:gd name="T13" fmla="*/ 30 h 83"/>
                <a:gd name="T14" fmla="*/ 25 w 88"/>
                <a:gd name="T15" fmla="*/ 30 h 83"/>
                <a:gd name="T16" fmla="*/ 25 w 88"/>
                <a:gd name="T17" fmla="*/ 32 h 83"/>
                <a:gd name="T18" fmla="*/ 39 w 88"/>
                <a:gd name="T19" fmla="*/ 49 h 83"/>
                <a:gd name="T20" fmla="*/ 38 w 88"/>
                <a:gd name="T21" fmla="*/ 54 h 83"/>
                <a:gd name="T22" fmla="*/ 34 w 88"/>
                <a:gd name="T23" fmla="*/ 53 h 83"/>
                <a:gd name="T24" fmla="*/ 25 w 88"/>
                <a:gd name="T25" fmla="*/ 41 h 83"/>
                <a:gd name="T26" fmla="*/ 25 w 88"/>
                <a:gd name="T27" fmla="*/ 79 h 83"/>
                <a:gd name="T28" fmla="*/ 22 w 88"/>
                <a:gd name="T29" fmla="*/ 82 h 83"/>
                <a:gd name="T30" fmla="*/ 19 w 88"/>
                <a:gd name="T31" fmla="*/ 79 h 83"/>
                <a:gd name="T32" fmla="*/ 19 w 88"/>
                <a:gd name="T33" fmla="*/ 42 h 83"/>
                <a:gd name="T34" fmla="*/ 7 w 88"/>
                <a:gd name="T35" fmla="*/ 59 h 83"/>
                <a:gd name="T36" fmla="*/ 1 w 88"/>
                <a:gd name="T37" fmla="*/ 59 h 83"/>
                <a:gd name="T38" fmla="*/ 2 w 88"/>
                <a:gd name="T39" fmla="*/ 54 h 83"/>
                <a:gd name="T40" fmla="*/ 18 w 88"/>
                <a:gd name="T41" fmla="*/ 30 h 83"/>
                <a:gd name="T42" fmla="*/ 5 w 88"/>
                <a:gd name="T43" fmla="*/ 30 h 83"/>
                <a:gd name="T44" fmla="*/ 5 w 88"/>
                <a:gd name="T45" fmla="*/ 23 h 83"/>
                <a:gd name="T46" fmla="*/ 19 w 88"/>
                <a:gd name="T47" fmla="*/ 23 h 83"/>
                <a:gd name="T48" fmla="*/ 19 w 88"/>
                <a:gd name="T49" fmla="*/ 9 h 83"/>
                <a:gd name="T50" fmla="*/ 7 w 88"/>
                <a:gd name="T51" fmla="*/ 10 h 83"/>
                <a:gd name="T52" fmla="*/ 6 w 88"/>
                <a:gd name="T53" fmla="*/ 3 h 83"/>
                <a:gd name="T54" fmla="*/ 34 w 88"/>
                <a:gd name="T55" fmla="*/ 0 h 83"/>
                <a:gd name="T56" fmla="*/ 76 w 88"/>
                <a:gd name="T57" fmla="*/ 4 h 83"/>
                <a:gd name="T58" fmla="*/ 76 w 88"/>
                <a:gd name="T59" fmla="*/ 52 h 83"/>
                <a:gd name="T60" fmla="*/ 81 w 88"/>
                <a:gd name="T61" fmla="*/ 51 h 83"/>
                <a:gd name="T62" fmla="*/ 84 w 88"/>
                <a:gd name="T63" fmla="*/ 50 h 83"/>
                <a:gd name="T64" fmla="*/ 85 w 88"/>
                <a:gd name="T65" fmla="*/ 58 h 83"/>
                <a:gd name="T66" fmla="*/ 76 w 88"/>
                <a:gd name="T67" fmla="*/ 59 h 83"/>
                <a:gd name="T68" fmla="*/ 76 w 88"/>
                <a:gd name="T69" fmla="*/ 80 h 83"/>
                <a:gd name="T70" fmla="*/ 72 w 88"/>
                <a:gd name="T71" fmla="*/ 83 h 83"/>
                <a:gd name="T72" fmla="*/ 69 w 88"/>
                <a:gd name="T73" fmla="*/ 80 h 83"/>
                <a:gd name="T74" fmla="*/ 69 w 88"/>
                <a:gd name="T75" fmla="*/ 60 h 83"/>
                <a:gd name="T76" fmla="*/ 37 w 88"/>
                <a:gd name="T77" fmla="*/ 65 h 83"/>
                <a:gd name="T78" fmla="*/ 33 w 88"/>
                <a:gd name="T79" fmla="*/ 62 h 83"/>
                <a:gd name="T80" fmla="*/ 36 w 88"/>
                <a:gd name="T81" fmla="*/ 58 h 83"/>
                <a:gd name="T82" fmla="*/ 42 w 88"/>
                <a:gd name="T83" fmla="*/ 57 h 83"/>
                <a:gd name="T84" fmla="*/ 69 w 88"/>
                <a:gd name="T85" fmla="*/ 53 h 83"/>
                <a:gd name="T86" fmla="*/ 69 w 88"/>
                <a:gd name="T87" fmla="*/ 5 h 83"/>
                <a:gd name="T88" fmla="*/ 72 w 88"/>
                <a:gd name="T89" fmla="*/ 2 h 83"/>
                <a:gd name="T90" fmla="*/ 76 w 88"/>
                <a:gd name="T91" fmla="*/ 4 h 83"/>
                <a:gd name="T92" fmla="*/ 47 w 88"/>
                <a:gd name="T93" fmla="*/ 26 h 83"/>
                <a:gd name="T94" fmla="*/ 60 w 88"/>
                <a:gd name="T95" fmla="*/ 40 h 83"/>
                <a:gd name="T96" fmla="*/ 59 w 88"/>
                <a:gd name="T97" fmla="*/ 45 h 83"/>
                <a:gd name="T98" fmla="*/ 55 w 88"/>
                <a:gd name="T99" fmla="*/ 45 h 83"/>
                <a:gd name="T100" fmla="*/ 42 w 88"/>
                <a:gd name="T101" fmla="*/ 31 h 83"/>
                <a:gd name="T102" fmla="*/ 42 w 88"/>
                <a:gd name="T103" fmla="*/ 26 h 83"/>
                <a:gd name="T104" fmla="*/ 47 w 88"/>
                <a:gd name="T105" fmla="*/ 26 h 83"/>
                <a:gd name="T106" fmla="*/ 51 w 88"/>
                <a:gd name="T107" fmla="*/ 5 h 83"/>
                <a:gd name="T108" fmla="*/ 65 w 88"/>
                <a:gd name="T109" fmla="*/ 21 h 83"/>
                <a:gd name="T110" fmla="*/ 64 w 88"/>
                <a:gd name="T111" fmla="*/ 26 h 83"/>
                <a:gd name="T112" fmla="*/ 60 w 88"/>
                <a:gd name="T113" fmla="*/ 25 h 83"/>
                <a:gd name="T114" fmla="*/ 46 w 88"/>
                <a:gd name="T115" fmla="*/ 10 h 83"/>
                <a:gd name="T116" fmla="*/ 46 w 88"/>
                <a:gd name="T117" fmla="*/ 5 h 83"/>
                <a:gd name="T118" fmla="*/ 51 w 88"/>
                <a:gd name="T119" fmla="*/ 5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8" h="83">
                  <a:moveTo>
                    <a:pt x="34" y="0"/>
                  </a:moveTo>
                  <a:cubicBezTo>
                    <a:pt x="36" y="0"/>
                    <a:pt x="38" y="0"/>
                    <a:pt x="38" y="2"/>
                  </a:cubicBezTo>
                  <a:cubicBezTo>
                    <a:pt x="39" y="4"/>
                    <a:pt x="38" y="6"/>
                    <a:pt x="36" y="6"/>
                  </a:cubicBezTo>
                  <a:cubicBezTo>
                    <a:pt x="33" y="7"/>
                    <a:pt x="29" y="8"/>
                    <a:pt x="25" y="8"/>
                  </a:cubicBezTo>
                  <a:cubicBezTo>
                    <a:pt x="25" y="23"/>
                    <a:pt x="25" y="23"/>
                    <a:pt x="25" y="23"/>
                  </a:cubicBezTo>
                  <a:cubicBezTo>
                    <a:pt x="37" y="23"/>
                    <a:pt x="37" y="23"/>
                    <a:pt x="37" y="23"/>
                  </a:cubicBezTo>
                  <a:cubicBezTo>
                    <a:pt x="41" y="26"/>
                    <a:pt x="41" y="28"/>
                    <a:pt x="37" y="30"/>
                  </a:cubicBezTo>
                  <a:cubicBezTo>
                    <a:pt x="25" y="30"/>
                    <a:pt x="25" y="30"/>
                    <a:pt x="25" y="30"/>
                  </a:cubicBezTo>
                  <a:cubicBezTo>
                    <a:pt x="25" y="32"/>
                    <a:pt x="25" y="32"/>
                    <a:pt x="25" y="32"/>
                  </a:cubicBezTo>
                  <a:cubicBezTo>
                    <a:pt x="31" y="38"/>
                    <a:pt x="36" y="43"/>
                    <a:pt x="39" y="49"/>
                  </a:cubicBezTo>
                  <a:cubicBezTo>
                    <a:pt x="40" y="51"/>
                    <a:pt x="40" y="53"/>
                    <a:pt x="38" y="54"/>
                  </a:cubicBezTo>
                  <a:cubicBezTo>
                    <a:pt x="36" y="56"/>
                    <a:pt x="35" y="55"/>
                    <a:pt x="34" y="53"/>
                  </a:cubicBezTo>
                  <a:cubicBezTo>
                    <a:pt x="32" y="50"/>
                    <a:pt x="29" y="46"/>
                    <a:pt x="25" y="41"/>
                  </a:cubicBezTo>
                  <a:cubicBezTo>
                    <a:pt x="25" y="79"/>
                    <a:pt x="25" y="79"/>
                    <a:pt x="25" y="79"/>
                  </a:cubicBezTo>
                  <a:cubicBezTo>
                    <a:pt x="25" y="80"/>
                    <a:pt x="24" y="81"/>
                    <a:pt x="22" y="82"/>
                  </a:cubicBezTo>
                  <a:cubicBezTo>
                    <a:pt x="20" y="81"/>
                    <a:pt x="19" y="80"/>
                    <a:pt x="19" y="79"/>
                  </a:cubicBezTo>
                  <a:cubicBezTo>
                    <a:pt x="19" y="42"/>
                    <a:pt x="19" y="42"/>
                    <a:pt x="19" y="42"/>
                  </a:cubicBezTo>
                  <a:cubicBezTo>
                    <a:pt x="15" y="49"/>
                    <a:pt x="11" y="54"/>
                    <a:pt x="7" y="59"/>
                  </a:cubicBezTo>
                  <a:cubicBezTo>
                    <a:pt x="5" y="61"/>
                    <a:pt x="3" y="61"/>
                    <a:pt x="1" y="59"/>
                  </a:cubicBezTo>
                  <a:cubicBezTo>
                    <a:pt x="0" y="58"/>
                    <a:pt x="0" y="56"/>
                    <a:pt x="2" y="54"/>
                  </a:cubicBezTo>
                  <a:cubicBezTo>
                    <a:pt x="9" y="48"/>
                    <a:pt x="14" y="40"/>
                    <a:pt x="18" y="30"/>
                  </a:cubicBezTo>
                  <a:cubicBezTo>
                    <a:pt x="5" y="30"/>
                    <a:pt x="5" y="30"/>
                    <a:pt x="5" y="30"/>
                  </a:cubicBezTo>
                  <a:cubicBezTo>
                    <a:pt x="1" y="28"/>
                    <a:pt x="1" y="25"/>
                    <a:pt x="5" y="23"/>
                  </a:cubicBezTo>
                  <a:cubicBezTo>
                    <a:pt x="19" y="23"/>
                    <a:pt x="19" y="23"/>
                    <a:pt x="19" y="23"/>
                  </a:cubicBezTo>
                  <a:cubicBezTo>
                    <a:pt x="19" y="9"/>
                    <a:pt x="19" y="9"/>
                    <a:pt x="19" y="9"/>
                  </a:cubicBezTo>
                  <a:cubicBezTo>
                    <a:pt x="15" y="10"/>
                    <a:pt x="11" y="10"/>
                    <a:pt x="7" y="10"/>
                  </a:cubicBezTo>
                  <a:cubicBezTo>
                    <a:pt x="3" y="9"/>
                    <a:pt x="3" y="6"/>
                    <a:pt x="6" y="3"/>
                  </a:cubicBezTo>
                  <a:cubicBezTo>
                    <a:pt x="15" y="3"/>
                    <a:pt x="25" y="2"/>
                    <a:pt x="34" y="0"/>
                  </a:cubicBezTo>
                  <a:close/>
                  <a:moveTo>
                    <a:pt x="76" y="4"/>
                  </a:moveTo>
                  <a:cubicBezTo>
                    <a:pt x="76" y="52"/>
                    <a:pt x="76" y="52"/>
                    <a:pt x="76" y="52"/>
                  </a:cubicBezTo>
                  <a:cubicBezTo>
                    <a:pt x="77" y="51"/>
                    <a:pt x="79" y="51"/>
                    <a:pt x="81" y="51"/>
                  </a:cubicBezTo>
                  <a:cubicBezTo>
                    <a:pt x="83" y="51"/>
                    <a:pt x="84" y="50"/>
                    <a:pt x="84" y="50"/>
                  </a:cubicBezTo>
                  <a:cubicBezTo>
                    <a:pt x="88" y="53"/>
                    <a:pt x="88" y="55"/>
                    <a:pt x="85" y="58"/>
                  </a:cubicBezTo>
                  <a:cubicBezTo>
                    <a:pt x="80" y="58"/>
                    <a:pt x="77" y="59"/>
                    <a:pt x="76" y="59"/>
                  </a:cubicBezTo>
                  <a:cubicBezTo>
                    <a:pt x="76" y="80"/>
                    <a:pt x="76" y="80"/>
                    <a:pt x="76" y="80"/>
                  </a:cubicBezTo>
                  <a:cubicBezTo>
                    <a:pt x="75" y="82"/>
                    <a:pt x="74" y="83"/>
                    <a:pt x="72" y="83"/>
                  </a:cubicBezTo>
                  <a:cubicBezTo>
                    <a:pt x="70" y="83"/>
                    <a:pt x="69" y="82"/>
                    <a:pt x="69" y="80"/>
                  </a:cubicBezTo>
                  <a:cubicBezTo>
                    <a:pt x="69" y="60"/>
                    <a:pt x="69" y="60"/>
                    <a:pt x="69" y="60"/>
                  </a:cubicBezTo>
                  <a:cubicBezTo>
                    <a:pt x="54" y="63"/>
                    <a:pt x="43" y="64"/>
                    <a:pt x="37" y="65"/>
                  </a:cubicBezTo>
                  <a:cubicBezTo>
                    <a:pt x="35" y="65"/>
                    <a:pt x="34" y="64"/>
                    <a:pt x="33" y="62"/>
                  </a:cubicBezTo>
                  <a:cubicBezTo>
                    <a:pt x="33" y="60"/>
                    <a:pt x="34" y="58"/>
                    <a:pt x="36" y="58"/>
                  </a:cubicBezTo>
                  <a:cubicBezTo>
                    <a:pt x="37" y="58"/>
                    <a:pt x="39" y="57"/>
                    <a:pt x="42" y="57"/>
                  </a:cubicBezTo>
                  <a:cubicBezTo>
                    <a:pt x="53" y="55"/>
                    <a:pt x="62" y="54"/>
                    <a:pt x="69" y="53"/>
                  </a:cubicBezTo>
                  <a:cubicBezTo>
                    <a:pt x="69" y="5"/>
                    <a:pt x="69" y="5"/>
                    <a:pt x="69" y="5"/>
                  </a:cubicBezTo>
                  <a:cubicBezTo>
                    <a:pt x="69" y="3"/>
                    <a:pt x="70" y="2"/>
                    <a:pt x="72" y="2"/>
                  </a:cubicBezTo>
                  <a:cubicBezTo>
                    <a:pt x="74" y="2"/>
                    <a:pt x="75" y="3"/>
                    <a:pt x="76" y="4"/>
                  </a:cubicBezTo>
                  <a:close/>
                  <a:moveTo>
                    <a:pt x="47" y="26"/>
                  </a:moveTo>
                  <a:cubicBezTo>
                    <a:pt x="52" y="30"/>
                    <a:pt x="56" y="34"/>
                    <a:pt x="60" y="40"/>
                  </a:cubicBezTo>
                  <a:cubicBezTo>
                    <a:pt x="61" y="42"/>
                    <a:pt x="61" y="44"/>
                    <a:pt x="59" y="45"/>
                  </a:cubicBezTo>
                  <a:cubicBezTo>
                    <a:pt x="57" y="47"/>
                    <a:pt x="56" y="46"/>
                    <a:pt x="55" y="45"/>
                  </a:cubicBezTo>
                  <a:cubicBezTo>
                    <a:pt x="51" y="39"/>
                    <a:pt x="47" y="35"/>
                    <a:pt x="42" y="31"/>
                  </a:cubicBezTo>
                  <a:cubicBezTo>
                    <a:pt x="41" y="30"/>
                    <a:pt x="40" y="28"/>
                    <a:pt x="42" y="26"/>
                  </a:cubicBezTo>
                  <a:cubicBezTo>
                    <a:pt x="43" y="25"/>
                    <a:pt x="45" y="25"/>
                    <a:pt x="47" y="26"/>
                  </a:cubicBezTo>
                  <a:close/>
                  <a:moveTo>
                    <a:pt x="51" y="5"/>
                  </a:moveTo>
                  <a:cubicBezTo>
                    <a:pt x="56" y="10"/>
                    <a:pt x="61" y="15"/>
                    <a:pt x="65" y="21"/>
                  </a:cubicBezTo>
                  <a:cubicBezTo>
                    <a:pt x="66" y="23"/>
                    <a:pt x="66" y="25"/>
                    <a:pt x="64" y="26"/>
                  </a:cubicBezTo>
                  <a:cubicBezTo>
                    <a:pt x="63" y="27"/>
                    <a:pt x="61" y="27"/>
                    <a:pt x="60" y="25"/>
                  </a:cubicBezTo>
                  <a:cubicBezTo>
                    <a:pt x="56" y="20"/>
                    <a:pt x="51" y="15"/>
                    <a:pt x="46" y="10"/>
                  </a:cubicBezTo>
                  <a:cubicBezTo>
                    <a:pt x="45" y="9"/>
                    <a:pt x="44" y="7"/>
                    <a:pt x="46" y="5"/>
                  </a:cubicBezTo>
                  <a:cubicBezTo>
                    <a:pt x="47" y="4"/>
                    <a:pt x="49" y="4"/>
                    <a:pt x="51" y="5"/>
                  </a:cubicBezTo>
                  <a:close/>
                </a:path>
              </a:pathLst>
            </a:custGeom>
            <a:solidFill>
              <a:srgbClr val="EA550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dirty="0">
                <a:latin typeface="微软雅黑" panose="020B0503020204020204" pitchFamily="34" charset="-122"/>
                <a:ea typeface="微软雅黑" panose="020B0503020204020204" pitchFamily="34" charset="-122"/>
              </a:endParaRPr>
            </a:p>
          </p:txBody>
        </p:sp>
        <p:sp>
          <p:nvSpPr>
            <p:cNvPr id="17" name="Freeform 11"/>
            <p:cNvSpPr>
              <a:spLocks noEditPoints="1"/>
            </p:cNvSpPr>
            <p:nvPr/>
          </p:nvSpPr>
          <p:spPr bwMode="auto">
            <a:xfrm>
              <a:off x="1644650" y="896938"/>
              <a:ext cx="144463" cy="134937"/>
            </a:xfrm>
            <a:custGeom>
              <a:avLst/>
              <a:gdLst>
                <a:gd name="T0" fmla="*/ 20 w 88"/>
                <a:gd name="T1" fmla="*/ 17 h 82"/>
                <a:gd name="T2" fmla="*/ 30 w 88"/>
                <a:gd name="T3" fmla="*/ 20 h 82"/>
                <a:gd name="T4" fmla="*/ 20 w 88"/>
                <a:gd name="T5" fmla="*/ 23 h 82"/>
                <a:gd name="T6" fmla="*/ 26 w 88"/>
                <a:gd name="T7" fmla="*/ 38 h 82"/>
                <a:gd name="T8" fmla="*/ 30 w 88"/>
                <a:gd name="T9" fmla="*/ 43 h 82"/>
                <a:gd name="T10" fmla="*/ 20 w 88"/>
                <a:gd name="T11" fmla="*/ 75 h 82"/>
                <a:gd name="T12" fmla="*/ 3 w 88"/>
                <a:gd name="T13" fmla="*/ 76 h 82"/>
                <a:gd name="T14" fmla="*/ 13 w 88"/>
                <a:gd name="T15" fmla="*/ 72 h 82"/>
                <a:gd name="T16" fmla="*/ 9 w 88"/>
                <a:gd name="T17" fmla="*/ 52 h 82"/>
                <a:gd name="T18" fmla="*/ 0 w 88"/>
                <a:gd name="T19" fmla="*/ 52 h 82"/>
                <a:gd name="T20" fmla="*/ 5 w 88"/>
                <a:gd name="T21" fmla="*/ 47 h 82"/>
                <a:gd name="T22" fmla="*/ 13 w 88"/>
                <a:gd name="T23" fmla="*/ 23 h 82"/>
                <a:gd name="T24" fmla="*/ 2 w 88"/>
                <a:gd name="T25" fmla="*/ 20 h 82"/>
                <a:gd name="T26" fmla="*/ 13 w 88"/>
                <a:gd name="T27" fmla="*/ 17 h 82"/>
                <a:gd name="T28" fmla="*/ 17 w 88"/>
                <a:gd name="T29" fmla="*/ 1 h 82"/>
                <a:gd name="T30" fmla="*/ 58 w 88"/>
                <a:gd name="T31" fmla="*/ 3 h 82"/>
                <a:gd name="T32" fmla="*/ 81 w 88"/>
                <a:gd name="T33" fmla="*/ 8 h 82"/>
                <a:gd name="T34" fmla="*/ 81 w 88"/>
                <a:gd name="T35" fmla="*/ 15 h 82"/>
                <a:gd name="T36" fmla="*/ 58 w 88"/>
                <a:gd name="T37" fmla="*/ 28 h 82"/>
                <a:gd name="T38" fmla="*/ 80 w 88"/>
                <a:gd name="T39" fmla="*/ 38 h 82"/>
                <a:gd name="T40" fmla="*/ 85 w 88"/>
                <a:gd name="T41" fmla="*/ 75 h 82"/>
                <a:gd name="T42" fmla="*/ 82 w 88"/>
                <a:gd name="T43" fmla="*/ 82 h 82"/>
                <a:gd name="T44" fmla="*/ 29 w 88"/>
                <a:gd name="T45" fmla="*/ 81 h 82"/>
                <a:gd name="T46" fmla="*/ 26 w 88"/>
                <a:gd name="T47" fmla="*/ 74 h 82"/>
                <a:gd name="T48" fmla="*/ 34 w 88"/>
                <a:gd name="T49" fmla="*/ 40 h 82"/>
                <a:gd name="T50" fmla="*/ 33 w 88"/>
                <a:gd name="T51" fmla="*/ 35 h 82"/>
                <a:gd name="T52" fmla="*/ 34 w 88"/>
                <a:gd name="T53" fmla="*/ 28 h 82"/>
                <a:gd name="T54" fmla="*/ 51 w 88"/>
                <a:gd name="T55" fmla="*/ 15 h 82"/>
                <a:gd name="T56" fmla="*/ 28 w 88"/>
                <a:gd name="T57" fmla="*/ 12 h 82"/>
                <a:gd name="T58" fmla="*/ 51 w 88"/>
                <a:gd name="T59" fmla="*/ 8 h 82"/>
                <a:gd name="T60" fmla="*/ 55 w 88"/>
                <a:gd name="T61" fmla="*/ 0 h 82"/>
                <a:gd name="T62" fmla="*/ 70 w 88"/>
                <a:gd name="T63" fmla="*/ 35 h 82"/>
                <a:gd name="T64" fmla="*/ 40 w 88"/>
                <a:gd name="T65" fmla="*/ 36 h 82"/>
                <a:gd name="T66" fmla="*/ 72 w 88"/>
                <a:gd name="T67" fmla="*/ 38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8" h="82">
                  <a:moveTo>
                    <a:pt x="20" y="4"/>
                  </a:moveTo>
                  <a:cubicBezTo>
                    <a:pt x="20" y="17"/>
                    <a:pt x="20" y="17"/>
                    <a:pt x="20" y="17"/>
                  </a:cubicBezTo>
                  <a:cubicBezTo>
                    <a:pt x="27" y="17"/>
                    <a:pt x="27" y="17"/>
                    <a:pt x="27" y="17"/>
                  </a:cubicBezTo>
                  <a:cubicBezTo>
                    <a:pt x="29" y="17"/>
                    <a:pt x="30" y="18"/>
                    <a:pt x="30" y="20"/>
                  </a:cubicBezTo>
                  <a:cubicBezTo>
                    <a:pt x="30" y="22"/>
                    <a:pt x="29" y="23"/>
                    <a:pt x="27" y="23"/>
                  </a:cubicBezTo>
                  <a:cubicBezTo>
                    <a:pt x="20" y="23"/>
                    <a:pt x="20" y="23"/>
                    <a:pt x="20" y="23"/>
                  </a:cubicBezTo>
                  <a:cubicBezTo>
                    <a:pt x="20" y="41"/>
                    <a:pt x="20" y="41"/>
                    <a:pt x="20" y="41"/>
                  </a:cubicBezTo>
                  <a:cubicBezTo>
                    <a:pt x="22" y="40"/>
                    <a:pt x="24" y="39"/>
                    <a:pt x="26" y="38"/>
                  </a:cubicBezTo>
                  <a:cubicBezTo>
                    <a:pt x="28" y="37"/>
                    <a:pt x="29" y="38"/>
                    <a:pt x="30" y="39"/>
                  </a:cubicBezTo>
                  <a:cubicBezTo>
                    <a:pt x="31" y="41"/>
                    <a:pt x="31" y="42"/>
                    <a:pt x="30" y="43"/>
                  </a:cubicBezTo>
                  <a:cubicBezTo>
                    <a:pt x="28" y="44"/>
                    <a:pt x="25" y="46"/>
                    <a:pt x="20" y="48"/>
                  </a:cubicBezTo>
                  <a:cubicBezTo>
                    <a:pt x="20" y="75"/>
                    <a:pt x="20" y="75"/>
                    <a:pt x="20" y="75"/>
                  </a:cubicBezTo>
                  <a:cubicBezTo>
                    <a:pt x="19" y="80"/>
                    <a:pt x="15" y="82"/>
                    <a:pt x="6" y="80"/>
                  </a:cubicBezTo>
                  <a:cubicBezTo>
                    <a:pt x="4" y="80"/>
                    <a:pt x="3" y="78"/>
                    <a:pt x="3" y="76"/>
                  </a:cubicBezTo>
                  <a:cubicBezTo>
                    <a:pt x="4" y="74"/>
                    <a:pt x="5" y="73"/>
                    <a:pt x="7" y="74"/>
                  </a:cubicBezTo>
                  <a:cubicBezTo>
                    <a:pt x="12" y="75"/>
                    <a:pt x="14" y="75"/>
                    <a:pt x="13" y="72"/>
                  </a:cubicBezTo>
                  <a:cubicBezTo>
                    <a:pt x="13" y="51"/>
                    <a:pt x="13" y="51"/>
                    <a:pt x="13" y="51"/>
                  </a:cubicBezTo>
                  <a:cubicBezTo>
                    <a:pt x="13" y="51"/>
                    <a:pt x="11" y="52"/>
                    <a:pt x="9" y="52"/>
                  </a:cubicBezTo>
                  <a:cubicBezTo>
                    <a:pt x="7" y="53"/>
                    <a:pt x="5" y="54"/>
                    <a:pt x="5" y="54"/>
                  </a:cubicBezTo>
                  <a:cubicBezTo>
                    <a:pt x="2" y="55"/>
                    <a:pt x="1" y="54"/>
                    <a:pt x="0" y="52"/>
                  </a:cubicBezTo>
                  <a:cubicBezTo>
                    <a:pt x="0" y="50"/>
                    <a:pt x="0" y="49"/>
                    <a:pt x="2" y="48"/>
                  </a:cubicBezTo>
                  <a:cubicBezTo>
                    <a:pt x="3" y="48"/>
                    <a:pt x="4" y="48"/>
                    <a:pt x="5" y="47"/>
                  </a:cubicBezTo>
                  <a:cubicBezTo>
                    <a:pt x="8" y="46"/>
                    <a:pt x="11" y="45"/>
                    <a:pt x="13" y="44"/>
                  </a:cubicBezTo>
                  <a:cubicBezTo>
                    <a:pt x="13" y="23"/>
                    <a:pt x="13" y="23"/>
                    <a:pt x="13" y="23"/>
                  </a:cubicBezTo>
                  <a:cubicBezTo>
                    <a:pt x="5" y="23"/>
                    <a:pt x="5" y="23"/>
                    <a:pt x="5" y="23"/>
                  </a:cubicBezTo>
                  <a:cubicBezTo>
                    <a:pt x="3" y="23"/>
                    <a:pt x="2" y="22"/>
                    <a:pt x="2" y="20"/>
                  </a:cubicBezTo>
                  <a:cubicBezTo>
                    <a:pt x="2" y="18"/>
                    <a:pt x="3" y="17"/>
                    <a:pt x="5" y="17"/>
                  </a:cubicBezTo>
                  <a:cubicBezTo>
                    <a:pt x="13" y="17"/>
                    <a:pt x="13" y="17"/>
                    <a:pt x="13" y="17"/>
                  </a:cubicBezTo>
                  <a:cubicBezTo>
                    <a:pt x="13" y="4"/>
                    <a:pt x="13" y="4"/>
                    <a:pt x="13" y="4"/>
                  </a:cubicBezTo>
                  <a:cubicBezTo>
                    <a:pt x="13" y="2"/>
                    <a:pt x="14" y="1"/>
                    <a:pt x="17" y="1"/>
                  </a:cubicBezTo>
                  <a:cubicBezTo>
                    <a:pt x="19" y="1"/>
                    <a:pt x="20" y="2"/>
                    <a:pt x="20" y="4"/>
                  </a:cubicBezTo>
                  <a:close/>
                  <a:moveTo>
                    <a:pt x="58" y="3"/>
                  </a:moveTo>
                  <a:cubicBezTo>
                    <a:pt x="58" y="8"/>
                    <a:pt x="58" y="8"/>
                    <a:pt x="58" y="8"/>
                  </a:cubicBezTo>
                  <a:cubicBezTo>
                    <a:pt x="81" y="8"/>
                    <a:pt x="81" y="8"/>
                    <a:pt x="81" y="8"/>
                  </a:cubicBezTo>
                  <a:cubicBezTo>
                    <a:pt x="83" y="9"/>
                    <a:pt x="84" y="10"/>
                    <a:pt x="85" y="12"/>
                  </a:cubicBezTo>
                  <a:cubicBezTo>
                    <a:pt x="84" y="14"/>
                    <a:pt x="83" y="15"/>
                    <a:pt x="81" y="15"/>
                  </a:cubicBezTo>
                  <a:cubicBezTo>
                    <a:pt x="58" y="15"/>
                    <a:pt x="58" y="15"/>
                    <a:pt x="58" y="15"/>
                  </a:cubicBezTo>
                  <a:cubicBezTo>
                    <a:pt x="58" y="28"/>
                    <a:pt x="58" y="28"/>
                    <a:pt x="58" y="28"/>
                  </a:cubicBezTo>
                  <a:cubicBezTo>
                    <a:pt x="75" y="28"/>
                    <a:pt x="75" y="28"/>
                    <a:pt x="75" y="28"/>
                  </a:cubicBezTo>
                  <a:cubicBezTo>
                    <a:pt x="80" y="29"/>
                    <a:pt x="82" y="32"/>
                    <a:pt x="80" y="38"/>
                  </a:cubicBezTo>
                  <a:cubicBezTo>
                    <a:pt x="76" y="48"/>
                    <a:pt x="70" y="56"/>
                    <a:pt x="62" y="63"/>
                  </a:cubicBezTo>
                  <a:cubicBezTo>
                    <a:pt x="69" y="68"/>
                    <a:pt x="77" y="72"/>
                    <a:pt x="85" y="75"/>
                  </a:cubicBezTo>
                  <a:cubicBezTo>
                    <a:pt x="87" y="76"/>
                    <a:pt x="88" y="77"/>
                    <a:pt x="87" y="80"/>
                  </a:cubicBezTo>
                  <a:cubicBezTo>
                    <a:pt x="86" y="82"/>
                    <a:pt x="84" y="82"/>
                    <a:pt x="82" y="82"/>
                  </a:cubicBezTo>
                  <a:cubicBezTo>
                    <a:pt x="74" y="78"/>
                    <a:pt x="65" y="74"/>
                    <a:pt x="56" y="68"/>
                  </a:cubicBezTo>
                  <a:cubicBezTo>
                    <a:pt x="48" y="73"/>
                    <a:pt x="39" y="77"/>
                    <a:pt x="29" y="81"/>
                  </a:cubicBezTo>
                  <a:cubicBezTo>
                    <a:pt x="26" y="81"/>
                    <a:pt x="25" y="81"/>
                    <a:pt x="24" y="78"/>
                  </a:cubicBezTo>
                  <a:cubicBezTo>
                    <a:pt x="23" y="76"/>
                    <a:pt x="24" y="75"/>
                    <a:pt x="26" y="74"/>
                  </a:cubicBezTo>
                  <a:cubicBezTo>
                    <a:pt x="36" y="71"/>
                    <a:pt x="44" y="68"/>
                    <a:pt x="50" y="63"/>
                  </a:cubicBezTo>
                  <a:cubicBezTo>
                    <a:pt x="45" y="59"/>
                    <a:pt x="40" y="51"/>
                    <a:pt x="34" y="40"/>
                  </a:cubicBezTo>
                  <a:cubicBezTo>
                    <a:pt x="33" y="38"/>
                    <a:pt x="33" y="37"/>
                    <a:pt x="35" y="35"/>
                  </a:cubicBezTo>
                  <a:cubicBezTo>
                    <a:pt x="33" y="35"/>
                    <a:pt x="33" y="35"/>
                    <a:pt x="33" y="35"/>
                  </a:cubicBezTo>
                  <a:cubicBezTo>
                    <a:pt x="32" y="35"/>
                    <a:pt x="31" y="34"/>
                    <a:pt x="30" y="32"/>
                  </a:cubicBezTo>
                  <a:cubicBezTo>
                    <a:pt x="31" y="29"/>
                    <a:pt x="32" y="28"/>
                    <a:pt x="34" y="28"/>
                  </a:cubicBezTo>
                  <a:cubicBezTo>
                    <a:pt x="51" y="28"/>
                    <a:pt x="51" y="28"/>
                    <a:pt x="51" y="28"/>
                  </a:cubicBezTo>
                  <a:cubicBezTo>
                    <a:pt x="51" y="15"/>
                    <a:pt x="51" y="15"/>
                    <a:pt x="51" y="15"/>
                  </a:cubicBezTo>
                  <a:cubicBezTo>
                    <a:pt x="31" y="15"/>
                    <a:pt x="31" y="15"/>
                    <a:pt x="31" y="15"/>
                  </a:cubicBezTo>
                  <a:cubicBezTo>
                    <a:pt x="29" y="15"/>
                    <a:pt x="28" y="14"/>
                    <a:pt x="28" y="12"/>
                  </a:cubicBezTo>
                  <a:cubicBezTo>
                    <a:pt x="28" y="10"/>
                    <a:pt x="29" y="9"/>
                    <a:pt x="31" y="8"/>
                  </a:cubicBezTo>
                  <a:cubicBezTo>
                    <a:pt x="51" y="8"/>
                    <a:pt x="51" y="8"/>
                    <a:pt x="51" y="8"/>
                  </a:cubicBezTo>
                  <a:cubicBezTo>
                    <a:pt x="51" y="3"/>
                    <a:pt x="51" y="3"/>
                    <a:pt x="51" y="3"/>
                  </a:cubicBezTo>
                  <a:cubicBezTo>
                    <a:pt x="51" y="1"/>
                    <a:pt x="52" y="0"/>
                    <a:pt x="55" y="0"/>
                  </a:cubicBezTo>
                  <a:cubicBezTo>
                    <a:pt x="57" y="0"/>
                    <a:pt x="58" y="1"/>
                    <a:pt x="58" y="3"/>
                  </a:cubicBezTo>
                  <a:close/>
                  <a:moveTo>
                    <a:pt x="70" y="35"/>
                  </a:moveTo>
                  <a:cubicBezTo>
                    <a:pt x="39" y="35"/>
                    <a:pt x="39" y="35"/>
                    <a:pt x="39" y="35"/>
                  </a:cubicBezTo>
                  <a:cubicBezTo>
                    <a:pt x="39" y="36"/>
                    <a:pt x="39" y="36"/>
                    <a:pt x="40" y="36"/>
                  </a:cubicBezTo>
                  <a:cubicBezTo>
                    <a:pt x="47" y="47"/>
                    <a:pt x="52" y="55"/>
                    <a:pt x="56" y="58"/>
                  </a:cubicBezTo>
                  <a:cubicBezTo>
                    <a:pt x="63" y="52"/>
                    <a:pt x="68" y="46"/>
                    <a:pt x="72" y="38"/>
                  </a:cubicBezTo>
                  <a:cubicBezTo>
                    <a:pt x="72" y="37"/>
                    <a:pt x="72" y="36"/>
                    <a:pt x="70" y="35"/>
                  </a:cubicBezTo>
                  <a:close/>
                </a:path>
              </a:pathLst>
            </a:custGeom>
            <a:solidFill>
              <a:srgbClr val="EA550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dirty="0">
                <a:latin typeface="微软雅黑" panose="020B0503020204020204" pitchFamily="34" charset="-122"/>
                <a:ea typeface="微软雅黑" panose="020B0503020204020204" pitchFamily="34" charset="-122"/>
              </a:endParaRPr>
            </a:p>
          </p:txBody>
        </p:sp>
      </p:grpSp>
      <p:sp>
        <p:nvSpPr>
          <p:cNvPr id="18" name="任意多边形: 形状 17"/>
          <p:cNvSpPr/>
          <p:nvPr userDrawn="1"/>
        </p:nvSpPr>
        <p:spPr>
          <a:xfrm>
            <a:off x="0" y="0"/>
            <a:ext cx="690654" cy="745871"/>
          </a:xfrm>
          <a:custGeom>
            <a:avLst/>
            <a:gdLst>
              <a:gd name="connsiteX0" fmla="*/ 590479 w 631437"/>
              <a:gd name="connsiteY0" fmla="*/ 600003 h 681919"/>
              <a:gd name="connsiteX1" fmla="*/ 631437 w 631437"/>
              <a:gd name="connsiteY1" fmla="*/ 640961 h 681919"/>
              <a:gd name="connsiteX2" fmla="*/ 590479 w 631437"/>
              <a:gd name="connsiteY2" fmla="*/ 681919 h 681919"/>
              <a:gd name="connsiteX3" fmla="*/ 549521 w 631437"/>
              <a:gd name="connsiteY3" fmla="*/ 640961 h 681919"/>
              <a:gd name="connsiteX4" fmla="*/ 590479 w 631437"/>
              <a:gd name="connsiteY4" fmla="*/ 600003 h 681919"/>
              <a:gd name="connsiteX5" fmla="*/ 448555 w 631437"/>
              <a:gd name="connsiteY5" fmla="*/ 600003 h 681919"/>
              <a:gd name="connsiteX6" fmla="*/ 489513 w 631437"/>
              <a:gd name="connsiteY6" fmla="*/ 640961 h 681919"/>
              <a:gd name="connsiteX7" fmla="*/ 448555 w 631437"/>
              <a:gd name="connsiteY7" fmla="*/ 681919 h 681919"/>
              <a:gd name="connsiteX8" fmla="*/ 407597 w 631437"/>
              <a:gd name="connsiteY8" fmla="*/ 640961 h 681919"/>
              <a:gd name="connsiteX9" fmla="*/ 448555 w 631437"/>
              <a:gd name="connsiteY9" fmla="*/ 600003 h 681919"/>
              <a:gd name="connsiteX10" fmla="*/ 306633 w 631437"/>
              <a:gd name="connsiteY10" fmla="*/ 600003 h 681919"/>
              <a:gd name="connsiteX11" fmla="*/ 347591 w 631437"/>
              <a:gd name="connsiteY11" fmla="*/ 640961 h 681919"/>
              <a:gd name="connsiteX12" fmla="*/ 306633 w 631437"/>
              <a:gd name="connsiteY12" fmla="*/ 681919 h 681919"/>
              <a:gd name="connsiteX13" fmla="*/ 265675 w 631437"/>
              <a:gd name="connsiteY13" fmla="*/ 640961 h 681919"/>
              <a:gd name="connsiteX14" fmla="*/ 306633 w 631437"/>
              <a:gd name="connsiteY14" fmla="*/ 600003 h 681919"/>
              <a:gd name="connsiteX15" fmla="*/ 164711 w 631437"/>
              <a:gd name="connsiteY15" fmla="*/ 600003 h 681919"/>
              <a:gd name="connsiteX16" fmla="*/ 205669 w 631437"/>
              <a:gd name="connsiteY16" fmla="*/ 640961 h 681919"/>
              <a:gd name="connsiteX17" fmla="*/ 164711 w 631437"/>
              <a:gd name="connsiteY17" fmla="*/ 681919 h 681919"/>
              <a:gd name="connsiteX18" fmla="*/ 123753 w 631437"/>
              <a:gd name="connsiteY18" fmla="*/ 640961 h 681919"/>
              <a:gd name="connsiteX19" fmla="*/ 164711 w 631437"/>
              <a:gd name="connsiteY19" fmla="*/ 600003 h 681919"/>
              <a:gd name="connsiteX20" fmla="*/ 22789 w 631437"/>
              <a:gd name="connsiteY20" fmla="*/ 600003 h 681919"/>
              <a:gd name="connsiteX21" fmla="*/ 63747 w 631437"/>
              <a:gd name="connsiteY21" fmla="*/ 640961 h 681919"/>
              <a:gd name="connsiteX22" fmla="*/ 22789 w 631437"/>
              <a:gd name="connsiteY22" fmla="*/ 681919 h 681919"/>
              <a:gd name="connsiteX23" fmla="*/ 0 w 631437"/>
              <a:gd name="connsiteY23" fmla="*/ 672479 h 681919"/>
              <a:gd name="connsiteX24" fmla="*/ 0 w 631437"/>
              <a:gd name="connsiteY24" fmla="*/ 609443 h 681919"/>
              <a:gd name="connsiteX25" fmla="*/ 590479 w 631437"/>
              <a:gd name="connsiteY25" fmla="*/ 441888 h 681919"/>
              <a:gd name="connsiteX26" fmla="*/ 631437 w 631437"/>
              <a:gd name="connsiteY26" fmla="*/ 482846 h 681919"/>
              <a:gd name="connsiteX27" fmla="*/ 590479 w 631437"/>
              <a:gd name="connsiteY27" fmla="*/ 523804 h 681919"/>
              <a:gd name="connsiteX28" fmla="*/ 549521 w 631437"/>
              <a:gd name="connsiteY28" fmla="*/ 482846 h 681919"/>
              <a:gd name="connsiteX29" fmla="*/ 590479 w 631437"/>
              <a:gd name="connsiteY29" fmla="*/ 441888 h 681919"/>
              <a:gd name="connsiteX30" fmla="*/ 448555 w 631437"/>
              <a:gd name="connsiteY30" fmla="*/ 441888 h 681919"/>
              <a:gd name="connsiteX31" fmla="*/ 489513 w 631437"/>
              <a:gd name="connsiteY31" fmla="*/ 482846 h 681919"/>
              <a:gd name="connsiteX32" fmla="*/ 448555 w 631437"/>
              <a:gd name="connsiteY32" fmla="*/ 523804 h 681919"/>
              <a:gd name="connsiteX33" fmla="*/ 407597 w 631437"/>
              <a:gd name="connsiteY33" fmla="*/ 482846 h 681919"/>
              <a:gd name="connsiteX34" fmla="*/ 448555 w 631437"/>
              <a:gd name="connsiteY34" fmla="*/ 441888 h 681919"/>
              <a:gd name="connsiteX35" fmla="*/ 306633 w 631437"/>
              <a:gd name="connsiteY35" fmla="*/ 441888 h 681919"/>
              <a:gd name="connsiteX36" fmla="*/ 347591 w 631437"/>
              <a:gd name="connsiteY36" fmla="*/ 482846 h 681919"/>
              <a:gd name="connsiteX37" fmla="*/ 306633 w 631437"/>
              <a:gd name="connsiteY37" fmla="*/ 523804 h 681919"/>
              <a:gd name="connsiteX38" fmla="*/ 265675 w 631437"/>
              <a:gd name="connsiteY38" fmla="*/ 482846 h 681919"/>
              <a:gd name="connsiteX39" fmla="*/ 306633 w 631437"/>
              <a:gd name="connsiteY39" fmla="*/ 441888 h 681919"/>
              <a:gd name="connsiteX40" fmla="*/ 164711 w 631437"/>
              <a:gd name="connsiteY40" fmla="*/ 441888 h 681919"/>
              <a:gd name="connsiteX41" fmla="*/ 205669 w 631437"/>
              <a:gd name="connsiteY41" fmla="*/ 482846 h 681919"/>
              <a:gd name="connsiteX42" fmla="*/ 164711 w 631437"/>
              <a:gd name="connsiteY42" fmla="*/ 523804 h 681919"/>
              <a:gd name="connsiteX43" fmla="*/ 123753 w 631437"/>
              <a:gd name="connsiteY43" fmla="*/ 482846 h 681919"/>
              <a:gd name="connsiteX44" fmla="*/ 164711 w 631437"/>
              <a:gd name="connsiteY44" fmla="*/ 441888 h 681919"/>
              <a:gd name="connsiteX45" fmla="*/ 22789 w 631437"/>
              <a:gd name="connsiteY45" fmla="*/ 441888 h 681919"/>
              <a:gd name="connsiteX46" fmla="*/ 63747 w 631437"/>
              <a:gd name="connsiteY46" fmla="*/ 482846 h 681919"/>
              <a:gd name="connsiteX47" fmla="*/ 22789 w 631437"/>
              <a:gd name="connsiteY47" fmla="*/ 523804 h 681919"/>
              <a:gd name="connsiteX48" fmla="*/ 0 w 631437"/>
              <a:gd name="connsiteY48" fmla="*/ 514364 h 681919"/>
              <a:gd name="connsiteX49" fmla="*/ 0 w 631437"/>
              <a:gd name="connsiteY49" fmla="*/ 451328 h 681919"/>
              <a:gd name="connsiteX50" fmla="*/ 590479 w 631437"/>
              <a:gd name="connsiteY50" fmla="*/ 283773 h 681919"/>
              <a:gd name="connsiteX51" fmla="*/ 631437 w 631437"/>
              <a:gd name="connsiteY51" fmla="*/ 324731 h 681919"/>
              <a:gd name="connsiteX52" fmla="*/ 590479 w 631437"/>
              <a:gd name="connsiteY52" fmla="*/ 365689 h 681919"/>
              <a:gd name="connsiteX53" fmla="*/ 549521 w 631437"/>
              <a:gd name="connsiteY53" fmla="*/ 324731 h 681919"/>
              <a:gd name="connsiteX54" fmla="*/ 590479 w 631437"/>
              <a:gd name="connsiteY54" fmla="*/ 283773 h 681919"/>
              <a:gd name="connsiteX55" fmla="*/ 448555 w 631437"/>
              <a:gd name="connsiteY55" fmla="*/ 283773 h 681919"/>
              <a:gd name="connsiteX56" fmla="*/ 489513 w 631437"/>
              <a:gd name="connsiteY56" fmla="*/ 324731 h 681919"/>
              <a:gd name="connsiteX57" fmla="*/ 448555 w 631437"/>
              <a:gd name="connsiteY57" fmla="*/ 365689 h 681919"/>
              <a:gd name="connsiteX58" fmla="*/ 407597 w 631437"/>
              <a:gd name="connsiteY58" fmla="*/ 324731 h 681919"/>
              <a:gd name="connsiteX59" fmla="*/ 448555 w 631437"/>
              <a:gd name="connsiteY59" fmla="*/ 283773 h 681919"/>
              <a:gd name="connsiteX60" fmla="*/ 306633 w 631437"/>
              <a:gd name="connsiteY60" fmla="*/ 283773 h 681919"/>
              <a:gd name="connsiteX61" fmla="*/ 347591 w 631437"/>
              <a:gd name="connsiteY61" fmla="*/ 324731 h 681919"/>
              <a:gd name="connsiteX62" fmla="*/ 306633 w 631437"/>
              <a:gd name="connsiteY62" fmla="*/ 365689 h 681919"/>
              <a:gd name="connsiteX63" fmla="*/ 265675 w 631437"/>
              <a:gd name="connsiteY63" fmla="*/ 324731 h 681919"/>
              <a:gd name="connsiteX64" fmla="*/ 306633 w 631437"/>
              <a:gd name="connsiteY64" fmla="*/ 283773 h 681919"/>
              <a:gd name="connsiteX65" fmla="*/ 164711 w 631437"/>
              <a:gd name="connsiteY65" fmla="*/ 283773 h 681919"/>
              <a:gd name="connsiteX66" fmla="*/ 205669 w 631437"/>
              <a:gd name="connsiteY66" fmla="*/ 324731 h 681919"/>
              <a:gd name="connsiteX67" fmla="*/ 164711 w 631437"/>
              <a:gd name="connsiteY67" fmla="*/ 365689 h 681919"/>
              <a:gd name="connsiteX68" fmla="*/ 123753 w 631437"/>
              <a:gd name="connsiteY68" fmla="*/ 324731 h 681919"/>
              <a:gd name="connsiteX69" fmla="*/ 164711 w 631437"/>
              <a:gd name="connsiteY69" fmla="*/ 283773 h 681919"/>
              <a:gd name="connsiteX70" fmla="*/ 22789 w 631437"/>
              <a:gd name="connsiteY70" fmla="*/ 283773 h 681919"/>
              <a:gd name="connsiteX71" fmla="*/ 63747 w 631437"/>
              <a:gd name="connsiteY71" fmla="*/ 324731 h 681919"/>
              <a:gd name="connsiteX72" fmla="*/ 22789 w 631437"/>
              <a:gd name="connsiteY72" fmla="*/ 365689 h 681919"/>
              <a:gd name="connsiteX73" fmla="*/ 0 w 631437"/>
              <a:gd name="connsiteY73" fmla="*/ 356249 h 681919"/>
              <a:gd name="connsiteX74" fmla="*/ 0 w 631437"/>
              <a:gd name="connsiteY74" fmla="*/ 293213 h 681919"/>
              <a:gd name="connsiteX75" fmla="*/ 448555 w 631437"/>
              <a:gd name="connsiteY75" fmla="*/ 125658 h 681919"/>
              <a:gd name="connsiteX76" fmla="*/ 489513 w 631437"/>
              <a:gd name="connsiteY76" fmla="*/ 166616 h 681919"/>
              <a:gd name="connsiteX77" fmla="*/ 448555 w 631437"/>
              <a:gd name="connsiteY77" fmla="*/ 207574 h 681919"/>
              <a:gd name="connsiteX78" fmla="*/ 407597 w 631437"/>
              <a:gd name="connsiteY78" fmla="*/ 166616 h 681919"/>
              <a:gd name="connsiteX79" fmla="*/ 448555 w 631437"/>
              <a:gd name="connsiteY79" fmla="*/ 125658 h 681919"/>
              <a:gd name="connsiteX80" fmla="*/ 306633 w 631437"/>
              <a:gd name="connsiteY80" fmla="*/ 125658 h 681919"/>
              <a:gd name="connsiteX81" fmla="*/ 347591 w 631437"/>
              <a:gd name="connsiteY81" fmla="*/ 166616 h 681919"/>
              <a:gd name="connsiteX82" fmla="*/ 306633 w 631437"/>
              <a:gd name="connsiteY82" fmla="*/ 207574 h 681919"/>
              <a:gd name="connsiteX83" fmla="*/ 265675 w 631437"/>
              <a:gd name="connsiteY83" fmla="*/ 166616 h 681919"/>
              <a:gd name="connsiteX84" fmla="*/ 306633 w 631437"/>
              <a:gd name="connsiteY84" fmla="*/ 125658 h 681919"/>
              <a:gd name="connsiteX85" fmla="*/ 164711 w 631437"/>
              <a:gd name="connsiteY85" fmla="*/ 125658 h 681919"/>
              <a:gd name="connsiteX86" fmla="*/ 205669 w 631437"/>
              <a:gd name="connsiteY86" fmla="*/ 166616 h 681919"/>
              <a:gd name="connsiteX87" fmla="*/ 164711 w 631437"/>
              <a:gd name="connsiteY87" fmla="*/ 207574 h 681919"/>
              <a:gd name="connsiteX88" fmla="*/ 123753 w 631437"/>
              <a:gd name="connsiteY88" fmla="*/ 166616 h 681919"/>
              <a:gd name="connsiteX89" fmla="*/ 164711 w 631437"/>
              <a:gd name="connsiteY89" fmla="*/ 125658 h 681919"/>
              <a:gd name="connsiteX90" fmla="*/ 22789 w 631437"/>
              <a:gd name="connsiteY90" fmla="*/ 125658 h 681919"/>
              <a:gd name="connsiteX91" fmla="*/ 63747 w 631437"/>
              <a:gd name="connsiteY91" fmla="*/ 166616 h 681919"/>
              <a:gd name="connsiteX92" fmla="*/ 22789 w 631437"/>
              <a:gd name="connsiteY92" fmla="*/ 207574 h 681919"/>
              <a:gd name="connsiteX93" fmla="*/ 0 w 631437"/>
              <a:gd name="connsiteY93" fmla="*/ 198134 h 681919"/>
              <a:gd name="connsiteX94" fmla="*/ 0 w 631437"/>
              <a:gd name="connsiteY94" fmla="*/ 135098 h 681919"/>
              <a:gd name="connsiteX95" fmla="*/ 590479 w 631437"/>
              <a:gd name="connsiteY95" fmla="*/ 125658 h 681919"/>
              <a:gd name="connsiteX96" fmla="*/ 631437 w 631437"/>
              <a:gd name="connsiteY96" fmla="*/ 166616 h 681919"/>
              <a:gd name="connsiteX97" fmla="*/ 590479 w 631437"/>
              <a:gd name="connsiteY97" fmla="*/ 207574 h 681919"/>
              <a:gd name="connsiteX98" fmla="*/ 549521 w 631437"/>
              <a:gd name="connsiteY98" fmla="*/ 166616 h 681919"/>
              <a:gd name="connsiteX99" fmla="*/ 590479 w 631437"/>
              <a:gd name="connsiteY99" fmla="*/ 125658 h 681919"/>
              <a:gd name="connsiteX100" fmla="*/ 553042 w 631437"/>
              <a:gd name="connsiteY100" fmla="*/ 0 h 681919"/>
              <a:gd name="connsiteX101" fmla="*/ 627916 w 631437"/>
              <a:gd name="connsiteY101" fmla="*/ 0 h 681919"/>
              <a:gd name="connsiteX102" fmla="*/ 631437 w 631437"/>
              <a:gd name="connsiteY102" fmla="*/ 8501 h 681919"/>
              <a:gd name="connsiteX103" fmla="*/ 590479 w 631437"/>
              <a:gd name="connsiteY103" fmla="*/ 49459 h 681919"/>
              <a:gd name="connsiteX104" fmla="*/ 549521 w 631437"/>
              <a:gd name="connsiteY104" fmla="*/ 8501 h 681919"/>
              <a:gd name="connsiteX105" fmla="*/ 411118 w 631437"/>
              <a:gd name="connsiteY105" fmla="*/ 0 h 681919"/>
              <a:gd name="connsiteX106" fmla="*/ 485992 w 631437"/>
              <a:gd name="connsiteY106" fmla="*/ 0 h 681919"/>
              <a:gd name="connsiteX107" fmla="*/ 489513 w 631437"/>
              <a:gd name="connsiteY107" fmla="*/ 8501 h 681919"/>
              <a:gd name="connsiteX108" fmla="*/ 448555 w 631437"/>
              <a:gd name="connsiteY108" fmla="*/ 49459 h 681919"/>
              <a:gd name="connsiteX109" fmla="*/ 407597 w 631437"/>
              <a:gd name="connsiteY109" fmla="*/ 8501 h 681919"/>
              <a:gd name="connsiteX110" fmla="*/ 269196 w 631437"/>
              <a:gd name="connsiteY110" fmla="*/ 0 h 681919"/>
              <a:gd name="connsiteX111" fmla="*/ 344070 w 631437"/>
              <a:gd name="connsiteY111" fmla="*/ 0 h 681919"/>
              <a:gd name="connsiteX112" fmla="*/ 347591 w 631437"/>
              <a:gd name="connsiteY112" fmla="*/ 8501 h 681919"/>
              <a:gd name="connsiteX113" fmla="*/ 306633 w 631437"/>
              <a:gd name="connsiteY113" fmla="*/ 49459 h 681919"/>
              <a:gd name="connsiteX114" fmla="*/ 265675 w 631437"/>
              <a:gd name="connsiteY114" fmla="*/ 8501 h 681919"/>
              <a:gd name="connsiteX115" fmla="*/ 127274 w 631437"/>
              <a:gd name="connsiteY115" fmla="*/ 0 h 681919"/>
              <a:gd name="connsiteX116" fmla="*/ 202148 w 631437"/>
              <a:gd name="connsiteY116" fmla="*/ 0 h 681919"/>
              <a:gd name="connsiteX117" fmla="*/ 205669 w 631437"/>
              <a:gd name="connsiteY117" fmla="*/ 8501 h 681919"/>
              <a:gd name="connsiteX118" fmla="*/ 164711 w 631437"/>
              <a:gd name="connsiteY118" fmla="*/ 49459 h 681919"/>
              <a:gd name="connsiteX119" fmla="*/ 123753 w 631437"/>
              <a:gd name="connsiteY119" fmla="*/ 8501 h 681919"/>
              <a:gd name="connsiteX120" fmla="*/ 0 w 631437"/>
              <a:gd name="connsiteY120" fmla="*/ 0 h 681919"/>
              <a:gd name="connsiteX121" fmla="*/ 60226 w 631437"/>
              <a:gd name="connsiteY121" fmla="*/ 0 h 681919"/>
              <a:gd name="connsiteX122" fmla="*/ 63747 w 631437"/>
              <a:gd name="connsiteY122" fmla="*/ 8501 h 681919"/>
              <a:gd name="connsiteX123" fmla="*/ 22789 w 631437"/>
              <a:gd name="connsiteY123" fmla="*/ 49459 h 681919"/>
              <a:gd name="connsiteX124" fmla="*/ 0 w 631437"/>
              <a:gd name="connsiteY124" fmla="*/ 40019 h 681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Lst>
            <a:rect l="l" t="t" r="r" b="b"/>
            <a:pathLst>
              <a:path w="631437" h="681919">
                <a:moveTo>
                  <a:pt x="590479" y="600003"/>
                </a:moveTo>
                <a:cubicBezTo>
                  <a:pt x="613099" y="600003"/>
                  <a:pt x="631437" y="618341"/>
                  <a:pt x="631437" y="640961"/>
                </a:cubicBezTo>
                <a:cubicBezTo>
                  <a:pt x="631437" y="663581"/>
                  <a:pt x="613099" y="681919"/>
                  <a:pt x="590479" y="681919"/>
                </a:cubicBezTo>
                <a:cubicBezTo>
                  <a:pt x="567859" y="681919"/>
                  <a:pt x="549521" y="663581"/>
                  <a:pt x="549521" y="640961"/>
                </a:cubicBezTo>
                <a:cubicBezTo>
                  <a:pt x="549521" y="618341"/>
                  <a:pt x="567859" y="600003"/>
                  <a:pt x="590479" y="600003"/>
                </a:cubicBezTo>
                <a:close/>
                <a:moveTo>
                  <a:pt x="448555" y="600003"/>
                </a:moveTo>
                <a:cubicBezTo>
                  <a:pt x="471175" y="600003"/>
                  <a:pt x="489513" y="618341"/>
                  <a:pt x="489513" y="640961"/>
                </a:cubicBezTo>
                <a:cubicBezTo>
                  <a:pt x="489513" y="663581"/>
                  <a:pt x="471175" y="681919"/>
                  <a:pt x="448555" y="681919"/>
                </a:cubicBezTo>
                <a:cubicBezTo>
                  <a:pt x="425935" y="681919"/>
                  <a:pt x="407597" y="663581"/>
                  <a:pt x="407597" y="640961"/>
                </a:cubicBezTo>
                <a:cubicBezTo>
                  <a:pt x="407597" y="618341"/>
                  <a:pt x="425935" y="600003"/>
                  <a:pt x="448555" y="600003"/>
                </a:cubicBezTo>
                <a:close/>
                <a:moveTo>
                  <a:pt x="306633" y="600003"/>
                </a:moveTo>
                <a:cubicBezTo>
                  <a:pt x="329253" y="600003"/>
                  <a:pt x="347591" y="618341"/>
                  <a:pt x="347591" y="640961"/>
                </a:cubicBezTo>
                <a:cubicBezTo>
                  <a:pt x="347591" y="663581"/>
                  <a:pt x="329253" y="681919"/>
                  <a:pt x="306633" y="681919"/>
                </a:cubicBezTo>
                <a:cubicBezTo>
                  <a:pt x="284013" y="681919"/>
                  <a:pt x="265675" y="663581"/>
                  <a:pt x="265675" y="640961"/>
                </a:cubicBezTo>
                <a:cubicBezTo>
                  <a:pt x="265675" y="618341"/>
                  <a:pt x="284013" y="600003"/>
                  <a:pt x="306633" y="600003"/>
                </a:cubicBezTo>
                <a:close/>
                <a:moveTo>
                  <a:pt x="164711" y="600003"/>
                </a:moveTo>
                <a:cubicBezTo>
                  <a:pt x="187331" y="600003"/>
                  <a:pt x="205669" y="618341"/>
                  <a:pt x="205669" y="640961"/>
                </a:cubicBezTo>
                <a:cubicBezTo>
                  <a:pt x="205669" y="663581"/>
                  <a:pt x="187331" y="681919"/>
                  <a:pt x="164711" y="681919"/>
                </a:cubicBezTo>
                <a:cubicBezTo>
                  <a:pt x="142091" y="681919"/>
                  <a:pt x="123753" y="663581"/>
                  <a:pt x="123753" y="640961"/>
                </a:cubicBezTo>
                <a:cubicBezTo>
                  <a:pt x="123753" y="618341"/>
                  <a:pt x="142091" y="600003"/>
                  <a:pt x="164711" y="600003"/>
                </a:cubicBezTo>
                <a:close/>
                <a:moveTo>
                  <a:pt x="22789" y="600003"/>
                </a:moveTo>
                <a:cubicBezTo>
                  <a:pt x="45409" y="600003"/>
                  <a:pt x="63747" y="618341"/>
                  <a:pt x="63747" y="640961"/>
                </a:cubicBezTo>
                <a:cubicBezTo>
                  <a:pt x="63747" y="663581"/>
                  <a:pt x="45409" y="681919"/>
                  <a:pt x="22789" y="681919"/>
                </a:cubicBezTo>
                <a:lnTo>
                  <a:pt x="0" y="672479"/>
                </a:lnTo>
                <a:lnTo>
                  <a:pt x="0" y="609443"/>
                </a:lnTo>
                <a:close/>
                <a:moveTo>
                  <a:pt x="590479" y="441888"/>
                </a:moveTo>
                <a:cubicBezTo>
                  <a:pt x="613099" y="441888"/>
                  <a:pt x="631437" y="460226"/>
                  <a:pt x="631437" y="482846"/>
                </a:cubicBezTo>
                <a:cubicBezTo>
                  <a:pt x="631437" y="505466"/>
                  <a:pt x="613099" y="523804"/>
                  <a:pt x="590479" y="523804"/>
                </a:cubicBezTo>
                <a:cubicBezTo>
                  <a:pt x="567859" y="523804"/>
                  <a:pt x="549521" y="505466"/>
                  <a:pt x="549521" y="482846"/>
                </a:cubicBezTo>
                <a:cubicBezTo>
                  <a:pt x="549521" y="460226"/>
                  <a:pt x="567859" y="441888"/>
                  <a:pt x="590479" y="441888"/>
                </a:cubicBezTo>
                <a:close/>
                <a:moveTo>
                  <a:pt x="448555" y="441888"/>
                </a:moveTo>
                <a:cubicBezTo>
                  <a:pt x="471175" y="441888"/>
                  <a:pt x="489513" y="460226"/>
                  <a:pt x="489513" y="482846"/>
                </a:cubicBezTo>
                <a:cubicBezTo>
                  <a:pt x="489513" y="505466"/>
                  <a:pt x="471175" y="523804"/>
                  <a:pt x="448555" y="523804"/>
                </a:cubicBezTo>
                <a:cubicBezTo>
                  <a:pt x="425935" y="523804"/>
                  <a:pt x="407597" y="505466"/>
                  <a:pt x="407597" y="482846"/>
                </a:cubicBezTo>
                <a:cubicBezTo>
                  <a:pt x="407597" y="460226"/>
                  <a:pt x="425935" y="441888"/>
                  <a:pt x="448555" y="441888"/>
                </a:cubicBezTo>
                <a:close/>
                <a:moveTo>
                  <a:pt x="306633" y="441888"/>
                </a:moveTo>
                <a:cubicBezTo>
                  <a:pt x="329253" y="441888"/>
                  <a:pt x="347591" y="460226"/>
                  <a:pt x="347591" y="482846"/>
                </a:cubicBezTo>
                <a:cubicBezTo>
                  <a:pt x="347591" y="505466"/>
                  <a:pt x="329253" y="523804"/>
                  <a:pt x="306633" y="523804"/>
                </a:cubicBezTo>
                <a:cubicBezTo>
                  <a:pt x="284013" y="523804"/>
                  <a:pt x="265675" y="505466"/>
                  <a:pt x="265675" y="482846"/>
                </a:cubicBezTo>
                <a:cubicBezTo>
                  <a:pt x="265675" y="460226"/>
                  <a:pt x="284013" y="441888"/>
                  <a:pt x="306633" y="441888"/>
                </a:cubicBezTo>
                <a:close/>
                <a:moveTo>
                  <a:pt x="164711" y="441888"/>
                </a:moveTo>
                <a:cubicBezTo>
                  <a:pt x="187331" y="441888"/>
                  <a:pt x="205669" y="460226"/>
                  <a:pt x="205669" y="482846"/>
                </a:cubicBezTo>
                <a:cubicBezTo>
                  <a:pt x="205669" y="505466"/>
                  <a:pt x="187331" y="523804"/>
                  <a:pt x="164711" y="523804"/>
                </a:cubicBezTo>
                <a:cubicBezTo>
                  <a:pt x="142091" y="523804"/>
                  <a:pt x="123753" y="505466"/>
                  <a:pt x="123753" y="482846"/>
                </a:cubicBezTo>
                <a:cubicBezTo>
                  <a:pt x="123753" y="460226"/>
                  <a:pt x="142091" y="441888"/>
                  <a:pt x="164711" y="441888"/>
                </a:cubicBezTo>
                <a:close/>
                <a:moveTo>
                  <a:pt x="22789" y="441888"/>
                </a:moveTo>
                <a:cubicBezTo>
                  <a:pt x="45409" y="441888"/>
                  <a:pt x="63747" y="460226"/>
                  <a:pt x="63747" y="482846"/>
                </a:cubicBezTo>
                <a:cubicBezTo>
                  <a:pt x="63747" y="505466"/>
                  <a:pt x="45409" y="523804"/>
                  <a:pt x="22789" y="523804"/>
                </a:cubicBezTo>
                <a:lnTo>
                  <a:pt x="0" y="514364"/>
                </a:lnTo>
                <a:lnTo>
                  <a:pt x="0" y="451328"/>
                </a:lnTo>
                <a:close/>
                <a:moveTo>
                  <a:pt x="590479" y="283773"/>
                </a:moveTo>
                <a:cubicBezTo>
                  <a:pt x="613099" y="283773"/>
                  <a:pt x="631437" y="302111"/>
                  <a:pt x="631437" y="324731"/>
                </a:cubicBezTo>
                <a:cubicBezTo>
                  <a:pt x="631437" y="347351"/>
                  <a:pt x="613099" y="365689"/>
                  <a:pt x="590479" y="365689"/>
                </a:cubicBezTo>
                <a:cubicBezTo>
                  <a:pt x="567859" y="365689"/>
                  <a:pt x="549521" y="347351"/>
                  <a:pt x="549521" y="324731"/>
                </a:cubicBezTo>
                <a:cubicBezTo>
                  <a:pt x="549521" y="302111"/>
                  <a:pt x="567859" y="283773"/>
                  <a:pt x="590479" y="283773"/>
                </a:cubicBezTo>
                <a:close/>
                <a:moveTo>
                  <a:pt x="448555" y="283773"/>
                </a:moveTo>
                <a:cubicBezTo>
                  <a:pt x="471175" y="283773"/>
                  <a:pt x="489513" y="302111"/>
                  <a:pt x="489513" y="324731"/>
                </a:cubicBezTo>
                <a:cubicBezTo>
                  <a:pt x="489513" y="347351"/>
                  <a:pt x="471175" y="365689"/>
                  <a:pt x="448555" y="365689"/>
                </a:cubicBezTo>
                <a:cubicBezTo>
                  <a:pt x="425935" y="365689"/>
                  <a:pt x="407597" y="347351"/>
                  <a:pt x="407597" y="324731"/>
                </a:cubicBezTo>
                <a:cubicBezTo>
                  <a:pt x="407597" y="302111"/>
                  <a:pt x="425935" y="283773"/>
                  <a:pt x="448555" y="283773"/>
                </a:cubicBezTo>
                <a:close/>
                <a:moveTo>
                  <a:pt x="306633" y="283773"/>
                </a:moveTo>
                <a:cubicBezTo>
                  <a:pt x="329253" y="283773"/>
                  <a:pt x="347591" y="302111"/>
                  <a:pt x="347591" y="324731"/>
                </a:cubicBezTo>
                <a:cubicBezTo>
                  <a:pt x="347591" y="347351"/>
                  <a:pt x="329253" y="365689"/>
                  <a:pt x="306633" y="365689"/>
                </a:cubicBezTo>
                <a:cubicBezTo>
                  <a:pt x="284013" y="365689"/>
                  <a:pt x="265675" y="347351"/>
                  <a:pt x="265675" y="324731"/>
                </a:cubicBezTo>
                <a:cubicBezTo>
                  <a:pt x="265675" y="302111"/>
                  <a:pt x="284013" y="283773"/>
                  <a:pt x="306633" y="283773"/>
                </a:cubicBezTo>
                <a:close/>
                <a:moveTo>
                  <a:pt x="164711" y="283773"/>
                </a:moveTo>
                <a:cubicBezTo>
                  <a:pt x="187331" y="283773"/>
                  <a:pt x="205669" y="302111"/>
                  <a:pt x="205669" y="324731"/>
                </a:cubicBezTo>
                <a:cubicBezTo>
                  <a:pt x="205669" y="347351"/>
                  <a:pt x="187331" y="365689"/>
                  <a:pt x="164711" y="365689"/>
                </a:cubicBezTo>
                <a:cubicBezTo>
                  <a:pt x="142091" y="365689"/>
                  <a:pt x="123753" y="347351"/>
                  <a:pt x="123753" y="324731"/>
                </a:cubicBezTo>
                <a:cubicBezTo>
                  <a:pt x="123753" y="302111"/>
                  <a:pt x="142091" y="283773"/>
                  <a:pt x="164711" y="283773"/>
                </a:cubicBezTo>
                <a:close/>
                <a:moveTo>
                  <a:pt x="22789" y="283773"/>
                </a:moveTo>
                <a:cubicBezTo>
                  <a:pt x="45409" y="283773"/>
                  <a:pt x="63747" y="302111"/>
                  <a:pt x="63747" y="324731"/>
                </a:cubicBezTo>
                <a:cubicBezTo>
                  <a:pt x="63747" y="347351"/>
                  <a:pt x="45409" y="365689"/>
                  <a:pt x="22789" y="365689"/>
                </a:cubicBezTo>
                <a:lnTo>
                  <a:pt x="0" y="356249"/>
                </a:lnTo>
                <a:lnTo>
                  <a:pt x="0" y="293213"/>
                </a:lnTo>
                <a:close/>
                <a:moveTo>
                  <a:pt x="448555" y="125658"/>
                </a:moveTo>
                <a:cubicBezTo>
                  <a:pt x="471175" y="125658"/>
                  <a:pt x="489513" y="143996"/>
                  <a:pt x="489513" y="166616"/>
                </a:cubicBezTo>
                <a:cubicBezTo>
                  <a:pt x="489513" y="189236"/>
                  <a:pt x="471175" y="207574"/>
                  <a:pt x="448555" y="207574"/>
                </a:cubicBezTo>
                <a:cubicBezTo>
                  <a:pt x="425935" y="207574"/>
                  <a:pt x="407597" y="189236"/>
                  <a:pt x="407597" y="166616"/>
                </a:cubicBezTo>
                <a:cubicBezTo>
                  <a:pt x="407597" y="143996"/>
                  <a:pt x="425935" y="125658"/>
                  <a:pt x="448555" y="125658"/>
                </a:cubicBezTo>
                <a:close/>
                <a:moveTo>
                  <a:pt x="306633" y="125658"/>
                </a:moveTo>
                <a:cubicBezTo>
                  <a:pt x="329253" y="125658"/>
                  <a:pt x="347591" y="143996"/>
                  <a:pt x="347591" y="166616"/>
                </a:cubicBezTo>
                <a:cubicBezTo>
                  <a:pt x="347591" y="189236"/>
                  <a:pt x="329253" y="207574"/>
                  <a:pt x="306633" y="207574"/>
                </a:cubicBezTo>
                <a:cubicBezTo>
                  <a:pt x="284013" y="207574"/>
                  <a:pt x="265675" y="189236"/>
                  <a:pt x="265675" y="166616"/>
                </a:cubicBezTo>
                <a:cubicBezTo>
                  <a:pt x="265675" y="143996"/>
                  <a:pt x="284013" y="125658"/>
                  <a:pt x="306633" y="125658"/>
                </a:cubicBezTo>
                <a:close/>
                <a:moveTo>
                  <a:pt x="164711" y="125658"/>
                </a:moveTo>
                <a:cubicBezTo>
                  <a:pt x="187331" y="125658"/>
                  <a:pt x="205669" y="143996"/>
                  <a:pt x="205669" y="166616"/>
                </a:cubicBezTo>
                <a:cubicBezTo>
                  <a:pt x="205669" y="189236"/>
                  <a:pt x="187331" y="207574"/>
                  <a:pt x="164711" y="207574"/>
                </a:cubicBezTo>
                <a:cubicBezTo>
                  <a:pt x="142091" y="207574"/>
                  <a:pt x="123753" y="189236"/>
                  <a:pt x="123753" y="166616"/>
                </a:cubicBezTo>
                <a:cubicBezTo>
                  <a:pt x="123753" y="143996"/>
                  <a:pt x="142091" y="125658"/>
                  <a:pt x="164711" y="125658"/>
                </a:cubicBezTo>
                <a:close/>
                <a:moveTo>
                  <a:pt x="22789" y="125658"/>
                </a:moveTo>
                <a:cubicBezTo>
                  <a:pt x="45409" y="125658"/>
                  <a:pt x="63747" y="143996"/>
                  <a:pt x="63747" y="166616"/>
                </a:cubicBezTo>
                <a:cubicBezTo>
                  <a:pt x="63747" y="189236"/>
                  <a:pt x="45409" y="207574"/>
                  <a:pt x="22789" y="207574"/>
                </a:cubicBezTo>
                <a:lnTo>
                  <a:pt x="0" y="198134"/>
                </a:lnTo>
                <a:lnTo>
                  <a:pt x="0" y="135098"/>
                </a:lnTo>
                <a:close/>
                <a:moveTo>
                  <a:pt x="590479" y="125658"/>
                </a:moveTo>
                <a:cubicBezTo>
                  <a:pt x="613099" y="125658"/>
                  <a:pt x="631437" y="143996"/>
                  <a:pt x="631437" y="166616"/>
                </a:cubicBezTo>
                <a:cubicBezTo>
                  <a:pt x="631437" y="189236"/>
                  <a:pt x="613099" y="207574"/>
                  <a:pt x="590479" y="207574"/>
                </a:cubicBezTo>
                <a:cubicBezTo>
                  <a:pt x="567859" y="207574"/>
                  <a:pt x="549521" y="189236"/>
                  <a:pt x="549521" y="166616"/>
                </a:cubicBezTo>
                <a:cubicBezTo>
                  <a:pt x="549521" y="143996"/>
                  <a:pt x="567859" y="125658"/>
                  <a:pt x="590479" y="125658"/>
                </a:cubicBezTo>
                <a:close/>
                <a:moveTo>
                  <a:pt x="553042" y="0"/>
                </a:moveTo>
                <a:lnTo>
                  <a:pt x="627916" y="0"/>
                </a:lnTo>
                <a:lnTo>
                  <a:pt x="631437" y="8501"/>
                </a:lnTo>
                <a:cubicBezTo>
                  <a:pt x="631437" y="31121"/>
                  <a:pt x="613099" y="49459"/>
                  <a:pt x="590479" y="49459"/>
                </a:cubicBezTo>
                <a:cubicBezTo>
                  <a:pt x="567859" y="49459"/>
                  <a:pt x="549521" y="31121"/>
                  <a:pt x="549521" y="8501"/>
                </a:cubicBezTo>
                <a:close/>
                <a:moveTo>
                  <a:pt x="411118" y="0"/>
                </a:moveTo>
                <a:lnTo>
                  <a:pt x="485992" y="0"/>
                </a:lnTo>
                <a:lnTo>
                  <a:pt x="489513" y="8501"/>
                </a:lnTo>
                <a:cubicBezTo>
                  <a:pt x="489513" y="31121"/>
                  <a:pt x="471175" y="49459"/>
                  <a:pt x="448555" y="49459"/>
                </a:cubicBezTo>
                <a:cubicBezTo>
                  <a:pt x="425935" y="49459"/>
                  <a:pt x="407597" y="31121"/>
                  <a:pt x="407597" y="8501"/>
                </a:cubicBezTo>
                <a:close/>
                <a:moveTo>
                  <a:pt x="269196" y="0"/>
                </a:moveTo>
                <a:lnTo>
                  <a:pt x="344070" y="0"/>
                </a:lnTo>
                <a:lnTo>
                  <a:pt x="347591" y="8501"/>
                </a:lnTo>
                <a:cubicBezTo>
                  <a:pt x="347591" y="31121"/>
                  <a:pt x="329253" y="49459"/>
                  <a:pt x="306633" y="49459"/>
                </a:cubicBezTo>
                <a:cubicBezTo>
                  <a:pt x="284013" y="49459"/>
                  <a:pt x="265675" y="31121"/>
                  <a:pt x="265675" y="8501"/>
                </a:cubicBezTo>
                <a:close/>
                <a:moveTo>
                  <a:pt x="127274" y="0"/>
                </a:moveTo>
                <a:lnTo>
                  <a:pt x="202148" y="0"/>
                </a:lnTo>
                <a:lnTo>
                  <a:pt x="205669" y="8501"/>
                </a:lnTo>
                <a:cubicBezTo>
                  <a:pt x="205669" y="31121"/>
                  <a:pt x="187331" y="49459"/>
                  <a:pt x="164711" y="49459"/>
                </a:cubicBezTo>
                <a:cubicBezTo>
                  <a:pt x="142091" y="49459"/>
                  <a:pt x="123753" y="31121"/>
                  <a:pt x="123753" y="8501"/>
                </a:cubicBezTo>
                <a:close/>
                <a:moveTo>
                  <a:pt x="0" y="0"/>
                </a:moveTo>
                <a:lnTo>
                  <a:pt x="60226" y="0"/>
                </a:lnTo>
                <a:lnTo>
                  <a:pt x="63747" y="8501"/>
                </a:lnTo>
                <a:cubicBezTo>
                  <a:pt x="63747" y="31121"/>
                  <a:pt x="45409" y="49459"/>
                  <a:pt x="22789" y="49459"/>
                </a:cubicBezTo>
                <a:lnTo>
                  <a:pt x="0" y="40019"/>
                </a:lnTo>
                <a:close/>
              </a:path>
            </a:pathLst>
          </a:custGeom>
          <a:gradFill flip="none" rotWithShape="1">
            <a:gsLst>
              <a:gs pos="6000">
                <a:srgbClr val="FE832C"/>
              </a:gs>
              <a:gs pos="61000">
                <a:srgbClr val="FFCEAB"/>
              </a:gs>
              <a:gs pos="0">
                <a:srgbClr val="EA5504"/>
              </a:gs>
              <a:gs pos="100000">
                <a:srgbClr val="FBE9D5"/>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dirty="0">
              <a:latin typeface="微软雅黑" panose="020B0503020204020204" pitchFamily="34" charset="-122"/>
              <a:ea typeface="微软雅黑" panose="020B0503020204020204" pitchFamily="34" charset="-122"/>
            </a:endParaRPr>
          </a:p>
        </p:txBody>
      </p:sp>
      <p:cxnSp>
        <p:nvCxnSpPr>
          <p:cNvPr id="19" name="直接连接符 18"/>
          <p:cNvCxnSpPr/>
          <p:nvPr userDrawn="1"/>
        </p:nvCxnSpPr>
        <p:spPr>
          <a:xfrm flipV="1">
            <a:off x="5187643" y="2859087"/>
            <a:ext cx="2087108" cy="3998914"/>
          </a:xfrm>
          <a:prstGeom prst="line">
            <a:avLst/>
          </a:prstGeom>
          <a:ln w="15875">
            <a:gradFill flip="none" rotWithShape="1">
              <a:gsLst>
                <a:gs pos="0">
                  <a:schemeClr val="accent1">
                    <a:lumMod val="5000"/>
                    <a:lumOff val="95000"/>
                    <a:alpha val="0"/>
                  </a:schemeClr>
                </a:gs>
                <a:gs pos="54000">
                  <a:srgbClr val="FFC000"/>
                </a:gs>
                <a:gs pos="83000">
                  <a:srgbClr val="FB832D"/>
                </a:gs>
                <a:gs pos="100000">
                  <a:srgbClr val="EA5504"/>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p:nvPr userDrawn="1"/>
        </p:nvCxnSpPr>
        <p:spPr>
          <a:xfrm flipH="1" flipV="1">
            <a:off x="9037673" y="-9732"/>
            <a:ext cx="3187396" cy="6285842"/>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2" name="文本占位符 29"/>
          <p:cNvSpPr>
            <a:spLocks noGrp="1"/>
          </p:cNvSpPr>
          <p:nvPr>
            <p:ph type="body" sz="quarter" idx="12" hasCustomPrompt="1"/>
          </p:nvPr>
        </p:nvSpPr>
        <p:spPr>
          <a:xfrm>
            <a:off x="725076" y="2914028"/>
            <a:ext cx="4011188" cy="1220198"/>
          </a:xfrm>
          <a:prstGeom prst="rect">
            <a:avLst/>
          </a:prstGeom>
        </p:spPr>
        <p:txBody>
          <a:bodyPr anchor="t">
            <a:noAutofit/>
          </a:bodyPr>
          <a:lstStyle>
            <a:lvl1pPr marL="0" indent="0" algn="l" defTabSz="914400" rtl="0" eaLnBrk="1" latinLnBrk="0" hangingPunct="1">
              <a:lnSpc>
                <a:spcPct val="120000"/>
              </a:lnSpc>
              <a:buNone/>
              <a:defRPr lang="zh-CN" altLang="en-US" sz="1200" kern="2200" spc="180" dirty="0">
                <a:solidFill>
                  <a:schemeClr val="tx1">
                    <a:lumMod val="65000"/>
                    <a:lumOff val="35000"/>
                  </a:schemeClr>
                </a:solidFill>
                <a:latin typeface="微软雅黑" panose="020B0503020204020204" pitchFamily="34" charset="-122"/>
                <a:ea typeface="微软雅黑" panose="020B0503020204020204" pitchFamily="34" charset="-122"/>
                <a:cs typeface="Arial" panose="020B060402020209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90204" pitchFamily="34" charset="0"/>
              <a:buNone/>
              <a:defRPr/>
            </a:pPr>
            <a:r>
              <a:rPr lang="zh-CN" altLang="en-US" dirty="0"/>
              <a:t>点击添加文本点击添加文本</a:t>
            </a:r>
            <a:br>
              <a:rPr lang="en-US" altLang="zh-CN" dirty="0"/>
            </a:br>
            <a:r>
              <a:rPr lang="en-US" altLang="zh-CN" dirty="0"/>
              <a:t>……</a:t>
            </a:r>
            <a:endParaRPr lang="zh-CN" altLang="en-US" dirty="0"/>
          </a:p>
        </p:txBody>
      </p:sp>
      <p:sp>
        <p:nvSpPr>
          <p:cNvPr id="29" name="文本占位符 29"/>
          <p:cNvSpPr>
            <a:spLocks noGrp="1"/>
          </p:cNvSpPr>
          <p:nvPr>
            <p:ph type="body" sz="quarter" idx="15" hasCustomPrompt="1"/>
          </p:nvPr>
        </p:nvSpPr>
        <p:spPr>
          <a:xfrm>
            <a:off x="715643" y="2087900"/>
            <a:ext cx="607293" cy="564099"/>
          </a:xfrm>
          <a:prstGeom prst="rect">
            <a:avLst/>
          </a:prstGeom>
        </p:spPr>
        <p:txBody>
          <a:bodyPr anchor="ctr">
            <a:prstTxWarp prst="textPlain">
              <a:avLst/>
            </a:prstTxWarp>
            <a:noAutofit/>
          </a:bodyPr>
          <a:lstStyle>
            <a:lvl1pPr marL="0" indent="0" algn="l" defTabSz="914400" rtl="0" eaLnBrk="1" latinLnBrk="0" hangingPunct="1">
              <a:buNone/>
              <a:defRPr lang="zh-CN" altLang="en-US" sz="2400" b="0" kern="2200" spc="180" dirty="0">
                <a:solidFill>
                  <a:schemeClr val="accent1"/>
                </a:solidFill>
                <a:latin typeface="Impact" panose="020B0806030902050204" pitchFamily="34" charset="0"/>
                <a:ea typeface="微软雅黑" panose="020B0503020204020204" pitchFamily="34" charset="-122"/>
                <a:cs typeface="Arial" panose="020B060402020209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90204" pitchFamily="34" charset="0"/>
              <a:buNone/>
              <a:defRPr/>
            </a:pPr>
            <a:r>
              <a:rPr lang="en-US" altLang="zh-CN" dirty="0"/>
              <a:t>01</a:t>
            </a:r>
            <a:endParaRPr lang="zh-CN" altLang="en-US" dirty="0"/>
          </a:p>
        </p:txBody>
      </p:sp>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vmlDrawing" Target="../drawings/vmlDrawing4.vml"/><Relationship Id="rId8" Type="http://schemas.openxmlformats.org/officeDocument/2006/relationships/tags" Target="../tags/tag8.xml"/><Relationship Id="rId7" Type="http://schemas.openxmlformats.org/officeDocument/2006/relationships/image" Target="../media/image2.emf"/><Relationship Id="rId6" Type="http://schemas.openxmlformats.org/officeDocument/2006/relationships/oleObject" Target="../embeddings/oleObject4.bin"/><Relationship Id="rId5" Type="http://schemas.openxmlformats.org/officeDocument/2006/relationships/tags" Target="../tags/tag7.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0" Type="http://schemas.openxmlformats.org/officeDocument/2006/relationships/theme" Target="../theme/theme1.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9" Type="http://schemas.openxmlformats.org/officeDocument/2006/relationships/theme" Target="../theme/theme2.xml"/><Relationship Id="rId8" Type="http://schemas.openxmlformats.org/officeDocument/2006/relationships/slideLayout" Target="../slideLayouts/slideLayout12.xml"/><Relationship Id="rId7" Type="http://schemas.openxmlformats.org/officeDocument/2006/relationships/slideLayout" Target="../slideLayouts/slideLayout11.xml"/><Relationship Id="rId6" Type="http://schemas.openxmlformats.org/officeDocument/2006/relationships/slideLayout" Target="../slideLayouts/slideLayout10.xml"/><Relationship Id="rId5" Type="http://schemas.openxmlformats.org/officeDocument/2006/relationships/slideLayout" Target="../slideLayouts/slideLayout9.xml"/><Relationship Id="rId4" Type="http://schemas.openxmlformats.org/officeDocument/2006/relationships/slideLayout" Target="../slideLayouts/slideLayout8.xml"/><Relationship Id="rId3" Type="http://schemas.openxmlformats.org/officeDocument/2006/relationships/slideLayout" Target="../slideLayouts/slideLayout7.xml"/><Relationship Id="rId2" Type="http://schemas.openxmlformats.org/officeDocument/2006/relationships/slideLayout" Target="../slideLayouts/slideLayout6.xml"/><Relationship Id="rId1" Type="http://schemas.openxmlformats.org/officeDocument/2006/relationships/slideLayout" Target="../slideLayouts/slideLayout5.xml"/></Relationships>
</file>

<file path=ppt/slideMasters/_rels/slideMaster3.xml.rels><?xml version="1.0" encoding="UTF-8" standalone="yes"?>
<Relationships xmlns="http://schemas.openxmlformats.org/package/2006/relationships"><Relationship Id="rId9" Type="http://schemas.openxmlformats.org/officeDocument/2006/relationships/oleObject" Target="../embeddings/oleObject9.bin"/><Relationship Id="rId8" Type="http://schemas.openxmlformats.org/officeDocument/2006/relationships/tags" Target="../tags/tag17.xml"/><Relationship Id="rId7" Type="http://schemas.openxmlformats.org/officeDocument/2006/relationships/slideLayout" Target="../slideLayouts/slideLayout19.xml"/><Relationship Id="rId6" Type="http://schemas.openxmlformats.org/officeDocument/2006/relationships/slideLayout" Target="../slideLayouts/slideLayout18.xml"/><Relationship Id="rId5" Type="http://schemas.openxmlformats.org/officeDocument/2006/relationships/slideLayout" Target="../slideLayouts/slideLayout17.xml"/><Relationship Id="rId4" Type="http://schemas.openxmlformats.org/officeDocument/2006/relationships/slideLayout" Target="../slideLayouts/slideLayout16.xml"/><Relationship Id="rId3" Type="http://schemas.openxmlformats.org/officeDocument/2006/relationships/slideLayout" Target="../slideLayouts/slideLayout15.xml"/><Relationship Id="rId2" Type="http://schemas.openxmlformats.org/officeDocument/2006/relationships/slideLayout" Target="../slideLayouts/slideLayout14.xml"/><Relationship Id="rId13" Type="http://schemas.openxmlformats.org/officeDocument/2006/relationships/theme" Target="../theme/theme3.xml"/><Relationship Id="rId12" Type="http://schemas.openxmlformats.org/officeDocument/2006/relationships/vmlDrawing" Target="../drawings/vmlDrawing9.vml"/><Relationship Id="rId11" Type="http://schemas.openxmlformats.org/officeDocument/2006/relationships/tags" Target="../tags/tag18.xml"/><Relationship Id="rId10" Type="http://schemas.openxmlformats.org/officeDocument/2006/relationships/image" Target="../media/image2.emf"/><Relationship Id="rId1" Type="http://schemas.openxmlformats.org/officeDocument/2006/relationships/slideLayout" Target="../slideLayouts/slideLayout13.xml"/></Relationships>
</file>

<file path=ppt/slideMasters/_rels/slideMaster4.xml.rels><?xml version="1.0" encoding="UTF-8" standalone="yes"?>
<Relationships xmlns="http://schemas.openxmlformats.org/package/2006/relationships"><Relationship Id="rId9" Type="http://schemas.openxmlformats.org/officeDocument/2006/relationships/oleObject" Target="../embeddings/oleObject16.bin"/><Relationship Id="rId8" Type="http://schemas.openxmlformats.org/officeDocument/2006/relationships/tags" Target="../tags/tag28.xml"/><Relationship Id="rId7" Type="http://schemas.openxmlformats.org/officeDocument/2006/relationships/image" Target="../media/image18.emf"/><Relationship Id="rId6" Type="http://schemas.openxmlformats.org/officeDocument/2006/relationships/oleObject" Target="../embeddings/oleObject15.bin"/><Relationship Id="rId5" Type="http://schemas.openxmlformats.org/officeDocument/2006/relationships/tags" Target="../tags/tag27.xml"/><Relationship Id="rId4" Type="http://schemas.openxmlformats.org/officeDocument/2006/relationships/slideLayout" Target="../slideLayouts/slideLayout23.xml"/><Relationship Id="rId3" Type="http://schemas.openxmlformats.org/officeDocument/2006/relationships/slideLayout" Target="../slideLayouts/slideLayout22.xml"/><Relationship Id="rId2" Type="http://schemas.openxmlformats.org/officeDocument/2006/relationships/slideLayout" Target="../slideLayouts/slideLayout21.xml"/><Relationship Id="rId13" Type="http://schemas.openxmlformats.org/officeDocument/2006/relationships/theme" Target="../theme/theme4.xml"/><Relationship Id="rId12" Type="http://schemas.openxmlformats.org/officeDocument/2006/relationships/vmlDrawing" Target="../drawings/vmlDrawing14.vml"/><Relationship Id="rId11" Type="http://schemas.openxmlformats.org/officeDocument/2006/relationships/tags" Target="../tags/tag29.xml"/><Relationship Id="rId10" Type="http://schemas.openxmlformats.org/officeDocument/2006/relationships/image" Target="../media/image2.emf"/><Relationship Id="rId1" Type="http://schemas.openxmlformats.org/officeDocument/2006/relationships/slideLayout" Target="../slideLayouts/slideLayout20.xml"/></Relationships>
</file>

<file path=ppt/slideMasters/_rels/slideMaster5.xml.rels><?xml version="1.0" encoding="UTF-8" standalone="yes"?>
<Relationships xmlns="http://schemas.openxmlformats.org/package/2006/relationships"><Relationship Id="rId9" Type="http://schemas.openxmlformats.org/officeDocument/2006/relationships/oleObject" Target="../embeddings/oleObject23.bin"/><Relationship Id="rId8" Type="http://schemas.openxmlformats.org/officeDocument/2006/relationships/tags" Target="../tags/tag39.xml"/><Relationship Id="rId7" Type="http://schemas.openxmlformats.org/officeDocument/2006/relationships/image" Target="../media/image18.emf"/><Relationship Id="rId6" Type="http://schemas.openxmlformats.org/officeDocument/2006/relationships/oleObject" Target="../embeddings/oleObject22.bin"/><Relationship Id="rId5" Type="http://schemas.openxmlformats.org/officeDocument/2006/relationships/tags" Target="../tags/tag38.xml"/><Relationship Id="rId4" Type="http://schemas.openxmlformats.org/officeDocument/2006/relationships/slideLayout" Target="../slideLayouts/slideLayout27.xml"/><Relationship Id="rId3" Type="http://schemas.openxmlformats.org/officeDocument/2006/relationships/slideLayout" Target="../slideLayouts/slideLayout26.xml"/><Relationship Id="rId2" Type="http://schemas.openxmlformats.org/officeDocument/2006/relationships/slideLayout" Target="../slideLayouts/slideLayout25.xml"/><Relationship Id="rId13" Type="http://schemas.openxmlformats.org/officeDocument/2006/relationships/theme" Target="../theme/theme5.xml"/><Relationship Id="rId12" Type="http://schemas.openxmlformats.org/officeDocument/2006/relationships/vmlDrawing" Target="../drawings/vmlDrawing19.vml"/><Relationship Id="rId11" Type="http://schemas.openxmlformats.org/officeDocument/2006/relationships/tags" Target="../tags/tag40.xml"/><Relationship Id="rId10" Type="http://schemas.openxmlformats.org/officeDocument/2006/relationships/image" Target="../media/image2.emf"/><Relationship Id="rId1" Type="http://schemas.openxmlformats.org/officeDocument/2006/relationships/slideLayout" Target="../slideLayouts/slideLayout24.xml"/></Relationships>
</file>

<file path=ppt/slideMasters/_rels/slideMaster6.xml.rels><?xml version="1.0" encoding="UTF-8" standalone="yes"?>
<Relationships xmlns="http://schemas.openxmlformats.org/package/2006/relationships"><Relationship Id="rId9" Type="http://schemas.openxmlformats.org/officeDocument/2006/relationships/slideLayout" Target="../slideLayouts/slideLayout36.xml"/><Relationship Id="rId8" Type="http://schemas.openxmlformats.org/officeDocument/2006/relationships/slideLayout" Target="../slideLayouts/slideLayout35.xml"/><Relationship Id="rId7" Type="http://schemas.openxmlformats.org/officeDocument/2006/relationships/slideLayout" Target="../slideLayouts/slideLayout34.xml"/><Relationship Id="rId6" Type="http://schemas.openxmlformats.org/officeDocument/2006/relationships/slideLayout" Target="../slideLayouts/slideLayout33.xml"/><Relationship Id="rId5" Type="http://schemas.openxmlformats.org/officeDocument/2006/relationships/slideLayout" Target="../slideLayouts/slideLayout32.xml"/><Relationship Id="rId45" Type="http://schemas.openxmlformats.org/officeDocument/2006/relationships/theme" Target="../theme/theme6.xml"/><Relationship Id="rId44" Type="http://schemas.openxmlformats.org/officeDocument/2006/relationships/vmlDrawing" Target="../drawings/vmlDrawing23.vml"/><Relationship Id="rId43" Type="http://schemas.openxmlformats.org/officeDocument/2006/relationships/tags" Target="../tags/tag48.xml"/><Relationship Id="rId42" Type="http://schemas.openxmlformats.org/officeDocument/2006/relationships/image" Target="../media/image2.emf"/><Relationship Id="rId41" Type="http://schemas.openxmlformats.org/officeDocument/2006/relationships/oleObject" Target="../embeddings/oleObject27.bin"/><Relationship Id="rId40" Type="http://schemas.openxmlformats.org/officeDocument/2006/relationships/tags" Target="../tags/tag47.xml"/><Relationship Id="rId4" Type="http://schemas.openxmlformats.org/officeDocument/2006/relationships/slideLayout" Target="../slideLayouts/slideLayout31.xml"/><Relationship Id="rId39" Type="http://schemas.openxmlformats.org/officeDocument/2006/relationships/slideLayout" Target="../slideLayouts/slideLayout66.xml"/><Relationship Id="rId38" Type="http://schemas.openxmlformats.org/officeDocument/2006/relationships/slideLayout" Target="../slideLayouts/slideLayout65.xml"/><Relationship Id="rId37" Type="http://schemas.openxmlformats.org/officeDocument/2006/relationships/slideLayout" Target="../slideLayouts/slideLayout64.xml"/><Relationship Id="rId36" Type="http://schemas.openxmlformats.org/officeDocument/2006/relationships/slideLayout" Target="../slideLayouts/slideLayout63.xml"/><Relationship Id="rId35" Type="http://schemas.openxmlformats.org/officeDocument/2006/relationships/slideLayout" Target="../slideLayouts/slideLayout62.xml"/><Relationship Id="rId34" Type="http://schemas.openxmlformats.org/officeDocument/2006/relationships/slideLayout" Target="../slideLayouts/slideLayout61.xml"/><Relationship Id="rId33" Type="http://schemas.openxmlformats.org/officeDocument/2006/relationships/slideLayout" Target="../slideLayouts/slideLayout60.xml"/><Relationship Id="rId32" Type="http://schemas.openxmlformats.org/officeDocument/2006/relationships/slideLayout" Target="../slideLayouts/slideLayout59.xml"/><Relationship Id="rId31" Type="http://schemas.openxmlformats.org/officeDocument/2006/relationships/slideLayout" Target="../slideLayouts/slideLayout58.xml"/><Relationship Id="rId30" Type="http://schemas.openxmlformats.org/officeDocument/2006/relationships/slideLayout" Target="../slideLayouts/slideLayout57.xml"/><Relationship Id="rId3" Type="http://schemas.openxmlformats.org/officeDocument/2006/relationships/slideLayout" Target="../slideLayouts/slideLayout30.xml"/><Relationship Id="rId29" Type="http://schemas.openxmlformats.org/officeDocument/2006/relationships/slideLayout" Target="../slideLayouts/slideLayout56.xml"/><Relationship Id="rId28" Type="http://schemas.openxmlformats.org/officeDocument/2006/relationships/slideLayout" Target="../slideLayouts/slideLayout55.xml"/><Relationship Id="rId27" Type="http://schemas.openxmlformats.org/officeDocument/2006/relationships/slideLayout" Target="../slideLayouts/slideLayout54.xml"/><Relationship Id="rId26" Type="http://schemas.openxmlformats.org/officeDocument/2006/relationships/slideLayout" Target="../slideLayouts/slideLayout53.xml"/><Relationship Id="rId25" Type="http://schemas.openxmlformats.org/officeDocument/2006/relationships/slideLayout" Target="../slideLayouts/slideLayout52.xml"/><Relationship Id="rId24" Type="http://schemas.openxmlformats.org/officeDocument/2006/relationships/slideLayout" Target="../slideLayouts/slideLayout51.xml"/><Relationship Id="rId23" Type="http://schemas.openxmlformats.org/officeDocument/2006/relationships/slideLayout" Target="../slideLayouts/slideLayout50.xml"/><Relationship Id="rId22" Type="http://schemas.openxmlformats.org/officeDocument/2006/relationships/slideLayout" Target="../slideLayouts/slideLayout49.xml"/><Relationship Id="rId21" Type="http://schemas.openxmlformats.org/officeDocument/2006/relationships/slideLayout" Target="../slideLayouts/slideLayout48.xml"/><Relationship Id="rId20" Type="http://schemas.openxmlformats.org/officeDocument/2006/relationships/slideLayout" Target="../slideLayouts/slideLayout47.xml"/><Relationship Id="rId2" Type="http://schemas.openxmlformats.org/officeDocument/2006/relationships/slideLayout" Target="../slideLayouts/slideLayout29.xml"/><Relationship Id="rId19" Type="http://schemas.openxmlformats.org/officeDocument/2006/relationships/slideLayout" Target="../slideLayouts/slideLayout46.xml"/><Relationship Id="rId18" Type="http://schemas.openxmlformats.org/officeDocument/2006/relationships/slideLayout" Target="../slideLayouts/slideLayout45.xml"/><Relationship Id="rId17" Type="http://schemas.openxmlformats.org/officeDocument/2006/relationships/slideLayout" Target="../slideLayouts/slideLayout44.xml"/><Relationship Id="rId16" Type="http://schemas.openxmlformats.org/officeDocument/2006/relationships/slideLayout" Target="../slideLayouts/slideLayout43.xml"/><Relationship Id="rId15" Type="http://schemas.openxmlformats.org/officeDocument/2006/relationships/slideLayout" Target="../slideLayouts/slideLayout42.xml"/><Relationship Id="rId14" Type="http://schemas.openxmlformats.org/officeDocument/2006/relationships/slideLayout" Target="../slideLayouts/slideLayout41.xml"/><Relationship Id="rId13" Type="http://schemas.openxmlformats.org/officeDocument/2006/relationships/slideLayout" Target="../slideLayouts/slideLayout40.xml"/><Relationship Id="rId12" Type="http://schemas.openxmlformats.org/officeDocument/2006/relationships/slideLayout" Target="../slideLayouts/slideLayout39.xml"/><Relationship Id="rId11" Type="http://schemas.openxmlformats.org/officeDocument/2006/relationships/slideLayout" Target="../slideLayouts/slideLayout38.xml"/><Relationship Id="rId10" Type="http://schemas.openxmlformats.org/officeDocument/2006/relationships/slideLayout" Target="../slideLayouts/slideLayout37.xml"/><Relationship Id="rId1" Type="http://schemas.openxmlformats.org/officeDocument/2006/relationships/slideLayout" Target="../slideLayouts/slideLayout28.xml"/></Relationships>
</file>

<file path=ppt/slideMasters/_rels/slideMaster7.xml.rels><?xml version="1.0" encoding="UTF-8" standalone="yes"?>
<Relationships xmlns="http://schemas.openxmlformats.org/package/2006/relationships"><Relationship Id="rId9" Type="http://schemas.openxmlformats.org/officeDocument/2006/relationships/image" Target="../media/image2.emf"/><Relationship Id="rId8" Type="http://schemas.openxmlformats.org/officeDocument/2006/relationships/oleObject" Target="../embeddings/oleObject31.bin"/><Relationship Id="rId7" Type="http://schemas.openxmlformats.org/officeDocument/2006/relationships/tags" Target="../tags/tag55.xml"/><Relationship Id="rId6" Type="http://schemas.openxmlformats.org/officeDocument/2006/relationships/slideLayout" Target="../slideLayouts/slideLayout72.xml"/><Relationship Id="rId5" Type="http://schemas.openxmlformats.org/officeDocument/2006/relationships/slideLayout" Target="../slideLayouts/slideLayout71.xml"/><Relationship Id="rId4" Type="http://schemas.openxmlformats.org/officeDocument/2006/relationships/slideLayout" Target="../slideLayouts/slideLayout70.xml"/><Relationship Id="rId3" Type="http://schemas.openxmlformats.org/officeDocument/2006/relationships/slideLayout" Target="../slideLayouts/slideLayout69.xml"/><Relationship Id="rId2" Type="http://schemas.openxmlformats.org/officeDocument/2006/relationships/slideLayout" Target="../slideLayouts/slideLayout68.xml"/><Relationship Id="rId12" Type="http://schemas.openxmlformats.org/officeDocument/2006/relationships/theme" Target="../theme/theme7.xml"/><Relationship Id="rId11" Type="http://schemas.openxmlformats.org/officeDocument/2006/relationships/vmlDrawing" Target="../drawings/vmlDrawing27.vml"/><Relationship Id="rId10" Type="http://schemas.openxmlformats.org/officeDocument/2006/relationships/tags" Target="../tags/tag56.xml"/><Relationship Id="rId1" Type="http://schemas.openxmlformats.org/officeDocument/2006/relationships/slideLayout" Target="../slideLayouts/slideLayout6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userDrawn="1">
            <p:custDataLst>
              <p:tags r:id="rId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Slide" r:id="rId6" imgW="0" imgH="0" progId="TCLayout.ActiveDocument.1">
                  <p:embed/>
                </p:oleObj>
              </mc:Choice>
              <mc:Fallback>
                <p:oleObj name="think-cell Slide" r:id="rId6" imgW="0" imgH="0" progId="TCLayout.ActiveDocument.1">
                  <p:embed/>
                  <p:pic>
                    <p:nvPicPr>
                      <p:cNvPr id="0" name="对象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矩形 3" hidden="1"/>
          <p:cNvSpPr/>
          <p:nvPr userDrawn="1">
            <p:custDataLst>
              <p:tags r:id="rId8"/>
            </p:custDataLst>
          </p:nvPr>
        </p:nvSpPr>
        <p:spPr>
          <a:xfrm>
            <a:off x="0" y="0"/>
            <a:ext cx="158750" cy="158750"/>
          </a:xfrm>
          <a:prstGeom prst="rect">
            <a:avLst/>
          </a:prstGeom>
          <a:solidFill>
            <a:srgbClr val="DBCF4D">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pPr>
            <a:endParaRPr kumimoji="0" lang="en-US" altLang="zh-CN" sz="2400" b="1" i="0" u="none" strike="noStrike" kern="1200" cap="none" spc="0" normalizeH="0" baseline="0" noProof="0" dirty="0">
              <a:ln>
                <a:noFill/>
              </a:ln>
              <a:solidFill>
                <a:srgbClr val="FFFFFF"/>
              </a:solidFill>
              <a:effectLst/>
              <a:uLnTx/>
              <a:uFillTx/>
              <a:latin typeface="Arial" panose="020B0604020202090204" pitchFamily="34" charset="0"/>
              <a:ea typeface="华文楷体" panose="02010600040101010101" pitchFamily="2" charset="-122"/>
              <a:cs typeface="+mj-cs"/>
              <a:sym typeface="Arial" panose="020B0604020202090204" pitchFamily="34" charset="0"/>
            </a:endParaRP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Lst>
  <p:hf hdr="0"/>
  <p:txStyles>
    <p:title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p:titleStyle>
    <p:bodyStyle>
      <a:lvl1pPr marL="177800" indent="-177800" algn="l" defTabSz="914400" rtl="0" eaLnBrk="1" latinLnBrk="0" hangingPunct="1">
        <a:lnSpc>
          <a:spcPct val="90000"/>
        </a:lnSpc>
        <a:spcBef>
          <a:spcPts val="1000"/>
        </a:spcBef>
        <a:buFont typeface="Arial" panose="020B0604020202090204" pitchFamily="34" charset="0"/>
        <a:buChar char="•"/>
        <a:defRPr sz="1800" kern="1200">
          <a:solidFill>
            <a:schemeClr val="tx1"/>
          </a:solidFill>
          <a:latin typeface="+mn-lt"/>
          <a:ea typeface="+mn-ea"/>
          <a:cs typeface="+mn-cs"/>
        </a:defRPr>
      </a:lvl1pPr>
      <a:lvl2pPr marL="355600" indent="-177800" algn="l" defTabSz="914400" rtl="0" eaLnBrk="1" latinLnBrk="0" hangingPunct="1">
        <a:lnSpc>
          <a:spcPct val="90000"/>
        </a:lnSpc>
        <a:spcBef>
          <a:spcPts val="500"/>
        </a:spcBef>
        <a:buFont typeface="华文楷体" panose="02010600040101010101" pitchFamily="2" charset="-122"/>
        <a:buChar char="−"/>
        <a:defRPr sz="1600" kern="1200">
          <a:solidFill>
            <a:schemeClr val="tx1"/>
          </a:solidFill>
          <a:latin typeface="+mn-lt"/>
          <a:ea typeface="+mn-ea"/>
          <a:cs typeface="+mn-cs"/>
        </a:defRPr>
      </a:lvl2pPr>
      <a:lvl3pPr marL="541655" indent="-186055" algn="l" defTabSz="914400" rtl="0" eaLnBrk="1" latinLnBrk="0" hangingPunct="1">
        <a:lnSpc>
          <a:spcPct val="90000"/>
        </a:lnSpc>
        <a:spcBef>
          <a:spcPts val="500"/>
        </a:spcBef>
        <a:buFont typeface="Arial" panose="020B0604020202090204" pitchFamily="34" charset="0"/>
        <a:buChar char="•"/>
        <a:defRPr sz="1400" kern="1200">
          <a:solidFill>
            <a:schemeClr val="tx1"/>
          </a:solidFill>
          <a:latin typeface="+mn-lt"/>
          <a:ea typeface="+mn-ea"/>
          <a:cs typeface="+mn-cs"/>
        </a:defRPr>
      </a:lvl3pPr>
      <a:lvl4pPr marL="719455" indent="-177800" algn="l" defTabSz="914400" rtl="0" eaLnBrk="1" latinLnBrk="0" hangingPunct="1">
        <a:lnSpc>
          <a:spcPct val="90000"/>
        </a:lnSpc>
        <a:spcBef>
          <a:spcPts val="500"/>
        </a:spcBef>
        <a:buFont typeface="华文楷体" panose="02010600040101010101" pitchFamily="2" charset="-122"/>
        <a:buChar char="−"/>
        <a:defRPr sz="1200" kern="1200">
          <a:solidFill>
            <a:schemeClr val="tx1"/>
          </a:solidFill>
          <a:latin typeface="+mn-lt"/>
          <a:ea typeface="+mn-ea"/>
          <a:cs typeface="+mn-cs"/>
        </a:defRPr>
      </a:lvl4pPr>
      <a:lvl5pPr marL="897255" indent="-177800" algn="l" defTabSz="914400" rtl="0" eaLnBrk="1" latinLnBrk="0" hangingPunct="1">
        <a:lnSpc>
          <a:spcPct val="90000"/>
        </a:lnSpc>
        <a:spcBef>
          <a:spcPts val="500"/>
        </a:spcBef>
        <a:buFont typeface="Arial" panose="020B060402020209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矩形 6"/>
          <p:cNvSpPr/>
          <p:nvPr userDrawn="1"/>
        </p:nvSpPr>
        <p:spPr>
          <a:xfrm>
            <a:off x="0" y="1"/>
            <a:ext cx="12185496" cy="6855118"/>
          </a:xfrm>
          <a:prstGeom prst="rect">
            <a:avLst/>
          </a:prstGeom>
          <a:gradFill flip="none" rotWithShape="1">
            <a:gsLst>
              <a:gs pos="20000">
                <a:srgbClr val="FEF6F4">
                  <a:alpha val="96000"/>
                </a:srgbClr>
              </a:gs>
              <a:gs pos="33000">
                <a:srgbClr val="FFFCFB">
                  <a:alpha val="80000"/>
                </a:srgbClr>
              </a:gs>
              <a:gs pos="61000">
                <a:schemeClr val="bg1">
                  <a:alpha val="76000"/>
                </a:schemeClr>
              </a:gs>
              <a:gs pos="0">
                <a:srgbClr val="FDEEE9"/>
              </a:gs>
              <a:gs pos="100000">
                <a:schemeClr val="bg1">
                  <a:alpha val="76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微软雅黑" panose="020B0503020204020204" pitchFamily="34" charset="-122"/>
              <a:ea typeface="微软雅黑" panose="020B0503020204020204" pitchFamily="34" charset="-122"/>
            </a:endParaRPr>
          </a:p>
        </p:txBody>
      </p:sp>
      <p:sp>
        <p:nvSpPr>
          <p:cNvPr id="2" name="标题占位符 1"/>
          <p:cNvSpPr>
            <a:spLocks noGrp="1"/>
          </p:cNvSpPr>
          <p:nvPr>
            <p:ph type="title"/>
          </p:nvPr>
        </p:nvSpPr>
        <p:spPr>
          <a:xfrm>
            <a:off x="723900" y="0"/>
            <a:ext cx="11000390" cy="973805"/>
          </a:xfrm>
          <a:prstGeom prst="rect">
            <a:avLst/>
          </a:prstGeom>
        </p:spPr>
        <p:txBody>
          <a:bodyPr vert="horz" lIns="91440" tIns="45720" rIns="91440" bIns="45720" rtlCol="0" anchor="b">
            <a:normAutofit/>
          </a:bodyPr>
          <a:lstStyle/>
          <a:p>
            <a:r>
              <a:rPr lang="zh-CN" altLang="en-US" dirty="0"/>
              <a:t>页面大标题字号建议（</a:t>
            </a:r>
            <a:r>
              <a:rPr lang="en-US" altLang="zh-CN" dirty="0"/>
              <a:t>28-36</a:t>
            </a:r>
            <a:r>
              <a:rPr lang="zh-CN" altLang="en-US" dirty="0"/>
              <a:t>）</a:t>
            </a:r>
            <a:endParaRPr lang="zh-CN" altLang="en-US" dirty="0"/>
          </a:p>
        </p:txBody>
      </p:sp>
      <p:sp>
        <p:nvSpPr>
          <p:cNvPr id="6" name="灯片编号占位符 5"/>
          <p:cNvSpPr>
            <a:spLocks noGrp="1"/>
          </p:cNvSpPr>
          <p:nvPr>
            <p:ph type="sldNum" sz="quarter" idx="4"/>
          </p:nvPr>
        </p:nvSpPr>
        <p:spPr>
          <a:xfrm>
            <a:off x="10929256" y="6235700"/>
            <a:ext cx="526143" cy="365125"/>
          </a:xfrm>
          <a:prstGeom prst="rect">
            <a:avLst/>
          </a:prstGeom>
        </p:spPr>
        <p:txBody>
          <a:bodyPr vert="horz" lIns="91440" tIns="45720" rIns="91440" bIns="45720" rtlCol="0" anchor="ctr"/>
          <a:lstStyle>
            <a:lvl1pPr algn="r">
              <a:defRPr sz="1200" b="1">
                <a:solidFill>
                  <a:schemeClr val="tx1">
                    <a:tint val="75000"/>
                  </a:schemeClr>
                </a:solidFill>
                <a:latin typeface="微软雅黑" panose="020B0503020204020204" pitchFamily="34" charset="-122"/>
                <a:ea typeface="微软雅黑" panose="020B0503020204020204" pitchFamily="34" charset="-122"/>
              </a:defRPr>
            </a:lvl1pPr>
          </a:lstStyle>
          <a:p>
            <a:fld id="{09321FF8-95CF-4FCD-B001-FA7673DD6BBC}" type="slidenum">
              <a:rPr lang="zh-CN" altLang="en-US" smtClean="0"/>
            </a:fld>
            <a:endParaRPr lang="zh-CN" altLang="en-US" dirty="0"/>
          </a:p>
        </p:txBody>
      </p:sp>
    </p:spTree>
  </p:cSld>
  <p:clrMap bg1="lt1" tx1="dk1" bg2="lt2" tx2="dk2" accent1="accent1" accent2="accent2" accent3="accent3" accent4="accent4" accent5="accent5" accent6="accent6" hlink="hlink" folHlink="folHlink"/>
  <p:sldLayoutIdLst>
    <p:sldLayoutId id="2147483654" r:id="rId1"/>
    <p:sldLayoutId id="2147483655" r:id="rId2"/>
    <p:sldLayoutId id="2147483656" r:id="rId3"/>
    <p:sldLayoutId id="2147483657" r:id="rId4"/>
    <p:sldLayoutId id="2147483658" r:id="rId5"/>
    <p:sldLayoutId id="2147483659" r:id="rId6"/>
    <p:sldLayoutId id="2147483660" r:id="rId7"/>
    <p:sldLayoutId id="2147483661" r:id="rId8"/>
  </p:sldLayoutIdLst>
  <p:hf hdr="0" ftr="0" dt="0"/>
  <p:txStyles>
    <p:titleStyle>
      <a:lvl1pPr algn="l" defTabSz="914400" rtl="0" eaLnBrk="1" latinLnBrk="0" hangingPunct="1">
        <a:lnSpc>
          <a:spcPct val="90000"/>
        </a:lnSpc>
        <a:spcBef>
          <a:spcPct val="0"/>
        </a:spcBef>
        <a:buNone/>
        <a:defRPr sz="2800" b="1" kern="1200">
          <a:solidFill>
            <a:schemeClr val="tx1"/>
          </a:solidFill>
          <a:latin typeface="微软雅黑" panose="020B0503020204020204" pitchFamily="34" charset="-122"/>
          <a:ea typeface="微软雅黑" panose="020B0503020204020204" pitchFamily="34" charset="-122"/>
          <a:cs typeface="+mj-cs"/>
        </a:defRPr>
      </a:lvl1pPr>
    </p:titleStyle>
    <p:bodyStyle>
      <a:lvl1pPr marL="514350" indent="-514350" algn="l" defTabSz="914400" rtl="0" eaLnBrk="1" latinLnBrk="0" hangingPunct="1">
        <a:lnSpc>
          <a:spcPct val="120000"/>
        </a:lnSpc>
        <a:spcBef>
          <a:spcPts val="1000"/>
        </a:spcBef>
        <a:buFont typeface="+mj-ea"/>
        <a:buAutoNum type="ea1JpnChsDbPeriod"/>
        <a:defRPr sz="2000" kern="1200">
          <a:solidFill>
            <a:schemeClr val="tx1"/>
          </a:solidFill>
          <a:latin typeface="微软雅黑" panose="020B0503020204020204" pitchFamily="34" charset="-122"/>
          <a:ea typeface="微软雅黑" panose="020B0503020204020204" pitchFamily="34" charset="-122"/>
          <a:cs typeface="+mn-cs"/>
        </a:defRPr>
      </a:lvl1pPr>
      <a:lvl2pPr marL="800100" indent="-342900" algn="l" defTabSz="914400" rtl="0" eaLnBrk="1" latinLnBrk="0" hangingPunct="1">
        <a:lnSpc>
          <a:spcPct val="120000"/>
        </a:lnSpc>
        <a:spcBef>
          <a:spcPts val="500"/>
        </a:spcBef>
        <a:buFont typeface="+mj-lt"/>
        <a:buAutoNum type="arabicPeriod"/>
        <a:defRPr sz="1800" kern="1200">
          <a:solidFill>
            <a:schemeClr val="tx1"/>
          </a:solidFill>
          <a:latin typeface="微软雅黑" panose="020B0503020204020204" pitchFamily="34" charset="-122"/>
          <a:ea typeface="微软雅黑" panose="020B0503020204020204" pitchFamily="34" charset="-122"/>
          <a:cs typeface="+mn-cs"/>
        </a:defRPr>
      </a:lvl2pPr>
      <a:lvl3pPr marL="1257300" indent="-342900" algn="l" defTabSz="914400" rtl="0" eaLnBrk="1" latinLnBrk="0" hangingPunct="1">
        <a:lnSpc>
          <a:spcPct val="120000"/>
        </a:lnSpc>
        <a:spcBef>
          <a:spcPts val="500"/>
        </a:spcBef>
        <a:buFont typeface="+mj-ea"/>
        <a:buAutoNum type="circleNumDbPlain"/>
        <a:defRPr sz="1600" kern="1200">
          <a:solidFill>
            <a:schemeClr val="tx1"/>
          </a:solidFill>
          <a:latin typeface="微软雅黑" panose="020B0503020204020204" pitchFamily="34" charset="-122"/>
          <a:ea typeface="微软雅黑" panose="020B0503020204020204" pitchFamily="34" charset="-122"/>
          <a:cs typeface="+mn-cs"/>
        </a:defRPr>
      </a:lvl3pPr>
      <a:lvl4pPr marL="1714500" indent="-342900" algn="l" defTabSz="914400" rtl="0" eaLnBrk="1" latinLnBrk="0" hangingPunct="1">
        <a:lnSpc>
          <a:spcPct val="120000"/>
        </a:lnSpc>
        <a:spcBef>
          <a:spcPts val="500"/>
        </a:spcBef>
        <a:buFont typeface="+mj-lt"/>
        <a:buAutoNum type="alphaLcParenR"/>
        <a:defRPr sz="1400" kern="1200">
          <a:solidFill>
            <a:schemeClr val="tx1"/>
          </a:solidFill>
          <a:latin typeface="微软雅黑" panose="020B0503020204020204" pitchFamily="34" charset="-122"/>
          <a:ea typeface="微软雅黑" panose="020B0503020204020204" pitchFamily="34" charset="-122"/>
          <a:cs typeface="+mn-cs"/>
        </a:defRPr>
      </a:lvl4pPr>
      <a:lvl5pPr marL="2057400" indent="-228600" algn="l" defTabSz="914400" rtl="0" eaLnBrk="1" latinLnBrk="0" hangingPunct="1">
        <a:lnSpc>
          <a:spcPct val="120000"/>
        </a:lnSpc>
        <a:spcBef>
          <a:spcPts val="500"/>
        </a:spcBef>
        <a:buFont typeface="Arial" panose="020B0604020202090204" pitchFamily="34" charset="0"/>
        <a:buChar char="•"/>
        <a:defRPr sz="1100" kern="1200">
          <a:solidFill>
            <a:schemeClr val="tx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8"/>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Slide" r:id="rId9" imgW="0" imgH="0" progId="TCLayout.ActiveDocument.1">
                  <p:embed/>
                </p:oleObj>
              </mc:Choice>
              <mc:Fallback>
                <p:oleObj name="think-cell Slide" r:id="rId9" imgW="0" imgH="0" progId="TCLayout.ActiveDocument.1">
                  <p:embed/>
                  <p:pic>
                    <p:nvPicPr>
                      <p:cNvPr id="0" name="对象 2"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矩形 3" hidden="1"/>
          <p:cNvSpPr/>
          <p:nvPr>
            <p:custDataLst>
              <p:tags r:id="rId11"/>
            </p:custDataLst>
          </p:nvPr>
        </p:nvSpPr>
        <p:spPr>
          <a:xfrm>
            <a:off x="0" y="0"/>
            <a:ext cx="158750" cy="158750"/>
          </a:xfrm>
          <a:prstGeom prst="rect">
            <a:avLst/>
          </a:prstGeom>
          <a:solidFill>
            <a:srgbClr val="DBCF4D">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defRPr/>
            </a:pPr>
            <a:endParaRPr kumimoji="0" lang="en-US" altLang="zh-CN" sz="2400" b="1" i="0" u="none" strike="noStrike" kern="1200" cap="none" spc="0" normalizeH="0" baseline="0" noProof="0" dirty="0">
              <a:ln>
                <a:noFill/>
              </a:ln>
              <a:solidFill>
                <a:srgbClr val="FFFFFF"/>
              </a:solidFill>
              <a:effectLst/>
              <a:uLnTx/>
              <a:uFillTx/>
              <a:latin typeface="Arial" panose="020B0604020202090204" pitchFamily="34" charset="0"/>
              <a:ea typeface="华文楷体" panose="02010600040101010101" pitchFamily="2" charset="-122"/>
              <a:cs typeface="+mn-cs"/>
              <a:sym typeface="Arial" panose="020B0604020202090204" pitchFamily="34" charset="0"/>
            </a:endParaRPr>
          </a:p>
        </p:txBody>
      </p:sp>
      <p:sp>
        <p:nvSpPr>
          <p:cNvPr id="10" name="标题占位符 1"/>
          <p:cNvSpPr>
            <a:spLocks noGrp="1"/>
          </p:cNvSpPr>
          <p:nvPr>
            <p:ph type="title"/>
          </p:nvPr>
        </p:nvSpPr>
        <p:spPr>
          <a:xfrm>
            <a:off x="193674" y="144077"/>
            <a:ext cx="11664951" cy="547436"/>
          </a:xfrm>
          <a:prstGeom prst="rect">
            <a:avLst/>
          </a:prstGeom>
        </p:spPr>
        <p:txBody>
          <a:bodyPr vert="horz" lIns="91440" tIns="45720" rIns="91440" bIns="45720" rtlCol="0" anchor="b">
            <a:normAutofit/>
          </a:bodyPr>
          <a:lstStyle/>
          <a:p>
            <a:r>
              <a:rPr lang="zh-CN" altLang="en-US" dirty="0"/>
              <a:t>主题</a:t>
            </a:r>
            <a:endParaRPr lang="zh-CN" altLang="en-US" dirty="0"/>
          </a:p>
        </p:txBody>
      </p:sp>
      <p:sp>
        <p:nvSpPr>
          <p:cNvPr id="11" name="文本占位符 2"/>
          <p:cNvSpPr>
            <a:spLocks noGrp="1"/>
          </p:cNvSpPr>
          <p:nvPr>
            <p:ph type="body" idx="1"/>
          </p:nvPr>
        </p:nvSpPr>
        <p:spPr>
          <a:xfrm>
            <a:off x="269873" y="1123950"/>
            <a:ext cx="11588751" cy="5019675"/>
          </a:xfrm>
          <a:prstGeom prst="rect">
            <a:avLst/>
          </a:prstGeom>
        </p:spPr>
        <p:txBody>
          <a:bodyPr vert="horz" lIns="91440" tIns="45720" rIns="91440" bIns="45720" rtlCol="0">
            <a:normAutofit/>
          </a:bodyPr>
          <a:lstStyle/>
          <a:p>
            <a:pPr lvl="0"/>
            <a:r>
              <a:rPr lang="en-US" dirty="0"/>
              <a:t>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zh-CN" altLang="en-US" dirty="0"/>
          </a:p>
        </p:txBody>
      </p:sp>
      <p:sp>
        <p:nvSpPr>
          <p:cNvPr id="13" name="日期占位符 3"/>
          <p:cNvSpPr>
            <a:spLocks noGrp="1"/>
          </p:cNvSpPr>
          <p:nvPr>
            <p:ph type="dt" sz="half" idx="2"/>
          </p:nvPr>
        </p:nvSpPr>
        <p:spPr>
          <a:xfrm>
            <a:off x="5369980" y="6461057"/>
            <a:ext cx="1388536" cy="206381"/>
          </a:xfrm>
          <a:prstGeom prst="rect">
            <a:avLst/>
          </a:prstGeom>
        </p:spPr>
        <p:txBody>
          <a:bodyPr vert="horz" lIns="91440" tIns="0" rIns="91440" bIns="45720" rtlCol="0" anchor="t" anchorCtr="0"/>
          <a:lstStyle>
            <a:lvl1pPr algn="ctr">
              <a:defRPr sz="1000">
                <a:solidFill>
                  <a:schemeClr val="tx1">
                    <a:lumMod val="50000"/>
                    <a:lumOff val="50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000" b="0" i="0" u="none" strike="noStrike" kern="1200" cap="none" spc="0" normalizeH="0" baseline="0" noProof="0">
              <a:ln>
                <a:noFill/>
              </a:ln>
              <a:solidFill>
                <a:srgbClr val="000000">
                  <a:lumMod val="50000"/>
                  <a:lumOff val="50000"/>
                </a:srgbClr>
              </a:solidFill>
              <a:effectLst/>
              <a:uLnTx/>
              <a:uFillTx/>
              <a:latin typeface="Arial" panose="020B0604020202090204"/>
              <a:ea typeface="微软雅黑"/>
              <a:cs typeface="+mn-cs"/>
            </a:endParaRPr>
          </a:p>
        </p:txBody>
      </p:sp>
      <p:sp>
        <p:nvSpPr>
          <p:cNvPr id="14" name="页脚占位符 4"/>
          <p:cNvSpPr>
            <a:spLocks noGrp="1"/>
          </p:cNvSpPr>
          <p:nvPr>
            <p:ph type="ftr" sz="quarter" idx="3"/>
          </p:nvPr>
        </p:nvSpPr>
        <p:spPr>
          <a:xfrm>
            <a:off x="269873" y="6461057"/>
            <a:ext cx="4886327" cy="215839"/>
          </a:xfrm>
          <a:prstGeom prst="rect">
            <a:avLst/>
          </a:prstGeom>
        </p:spPr>
        <p:txBody>
          <a:bodyPr vert="horz" lIns="91440" tIns="0" rIns="91440" bIns="45720" rtlCol="0" anchor="t" anchorCtr="0"/>
          <a:lstStyle>
            <a:lvl1pPr algn="l">
              <a:defRPr sz="1000">
                <a:solidFill>
                  <a:schemeClr val="tx1">
                    <a:lumMod val="50000"/>
                    <a:lumOff val="50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000" b="0" i="0" u="none" strike="noStrike" kern="1200" cap="none" spc="0" normalizeH="0" baseline="0" noProof="0" dirty="0">
              <a:ln>
                <a:noFill/>
              </a:ln>
              <a:solidFill>
                <a:srgbClr val="000000">
                  <a:lumMod val="50000"/>
                  <a:lumOff val="50000"/>
                </a:srgbClr>
              </a:solidFill>
              <a:effectLst/>
              <a:uLnTx/>
              <a:uFillTx/>
              <a:latin typeface="Arial" panose="020B0604020202090204"/>
              <a:ea typeface="华文楷体" panose="02010600040101010101" pitchFamily="2" charset="-122"/>
              <a:cs typeface="+mn-cs"/>
            </a:endParaRPr>
          </a:p>
        </p:txBody>
      </p:sp>
      <p:cxnSp>
        <p:nvCxnSpPr>
          <p:cNvPr id="5" name="直接连接符 4"/>
          <p:cNvCxnSpPr/>
          <p:nvPr/>
        </p:nvCxnSpPr>
        <p:spPr>
          <a:xfrm>
            <a:off x="193674" y="806516"/>
            <a:ext cx="11664951"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4" name="灯片编号占位符 5"/>
          <p:cNvSpPr>
            <a:spLocks noGrp="1"/>
          </p:cNvSpPr>
          <p:nvPr>
            <p:ph type="sldNum" sz="quarter" idx="4"/>
          </p:nvPr>
        </p:nvSpPr>
        <p:spPr>
          <a:xfrm>
            <a:off x="9300883" y="6381684"/>
            <a:ext cx="2743200" cy="365125"/>
          </a:xfrm>
        </p:spPr>
        <p:txBody>
          <a:bodyPr/>
          <a:lstStyle>
            <a:lvl1pPr algn="r">
              <a:defRPr sz="1600"/>
            </a:lvl1pPr>
          </a:lstStyle>
          <a:p>
            <a:fld id="{D174682D-7201-4549-AB46-A3B3CC68F057}" type="slidenum">
              <a:rPr lang="zh-CN" altLang="en-US" smtClean="0"/>
            </a:fld>
            <a:endParaRPr lang="zh-CN" altLang="en-US"/>
          </a:p>
        </p:txBody>
      </p:sp>
    </p:spTree>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Lst>
  <p:hf hdr="0" ftr="0" dt="0"/>
  <p:txStyles>
    <p:title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p:titleStyle>
    <p:bodyStyle>
      <a:lvl1pPr marL="177800" indent="-177800" algn="l" defTabSz="914400" rtl="0" eaLnBrk="1" latinLnBrk="0" hangingPunct="1">
        <a:lnSpc>
          <a:spcPct val="90000"/>
        </a:lnSpc>
        <a:spcBef>
          <a:spcPts val="1000"/>
        </a:spcBef>
        <a:buFont typeface="Arial" panose="020B0604020202090204" pitchFamily="34" charset="0"/>
        <a:buChar char="•"/>
        <a:defRPr sz="1800" kern="1200">
          <a:solidFill>
            <a:schemeClr val="tx1"/>
          </a:solidFill>
          <a:latin typeface="+mn-lt"/>
          <a:ea typeface="+mn-ea"/>
          <a:cs typeface="+mn-cs"/>
        </a:defRPr>
      </a:lvl1pPr>
      <a:lvl2pPr marL="355600" indent="-177800" algn="l" defTabSz="914400" rtl="0" eaLnBrk="1" latinLnBrk="0" hangingPunct="1">
        <a:lnSpc>
          <a:spcPct val="90000"/>
        </a:lnSpc>
        <a:spcBef>
          <a:spcPts val="500"/>
        </a:spcBef>
        <a:buFont typeface="华文楷体" panose="02010600040101010101" pitchFamily="2" charset="-122"/>
        <a:buChar char="−"/>
        <a:defRPr sz="1600" kern="1200">
          <a:solidFill>
            <a:schemeClr val="tx1"/>
          </a:solidFill>
          <a:latin typeface="+mn-lt"/>
          <a:ea typeface="+mn-ea"/>
          <a:cs typeface="+mn-cs"/>
        </a:defRPr>
      </a:lvl2pPr>
      <a:lvl3pPr marL="541655" indent="-186055" algn="l" defTabSz="914400" rtl="0" eaLnBrk="1" latinLnBrk="0" hangingPunct="1">
        <a:lnSpc>
          <a:spcPct val="90000"/>
        </a:lnSpc>
        <a:spcBef>
          <a:spcPts val="500"/>
        </a:spcBef>
        <a:buFont typeface="Arial" panose="020B0604020202090204" pitchFamily="34" charset="0"/>
        <a:buChar char="•"/>
        <a:defRPr sz="1400" kern="1200">
          <a:solidFill>
            <a:schemeClr val="tx1"/>
          </a:solidFill>
          <a:latin typeface="+mn-lt"/>
          <a:ea typeface="+mn-ea"/>
          <a:cs typeface="+mn-cs"/>
        </a:defRPr>
      </a:lvl3pPr>
      <a:lvl4pPr marL="719455" indent="-177800" algn="l" defTabSz="914400" rtl="0" eaLnBrk="1" latinLnBrk="0" hangingPunct="1">
        <a:lnSpc>
          <a:spcPct val="90000"/>
        </a:lnSpc>
        <a:spcBef>
          <a:spcPts val="500"/>
        </a:spcBef>
        <a:buFont typeface="华文楷体" panose="02010600040101010101" pitchFamily="2" charset="-122"/>
        <a:buChar char="−"/>
        <a:defRPr sz="1200" kern="1200">
          <a:solidFill>
            <a:schemeClr val="tx1"/>
          </a:solidFill>
          <a:latin typeface="+mn-lt"/>
          <a:ea typeface="+mn-ea"/>
          <a:cs typeface="+mn-cs"/>
        </a:defRPr>
      </a:lvl4pPr>
      <a:lvl5pPr marL="897255" indent="-177800" algn="l" defTabSz="914400" rtl="0" eaLnBrk="1" latinLnBrk="0" hangingPunct="1">
        <a:lnSpc>
          <a:spcPct val="90000"/>
        </a:lnSpc>
        <a:spcBef>
          <a:spcPts val="500"/>
        </a:spcBef>
        <a:buFont typeface="Arial" panose="020B060402020209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 name="think-cell 幻灯片" r:id="rId6" imgW="0" imgH="0" progId="TCLayout.ActiveDocument.1">
                  <p:embed/>
                </p:oleObj>
              </mc:Choice>
              <mc:Fallback>
                <p:oleObj name="think-cell 幻灯片" r:id="rId6" imgW="0" imgH="0" progId="TCLayout.ActiveDocument.1">
                  <p:embed/>
                  <p:pic>
                    <p:nvPicPr>
                      <p:cNvPr id="0"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2" name="TextBox 11"/>
          <p:cNvSpPr txBox="1"/>
          <p:nvPr/>
        </p:nvSpPr>
        <p:spPr>
          <a:xfrm>
            <a:off x="11579382" y="6437745"/>
            <a:ext cx="612617" cy="420255"/>
          </a:xfrm>
          <a:prstGeom prst="rect">
            <a:avLst/>
          </a:prstGeom>
          <a:noFill/>
        </p:spPr>
        <p:txBody>
          <a:bodyPr wrap="square" lIns="0" tIns="0" rIns="0" bIns="0" rtlCol="0" anchor="ctr">
            <a:noAutofit/>
          </a:bodyPr>
          <a:lstStyle/>
          <a:p>
            <a:pPr marL="0" marR="0" indent="0" algn="ct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703020202090204" pitchFamily="34" charset="0"/>
              </a:rPr>
            </a:fld>
            <a:endParaRPr lang="en-US" sz="1000" kern="1200" dirty="0">
              <a:solidFill>
                <a:schemeClr val="bg1">
                  <a:lumMod val="50000"/>
                </a:schemeClr>
              </a:solidFill>
              <a:latin typeface="+mn-lt"/>
              <a:ea typeface="+mn-ea"/>
              <a:cs typeface="+mn-cs"/>
              <a:sym typeface="Trebuchet MS" panose="020B0703020202090204" pitchFamily="34" charset="0"/>
            </a:endParaRPr>
          </a:p>
        </p:txBody>
      </p:sp>
      <p:sp>
        <p:nvSpPr>
          <p:cNvPr id="9" name="Title Placeholder 1"/>
          <p:cNvSpPr>
            <a:spLocks noGrp="1"/>
          </p:cNvSpPr>
          <p:nvPr>
            <p:ph type="title"/>
          </p:nvPr>
        </p:nvSpPr>
        <p:spPr>
          <a:xfrm>
            <a:off x="360000" y="140399"/>
            <a:ext cx="10934700" cy="720000"/>
          </a:xfrm>
          <a:prstGeom prst="rect">
            <a:avLst/>
          </a:prstGeom>
        </p:spPr>
        <p:txBody>
          <a:bodyPr vert="horz" wrap="square" lIns="0" tIns="0" rIns="0" bIns="0" rtlCol="0" anchor="ctr">
            <a:noAutofit/>
          </a:bodyPr>
          <a:lstStyle/>
          <a:p>
            <a:r>
              <a:rPr lang="en-US" dirty="0"/>
              <a:t>Click to add title</a:t>
            </a:r>
            <a:endParaRPr lang="en-US" dirty="0"/>
          </a:p>
        </p:txBody>
      </p:sp>
      <p:sp>
        <p:nvSpPr>
          <p:cNvPr id="4" name="Text Placeholder 3"/>
          <p:cNvSpPr>
            <a:spLocks noGrp="1"/>
          </p:cNvSpPr>
          <p:nvPr>
            <p:ph type="body" idx="1"/>
          </p:nvPr>
        </p:nvSpPr>
        <p:spPr>
          <a:xfrm>
            <a:off x="360000" y="977153"/>
            <a:ext cx="10934700" cy="5031859"/>
          </a:xfrm>
          <a:prstGeom prst="rect">
            <a:avLst/>
          </a:prstGeom>
        </p:spPr>
        <p:txBody>
          <a:bodyPr vert="horz" lIns="0" tIns="0" rIns="0" bIns="0" rtlCol="0">
            <a:noAutofit/>
          </a:bodyPr>
          <a:lstStyle/>
          <a:p>
            <a:pPr lvl="0"/>
            <a:r>
              <a:rPr lang="en-US" dirty="0"/>
              <a:t>Edit Master text styles</a:t>
            </a:r>
            <a:endParaRPr lang="en-US" dirty="0"/>
          </a:p>
          <a:p>
            <a:pPr lvl="1"/>
            <a:r>
              <a:rPr lang="en-US" dirty="0"/>
              <a:t>Second level</a:t>
            </a:r>
            <a:endParaRPr lang="en-US" dirty="0"/>
          </a:p>
          <a:p>
            <a:pPr lvl="2"/>
            <a:r>
              <a:rPr lang="en-US" dirty="0"/>
              <a:t>Third level</a:t>
            </a:r>
            <a:endParaRPr lang="en-US" dirty="0"/>
          </a:p>
        </p:txBody>
      </p:sp>
      <p:cxnSp>
        <p:nvCxnSpPr>
          <p:cNvPr id="6" name="直接连接符 5"/>
          <p:cNvCxnSpPr/>
          <p:nvPr/>
        </p:nvCxnSpPr>
        <p:spPr>
          <a:xfrm>
            <a:off x="0" y="6390900"/>
            <a:ext cx="12192000" cy="0"/>
          </a:xfrm>
          <a:prstGeom prst="line">
            <a:avLst/>
          </a:prstGeom>
          <a:ln w="12700" cap="rnd">
            <a:solidFill>
              <a:schemeClr val="accent1"/>
            </a:solidFill>
            <a:prstDash val="solid"/>
            <a:round/>
          </a:ln>
        </p:spPr>
        <p:style>
          <a:lnRef idx="1">
            <a:schemeClr val="accent1"/>
          </a:lnRef>
          <a:fillRef idx="0">
            <a:schemeClr val="accent1"/>
          </a:fillRef>
          <a:effectRef idx="0">
            <a:schemeClr val="accent1"/>
          </a:effectRef>
          <a:fontRef idx="minor">
            <a:schemeClr val="tx1"/>
          </a:fontRef>
        </p:style>
      </p:cxnSp>
      <p:graphicFrame>
        <p:nvGraphicFramePr>
          <p:cNvPr id="7" name="对象 6" hidden="1"/>
          <p:cNvGraphicFramePr>
            <a:graphicFrameLocks noChangeAspect="1"/>
          </p:cNvGraphicFramePr>
          <p:nvPr userDrawn="1">
            <p:custDataLst>
              <p:tags r:id="rId8"/>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 name="think-cell Slide" r:id="rId9" imgW="0" imgH="0" progId="TCLayout.ActiveDocument.1">
                  <p:embed/>
                </p:oleObj>
              </mc:Choice>
              <mc:Fallback>
                <p:oleObj name="think-cell Slide" r:id="rId9" imgW="0" imgH="0" progId="TCLayout.ActiveDocument.1">
                  <p:embed/>
                  <p:pic>
                    <p:nvPicPr>
                      <p:cNvPr id="0" name="对象 2"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8" name="矩形 7" hidden="1"/>
          <p:cNvSpPr/>
          <p:nvPr userDrawn="1">
            <p:custDataLst>
              <p:tags r:id="rId11"/>
            </p:custDataLst>
          </p:nvPr>
        </p:nvSpPr>
        <p:spPr>
          <a:xfrm>
            <a:off x="0" y="0"/>
            <a:ext cx="158750" cy="158750"/>
          </a:xfrm>
          <a:prstGeom prst="rect">
            <a:avLst/>
          </a:prstGeom>
          <a:solidFill>
            <a:srgbClr val="DBCF4D">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pPr>
            <a:endParaRPr kumimoji="0" lang="en-US" altLang="zh-CN" sz="2400" b="1" i="0" u="none" strike="noStrike" kern="1200" cap="none" spc="0" normalizeH="0" baseline="0" noProof="0" dirty="0">
              <a:ln>
                <a:noFill/>
              </a:ln>
              <a:solidFill>
                <a:srgbClr val="FFFFFF"/>
              </a:solidFill>
              <a:effectLst/>
              <a:uLnTx/>
              <a:uFillTx/>
              <a:latin typeface="Arial" panose="020B0604020202090204" pitchFamily="34" charset="0"/>
              <a:ea typeface="华文楷体" panose="02010600040101010101" pitchFamily="2" charset="-122"/>
              <a:cs typeface="+mj-cs"/>
              <a:sym typeface="Arial" panose="020B0604020202090204" pitchFamily="34" charset="0"/>
            </a:endParaRPr>
          </a:p>
        </p:txBody>
      </p:sp>
    </p:spTree>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Lst>
  <p:hf hdr="0"/>
  <p:txStyles>
    <p:title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703020202090204" pitchFamily="34" charset="0"/>
        </a:defRPr>
      </a:lvl1pPr>
    </p:titleStyle>
    <p:bodyStyle>
      <a:lvl1pPr marL="0" indent="0" algn="l" defTabSz="914400" rtl="0" eaLnBrk="1" latinLnBrk="0" hangingPunct="1">
        <a:lnSpc>
          <a:spcPct val="100000"/>
        </a:lnSpc>
        <a:spcBef>
          <a:spcPts val="300"/>
        </a:spcBef>
        <a:spcAft>
          <a:spcPts val="0"/>
        </a:spcAft>
        <a:buFont typeface="Arial" panose="020B0604020202090204" pitchFamily="34" charset="0"/>
        <a:buChar char="​"/>
        <a:defRPr lang="en-US" sz="1400" kern="1200">
          <a:solidFill>
            <a:schemeClr val="tx1"/>
          </a:solidFill>
          <a:latin typeface="+mn-lt"/>
          <a:ea typeface="+mn-ea"/>
          <a:cs typeface="+mn-cs"/>
          <a:sym typeface="Trebuchet MS" panose="020B0703020202090204" pitchFamily="34" charset="0"/>
        </a:defRPr>
      </a:lvl1pPr>
      <a:lvl2pPr marL="284480" indent="-172720" algn="l" defTabSz="914400" rtl="0" eaLnBrk="1" latinLnBrk="0" hangingPunct="1">
        <a:lnSpc>
          <a:spcPct val="100000"/>
        </a:lnSpc>
        <a:spcBef>
          <a:spcPts val="300"/>
        </a:spcBef>
        <a:spcAft>
          <a:spcPts val="0"/>
        </a:spcAft>
        <a:buClr>
          <a:schemeClr val="tx2"/>
        </a:buClr>
        <a:buFont typeface="Arial" panose="020B0604020202090204" pitchFamily="34" charset="0"/>
        <a:buChar char="•"/>
        <a:defRPr lang="en-US" sz="1400" kern="1200">
          <a:solidFill>
            <a:schemeClr val="tx1"/>
          </a:solidFill>
          <a:latin typeface="+mn-lt"/>
          <a:ea typeface="+mn-ea"/>
          <a:cs typeface="+mn-cs"/>
          <a:sym typeface="Trebuchet MS" panose="020B0703020202090204" pitchFamily="34" charset="0"/>
        </a:defRPr>
      </a:lvl2pPr>
      <a:lvl3pPr marL="511175" indent="-165735" algn="l" defTabSz="914400" rtl="0" eaLnBrk="1" latinLnBrk="0" hangingPunct="1">
        <a:lnSpc>
          <a:spcPct val="100000"/>
        </a:lnSpc>
        <a:spcBef>
          <a:spcPts val="300"/>
        </a:spcBef>
        <a:spcAft>
          <a:spcPts val="0"/>
        </a:spcAft>
        <a:buClr>
          <a:schemeClr val="tx2"/>
        </a:buClr>
        <a:buFont typeface="Trebuchet MS" panose="020B0703020202090204" pitchFamily="34" charset="0"/>
        <a:buChar char="–"/>
        <a:defRPr lang="en-US" sz="1400" kern="1200">
          <a:solidFill>
            <a:schemeClr val="tx1"/>
          </a:solidFill>
          <a:latin typeface="+mn-lt"/>
          <a:ea typeface="+mn-ea"/>
          <a:cs typeface="+mn-cs"/>
          <a:sym typeface="Trebuchet MS" panose="020B070302020209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90204" pitchFamily="34" charset="0"/>
        <a:buChar char="​"/>
        <a:defRPr lang="en-US" sz="1600" kern="1200">
          <a:solidFill>
            <a:schemeClr val="tx2"/>
          </a:solidFill>
          <a:latin typeface="+mn-lt"/>
          <a:ea typeface="+mn-ea"/>
          <a:cs typeface="+mn-cs"/>
          <a:sym typeface="Trebuchet MS" panose="020B0703020202090204" pitchFamily="34" charset="0"/>
        </a:defRPr>
      </a:lvl4pPr>
      <a:lvl5pPr marL="0" indent="0" algn="l" defTabSz="914400" rtl="0" eaLnBrk="1" latinLnBrk="0" hangingPunct="1">
        <a:lnSpc>
          <a:spcPct val="100000"/>
        </a:lnSpc>
        <a:spcBef>
          <a:spcPts val="0"/>
        </a:spcBef>
        <a:spcAft>
          <a:spcPts val="300"/>
        </a:spcAft>
        <a:buClrTx/>
        <a:buFont typeface="Arial" panose="020B0604020202090204" pitchFamily="34" charset="0"/>
        <a:buChar char="​"/>
        <a:defRPr lang="en-US" sz="1600" b="1" kern="1200" smtClean="0">
          <a:solidFill>
            <a:schemeClr val="tx1"/>
          </a:solidFill>
          <a:latin typeface="+mn-lt"/>
          <a:ea typeface="+mn-ea"/>
          <a:cs typeface="+mn-cs"/>
          <a:sym typeface="Trebuchet MS" panose="020B070302020209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90204" pitchFamily="34" charset="0"/>
        <a:buChar char="•"/>
        <a:defRPr lang="en-US" sz="1600" kern="1200" smtClean="0">
          <a:solidFill>
            <a:schemeClr val="tx1"/>
          </a:solidFill>
          <a:latin typeface="+mn-lt"/>
          <a:ea typeface="+mn-ea"/>
          <a:cs typeface="+mn-cs"/>
          <a:sym typeface="Trebuchet MS" panose="020B0703020202090204" pitchFamily="34" charset="0"/>
        </a:defRPr>
      </a:lvl6pPr>
      <a:lvl7pPr marL="0" indent="0" algn="l" defTabSz="914400" rtl="0" eaLnBrk="1" latinLnBrk="0" hangingPunct="1">
        <a:lnSpc>
          <a:spcPct val="90000"/>
        </a:lnSpc>
        <a:spcBef>
          <a:spcPts val="900"/>
        </a:spcBef>
        <a:spcAft>
          <a:spcPts val="900"/>
        </a:spcAft>
        <a:buFont typeface="Arial" panose="020B0604020202090204" pitchFamily="34" charset="0"/>
        <a:buChar char="​"/>
        <a:defRPr lang="en-US" sz="4400" kern="1200" baseline="0" smtClean="0">
          <a:solidFill>
            <a:schemeClr val="tx1"/>
          </a:solidFill>
          <a:latin typeface="+mn-lt"/>
          <a:ea typeface="+mn-ea"/>
          <a:cs typeface="+mn-cs"/>
          <a:sym typeface="Trebuchet MS" panose="020B0703020202090204" pitchFamily="34" charset="0"/>
        </a:defRPr>
      </a:lvl7pPr>
      <a:lvl8pPr marL="0" indent="0" algn="l" defTabSz="914400" rtl="0" eaLnBrk="1" latinLnBrk="0" hangingPunct="1">
        <a:lnSpc>
          <a:spcPct val="90000"/>
        </a:lnSpc>
        <a:spcBef>
          <a:spcPts val="900"/>
        </a:spcBef>
        <a:spcAft>
          <a:spcPts val="0"/>
        </a:spcAft>
        <a:buFont typeface="Arial" panose="020B0604020202090204" pitchFamily="34" charset="0"/>
        <a:buChar char="​"/>
        <a:defRPr lang="en-US" sz="5400" kern="1200" baseline="0" smtClean="0">
          <a:solidFill>
            <a:schemeClr val="tx2"/>
          </a:solidFill>
          <a:latin typeface="+mn-lt"/>
          <a:ea typeface="+mn-ea"/>
          <a:cs typeface="+mn-cs"/>
          <a:sym typeface="Trebuchet MS" panose="020B0703020202090204" pitchFamily="34" charset="0"/>
        </a:defRPr>
      </a:lvl8pPr>
      <a:lvl9pPr marL="0" indent="0" algn="l" defTabSz="914400" rtl="0" eaLnBrk="1" latinLnBrk="0" hangingPunct="1">
        <a:lnSpc>
          <a:spcPct val="100000"/>
        </a:lnSpc>
        <a:spcBef>
          <a:spcPts val="0"/>
        </a:spcBef>
        <a:spcAft>
          <a:spcPts val="900"/>
        </a:spcAft>
        <a:buFont typeface="Arial" panose="020B0604020202090204" pitchFamily="34" charset="0"/>
        <a:buChar char="​"/>
        <a:defRPr lang="en-US" sz="2400" kern="1200" baseline="0" dirty="0">
          <a:solidFill>
            <a:schemeClr val="tx2"/>
          </a:solidFill>
          <a:latin typeface="+mn-lt"/>
          <a:ea typeface="+mn-ea"/>
          <a:cs typeface="+mn-cs"/>
          <a:sym typeface="Trebuchet MS" panose="020B070302020209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 name="think-cell 幻灯片" r:id="rId6" imgW="0" imgH="0" progId="TCLayout.ActiveDocument.1">
                  <p:embed/>
                </p:oleObj>
              </mc:Choice>
              <mc:Fallback>
                <p:oleObj name="think-cell 幻灯片" r:id="rId6" imgW="0" imgH="0" progId="TCLayout.ActiveDocument.1">
                  <p:embed/>
                  <p:pic>
                    <p:nvPicPr>
                      <p:cNvPr id="0"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2" name="TextBox 11"/>
          <p:cNvSpPr txBox="1"/>
          <p:nvPr/>
        </p:nvSpPr>
        <p:spPr>
          <a:xfrm>
            <a:off x="11579382" y="6437745"/>
            <a:ext cx="612617" cy="420255"/>
          </a:xfrm>
          <a:prstGeom prst="rect">
            <a:avLst/>
          </a:prstGeom>
          <a:noFill/>
        </p:spPr>
        <p:txBody>
          <a:bodyPr wrap="square" lIns="0" tIns="0" rIns="0" bIns="0" rtlCol="0" anchor="ctr">
            <a:noAutofit/>
          </a:bodyPr>
          <a:lstStyle/>
          <a:p>
            <a:pPr marL="0" marR="0" indent="0" algn="ct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703020202090204" pitchFamily="34" charset="0"/>
              </a:rPr>
            </a:fld>
            <a:endParaRPr lang="en-US" sz="1000" kern="1200" dirty="0">
              <a:solidFill>
                <a:schemeClr val="bg1">
                  <a:lumMod val="50000"/>
                </a:schemeClr>
              </a:solidFill>
              <a:latin typeface="+mn-lt"/>
              <a:ea typeface="+mn-ea"/>
              <a:cs typeface="+mn-cs"/>
              <a:sym typeface="Trebuchet MS" panose="020B0703020202090204" pitchFamily="34" charset="0"/>
            </a:endParaRPr>
          </a:p>
        </p:txBody>
      </p:sp>
      <p:sp>
        <p:nvSpPr>
          <p:cNvPr id="9" name="Title Placeholder 1"/>
          <p:cNvSpPr>
            <a:spLocks noGrp="1"/>
          </p:cNvSpPr>
          <p:nvPr>
            <p:ph type="title"/>
          </p:nvPr>
        </p:nvSpPr>
        <p:spPr>
          <a:xfrm>
            <a:off x="360000" y="140399"/>
            <a:ext cx="10934700" cy="720000"/>
          </a:xfrm>
          <a:prstGeom prst="rect">
            <a:avLst/>
          </a:prstGeom>
        </p:spPr>
        <p:txBody>
          <a:bodyPr vert="horz" wrap="square" lIns="0" tIns="0" rIns="0" bIns="0" rtlCol="0" anchor="ctr">
            <a:noAutofit/>
          </a:bodyPr>
          <a:lstStyle/>
          <a:p>
            <a:r>
              <a:rPr lang="en-US" dirty="0"/>
              <a:t>Click to add title</a:t>
            </a:r>
            <a:endParaRPr lang="en-US" dirty="0"/>
          </a:p>
        </p:txBody>
      </p:sp>
      <p:sp>
        <p:nvSpPr>
          <p:cNvPr id="4" name="Text Placeholder 3"/>
          <p:cNvSpPr>
            <a:spLocks noGrp="1"/>
          </p:cNvSpPr>
          <p:nvPr>
            <p:ph type="body" idx="1"/>
          </p:nvPr>
        </p:nvSpPr>
        <p:spPr>
          <a:xfrm>
            <a:off x="360000" y="977153"/>
            <a:ext cx="10934700" cy="5031859"/>
          </a:xfrm>
          <a:prstGeom prst="rect">
            <a:avLst/>
          </a:prstGeom>
        </p:spPr>
        <p:txBody>
          <a:bodyPr vert="horz" lIns="0" tIns="0" rIns="0" bIns="0" rtlCol="0">
            <a:noAutofit/>
          </a:bodyPr>
          <a:lstStyle/>
          <a:p>
            <a:pPr lvl="0"/>
            <a:r>
              <a:rPr lang="en-US" dirty="0"/>
              <a:t>Edit Master text styles</a:t>
            </a:r>
            <a:endParaRPr lang="en-US" dirty="0"/>
          </a:p>
          <a:p>
            <a:pPr lvl="1"/>
            <a:r>
              <a:rPr lang="en-US" dirty="0"/>
              <a:t>Second level</a:t>
            </a:r>
            <a:endParaRPr lang="en-US" dirty="0"/>
          </a:p>
          <a:p>
            <a:pPr lvl="2"/>
            <a:r>
              <a:rPr lang="en-US" dirty="0"/>
              <a:t>Third level</a:t>
            </a:r>
            <a:endParaRPr lang="en-US" dirty="0"/>
          </a:p>
        </p:txBody>
      </p:sp>
      <p:cxnSp>
        <p:nvCxnSpPr>
          <p:cNvPr id="6" name="直接连接符 5"/>
          <p:cNvCxnSpPr/>
          <p:nvPr/>
        </p:nvCxnSpPr>
        <p:spPr>
          <a:xfrm>
            <a:off x="0" y="6390900"/>
            <a:ext cx="12192000" cy="0"/>
          </a:xfrm>
          <a:prstGeom prst="line">
            <a:avLst/>
          </a:prstGeom>
          <a:ln w="12700" cap="rnd">
            <a:solidFill>
              <a:schemeClr val="accent1"/>
            </a:solidFill>
            <a:prstDash val="solid"/>
            <a:round/>
          </a:ln>
        </p:spPr>
        <p:style>
          <a:lnRef idx="1">
            <a:schemeClr val="accent1"/>
          </a:lnRef>
          <a:fillRef idx="0">
            <a:schemeClr val="accent1"/>
          </a:fillRef>
          <a:effectRef idx="0">
            <a:schemeClr val="accent1"/>
          </a:effectRef>
          <a:fontRef idx="minor">
            <a:schemeClr val="tx1"/>
          </a:fontRef>
        </p:style>
      </p:cxnSp>
      <p:graphicFrame>
        <p:nvGraphicFramePr>
          <p:cNvPr id="7" name="对象 6" hidden="1"/>
          <p:cNvGraphicFramePr>
            <a:graphicFrameLocks noChangeAspect="1"/>
          </p:cNvGraphicFramePr>
          <p:nvPr userDrawn="1">
            <p:custDataLst>
              <p:tags r:id="rId8"/>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 name="think-cell Slide" r:id="rId9" imgW="0" imgH="0" progId="TCLayout.ActiveDocument.1">
                  <p:embed/>
                </p:oleObj>
              </mc:Choice>
              <mc:Fallback>
                <p:oleObj name="think-cell Slide" r:id="rId9" imgW="0" imgH="0" progId="TCLayout.ActiveDocument.1">
                  <p:embed/>
                  <p:pic>
                    <p:nvPicPr>
                      <p:cNvPr id="0" name="对象 6"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8" name="矩形 7" hidden="1"/>
          <p:cNvSpPr/>
          <p:nvPr userDrawn="1">
            <p:custDataLst>
              <p:tags r:id="rId11"/>
            </p:custDataLst>
          </p:nvPr>
        </p:nvSpPr>
        <p:spPr>
          <a:xfrm>
            <a:off x="0" y="0"/>
            <a:ext cx="158750" cy="158750"/>
          </a:xfrm>
          <a:prstGeom prst="rect">
            <a:avLst/>
          </a:prstGeom>
          <a:solidFill>
            <a:srgbClr val="DBCF4D">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pPr>
            <a:endParaRPr kumimoji="0" lang="en-US" altLang="zh-CN" sz="2400" b="1" i="0" u="none" strike="noStrike" kern="1200" cap="none" spc="0" normalizeH="0" baseline="0" noProof="0" dirty="0">
              <a:ln>
                <a:noFill/>
              </a:ln>
              <a:solidFill>
                <a:srgbClr val="FFFFFF"/>
              </a:solidFill>
              <a:effectLst/>
              <a:uLnTx/>
              <a:uFillTx/>
              <a:latin typeface="Arial" panose="020B0604020202090204" pitchFamily="34" charset="0"/>
              <a:ea typeface="华文楷体" panose="02010600040101010101" pitchFamily="2" charset="-122"/>
              <a:cs typeface="+mj-cs"/>
              <a:sym typeface="Arial" panose="020B0604020202090204" pitchFamily="34" charset="0"/>
            </a:endParaRPr>
          </a:p>
        </p:txBody>
      </p:sp>
    </p:spTree>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Lst>
  <p:hf hdr="0"/>
  <p:txStyles>
    <p:title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703020202090204" pitchFamily="34" charset="0"/>
        </a:defRPr>
      </a:lvl1pPr>
    </p:titleStyle>
    <p:bodyStyle>
      <a:lvl1pPr marL="0" indent="0" algn="l" defTabSz="914400" rtl="0" eaLnBrk="1" latinLnBrk="0" hangingPunct="1">
        <a:lnSpc>
          <a:spcPct val="100000"/>
        </a:lnSpc>
        <a:spcBef>
          <a:spcPts val="300"/>
        </a:spcBef>
        <a:spcAft>
          <a:spcPts val="0"/>
        </a:spcAft>
        <a:buFont typeface="Arial" panose="020B0604020202090204" pitchFamily="34" charset="0"/>
        <a:buChar char="​"/>
        <a:defRPr lang="en-US" sz="1400" kern="1200">
          <a:solidFill>
            <a:schemeClr val="tx1"/>
          </a:solidFill>
          <a:latin typeface="+mn-lt"/>
          <a:ea typeface="+mn-ea"/>
          <a:cs typeface="+mn-cs"/>
          <a:sym typeface="Trebuchet MS" panose="020B0703020202090204" pitchFamily="34" charset="0"/>
        </a:defRPr>
      </a:lvl1pPr>
      <a:lvl2pPr marL="284480" indent="-172720" algn="l" defTabSz="914400" rtl="0" eaLnBrk="1" latinLnBrk="0" hangingPunct="1">
        <a:lnSpc>
          <a:spcPct val="100000"/>
        </a:lnSpc>
        <a:spcBef>
          <a:spcPts val="300"/>
        </a:spcBef>
        <a:spcAft>
          <a:spcPts val="0"/>
        </a:spcAft>
        <a:buClr>
          <a:schemeClr val="tx2"/>
        </a:buClr>
        <a:buFont typeface="Arial" panose="020B0604020202090204" pitchFamily="34" charset="0"/>
        <a:buChar char="•"/>
        <a:defRPr lang="en-US" sz="1400" kern="1200">
          <a:solidFill>
            <a:schemeClr val="tx1"/>
          </a:solidFill>
          <a:latin typeface="+mn-lt"/>
          <a:ea typeface="+mn-ea"/>
          <a:cs typeface="+mn-cs"/>
          <a:sym typeface="Trebuchet MS" panose="020B0703020202090204" pitchFamily="34" charset="0"/>
        </a:defRPr>
      </a:lvl2pPr>
      <a:lvl3pPr marL="511175" indent="-165735" algn="l" defTabSz="914400" rtl="0" eaLnBrk="1" latinLnBrk="0" hangingPunct="1">
        <a:lnSpc>
          <a:spcPct val="100000"/>
        </a:lnSpc>
        <a:spcBef>
          <a:spcPts val="300"/>
        </a:spcBef>
        <a:spcAft>
          <a:spcPts val="0"/>
        </a:spcAft>
        <a:buClr>
          <a:schemeClr val="tx2"/>
        </a:buClr>
        <a:buFont typeface="Trebuchet MS" panose="020B0703020202090204" pitchFamily="34" charset="0"/>
        <a:buChar char="–"/>
        <a:defRPr lang="en-US" sz="1400" kern="1200">
          <a:solidFill>
            <a:schemeClr val="tx1"/>
          </a:solidFill>
          <a:latin typeface="+mn-lt"/>
          <a:ea typeface="+mn-ea"/>
          <a:cs typeface="+mn-cs"/>
          <a:sym typeface="Trebuchet MS" panose="020B070302020209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90204" pitchFamily="34" charset="0"/>
        <a:buChar char="​"/>
        <a:defRPr lang="en-US" sz="1600" kern="1200">
          <a:solidFill>
            <a:schemeClr val="tx2"/>
          </a:solidFill>
          <a:latin typeface="+mn-lt"/>
          <a:ea typeface="+mn-ea"/>
          <a:cs typeface="+mn-cs"/>
          <a:sym typeface="Trebuchet MS" panose="020B0703020202090204" pitchFamily="34" charset="0"/>
        </a:defRPr>
      </a:lvl4pPr>
      <a:lvl5pPr marL="0" indent="0" algn="l" defTabSz="914400" rtl="0" eaLnBrk="1" latinLnBrk="0" hangingPunct="1">
        <a:lnSpc>
          <a:spcPct val="100000"/>
        </a:lnSpc>
        <a:spcBef>
          <a:spcPts val="0"/>
        </a:spcBef>
        <a:spcAft>
          <a:spcPts val="300"/>
        </a:spcAft>
        <a:buClrTx/>
        <a:buFont typeface="Arial" panose="020B0604020202090204" pitchFamily="34" charset="0"/>
        <a:buChar char="​"/>
        <a:defRPr lang="en-US" sz="1600" b="1" kern="1200" smtClean="0">
          <a:solidFill>
            <a:schemeClr val="tx1"/>
          </a:solidFill>
          <a:latin typeface="+mn-lt"/>
          <a:ea typeface="+mn-ea"/>
          <a:cs typeface="+mn-cs"/>
          <a:sym typeface="Trebuchet MS" panose="020B070302020209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90204" pitchFamily="34" charset="0"/>
        <a:buChar char="•"/>
        <a:defRPr lang="en-US" sz="1600" kern="1200" smtClean="0">
          <a:solidFill>
            <a:schemeClr val="tx1"/>
          </a:solidFill>
          <a:latin typeface="+mn-lt"/>
          <a:ea typeface="+mn-ea"/>
          <a:cs typeface="+mn-cs"/>
          <a:sym typeface="Trebuchet MS" panose="020B0703020202090204" pitchFamily="34" charset="0"/>
        </a:defRPr>
      </a:lvl6pPr>
      <a:lvl7pPr marL="0" indent="0" algn="l" defTabSz="914400" rtl="0" eaLnBrk="1" latinLnBrk="0" hangingPunct="1">
        <a:lnSpc>
          <a:spcPct val="90000"/>
        </a:lnSpc>
        <a:spcBef>
          <a:spcPts val="900"/>
        </a:spcBef>
        <a:spcAft>
          <a:spcPts val="900"/>
        </a:spcAft>
        <a:buFont typeface="Arial" panose="020B0604020202090204" pitchFamily="34" charset="0"/>
        <a:buChar char="​"/>
        <a:defRPr lang="en-US" sz="4400" kern="1200" baseline="0" smtClean="0">
          <a:solidFill>
            <a:schemeClr val="tx1"/>
          </a:solidFill>
          <a:latin typeface="+mn-lt"/>
          <a:ea typeface="+mn-ea"/>
          <a:cs typeface="+mn-cs"/>
          <a:sym typeface="Trebuchet MS" panose="020B0703020202090204" pitchFamily="34" charset="0"/>
        </a:defRPr>
      </a:lvl7pPr>
      <a:lvl8pPr marL="0" indent="0" algn="l" defTabSz="914400" rtl="0" eaLnBrk="1" latinLnBrk="0" hangingPunct="1">
        <a:lnSpc>
          <a:spcPct val="90000"/>
        </a:lnSpc>
        <a:spcBef>
          <a:spcPts val="900"/>
        </a:spcBef>
        <a:spcAft>
          <a:spcPts val="0"/>
        </a:spcAft>
        <a:buFont typeface="Arial" panose="020B0604020202090204" pitchFamily="34" charset="0"/>
        <a:buChar char="​"/>
        <a:defRPr lang="en-US" sz="5400" kern="1200" baseline="0" smtClean="0">
          <a:solidFill>
            <a:schemeClr val="tx2"/>
          </a:solidFill>
          <a:latin typeface="+mn-lt"/>
          <a:ea typeface="+mn-ea"/>
          <a:cs typeface="+mn-cs"/>
          <a:sym typeface="Trebuchet MS" panose="020B0703020202090204" pitchFamily="34" charset="0"/>
        </a:defRPr>
      </a:lvl8pPr>
      <a:lvl9pPr marL="0" indent="0" algn="l" defTabSz="914400" rtl="0" eaLnBrk="1" latinLnBrk="0" hangingPunct="1">
        <a:lnSpc>
          <a:spcPct val="100000"/>
        </a:lnSpc>
        <a:spcBef>
          <a:spcPts val="0"/>
        </a:spcBef>
        <a:spcAft>
          <a:spcPts val="900"/>
        </a:spcAft>
        <a:buFont typeface="Arial" panose="020B0604020202090204" pitchFamily="34" charset="0"/>
        <a:buChar char="​"/>
        <a:defRPr lang="en-US" sz="2400" kern="1200" baseline="0" dirty="0">
          <a:solidFill>
            <a:schemeClr val="tx2"/>
          </a:solidFill>
          <a:latin typeface="+mn-lt"/>
          <a:ea typeface="+mn-ea"/>
          <a:cs typeface="+mn-cs"/>
          <a:sym typeface="Trebuchet MS" panose="020B070302020209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userDrawn="1">
            <p:custDataLst>
              <p:tags r:id="rId40"/>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Slide" r:id="rId41" imgW="0" imgH="0" progId="TCLayout.ActiveDocument.1">
                  <p:embed/>
                </p:oleObj>
              </mc:Choice>
              <mc:Fallback>
                <p:oleObj name="think-cell Slide" r:id="rId41" imgW="0" imgH="0" progId="TCLayout.ActiveDocument.1">
                  <p:embed/>
                  <p:pic>
                    <p:nvPicPr>
                      <p:cNvPr id="0" name="对象 2" hidden="1"/>
                      <p:cNvPicPr/>
                      <p:nvPr/>
                    </p:nvPicPr>
                    <p:blipFill>
                      <a:blip r:embed="rId42"/>
                      <a:stretch>
                        <a:fillRect/>
                      </a:stretch>
                    </p:blipFill>
                    <p:spPr>
                      <a:xfrm>
                        <a:off x="1588" y="1588"/>
                        <a:ext cx="1588" cy="1588"/>
                      </a:xfrm>
                      <a:prstGeom prst="rect">
                        <a:avLst/>
                      </a:prstGeom>
                    </p:spPr>
                  </p:pic>
                </p:oleObj>
              </mc:Fallback>
            </mc:AlternateContent>
          </a:graphicData>
        </a:graphic>
      </p:graphicFrame>
      <p:sp>
        <p:nvSpPr>
          <p:cNvPr id="4" name="矩形 3" hidden="1"/>
          <p:cNvSpPr/>
          <p:nvPr userDrawn="1">
            <p:custDataLst>
              <p:tags r:id="rId43"/>
            </p:custDataLst>
          </p:nvPr>
        </p:nvSpPr>
        <p:spPr>
          <a:xfrm>
            <a:off x="0" y="0"/>
            <a:ext cx="158750" cy="158750"/>
          </a:xfrm>
          <a:prstGeom prst="rect">
            <a:avLst/>
          </a:prstGeom>
          <a:solidFill>
            <a:srgbClr val="DBCF4D">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defRPr/>
            </a:pPr>
            <a:endParaRPr kumimoji="0" lang="en-US" altLang="zh-CN" sz="2400" b="1" i="0" u="none" strike="noStrike" kern="1200" cap="none" spc="0" normalizeH="0" baseline="0" noProof="0" dirty="0">
              <a:ln>
                <a:noFill/>
              </a:ln>
              <a:solidFill>
                <a:srgbClr val="FFFFFF"/>
              </a:solidFill>
              <a:effectLst/>
              <a:uLnTx/>
              <a:uFillTx/>
              <a:latin typeface="Arial" panose="020B0604020202090204" pitchFamily="34" charset="0"/>
              <a:ea typeface="华文楷体" panose="02010600040101010101" pitchFamily="2" charset="-122"/>
              <a:cs typeface="+mn-cs"/>
              <a:sym typeface="Arial" panose="020B0604020202090204" pitchFamily="34" charset="0"/>
            </a:endParaRPr>
          </a:p>
        </p:txBody>
      </p:sp>
    </p:spTree>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 id="2147483692" r:id="rId12"/>
    <p:sldLayoutId id="2147483693" r:id="rId13"/>
    <p:sldLayoutId id="2147483694" r:id="rId14"/>
    <p:sldLayoutId id="2147483695" r:id="rId15"/>
    <p:sldLayoutId id="2147483696" r:id="rId16"/>
    <p:sldLayoutId id="2147483697" r:id="rId17"/>
    <p:sldLayoutId id="2147483698" r:id="rId18"/>
    <p:sldLayoutId id="2147483699" r:id="rId19"/>
    <p:sldLayoutId id="2147483700" r:id="rId20"/>
    <p:sldLayoutId id="2147483701" r:id="rId21"/>
    <p:sldLayoutId id="2147483702" r:id="rId22"/>
    <p:sldLayoutId id="2147483703" r:id="rId23"/>
    <p:sldLayoutId id="2147483704" r:id="rId24"/>
    <p:sldLayoutId id="2147483705" r:id="rId25"/>
    <p:sldLayoutId id="2147483706" r:id="rId26"/>
    <p:sldLayoutId id="2147483707" r:id="rId27"/>
    <p:sldLayoutId id="2147483708" r:id="rId28"/>
    <p:sldLayoutId id="2147483709" r:id="rId29"/>
    <p:sldLayoutId id="2147483710" r:id="rId30"/>
    <p:sldLayoutId id="2147483711" r:id="rId31"/>
    <p:sldLayoutId id="2147483712" r:id="rId32"/>
    <p:sldLayoutId id="2147483713" r:id="rId33"/>
    <p:sldLayoutId id="2147483714" r:id="rId34"/>
    <p:sldLayoutId id="2147483715" r:id="rId35"/>
    <p:sldLayoutId id="2147483716" r:id="rId36"/>
    <p:sldLayoutId id="2147483717" r:id="rId37"/>
    <p:sldLayoutId id="2147483718" r:id="rId38"/>
    <p:sldLayoutId id="2147483719" r:id="rId39"/>
  </p:sldLayoutIdLst>
  <p:hf sldNum="0" hdr="0" ftr="0" dt="0"/>
  <p:txStyles>
    <p:title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p:titleStyle>
    <p:bodyStyle>
      <a:lvl1pPr marL="177800" indent="-177800" algn="l" defTabSz="914400" rtl="0" eaLnBrk="1" latinLnBrk="0" hangingPunct="1">
        <a:lnSpc>
          <a:spcPct val="90000"/>
        </a:lnSpc>
        <a:spcBef>
          <a:spcPts val="1000"/>
        </a:spcBef>
        <a:buFont typeface="Arial" panose="020B0604020202090204" pitchFamily="34" charset="0"/>
        <a:buChar char="•"/>
        <a:defRPr sz="1800" kern="1200">
          <a:solidFill>
            <a:schemeClr val="tx1"/>
          </a:solidFill>
          <a:latin typeface="+mn-lt"/>
          <a:ea typeface="+mn-ea"/>
          <a:cs typeface="+mn-cs"/>
        </a:defRPr>
      </a:lvl1pPr>
      <a:lvl2pPr marL="355600" indent="-177800" algn="l" defTabSz="914400" rtl="0" eaLnBrk="1" latinLnBrk="0" hangingPunct="1">
        <a:lnSpc>
          <a:spcPct val="90000"/>
        </a:lnSpc>
        <a:spcBef>
          <a:spcPts val="500"/>
        </a:spcBef>
        <a:buFont typeface="华文楷体" panose="02010600040101010101" pitchFamily="2" charset="-122"/>
        <a:buChar char="−"/>
        <a:defRPr sz="1600" kern="1200">
          <a:solidFill>
            <a:schemeClr val="tx1"/>
          </a:solidFill>
          <a:latin typeface="+mn-lt"/>
          <a:ea typeface="+mn-ea"/>
          <a:cs typeface="+mn-cs"/>
        </a:defRPr>
      </a:lvl2pPr>
      <a:lvl3pPr marL="541655" indent="-186055" algn="l" defTabSz="914400" rtl="0" eaLnBrk="1" latinLnBrk="0" hangingPunct="1">
        <a:lnSpc>
          <a:spcPct val="90000"/>
        </a:lnSpc>
        <a:spcBef>
          <a:spcPts val="500"/>
        </a:spcBef>
        <a:buFont typeface="Arial" panose="020B0604020202090204" pitchFamily="34" charset="0"/>
        <a:buChar char="•"/>
        <a:defRPr sz="1400" kern="1200">
          <a:solidFill>
            <a:schemeClr val="tx1"/>
          </a:solidFill>
          <a:latin typeface="+mn-lt"/>
          <a:ea typeface="+mn-ea"/>
          <a:cs typeface="+mn-cs"/>
        </a:defRPr>
      </a:lvl3pPr>
      <a:lvl4pPr marL="719455" indent="-177800" algn="l" defTabSz="914400" rtl="0" eaLnBrk="1" latinLnBrk="0" hangingPunct="1">
        <a:lnSpc>
          <a:spcPct val="90000"/>
        </a:lnSpc>
        <a:spcBef>
          <a:spcPts val="500"/>
        </a:spcBef>
        <a:buFont typeface="华文楷体" panose="02010600040101010101" pitchFamily="2" charset="-122"/>
        <a:buChar char="−"/>
        <a:defRPr sz="1200" kern="1200">
          <a:solidFill>
            <a:schemeClr val="tx1"/>
          </a:solidFill>
          <a:latin typeface="+mn-lt"/>
          <a:ea typeface="+mn-ea"/>
          <a:cs typeface="+mn-cs"/>
        </a:defRPr>
      </a:lvl4pPr>
      <a:lvl5pPr marL="897255" indent="-177800" algn="l" defTabSz="914400" rtl="0" eaLnBrk="1" latinLnBrk="0" hangingPunct="1">
        <a:lnSpc>
          <a:spcPct val="90000"/>
        </a:lnSpc>
        <a:spcBef>
          <a:spcPts val="500"/>
        </a:spcBef>
        <a:buFont typeface="Arial" panose="020B060402020209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userDrawn="1">
            <p:custDataLst>
              <p:tags r:id="rId7"/>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Slide" r:id="rId8" imgW="0" imgH="0" progId="TCLayout.ActiveDocument.1">
                  <p:embed/>
                </p:oleObj>
              </mc:Choice>
              <mc:Fallback>
                <p:oleObj name="think-cell Slide" r:id="rId8" imgW="0" imgH="0" progId="TCLayout.ActiveDocument.1">
                  <p:embed/>
                  <p:pic>
                    <p:nvPicPr>
                      <p:cNvPr id="0" name="对象 2"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矩形 3" hidden="1"/>
          <p:cNvSpPr/>
          <p:nvPr userDrawn="1">
            <p:custDataLst>
              <p:tags r:id="rId10"/>
            </p:custDataLst>
          </p:nvPr>
        </p:nvSpPr>
        <p:spPr>
          <a:xfrm>
            <a:off x="0" y="0"/>
            <a:ext cx="158750" cy="158750"/>
          </a:xfrm>
          <a:prstGeom prst="rect">
            <a:avLst/>
          </a:prstGeom>
          <a:solidFill>
            <a:srgbClr val="DBCF4D">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pPr>
            <a:endParaRPr kumimoji="0" lang="en-US" altLang="zh-CN" sz="2400" b="1" i="0" u="none" strike="noStrike" kern="1200" cap="none" spc="0" normalizeH="0" baseline="0" noProof="0" dirty="0">
              <a:ln>
                <a:noFill/>
              </a:ln>
              <a:solidFill>
                <a:srgbClr val="FFFFFF"/>
              </a:solidFill>
              <a:effectLst/>
              <a:uLnTx/>
              <a:uFillTx/>
              <a:latin typeface="Arial" panose="020B0604020202090204" pitchFamily="34" charset="0"/>
              <a:ea typeface="华文楷体" panose="02010600040101010101" pitchFamily="2" charset="-122"/>
              <a:cs typeface="+mj-cs"/>
              <a:sym typeface="Arial" panose="020B0604020202090204" pitchFamily="34" charset="0"/>
            </a:endParaRPr>
          </a:p>
        </p:txBody>
      </p:sp>
    </p:spTree>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Lst>
  <p:hf hdr="0"/>
  <p:txStyles>
    <p:title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p:titleStyle>
    <p:bodyStyle>
      <a:lvl1pPr marL="177800" indent="-177800" algn="l" defTabSz="914400" rtl="0" eaLnBrk="1" latinLnBrk="0" hangingPunct="1">
        <a:lnSpc>
          <a:spcPct val="90000"/>
        </a:lnSpc>
        <a:spcBef>
          <a:spcPts val="1000"/>
        </a:spcBef>
        <a:buFont typeface="Arial" panose="020B0604020202090204" pitchFamily="34" charset="0"/>
        <a:buChar char="•"/>
        <a:defRPr sz="1800" kern="1200">
          <a:solidFill>
            <a:schemeClr val="tx1"/>
          </a:solidFill>
          <a:latin typeface="+mn-lt"/>
          <a:ea typeface="+mn-ea"/>
          <a:cs typeface="+mn-cs"/>
        </a:defRPr>
      </a:lvl1pPr>
      <a:lvl2pPr marL="355600" indent="-177800" algn="l" defTabSz="914400" rtl="0" eaLnBrk="1" latinLnBrk="0" hangingPunct="1">
        <a:lnSpc>
          <a:spcPct val="90000"/>
        </a:lnSpc>
        <a:spcBef>
          <a:spcPts val="500"/>
        </a:spcBef>
        <a:buFont typeface="华文楷体" panose="02010600040101010101" pitchFamily="2" charset="-122"/>
        <a:buChar char="−"/>
        <a:defRPr sz="1600" kern="1200">
          <a:solidFill>
            <a:schemeClr val="tx1"/>
          </a:solidFill>
          <a:latin typeface="+mn-lt"/>
          <a:ea typeface="+mn-ea"/>
          <a:cs typeface="+mn-cs"/>
        </a:defRPr>
      </a:lvl2pPr>
      <a:lvl3pPr marL="541655" indent="-186055" algn="l" defTabSz="914400" rtl="0" eaLnBrk="1" latinLnBrk="0" hangingPunct="1">
        <a:lnSpc>
          <a:spcPct val="90000"/>
        </a:lnSpc>
        <a:spcBef>
          <a:spcPts val="500"/>
        </a:spcBef>
        <a:buFont typeface="Arial" panose="020B0604020202090204" pitchFamily="34" charset="0"/>
        <a:buChar char="•"/>
        <a:defRPr sz="1400" kern="1200">
          <a:solidFill>
            <a:schemeClr val="tx1"/>
          </a:solidFill>
          <a:latin typeface="+mn-lt"/>
          <a:ea typeface="+mn-ea"/>
          <a:cs typeface="+mn-cs"/>
        </a:defRPr>
      </a:lvl3pPr>
      <a:lvl4pPr marL="719455" indent="-177800" algn="l" defTabSz="914400" rtl="0" eaLnBrk="1" latinLnBrk="0" hangingPunct="1">
        <a:lnSpc>
          <a:spcPct val="90000"/>
        </a:lnSpc>
        <a:spcBef>
          <a:spcPts val="500"/>
        </a:spcBef>
        <a:buFont typeface="华文楷体" panose="02010600040101010101" pitchFamily="2" charset="-122"/>
        <a:buChar char="−"/>
        <a:defRPr sz="1200" kern="1200">
          <a:solidFill>
            <a:schemeClr val="tx1"/>
          </a:solidFill>
          <a:latin typeface="+mn-lt"/>
          <a:ea typeface="+mn-ea"/>
          <a:cs typeface="+mn-cs"/>
        </a:defRPr>
      </a:lvl4pPr>
      <a:lvl5pPr marL="897255" indent="-177800" algn="l" defTabSz="914400" rtl="0" eaLnBrk="1" latinLnBrk="0" hangingPunct="1">
        <a:lnSpc>
          <a:spcPct val="90000"/>
        </a:lnSpc>
        <a:spcBef>
          <a:spcPts val="500"/>
        </a:spcBef>
        <a:buFont typeface="Arial" panose="020B060402020209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image" Target="../media/image19.png"/><Relationship Id="rId1" Type="http://schemas.openxmlformats.org/officeDocument/2006/relationships/tags" Target="../tags/tag57.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102.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37.xml"/><Relationship Id="rId1" Type="http://schemas.openxmlformats.org/officeDocument/2006/relationships/tags" Target="../tags/tag71.xml"/></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37.xml"/></Relationships>
</file>

<file path=ppt/slides/_rels/slide104.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64.xml"/></Relationships>
</file>

<file path=ppt/slides/_rels/slide105.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65.xml"/><Relationship Id="rId1" Type="http://schemas.openxmlformats.org/officeDocument/2006/relationships/tags" Target="../tags/tag72.xml"/></Relationships>
</file>

<file path=ppt/slides/_rels/slide106.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66.xml"/><Relationship Id="rId1" Type="http://schemas.openxmlformats.org/officeDocument/2006/relationships/tags" Target="../tags/tag73.xml"/></Relationships>
</file>

<file path=ppt/slides/_rels/slide107.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37.xml"/></Relationships>
</file>

<file path=ppt/slides/_rels/slide108.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37.xml"/></Relationships>
</file>

<file path=ppt/slides/_rels/slide109.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37.xml"/><Relationship Id="rId1" Type="http://schemas.openxmlformats.org/officeDocument/2006/relationships/tags" Target="../tags/tag74.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9.xml"/><Relationship Id="rId1" Type="http://schemas.openxmlformats.org/officeDocument/2006/relationships/image" Target="../media/image19.png"/></Relationships>
</file>

<file path=ppt/slides/_rels/slide110.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41.xml"/><Relationship Id="rId1" Type="http://schemas.openxmlformats.org/officeDocument/2006/relationships/tags" Target="../tags/tag75.xml"/></Relationships>
</file>

<file path=ppt/slides/_rels/slide111.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40.xml"/></Relationships>
</file>

<file path=ppt/slides/_rels/slide112.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37.xml"/></Relationships>
</file>

<file path=ppt/slides/_rels/slide113.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39.xml"/></Relationships>
</file>

<file path=ppt/slides/_rels/slide114.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38.xml"/></Relationships>
</file>

<file path=ppt/slides/_rels/slide115.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37.xml"/></Relationships>
</file>

<file path=ppt/slides/_rels/slide116.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17.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18.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9.xml"/><Relationship Id="rId1" Type="http://schemas.openxmlformats.org/officeDocument/2006/relationships/image" Target="../media/image19.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9.xml"/><Relationship Id="rId1" Type="http://schemas.openxmlformats.org/officeDocument/2006/relationships/image" Target="../media/image19.png"/></Relationships>
</file>

<file path=ppt/slides/_rels/slide14.xml.rels><?xml version="1.0" encoding="UTF-8" standalone="yes"?>
<Relationships xmlns="http://schemas.openxmlformats.org/package/2006/relationships"><Relationship Id="rId2" Type="http://schemas.openxmlformats.org/officeDocument/2006/relationships/slideLayout" Target="../slideLayouts/slideLayout35.xml"/><Relationship Id="rId1" Type="http://schemas.openxmlformats.org/officeDocument/2006/relationships/image" Target="../media/image19.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9.xml"/><Relationship Id="rId1" Type="http://schemas.openxmlformats.org/officeDocument/2006/relationships/image" Target="../media/image19.pn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9.xml"/><Relationship Id="rId1" Type="http://schemas.openxmlformats.org/officeDocument/2006/relationships/image" Target="../media/image19.pn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9.xml"/><Relationship Id="rId1" Type="http://schemas.openxmlformats.org/officeDocument/2006/relationships/image" Target="../media/image19.png"/></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image" Target="../media/image19.png"/><Relationship Id="rId1" Type="http://schemas.openxmlformats.org/officeDocument/2006/relationships/tags" Target="../tags/tag58.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2.xml"/><Relationship Id="rId1" Type="http://schemas.openxmlformats.org/officeDocument/2006/relationships/image" Target="../media/image19.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9.xml"/><Relationship Id="rId1" Type="http://schemas.openxmlformats.org/officeDocument/2006/relationships/image" Target="../media/image19.png"/></Relationships>
</file>

<file path=ppt/slides/_rels/slide20.xml.rels><?xml version="1.0" encoding="UTF-8" standalone="yes"?>
<Relationships xmlns="http://schemas.openxmlformats.org/package/2006/relationships"><Relationship Id="rId4" Type="http://schemas.openxmlformats.org/officeDocument/2006/relationships/slideLayout" Target="../slideLayouts/slideLayout19.xml"/><Relationship Id="rId3" Type="http://schemas.openxmlformats.org/officeDocument/2006/relationships/tags" Target="../tags/tag60.xml"/><Relationship Id="rId2" Type="http://schemas.openxmlformats.org/officeDocument/2006/relationships/tags" Target="../tags/tag59.xml"/><Relationship Id="rId1" Type="http://schemas.openxmlformats.org/officeDocument/2006/relationships/image" Target="../media/image22.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slideLayout" Target="../slideLayouts/slideLayout36.xml"/><Relationship Id="rId1" Type="http://schemas.openxmlformats.org/officeDocument/2006/relationships/image" Target="../media/image23.jpe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36.xml"/><Relationship Id="rId1" Type="http://schemas.openxmlformats.org/officeDocument/2006/relationships/tags" Target="../tags/tag6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3.xml.rels><?xml version="1.0" encoding="UTF-8" standalone="yes"?>
<Relationships xmlns="http://schemas.openxmlformats.org/package/2006/relationships"><Relationship Id="rId4" Type="http://schemas.openxmlformats.org/officeDocument/2006/relationships/notesSlide" Target="../notesSlides/notesSlide2.xml"/><Relationship Id="rId3" Type="http://schemas.openxmlformats.org/officeDocument/2006/relationships/slideLayout" Target="../slideLayouts/slideLayout33.xml"/><Relationship Id="rId2" Type="http://schemas.openxmlformats.org/officeDocument/2006/relationships/image" Target="../media/image20.png"/><Relationship Id="rId1" Type="http://schemas.openxmlformats.org/officeDocument/2006/relationships/image" Target="../media/image19.pn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32.xml.rels><?xml version="1.0" encoding="UTF-8" standalone="yes"?>
<Relationships xmlns="http://schemas.openxmlformats.org/package/2006/relationships"><Relationship Id="rId2" Type="http://schemas.openxmlformats.org/officeDocument/2006/relationships/slideLayout" Target="../slideLayouts/slideLayout36.xml"/><Relationship Id="rId1" Type="http://schemas.openxmlformats.org/officeDocument/2006/relationships/image" Target="../media/image24.jpeg"/></Relationships>
</file>

<file path=ppt/slides/_rels/slide33.xml.rels><?xml version="1.0" encoding="UTF-8" standalone="yes"?>
<Relationships xmlns="http://schemas.openxmlformats.org/package/2006/relationships"><Relationship Id="rId2" Type="http://schemas.openxmlformats.org/officeDocument/2006/relationships/slideLayout" Target="../slideLayouts/slideLayout36.xml"/><Relationship Id="rId1" Type="http://schemas.openxmlformats.org/officeDocument/2006/relationships/image" Target="../media/image25.jpe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35.xml.rels><?xml version="1.0" encoding="UTF-8" standalone="yes"?>
<Relationships xmlns="http://schemas.openxmlformats.org/package/2006/relationships"><Relationship Id="rId2" Type="http://schemas.openxmlformats.org/officeDocument/2006/relationships/slideLayout" Target="../slideLayouts/slideLayout36.xml"/><Relationship Id="rId1" Type="http://schemas.openxmlformats.org/officeDocument/2006/relationships/image" Target="../media/image26.jpe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38.xml.rels><?xml version="1.0" encoding="UTF-8" standalone="yes"?>
<Relationships xmlns="http://schemas.openxmlformats.org/package/2006/relationships"><Relationship Id="rId2" Type="http://schemas.openxmlformats.org/officeDocument/2006/relationships/slideLayout" Target="../slideLayouts/slideLayout36.xml"/><Relationship Id="rId1" Type="http://schemas.openxmlformats.org/officeDocument/2006/relationships/image" Target="../media/image27.jpe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35.xml"/><Relationship Id="rId1" Type="http://schemas.openxmlformats.org/officeDocument/2006/relationships/image" Target="../media/image19.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41.xml.rels><?xml version="1.0" encoding="UTF-8" standalone="yes"?>
<Relationships xmlns="http://schemas.openxmlformats.org/package/2006/relationships"><Relationship Id="rId2" Type="http://schemas.openxmlformats.org/officeDocument/2006/relationships/slideLayout" Target="../slideLayouts/slideLayout36.xml"/><Relationship Id="rId1" Type="http://schemas.openxmlformats.org/officeDocument/2006/relationships/image" Target="../media/image28.jpe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43.xml.rels><?xml version="1.0" encoding="UTF-8" standalone="yes"?>
<Relationships xmlns="http://schemas.openxmlformats.org/package/2006/relationships"><Relationship Id="rId2" Type="http://schemas.openxmlformats.org/officeDocument/2006/relationships/slideLayout" Target="../slideLayouts/slideLayout36.xml"/><Relationship Id="rId1" Type="http://schemas.openxmlformats.org/officeDocument/2006/relationships/image" Target="../media/image29.jpe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9.xml"/><Relationship Id="rId1" Type="http://schemas.openxmlformats.org/officeDocument/2006/relationships/image" Target="../media/image19.png"/></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58.xml.rels><?xml version="1.0" encoding="UTF-8" standalone="yes"?>
<Relationships xmlns="http://schemas.openxmlformats.org/package/2006/relationships"><Relationship Id="rId2" Type="http://schemas.openxmlformats.org/officeDocument/2006/relationships/slideLayout" Target="../slideLayouts/slideLayout36.xml"/><Relationship Id="rId1" Type="http://schemas.openxmlformats.org/officeDocument/2006/relationships/image" Target="../media/image30.jpeg"/></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9.xml"/><Relationship Id="rId1" Type="http://schemas.openxmlformats.org/officeDocument/2006/relationships/image" Target="../media/image19.png"/></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36.xml"/><Relationship Id="rId1" Type="http://schemas.openxmlformats.org/officeDocument/2006/relationships/tags" Target="../tags/tag62.xml"/></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36.xml"/><Relationship Id="rId1" Type="http://schemas.openxmlformats.org/officeDocument/2006/relationships/tags" Target="../tags/tag63.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7.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1.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9.xml"/><Relationship Id="rId1" Type="http://schemas.openxmlformats.org/officeDocument/2006/relationships/image" Target="../media/image19.png"/></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7.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7.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2.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3.xml"/></Relationships>
</file>

<file path=ppt/slides/_rels/slide74.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44.xml"/><Relationship Id="rId1" Type="http://schemas.openxmlformats.org/officeDocument/2006/relationships/tags" Target="../tags/tag64.xml"/></Relationships>
</file>

<file path=ppt/slides/_rels/slide75.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45.xml"/><Relationship Id="rId1" Type="http://schemas.openxmlformats.org/officeDocument/2006/relationships/tags" Target="../tags/tag65.xml"/></Relationships>
</file>

<file path=ppt/slides/_rels/slide76.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46.xml"/><Relationship Id="rId1" Type="http://schemas.openxmlformats.org/officeDocument/2006/relationships/tags" Target="../tags/tag66.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7.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7.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7.xml"/></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18.xml"/><Relationship Id="rId1" Type="http://schemas.openxmlformats.org/officeDocument/2006/relationships/image" Target="../media/image21.png"/></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7.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47.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48.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7.xml"/></Relationships>
</file>

<file path=ppt/slides/_rels/slide84.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49.xml"/><Relationship Id="rId1" Type="http://schemas.openxmlformats.org/officeDocument/2006/relationships/tags" Target="../tags/tag67.xml"/></Relationships>
</file>

<file path=ppt/slides/_rels/slide85.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50.xml"/><Relationship Id="rId1" Type="http://schemas.openxmlformats.org/officeDocument/2006/relationships/tags" Target="../tags/tag68.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51.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52.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53.xml"/></Relationships>
</file>

<file path=ppt/slides/_rels/slide89.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54.xml"/><Relationship Id="rId1" Type="http://schemas.openxmlformats.org/officeDocument/2006/relationships/tags" Target="../tags/tag69.xml"/></Relationships>
</file>

<file path=ppt/slides/_rels/slide9.xml.rels><?xml version="1.0" encoding="UTF-8" standalone="yes"?>
<Relationships xmlns="http://schemas.openxmlformats.org/package/2006/relationships"><Relationship Id="rId2" Type="http://schemas.openxmlformats.org/officeDocument/2006/relationships/slideLayout" Target="../slideLayouts/slideLayout35.xml"/><Relationship Id="rId1" Type="http://schemas.openxmlformats.org/officeDocument/2006/relationships/image" Target="../media/image19.png"/></Relationships>
</file>

<file path=ppt/slides/_rels/slide90.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55.xml"/><Relationship Id="rId1" Type="http://schemas.openxmlformats.org/officeDocument/2006/relationships/tags" Target="../tags/tag70.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37.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61.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占位符 1"/>
          <p:cNvSpPr>
            <a:spLocks noGrp="1"/>
          </p:cNvSpPr>
          <p:nvPr>
            <p:ph type="body" sz="quarter" idx="10"/>
          </p:nvPr>
        </p:nvSpPr>
        <p:spPr>
          <a:xfrm>
            <a:off x="633198" y="1840475"/>
            <a:ext cx="7241433" cy="2802791"/>
          </a:xfrm>
        </p:spPr>
        <p:txBody>
          <a:bodyPr>
            <a:normAutofit/>
          </a:bodyPr>
          <a:lstStyle/>
          <a:p>
            <a:r>
              <a:rPr lang="en-US" altLang="zh-CN" dirty="0">
                <a:solidFill>
                  <a:schemeClr val="accent1"/>
                </a:solidFill>
              </a:rPr>
              <a:t>XXXX</a:t>
            </a:r>
            <a:endParaRPr lang="zh-CN" altLang="en-US" dirty="0">
              <a:solidFill>
                <a:schemeClr val="accent1"/>
              </a:solidFill>
            </a:endParaRPr>
          </a:p>
        </p:txBody>
      </p:sp>
      <p:sp>
        <p:nvSpPr>
          <p:cNvPr id="3" name="文本框 2"/>
          <p:cNvSpPr txBox="1"/>
          <p:nvPr/>
        </p:nvSpPr>
        <p:spPr>
          <a:xfrm>
            <a:off x="545174" y="2141651"/>
            <a:ext cx="5306096" cy="579550"/>
          </a:xfrm>
          <a:prstGeom prst="rect">
            <a:avLst/>
          </a:prstGeom>
        </p:spPr>
        <p:txBody>
          <a:bodyPr vert="horz" wrap="square" lIns="91440" tIns="45720" rIns="91440" bIns="45720" rtlCol="0">
            <a:normAutofit/>
          </a:bodyPr>
          <a:lstStyle/>
          <a:p>
            <a:pPr marL="106045" marR="0" lvl="0" indent="0" algn="l" defTabSz="914400" rtl="0" eaLnBrk="1" fontAlgn="auto" latinLnBrk="0" hangingPunct="1">
              <a:lnSpc>
                <a:spcPct val="100000"/>
              </a:lnSpc>
              <a:spcBef>
                <a:spcPts val="0"/>
              </a:spcBef>
              <a:spcAft>
                <a:spcPts val="0"/>
              </a:spcAft>
              <a:buClrTx/>
              <a:buSzTx/>
              <a:buFontTx/>
              <a:buNone/>
              <a:defRPr/>
            </a:pPr>
            <a:r>
              <a:rPr kumimoji="0" lang="zh-CN" altLang="en-US" sz="2400" b="1" i="0" u="none" strike="noStrike" kern="1200" cap="none" spc="0" normalizeH="0" baseline="0" noProof="0" dirty="0">
                <a:ln>
                  <a:noFill/>
                </a:ln>
                <a:solidFill>
                  <a:prstClr val="black"/>
                </a:solidFill>
                <a:effectLst/>
                <a:uLnTx/>
                <a:uFillTx/>
                <a:latin typeface="华文楷体" panose="02010600040101010101" pitchFamily="2" charset="-122"/>
                <a:ea typeface="华文楷体" panose="02010600040101010101" pitchFamily="2" charset="-122"/>
                <a:cs typeface="+mn-cs"/>
              </a:rPr>
              <a:t>创课计划  </a:t>
            </a:r>
            <a:r>
              <a:rPr kumimoji="0" lang="en-US" altLang="zh-CN" sz="2400" b="1" i="0" u="none" strike="noStrike" kern="1200" cap="none" spc="0" normalizeH="0" baseline="0" noProof="0" dirty="0">
                <a:ln>
                  <a:noFill/>
                </a:ln>
                <a:solidFill>
                  <a:prstClr val="black"/>
                </a:solidFill>
                <a:effectLst/>
                <a:uLnTx/>
                <a:uFillTx/>
                <a:latin typeface="华文楷体" panose="02010600040101010101" pitchFamily="2" charset="-122"/>
                <a:ea typeface="华文楷体" panose="02010600040101010101" pitchFamily="2" charset="-122"/>
                <a:cs typeface="+mn-cs"/>
              </a:rPr>
              <a:t>——</a:t>
            </a:r>
            <a:endParaRPr kumimoji="0" lang="zh-CN" altLang="en-US" sz="2400" b="1" i="0" u="none" strike="noStrike" kern="1200" cap="none" spc="0" normalizeH="0" baseline="0" noProof="0" dirty="0">
              <a:ln>
                <a:noFill/>
              </a:ln>
              <a:solidFill>
                <a:prstClr val="black"/>
              </a:solidFill>
              <a:effectLst/>
              <a:uLnTx/>
              <a:uFillTx/>
              <a:latin typeface="华文楷体" panose="02010600040101010101" pitchFamily="2" charset="-122"/>
              <a:ea typeface="华文楷体" panose="02010600040101010101" pitchFamily="2" charset="-122"/>
              <a:cs typeface="+mn-cs"/>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直线连接符 3" descr="e7d195523061f1c0d318120d6aeaf1b6ccceb6ba3da59c0775C5DE19DDDEBC09ED96DBD9900D9848D623ECAD1D4904B78047D0015C22C8BE97228BE8B5BFF08FE7A3AE04126DA07312A96C0F69F9BAB71A8D4487C13BBD21E3F9DE587F01A2EC9B24CE25FF0E9B2136662A47C8B58C275121A88EC20F5D58602B203067E5F6C927344A314878098B"/>
          <p:cNvCxnSpPr/>
          <p:nvPr/>
        </p:nvCxnSpPr>
        <p:spPr>
          <a:xfrm>
            <a:off x="725817" y="2640474"/>
            <a:ext cx="10591442" cy="0"/>
          </a:xfrm>
          <a:prstGeom prst="line">
            <a:avLst/>
          </a:prstGeom>
          <a:ln w="50800">
            <a:solidFill>
              <a:schemeClr val="accent1"/>
            </a:solidFill>
          </a:ln>
        </p:spPr>
        <p:style>
          <a:lnRef idx="1">
            <a:schemeClr val="accent1"/>
          </a:lnRef>
          <a:fillRef idx="0">
            <a:schemeClr val="accent1"/>
          </a:fillRef>
          <a:effectRef idx="0">
            <a:schemeClr val="accent1"/>
          </a:effectRef>
          <a:fontRef idx="minor">
            <a:schemeClr val="tx1"/>
          </a:fontRef>
        </p:style>
      </p:cxnSp>
      <p:sp>
        <p:nvSpPr>
          <p:cNvPr id="5" name="PA_文本框 21" descr="e7d195523061f1c0d318120d6aeaf1b6ccceb6ba3da59c0775C5DE19DDDEBC09ED96DBD9900D9848D623ECAD1D4904B78047D0015C22C8BE97228BE8B5BFF08FE7A3AE04126DA07312A96C0F69F9BAB71A8D4487C13BBD21E3F9DE587F01A2EC9B24CE25FF0E9B2136662A47C8B58C275121A88EC20F5D58602B203067E5F6C927344A314878098B"/>
          <p:cNvSpPr txBox="1"/>
          <p:nvPr>
            <p:custDataLst>
              <p:tags r:id="rId1"/>
            </p:custDataLst>
          </p:nvPr>
        </p:nvSpPr>
        <p:spPr>
          <a:xfrm>
            <a:off x="3824523" y="1777629"/>
            <a:ext cx="3849931" cy="461665"/>
          </a:xfrm>
          <a:prstGeom prst="rect">
            <a:avLst/>
          </a:prstGeom>
        </p:spPr>
        <p:txBody>
          <a:bodyPr vert="horz" wrap="square" lIns="0" tIns="0" rIns="0" bIns="0" rtlCol="0" anchor="ctr">
            <a:noAutofit/>
          </a:bodyPr>
          <a:lstStyle>
            <a:defPPr>
              <a:defRPr lang="zh-CN"/>
            </a:defPPr>
            <a:lvl1pPr marL="12700" marR="0" lvl="0" indent="0" fontAlgn="auto">
              <a:lnSpc>
                <a:spcPct val="100000"/>
              </a:lnSpc>
              <a:spcBef>
                <a:spcPts val="100"/>
              </a:spcBef>
              <a:spcAft>
                <a:spcPts val="0"/>
              </a:spcAft>
              <a:buClrTx/>
              <a:buSzTx/>
              <a:buFontTx/>
              <a:buNone/>
              <a:defRPr kumimoji="0" sz="2400" b="1" i="0" u="none" strike="noStrike" cap="none" spc="0" normalizeH="0" baseline="0">
                <a:ln>
                  <a:noFill/>
                </a:ln>
                <a:solidFill>
                  <a:srgbClr val="F05A23"/>
                </a:solidFill>
                <a:effectLst/>
                <a:uLnTx/>
                <a:uFillTx/>
                <a:latin typeface="Arial" panose="020B0604020202090204"/>
                <a:ea typeface="华文楷体" panose="02010600040101010101" pitchFamily="2" charset="-122"/>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vl6pPr>
              <a:defRPr>
                <a:latin typeface="+mn-lt"/>
                <a:ea typeface="+mn-ea"/>
                <a:cs typeface="+mn-cs"/>
              </a:defRPr>
            </a:lvl6pPr>
            <a:lvl7pPr>
              <a:defRPr>
                <a:latin typeface="+mn-lt"/>
                <a:ea typeface="+mn-ea"/>
                <a:cs typeface="+mn-cs"/>
              </a:defRPr>
            </a:lvl7pPr>
            <a:lvl8pPr>
              <a:defRPr>
                <a:latin typeface="+mn-lt"/>
                <a:ea typeface="+mn-ea"/>
                <a:cs typeface="+mn-cs"/>
              </a:defRPr>
            </a:lvl8pPr>
            <a:lvl9pPr>
              <a:defRPr>
                <a:latin typeface="+mn-lt"/>
                <a:ea typeface="+mn-ea"/>
                <a:cs typeface="+mn-cs"/>
              </a:defRPr>
            </a:lvl9pPr>
          </a:lstStyle>
          <a:p>
            <a:r>
              <a:rPr lang="zh-CN" altLang="en-US" sz="3200" dirty="0"/>
              <a:t>互动一下</a:t>
            </a:r>
            <a:endParaRPr lang="zh-CN" altLang="en-US" sz="3200" dirty="0"/>
          </a:p>
        </p:txBody>
      </p:sp>
      <p:sp>
        <p:nvSpPr>
          <p:cNvPr id="3" name="e7d195523061f1c0" descr="e7d195523061f1c0d318120d6aeaf1b6ccceb6ba3da59c0775C5DE19DDDEBC09ED96DBD9900D9848D623ECAD1D4904B78047D0015C22C8BE97228BE8B5BFF08FE7A3AE04126DA07312A96C0F69F9BAB71A8D4487C13BBD21E3F9DE587F01A2EC9B24CE25FF0E9B2136662A47C8B58C275121A88EC20F5D58602B203067E5F6C927344A314878098B" hidden="1"/>
          <p:cNvSpPr txBox="1"/>
          <p:nvPr/>
        </p:nvSpPr>
        <p:spPr>
          <a:xfrm>
            <a:off x="-355600" y="1803400"/>
            <a:ext cx="262251" cy="1016000"/>
          </a:xfrm>
          <a:prstGeom prst="rect">
            <a:avLst/>
          </a:prstGeom>
          <a:noFill/>
        </p:spPr>
        <p:txBody>
          <a:bodyPr vert="wordArtVert" rtlCol="0">
            <a:spAutoFit/>
          </a:bodyPr>
          <a:lstStyle/>
          <a:p>
            <a:r>
              <a:rPr lang="en-US" altLang="zh-CN" sz="100"/>
              <a:t>e7d195523061f1c0d318120d6aeaf1b6ccceb6ba3da59c0775C5DE19DDDEBC09ED96DBD9900D9848D623ECAD1D4904B78047D0015C22C8BE97228BE8B5BFF08FE7A3AE04126DA07312A96C0F69F9BAB71A8D4487C13BBD21E3F9DE587F01A2EC9B24CE25FF0E9B2136662A47C8B58C275121A88EC20F5D58602B203067E5F6C927344A314878098B</a:t>
            </a:r>
            <a:endParaRPr lang="zh-CN" altLang="en-US" sz="100"/>
          </a:p>
        </p:txBody>
      </p:sp>
      <p:grpSp>
        <p:nvGrpSpPr>
          <p:cNvPr id="9" name="组合 8"/>
          <p:cNvGrpSpPr/>
          <p:nvPr/>
        </p:nvGrpSpPr>
        <p:grpSpPr>
          <a:xfrm>
            <a:off x="812799" y="551745"/>
            <a:ext cx="2344293" cy="1885528"/>
            <a:chOff x="3207781" y="1105990"/>
            <a:chExt cx="5776438" cy="4646020"/>
          </a:xfrm>
        </p:grpSpPr>
        <p:sp>
          <p:nvSpPr>
            <p:cNvPr id="10" name="任意多边形 4"/>
            <p:cNvSpPr/>
            <p:nvPr/>
          </p:nvSpPr>
          <p:spPr>
            <a:xfrm>
              <a:off x="3598883" y="5220505"/>
              <a:ext cx="5385336" cy="531505"/>
            </a:xfrm>
            <a:custGeom>
              <a:avLst/>
              <a:gdLst>
                <a:gd name="connsiteX0" fmla="*/ -514 w 4756429"/>
                <a:gd name="connsiteY0" fmla="*/ 234476 h 469435"/>
                <a:gd name="connsiteX1" fmla="*/ 2377732 w 4756429"/>
                <a:gd name="connsiteY1" fmla="*/ -210 h 469435"/>
                <a:gd name="connsiteX2" fmla="*/ 4755915 w 4756429"/>
                <a:gd name="connsiteY2" fmla="*/ 234476 h 469435"/>
                <a:gd name="connsiteX3" fmla="*/ 2377732 w 4756429"/>
                <a:gd name="connsiteY3" fmla="*/ 469226 h 469435"/>
                <a:gd name="connsiteX4" fmla="*/ -514 w 4756429"/>
                <a:gd name="connsiteY4" fmla="*/ 234476 h 469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56429" h="469435">
                  <a:moveTo>
                    <a:pt x="-514" y="234476"/>
                  </a:moveTo>
                  <a:cubicBezTo>
                    <a:pt x="-514" y="104871"/>
                    <a:pt x="1064277" y="-210"/>
                    <a:pt x="2377732" y="-210"/>
                  </a:cubicBezTo>
                  <a:cubicBezTo>
                    <a:pt x="3691187" y="-210"/>
                    <a:pt x="4755915" y="104871"/>
                    <a:pt x="4755915" y="234476"/>
                  </a:cubicBezTo>
                  <a:cubicBezTo>
                    <a:pt x="4755915" y="364081"/>
                    <a:pt x="3691187" y="469226"/>
                    <a:pt x="2377732" y="469226"/>
                  </a:cubicBezTo>
                  <a:cubicBezTo>
                    <a:pt x="1064277" y="469226"/>
                    <a:pt x="-514" y="364144"/>
                    <a:pt x="-514" y="234476"/>
                  </a:cubicBezTo>
                  <a:close/>
                </a:path>
              </a:pathLst>
            </a:custGeom>
            <a:solidFill>
              <a:srgbClr val="E8E8E8"/>
            </a:solidFill>
            <a:ln w="6346" cap="flat">
              <a:noFill/>
              <a:prstDash val="solid"/>
              <a:miter/>
            </a:ln>
          </p:spPr>
          <p:txBody>
            <a:bodyPr rtlCol="0" anchor="ctr"/>
            <a:lstStyle/>
            <a:p>
              <a:endParaRPr lang="zh-CN" altLang="en-US"/>
            </a:p>
          </p:txBody>
        </p:sp>
        <p:sp>
          <p:nvSpPr>
            <p:cNvPr id="11" name="任意多边形 5"/>
            <p:cNvSpPr/>
            <p:nvPr/>
          </p:nvSpPr>
          <p:spPr>
            <a:xfrm>
              <a:off x="4313321" y="3382454"/>
              <a:ext cx="883608" cy="1118025"/>
            </a:xfrm>
            <a:custGeom>
              <a:avLst/>
              <a:gdLst>
                <a:gd name="connsiteX0" fmla="*/ 304303 w 780419"/>
                <a:gd name="connsiteY0" fmla="*/ 118570 h 987461"/>
                <a:gd name="connsiteX1" fmla="*/ 254240 w 780419"/>
                <a:gd name="connsiteY1" fmla="*/ 127782 h 987461"/>
                <a:gd name="connsiteX2" fmla="*/ 200428 w 780419"/>
                <a:gd name="connsiteY2" fmla="*/ 182038 h 987461"/>
                <a:gd name="connsiteX3" fmla="*/ 189374 w 780419"/>
                <a:gd name="connsiteY3" fmla="*/ 260437 h 987461"/>
                <a:gd name="connsiteX4" fmla="*/ 195727 w 780419"/>
                <a:gd name="connsiteY4" fmla="*/ 517740 h 987461"/>
                <a:gd name="connsiteX5" fmla="*/ 71395 w 780419"/>
                <a:gd name="connsiteY5" fmla="*/ 592835 h 987461"/>
                <a:gd name="connsiteX6" fmla="*/ 24001 w 780419"/>
                <a:gd name="connsiteY6" fmla="*/ 840164 h 987461"/>
                <a:gd name="connsiteX7" fmla="*/ 249411 w 780419"/>
                <a:gd name="connsiteY7" fmla="*/ 982284 h 987461"/>
                <a:gd name="connsiteX8" fmla="*/ 522597 w 780419"/>
                <a:gd name="connsiteY8" fmla="*/ 959286 h 987461"/>
                <a:gd name="connsiteX9" fmla="*/ 699597 w 780419"/>
                <a:gd name="connsiteY9" fmla="*/ 889401 h 987461"/>
                <a:gd name="connsiteX10" fmla="*/ 708555 w 780419"/>
                <a:gd name="connsiteY10" fmla="*/ 575617 h 987461"/>
                <a:gd name="connsiteX11" fmla="*/ 764082 w 780419"/>
                <a:gd name="connsiteY11" fmla="*/ 389088 h 987461"/>
                <a:gd name="connsiteX12" fmla="*/ 606968 w 780419"/>
                <a:gd name="connsiteY12" fmla="*/ 27466 h 987461"/>
                <a:gd name="connsiteX13" fmla="*/ 304303 w 780419"/>
                <a:gd name="connsiteY13" fmla="*/ 118761 h 987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80419" h="987461">
                  <a:moveTo>
                    <a:pt x="304303" y="118570"/>
                  </a:moveTo>
                  <a:cubicBezTo>
                    <a:pt x="307860" y="110184"/>
                    <a:pt x="258432" y="125940"/>
                    <a:pt x="254240" y="127782"/>
                  </a:cubicBezTo>
                  <a:cubicBezTo>
                    <a:pt x="230002" y="138284"/>
                    <a:pt x="210733" y="157712"/>
                    <a:pt x="200428" y="182038"/>
                  </a:cubicBezTo>
                  <a:cubicBezTo>
                    <a:pt x="191299" y="207108"/>
                    <a:pt x="187531" y="233817"/>
                    <a:pt x="189374" y="260437"/>
                  </a:cubicBezTo>
                  <a:cubicBezTo>
                    <a:pt x="191216" y="342393"/>
                    <a:pt x="253985" y="444679"/>
                    <a:pt x="195727" y="517740"/>
                  </a:cubicBezTo>
                  <a:cubicBezTo>
                    <a:pt x="165486" y="555478"/>
                    <a:pt x="111484" y="565706"/>
                    <a:pt x="71395" y="592835"/>
                  </a:cubicBezTo>
                  <a:cubicBezTo>
                    <a:pt x="-4843" y="644295"/>
                    <a:pt x="-20154" y="759351"/>
                    <a:pt x="24001" y="840164"/>
                  </a:cubicBezTo>
                  <a:cubicBezTo>
                    <a:pt x="68155" y="920976"/>
                    <a:pt x="158306" y="968752"/>
                    <a:pt x="249411" y="982284"/>
                  </a:cubicBezTo>
                  <a:cubicBezTo>
                    <a:pt x="340516" y="995816"/>
                    <a:pt x="433081" y="979552"/>
                    <a:pt x="522597" y="959286"/>
                  </a:cubicBezTo>
                  <a:cubicBezTo>
                    <a:pt x="584986" y="945182"/>
                    <a:pt x="648835" y="928092"/>
                    <a:pt x="699597" y="889401"/>
                  </a:cubicBezTo>
                  <a:cubicBezTo>
                    <a:pt x="819354" y="797724"/>
                    <a:pt x="763510" y="682986"/>
                    <a:pt x="708555" y="575617"/>
                  </a:cubicBezTo>
                  <a:cubicBezTo>
                    <a:pt x="673358" y="506876"/>
                    <a:pt x="736509" y="474475"/>
                    <a:pt x="764082" y="389088"/>
                  </a:cubicBezTo>
                  <a:cubicBezTo>
                    <a:pt x="813700" y="235469"/>
                    <a:pt x="742608" y="86360"/>
                    <a:pt x="606968" y="27466"/>
                  </a:cubicBezTo>
                  <a:cubicBezTo>
                    <a:pt x="384225" y="-69039"/>
                    <a:pt x="304747" y="117744"/>
                    <a:pt x="304303" y="118761"/>
                  </a:cubicBezTo>
                  <a:close/>
                </a:path>
              </a:pathLst>
            </a:custGeom>
            <a:solidFill>
              <a:srgbClr val="971D05"/>
            </a:solidFill>
            <a:ln w="6346" cap="flat">
              <a:noFill/>
              <a:prstDash val="solid"/>
              <a:miter/>
            </a:ln>
          </p:spPr>
          <p:txBody>
            <a:bodyPr rtlCol="0" anchor="ctr"/>
            <a:lstStyle/>
            <a:p>
              <a:endParaRPr lang="zh-CN" altLang="en-US"/>
            </a:p>
          </p:txBody>
        </p:sp>
        <p:sp>
          <p:nvSpPr>
            <p:cNvPr id="12" name="任意多边形 6"/>
            <p:cNvSpPr/>
            <p:nvPr/>
          </p:nvSpPr>
          <p:spPr>
            <a:xfrm>
              <a:off x="4743753" y="3967018"/>
              <a:ext cx="251762" cy="311178"/>
            </a:xfrm>
            <a:custGeom>
              <a:avLst/>
              <a:gdLst>
                <a:gd name="connsiteX0" fmla="*/ 110730 w 222361"/>
                <a:gd name="connsiteY0" fmla="*/ 274628 h 274838"/>
                <a:gd name="connsiteX1" fmla="*/ 110730 w 222361"/>
                <a:gd name="connsiteY1" fmla="*/ 274628 h 274838"/>
                <a:gd name="connsiteX2" fmla="*/ -514 w 222361"/>
                <a:gd name="connsiteY2" fmla="*/ 126853 h 274838"/>
                <a:gd name="connsiteX3" fmla="*/ -514 w 222361"/>
                <a:gd name="connsiteY3" fmla="*/ -210 h 274838"/>
                <a:gd name="connsiteX4" fmla="*/ 221847 w 222361"/>
                <a:gd name="connsiteY4" fmla="*/ -210 h 274838"/>
                <a:gd name="connsiteX5" fmla="*/ 221847 w 222361"/>
                <a:gd name="connsiteY5" fmla="*/ 126853 h 274838"/>
                <a:gd name="connsiteX6" fmla="*/ 111937 w 222361"/>
                <a:gd name="connsiteY6" fmla="*/ 274628 h 274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2361" h="274838">
                  <a:moveTo>
                    <a:pt x="110730" y="274628"/>
                  </a:moveTo>
                  <a:lnTo>
                    <a:pt x="110730" y="274628"/>
                  </a:lnTo>
                  <a:cubicBezTo>
                    <a:pt x="49358" y="274628"/>
                    <a:pt x="-451" y="163639"/>
                    <a:pt x="-514" y="126853"/>
                  </a:cubicBezTo>
                  <a:lnTo>
                    <a:pt x="-514" y="-210"/>
                  </a:lnTo>
                  <a:lnTo>
                    <a:pt x="221847" y="-210"/>
                  </a:lnTo>
                  <a:lnTo>
                    <a:pt x="221847" y="126853"/>
                  </a:lnTo>
                  <a:cubicBezTo>
                    <a:pt x="221847" y="163448"/>
                    <a:pt x="172991" y="274438"/>
                    <a:pt x="111937" y="274628"/>
                  </a:cubicBezTo>
                  <a:close/>
                </a:path>
              </a:pathLst>
            </a:custGeom>
            <a:solidFill>
              <a:srgbClr val="FF93B1"/>
            </a:solidFill>
            <a:ln w="6346" cap="flat">
              <a:noFill/>
              <a:prstDash val="solid"/>
              <a:miter/>
            </a:ln>
          </p:spPr>
          <p:txBody>
            <a:bodyPr rtlCol="0" anchor="ctr"/>
            <a:lstStyle/>
            <a:p>
              <a:endParaRPr lang="zh-CN" altLang="en-US"/>
            </a:p>
          </p:txBody>
        </p:sp>
        <p:sp>
          <p:nvSpPr>
            <p:cNvPr id="13" name="任意多边形 7"/>
            <p:cNvSpPr/>
            <p:nvPr/>
          </p:nvSpPr>
          <p:spPr>
            <a:xfrm>
              <a:off x="4572555" y="3764605"/>
              <a:ext cx="121406" cy="141542"/>
            </a:xfrm>
            <a:custGeom>
              <a:avLst/>
              <a:gdLst>
                <a:gd name="connsiteX0" fmla="*/ 77312 w 107228"/>
                <a:gd name="connsiteY0" fmla="*/ 27741 h 125013"/>
                <a:gd name="connsiteX1" fmla="*/ -514 w 107228"/>
                <a:gd name="connsiteY1" fmla="*/ 46801 h 125013"/>
                <a:gd name="connsiteX2" fmla="*/ 94783 w 107228"/>
                <a:gd name="connsiteY2" fmla="*/ 110332 h 125013"/>
                <a:gd name="connsiteX3" fmla="*/ 77312 w 107228"/>
                <a:gd name="connsiteY3" fmla="*/ 27741 h 125013"/>
              </a:gdLst>
              <a:ahLst/>
              <a:cxnLst>
                <a:cxn ang="0">
                  <a:pos x="connsiteX0" y="connsiteY0"/>
                </a:cxn>
                <a:cxn ang="0">
                  <a:pos x="connsiteX1" y="connsiteY1"/>
                </a:cxn>
                <a:cxn ang="0">
                  <a:pos x="connsiteX2" y="connsiteY2"/>
                </a:cxn>
                <a:cxn ang="0">
                  <a:pos x="connsiteX3" y="connsiteY3"/>
                </a:cxn>
              </a:cxnLst>
              <a:rect l="l" t="t" r="r" b="b"/>
              <a:pathLst>
                <a:path w="107228" h="125013">
                  <a:moveTo>
                    <a:pt x="77312" y="27741"/>
                  </a:moveTo>
                  <a:cubicBezTo>
                    <a:pt x="41226" y="-26515"/>
                    <a:pt x="-514" y="8364"/>
                    <a:pt x="-514" y="46801"/>
                  </a:cubicBezTo>
                  <a:cubicBezTo>
                    <a:pt x="-514" y="102073"/>
                    <a:pt x="60031" y="149722"/>
                    <a:pt x="94783" y="110332"/>
                  </a:cubicBezTo>
                  <a:cubicBezTo>
                    <a:pt x="129535" y="70943"/>
                    <a:pt x="77312" y="27741"/>
                    <a:pt x="77312" y="27741"/>
                  </a:cubicBezTo>
                  <a:close/>
                </a:path>
              </a:pathLst>
            </a:custGeom>
            <a:solidFill>
              <a:srgbClr val="FED0D6"/>
            </a:solidFill>
            <a:ln w="6346" cap="flat">
              <a:noFill/>
              <a:prstDash val="solid"/>
              <a:miter/>
            </a:ln>
          </p:spPr>
          <p:txBody>
            <a:bodyPr rtlCol="0" anchor="ctr"/>
            <a:lstStyle/>
            <a:p>
              <a:endParaRPr lang="zh-CN" altLang="en-US"/>
            </a:p>
          </p:txBody>
        </p:sp>
        <p:sp>
          <p:nvSpPr>
            <p:cNvPr id="14" name="任意多边形 8"/>
            <p:cNvSpPr/>
            <p:nvPr/>
          </p:nvSpPr>
          <p:spPr>
            <a:xfrm>
              <a:off x="5034066" y="3764605"/>
              <a:ext cx="121425" cy="141542"/>
            </a:xfrm>
            <a:custGeom>
              <a:avLst/>
              <a:gdLst>
                <a:gd name="connsiteX0" fmla="*/ 28968 w 107245"/>
                <a:gd name="connsiteY0" fmla="*/ 27741 h 125013"/>
                <a:gd name="connsiteX1" fmla="*/ 106731 w 107245"/>
                <a:gd name="connsiteY1" fmla="*/ 46801 h 125013"/>
                <a:gd name="connsiteX2" fmla="*/ 11433 w 107245"/>
                <a:gd name="connsiteY2" fmla="*/ 110332 h 125013"/>
                <a:gd name="connsiteX3" fmla="*/ 28968 w 107245"/>
                <a:gd name="connsiteY3" fmla="*/ 27741 h 125013"/>
              </a:gdLst>
              <a:ahLst/>
              <a:cxnLst>
                <a:cxn ang="0">
                  <a:pos x="connsiteX0" y="connsiteY0"/>
                </a:cxn>
                <a:cxn ang="0">
                  <a:pos x="connsiteX1" y="connsiteY1"/>
                </a:cxn>
                <a:cxn ang="0">
                  <a:pos x="connsiteX2" y="connsiteY2"/>
                </a:cxn>
                <a:cxn ang="0">
                  <a:pos x="connsiteX3" y="connsiteY3"/>
                </a:cxn>
              </a:cxnLst>
              <a:rect l="l" t="t" r="r" b="b"/>
              <a:pathLst>
                <a:path w="107245" h="125013">
                  <a:moveTo>
                    <a:pt x="28968" y="27741"/>
                  </a:moveTo>
                  <a:cubicBezTo>
                    <a:pt x="64927" y="-26515"/>
                    <a:pt x="106731" y="8364"/>
                    <a:pt x="106731" y="46801"/>
                  </a:cubicBezTo>
                  <a:cubicBezTo>
                    <a:pt x="106731" y="102073"/>
                    <a:pt x="46249" y="149722"/>
                    <a:pt x="11433" y="110332"/>
                  </a:cubicBezTo>
                  <a:cubicBezTo>
                    <a:pt x="-23382" y="70943"/>
                    <a:pt x="28968" y="27741"/>
                    <a:pt x="28968" y="27741"/>
                  </a:cubicBezTo>
                  <a:close/>
                </a:path>
              </a:pathLst>
            </a:custGeom>
            <a:solidFill>
              <a:srgbClr val="FED0D6"/>
            </a:solidFill>
            <a:ln w="6346" cap="flat">
              <a:noFill/>
              <a:prstDash val="solid"/>
              <a:miter/>
            </a:ln>
          </p:spPr>
          <p:txBody>
            <a:bodyPr rtlCol="0" anchor="ctr"/>
            <a:lstStyle/>
            <a:p>
              <a:endParaRPr lang="zh-CN" altLang="en-US"/>
            </a:p>
          </p:txBody>
        </p:sp>
        <p:sp>
          <p:nvSpPr>
            <p:cNvPr id="15" name="任意多边形 9"/>
            <p:cNvSpPr/>
            <p:nvPr/>
          </p:nvSpPr>
          <p:spPr>
            <a:xfrm>
              <a:off x="4636485" y="3571274"/>
              <a:ext cx="453974" cy="467243"/>
            </a:xfrm>
            <a:custGeom>
              <a:avLst/>
              <a:gdLst>
                <a:gd name="connsiteX0" fmla="*/ 199817 w 400958"/>
                <a:gd name="connsiteY0" fmla="*/ 412468 h 412678"/>
                <a:gd name="connsiteX1" fmla="*/ 6744 w 400958"/>
                <a:gd name="connsiteY1" fmla="*/ 98113 h 412678"/>
                <a:gd name="connsiteX2" fmla="*/ 393207 w 400958"/>
                <a:gd name="connsiteY2" fmla="*/ 98113 h 412678"/>
                <a:gd name="connsiteX3" fmla="*/ 199817 w 400958"/>
                <a:gd name="connsiteY3" fmla="*/ 412468 h 412678"/>
              </a:gdLst>
              <a:ahLst/>
              <a:cxnLst>
                <a:cxn ang="0">
                  <a:pos x="connsiteX0" y="connsiteY0"/>
                </a:cxn>
                <a:cxn ang="0">
                  <a:pos x="connsiteX1" y="connsiteY1"/>
                </a:cxn>
                <a:cxn ang="0">
                  <a:pos x="connsiteX2" y="connsiteY2"/>
                </a:cxn>
                <a:cxn ang="0">
                  <a:pos x="connsiteX3" y="connsiteY3"/>
                </a:cxn>
              </a:cxnLst>
              <a:rect l="l" t="t" r="r" b="b"/>
              <a:pathLst>
                <a:path w="400958" h="412678">
                  <a:moveTo>
                    <a:pt x="199817" y="412468"/>
                  </a:moveTo>
                  <a:cubicBezTo>
                    <a:pt x="57569" y="412468"/>
                    <a:pt x="-26547" y="257387"/>
                    <a:pt x="6744" y="98113"/>
                  </a:cubicBezTo>
                  <a:cubicBezTo>
                    <a:pt x="34063" y="-33016"/>
                    <a:pt x="365762" y="-32953"/>
                    <a:pt x="393207" y="98113"/>
                  </a:cubicBezTo>
                  <a:cubicBezTo>
                    <a:pt x="426434" y="257387"/>
                    <a:pt x="342382" y="412595"/>
                    <a:pt x="199817" y="412468"/>
                  </a:cubicBezTo>
                  <a:close/>
                </a:path>
              </a:pathLst>
            </a:custGeom>
            <a:solidFill>
              <a:srgbClr val="FED0D6"/>
            </a:solidFill>
            <a:ln w="6346" cap="flat">
              <a:noFill/>
              <a:prstDash val="solid"/>
              <a:miter/>
            </a:ln>
          </p:spPr>
          <p:txBody>
            <a:bodyPr rtlCol="0" anchor="ctr"/>
            <a:lstStyle/>
            <a:p>
              <a:endParaRPr lang="zh-CN" altLang="en-US"/>
            </a:p>
          </p:txBody>
        </p:sp>
        <p:sp>
          <p:nvSpPr>
            <p:cNvPr id="16" name="任意多边形 10"/>
            <p:cNvSpPr/>
            <p:nvPr/>
          </p:nvSpPr>
          <p:spPr>
            <a:xfrm>
              <a:off x="4757636" y="3487392"/>
              <a:ext cx="367502" cy="234313"/>
            </a:xfrm>
            <a:custGeom>
              <a:avLst/>
              <a:gdLst>
                <a:gd name="connsiteX0" fmla="*/ -514 w 324585"/>
                <a:gd name="connsiteY0" fmla="*/ 31541 h 206950"/>
                <a:gd name="connsiteX1" fmla="*/ 303231 w 324585"/>
                <a:gd name="connsiteY1" fmla="*/ 198693 h 206950"/>
                <a:gd name="connsiteX2" fmla="*/ 184045 w 324585"/>
                <a:gd name="connsiteY2" fmla="*/ 21757 h 206950"/>
                <a:gd name="connsiteX3" fmla="*/ -514 w 324585"/>
                <a:gd name="connsiteY3" fmla="*/ 31541 h 206950"/>
              </a:gdLst>
              <a:ahLst/>
              <a:cxnLst>
                <a:cxn ang="0">
                  <a:pos x="connsiteX0" y="connsiteY0"/>
                </a:cxn>
                <a:cxn ang="0">
                  <a:pos x="connsiteX1" y="connsiteY1"/>
                </a:cxn>
                <a:cxn ang="0">
                  <a:pos x="connsiteX2" y="connsiteY2"/>
                </a:cxn>
                <a:cxn ang="0">
                  <a:pos x="connsiteX3" y="connsiteY3"/>
                </a:cxn>
              </a:cxnLst>
              <a:rect l="l" t="t" r="r" b="b"/>
              <a:pathLst>
                <a:path w="324585" h="206950">
                  <a:moveTo>
                    <a:pt x="-514" y="31541"/>
                  </a:moveTo>
                  <a:cubicBezTo>
                    <a:pt x="-514" y="165911"/>
                    <a:pt x="253612" y="230650"/>
                    <a:pt x="303231" y="198693"/>
                  </a:cubicBezTo>
                  <a:cubicBezTo>
                    <a:pt x="352849" y="166737"/>
                    <a:pt x="314158" y="52951"/>
                    <a:pt x="184045" y="21757"/>
                  </a:cubicBezTo>
                  <a:cubicBezTo>
                    <a:pt x="53932" y="-9437"/>
                    <a:pt x="-197" y="-8484"/>
                    <a:pt x="-514" y="31541"/>
                  </a:cubicBezTo>
                  <a:close/>
                </a:path>
              </a:pathLst>
            </a:custGeom>
            <a:solidFill>
              <a:srgbClr val="971D05"/>
            </a:solidFill>
            <a:ln w="6346" cap="flat">
              <a:noFill/>
              <a:prstDash val="solid"/>
              <a:miter/>
            </a:ln>
          </p:spPr>
          <p:txBody>
            <a:bodyPr rtlCol="0" anchor="ctr"/>
            <a:lstStyle/>
            <a:p>
              <a:endParaRPr lang="zh-CN" altLang="en-US"/>
            </a:p>
          </p:txBody>
        </p:sp>
        <p:sp>
          <p:nvSpPr>
            <p:cNvPr id="17" name="任意多边形 11"/>
            <p:cNvSpPr/>
            <p:nvPr/>
          </p:nvSpPr>
          <p:spPr>
            <a:xfrm>
              <a:off x="4592900" y="3508707"/>
              <a:ext cx="173053" cy="238281"/>
            </a:xfrm>
            <a:custGeom>
              <a:avLst/>
              <a:gdLst>
                <a:gd name="connsiteX0" fmla="*/ 145428 w 152844"/>
                <a:gd name="connsiteY0" fmla="*/ 11762 h 210454"/>
                <a:gd name="connsiteX1" fmla="*/ 38759 w 152844"/>
                <a:gd name="connsiteY1" fmla="*/ 209790 h 210454"/>
                <a:gd name="connsiteX2" fmla="*/ 27704 w 152844"/>
                <a:gd name="connsiteY2" fmla="*/ 78089 h 210454"/>
                <a:gd name="connsiteX3" fmla="*/ 145428 w 152844"/>
                <a:gd name="connsiteY3" fmla="*/ 11762 h 210454"/>
              </a:gdLst>
              <a:ahLst/>
              <a:cxnLst>
                <a:cxn ang="0">
                  <a:pos x="connsiteX0" y="connsiteY0"/>
                </a:cxn>
                <a:cxn ang="0">
                  <a:pos x="connsiteX1" y="connsiteY1"/>
                </a:cxn>
                <a:cxn ang="0">
                  <a:pos x="connsiteX2" y="connsiteY2"/>
                </a:cxn>
                <a:cxn ang="0">
                  <a:pos x="connsiteX3" y="connsiteY3"/>
                </a:cxn>
              </a:cxnLst>
              <a:rect l="l" t="t" r="r" b="b"/>
              <a:pathLst>
                <a:path w="152844" h="210454">
                  <a:moveTo>
                    <a:pt x="145428" y="11762"/>
                  </a:moveTo>
                  <a:cubicBezTo>
                    <a:pt x="177703" y="76501"/>
                    <a:pt x="89076" y="219320"/>
                    <a:pt x="38759" y="209790"/>
                  </a:cubicBezTo>
                  <a:cubicBezTo>
                    <a:pt x="-11559" y="200261"/>
                    <a:pt x="-11622" y="144416"/>
                    <a:pt x="27704" y="78089"/>
                  </a:cubicBezTo>
                  <a:cubicBezTo>
                    <a:pt x="67030" y="11762"/>
                    <a:pt x="130117" y="-18987"/>
                    <a:pt x="145428" y="11762"/>
                  </a:cubicBezTo>
                  <a:close/>
                </a:path>
              </a:pathLst>
            </a:custGeom>
            <a:solidFill>
              <a:srgbClr val="971D05"/>
            </a:solidFill>
            <a:ln w="6346" cap="flat">
              <a:noFill/>
              <a:prstDash val="solid"/>
              <a:miter/>
            </a:ln>
          </p:spPr>
          <p:txBody>
            <a:bodyPr rtlCol="0" anchor="ctr"/>
            <a:lstStyle/>
            <a:p>
              <a:endParaRPr lang="zh-CN" altLang="en-US"/>
            </a:p>
          </p:txBody>
        </p:sp>
        <p:sp>
          <p:nvSpPr>
            <p:cNvPr id="18" name="任意多边形 12"/>
            <p:cNvSpPr/>
            <p:nvPr/>
          </p:nvSpPr>
          <p:spPr>
            <a:xfrm>
              <a:off x="3612370" y="4281731"/>
              <a:ext cx="915035" cy="627652"/>
            </a:xfrm>
            <a:custGeom>
              <a:avLst/>
              <a:gdLst>
                <a:gd name="connsiteX0" fmla="*/ 797158 w 808176"/>
                <a:gd name="connsiteY0" fmla="*/ 72207 h 554354"/>
                <a:gd name="connsiteX1" fmla="*/ 561011 w 808176"/>
                <a:gd name="connsiteY1" fmla="*/ 325698 h 554354"/>
                <a:gd name="connsiteX2" fmla="*/ 47611 w 808176"/>
                <a:gd name="connsiteY2" fmla="*/ 553523 h 554354"/>
                <a:gd name="connsiteX3" fmla="*/ 47611 w 808176"/>
                <a:gd name="connsiteY3" fmla="*/ 451110 h 554354"/>
                <a:gd name="connsiteX4" fmla="*/ 496844 w 808176"/>
                <a:gd name="connsiteY4" fmla="*/ 243743 h 554354"/>
                <a:gd name="connsiteX5" fmla="*/ 650844 w 808176"/>
                <a:gd name="connsiteY5" fmla="*/ 90123 h 554354"/>
                <a:gd name="connsiteX6" fmla="*/ 699637 w 808176"/>
                <a:gd name="connsiteY6" fmla="*/ 36375 h 554354"/>
                <a:gd name="connsiteX7" fmla="*/ 709866 w 808176"/>
                <a:gd name="connsiteY7" fmla="*/ 18459 h 554354"/>
                <a:gd name="connsiteX8" fmla="*/ 709866 w 808176"/>
                <a:gd name="connsiteY8" fmla="*/ 21000 h 554354"/>
                <a:gd name="connsiteX9" fmla="*/ 797158 w 808176"/>
                <a:gd name="connsiteY9" fmla="*/ 72207 h 554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8176" h="554354">
                  <a:moveTo>
                    <a:pt x="797158" y="72207"/>
                  </a:moveTo>
                  <a:cubicBezTo>
                    <a:pt x="727280" y="164525"/>
                    <a:pt x="648151" y="249460"/>
                    <a:pt x="561011" y="325698"/>
                  </a:cubicBezTo>
                  <a:cubicBezTo>
                    <a:pt x="422385" y="446027"/>
                    <a:pt x="242717" y="563752"/>
                    <a:pt x="47611" y="553523"/>
                  </a:cubicBezTo>
                  <a:cubicBezTo>
                    <a:pt x="-16556" y="548377"/>
                    <a:pt x="-16556" y="446027"/>
                    <a:pt x="47611" y="451110"/>
                  </a:cubicBezTo>
                  <a:cubicBezTo>
                    <a:pt x="219591" y="461339"/>
                    <a:pt x="376197" y="351302"/>
                    <a:pt x="496844" y="243743"/>
                  </a:cubicBezTo>
                  <a:cubicBezTo>
                    <a:pt x="553323" y="197682"/>
                    <a:pt x="602052" y="143871"/>
                    <a:pt x="650844" y="90123"/>
                  </a:cubicBezTo>
                  <a:cubicBezTo>
                    <a:pt x="668824" y="72207"/>
                    <a:pt x="684199" y="54291"/>
                    <a:pt x="699637" y="36375"/>
                  </a:cubicBezTo>
                  <a:cubicBezTo>
                    <a:pt x="703589" y="30727"/>
                    <a:pt x="707013" y="24730"/>
                    <a:pt x="709866" y="18459"/>
                  </a:cubicBezTo>
                  <a:cubicBezTo>
                    <a:pt x="717553" y="10772"/>
                    <a:pt x="702178" y="31165"/>
                    <a:pt x="709866" y="21000"/>
                  </a:cubicBezTo>
                  <a:cubicBezTo>
                    <a:pt x="748366" y="-30206"/>
                    <a:pt x="838199" y="21000"/>
                    <a:pt x="797158" y="72207"/>
                  </a:cubicBezTo>
                  <a:close/>
                </a:path>
              </a:pathLst>
            </a:custGeom>
            <a:solidFill>
              <a:srgbClr val="FED0D6"/>
            </a:solidFill>
            <a:ln w="6346" cap="flat">
              <a:noFill/>
              <a:prstDash val="solid"/>
              <a:miter/>
            </a:ln>
          </p:spPr>
          <p:txBody>
            <a:bodyPr rtlCol="0" anchor="ctr"/>
            <a:lstStyle/>
            <a:p>
              <a:endParaRPr lang="zh-CN" altLang="en-US"/>
            </a:p>
          </p:txBody>
        </p:sp>
        <p:sp>
          <p:nvSpPr>
            <p:cNvPr id="19" name="任意多边形 13"/>
            <p:cNvSpPr/>
            <p:nvPr/>
          </p:nvSpPr>
          <p:spPr>
            <a:xfrm>
              <a:off x="5248839" y="3957542"/>
              <a:ext cx="415701" cy="712692"/>
            </a:xfrm>
            <a:custGeom>
              <a:avLst/>
              <a:gdLst>
                <a:gd name="connsiteX0" fmla="*/ 90290 w 367155"/>
                <a:gd name="connsiteY0" fmla="*/ 275691 h 629463"/>
                <a:gd name="connsiteX1" fmla="*/ 229361 w 367155"/>
                <a:gd name="connsiteY1" fmla="*/ 451738 h 629463"/>
                <a:gd name="connsiteX2" fmla="*/ 246959 w 367155"/>
                <a:gd name="connsiteY2" fmla="*/ 471877 h 629463"/>
                <a:gd name="connsiteX3" fmla="*/ 201979 w 367155"/>
                <a:gd name="connsiteY3" fmla="*/ 211016 h 629463"/>
                <a:gd name="connsiteX4" fmla="*/ 194292 w 367155"/>
                <a:gd name="connsiteY4" fmla="*/ 113241 h 629463"/>
                <a:gd name="connsiteX5" fmla="*/ 298420 w 367155"/>
                <a:gd name="connsiteY5" fmla="*/ 6952 h 629463"/>
                <a:gd name="connsiteX6" fmla="*/ 340732 w 367155"/>
                <a:gd name="connsiteY6" fmla="*/ 100280 h 629463"/>
                <a:gd name="connsiteX7" fmla="*/ 314748 w 367155"/>
                <a:gd name="connsiteY7" fmla="*/ 117624 h 629463"/>
                <a:gd name="connsiteX8" fmla="*/ 294544 w 367155"/>
                <a:gd name="connsiteY8" fmla="*/ 135286 h 629463"/>
                <a:gd name="connsiteX9" fmla="*/ 296006 w 367155"/>
                <a:gd name="connsiteY9" fmla="*/ 157077 h 629463"/>
                <a:gd name="connsiteX10" fmla="*/ 320402 w 367155"/>
                <a:gd name="connsiteY10" fmla="*/ 297927 h 629463"/>
                <a:gd name="connsiteX11" fmla="*/ 354518 w 367155"/>
                <a:gd name="connsiteY11" fmla="*/ 572194 h 629463"/>
                <a:gd name="connsiteX12" fmla="*/ 268560 w 367155"/>
                <a:gd name="connsiteY12" fmla="*/ 625243 h 629463"/>
                <a:gd name="connsiteX13" fmla="*/ 170785 w 367155"/>
                <a:gd name="connsiteY13" fmla="*/ 540237 h 629463"/>
                <a:gd name="connsiteX14" fmla="*/ 9668 w 367155"/>
                <a:gd name="connsiteY14" fmla="*/ 340176 h 629463"/>
                <a:gd name="connsiteX15" fmla="*/ 90290 w 367155"/>
                <a:gd name="connsiteY15" fmla="*/ 275437 h 629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67155" h="629463">
                  <a:moveTo>
                    <a:pt x="90290" y="275691"/>
                  </a:moveTo>
                  <a:cubicBezTo>
                    <a:pt x="134762" y="336999"/>
                    <a:pt x="181013" y="394877"/>
                    <a:pt x="229361" y="451738"/>
                  </a:cubicBezTo>
                  <a:cubicBezTo>
                    <a:pt x="235714" y="459997"/>
                    <a:pt x="241432" y="465969"/>
                    <a:pt x="246959" y="471877"/>
                  </a:cubicBezTo>
                  <a:cubicBezTo>
                    <a:pt x="235460" y="384267"/>
                    <a:pt x="213478" y="298626"/>
                    <a:pt x="201979" y="211016"/>
                  </a:cubicBezTo>
                  <a:cubicBezTo>
                    <a:pt x="196325" y="179822"/>
                    <a:pt x="189273" y="146277"/>
                    <a:pt x="194292" y="113241"/>
                  </a:cubicBezTo>
                  <a:cubicBezTo>
                    <a:pt x="199692" y="62923"/>
                    <a:pt x="258395" y="30649"/>
                    <a:pt x="298420" y="6952"/>
                  </a:cubicBezTo>
                  <a:cubicBezTo>
                    <a:pt x="353692" y="-26593"/>
                    <a:pt x="396068" y="66735"/>
                    <a:pt x="340732" y="100280"/>
                  </a:cubicBezTo>
                  <a:cubicBezTo>
                    <a:pt x="351342" y="92593"/>
                    <a:pt x="319449" y="115528"/>
                    <a:pt x="314748" y="117624"/>
                  </a:cubicBezTo>
                  <a:cubicBezTo>
                    <a:pt x="304138" y="125311"/>
                    <a:pt x="296705" y="139924"/>
                    <a:pt x="294544" y="135286"/>
                  </a:cubicBezTo>
                  <a:cubicBezTo>
                    <a:pt x="294544" y="141004"/>
                    <a:pt x="296451" y="145642"/>
                    <a:pt x="296006" y="157077"/>
                  </a:cubicBezTo>
                  <a:cubicBezTo>
                    <a:pt x="303375" y="204409"/>
                    <a:pt x="310682" y="251740"/>
                    <a:pt x="320402" y="297927"/>
                  </a:cubicBezTo>
                  <a:cubicBezTo>
                    <a:pt x="335523" y="381090"/>
                    <a:pt x="369321" y="486744"/>
                    <a:pt x="354518" y="572194"/>
                  </a:cubicBezTo>
                  <a:cubicBezTo>
                    <a:pt x="348165" y="614442"/>
                    <a:pt x="311698" y="639474"/>
                    <a:pt x="268560" y="625243"/>
                  </a:cubicBezTo>
                  <a:cubicBezTo>
                    <a:pt x="230124" y="608915"/>
                    <a:pt x="198358" y="569906"/>
                    <a:pt x="170785" y="540237"/>
                  </a:cubicBezTo>
                  <a:cubicBezTo>
                    <a:pt x="113695" y="476343"/>
                    <a:pt x="59922" y="409571"/>
                    <a:pt x="9668" y="340176"/>
                  </a:cubicBezTo>
                  <a:cubicBezTo>
                    <a:pt x="-28451" y="287127"/>
                    <a:pt x="49821" y="223468"/>
                    <a:pt x="90290" y="275437"/>
                  </a:cubicBezTo>
                  <a:close/>
                </a:path>
              </a:pathLst>
            </a:custGeom>
            <a:solidFill>
              <a:srgbClr val="FED0D6"/>
            </a:solidFill>
            <a:ln w="6346" cap="flat">
              <a:noFill/>
              <a:prstDash val="solid"/>
              <a:miter/>
            </a:ln>
          </p:spPr>
          <p:txBody>
            <a:bodyPr rtlCol="0" anchor="ctr"/>
            <a:lstStyle/>
            <a:p>
              <a:endParaRPr lang="zh-CN" altLang="en-US"/>
            </a:p>
          </p:txBody>
        </p:sp>
        <p:sp>
          <p:nvSpPr>
            <p:cNvPr id="20" name="任意多边形 14"/>
            <p:cNvSpPr/>
            <p:nvPr/>
          </p:nvSpPr>
          <p:spPr>
            <a:xfrm>
              <a:off x="4494869" y="4089375"/>
              <a:ext cx="731188" cy="915335"/>
            </a:xfrm>
            <a:custGeom>
              <a:avLst/>
              <a:gdLst>
                <a:gd name="connsiteX0" fmla="*/ -514 w 645799"/>
                <a:gd name="connsiteY0" fmla="*/ 61416 h 808441"/>
                <a:gd name="connsiteX1" fmla="*/ 219877 w 645799"/>
                <a:gd name="connsiteY1" fmla="*/ -210 h 808441"/>
                <a:gd name="connsiteX2" fmla="*/ 333662 w 645799"/>
                <a:gd name="connsiteY2" fmla="*/ 71263 h 808441"/>
                <a:gd name="connsiteX3" fmla="*/ 441666 w 645799"/>
                <a:gd name="connsiteY3" fmla="*/ -210 h 808441"/>
                <a:gd name="connsiteX4" fmla="*/ 481564 w 645799"/>
                <a:gd name="connsiteY4" fmla="*/ 3475 h 808441"/>
                <a:gd name="connsiteX5" fmla="*/ 625527 w 645799"/>
                <a:gd name="connsiteY5" fmla="*/ 23360 h 808441"/>
                <a:gd name="connsiteX6" fmla="*/ 637598 w 645799"/>
                <a:gd name="connsiteY6" fmla="*/ 333459 h 808441"/>
                <a:gd name="connsiteX7" fmla="*/ 645285 w 645799"/>
                <a:gd name="connsiteY7" fmla="*/ 792920 h 808441"/>
                <a:gd name="connsiteX8" fmla="*/ 384488 w 645799"/>
                <a:gd name="connsiteY8" fmla="*/ 808231 h 808441"/>
                <a:gd name="connsiteX9" fmla="*/ 20006 w 645799"/>
                <a:gd name="connsiteY9" fmla="*/ 792920 h 808441"/>
                <a:gd name="connsiteX10" fmla="*/ 27694 w 645799"/>
                <a:gd name="connsiteY10" fmla="*/ 333459 h 808441"/>
                <a:gd name="connsiteX11" fmla="*/ -514 w 645799"/>
                <a:gd name="connsiteY11" fmla="*/ 61416 h 808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45799" h="808441">
                  <a:moveTo>
                    <a:pt x="-514" y="61416"/>
                  </a:moveTo>
                  <a:lnTo>
                    <a:pt x="219877" y="-210"/>
                  </a:lnTo>
                  <a:cubicBezTo>
                    <a:pt x="235252" y="69103"/>
                    <a:pt x="308250" y="71263"/>
                    <a:pt x="333662" y="71263"/>
                  </a:cubicBezTo>
                  <a:cubicBezTo>
                    <a:pt x="365428" y="71263"/>
                    <a:pt x="426292" y="69103"/>
                    <a:pt x="441666" y="-210"/>
                  </a:cubicBezTo>
                  <a:lnTo>
                    <a:pt x="481564" y="3475"/>
                  </a:lnTo>
                  <a:cubicBezTo>
                    <a:pt x="594142" y="14085"/>
                    <a:pt x="625527" y="23360"/>
                    <a:pt x="625527" y="23360"/>
                  </a:cubicBezTo>
                  <a:cubicBezTo>
                    <a:pt x="597382" y="336508"/>
                    <a:pt x="658436" y="258428"/>
                    <a:pt x="637598" y="333459"/>
                  </a:cubicBezTo>
                  <a:cubicBezTo>
                    <a:pt x="581436" y="535045"/>
                    <a:pt x="645285" y="792920"/>
                    <a:pt x="645285" y="792920"/>
                  </a:cubicBezTo>
                  <a:cubicBezTo>
                    <a:pt x="543317" y="808231"/>
                    <a:pt x="455770" y="808231"/>
                    <a:pt x="384488" y="808231"/>
                  </a:cubicBezTo>
                  <a:cubicBezTo>
                    <a:pt x="17401" y="808231"/>
                    <a:pt x="20006" y="792920"/>
                    <a:pt x="20006" y="792920"/>
                  </a:cubicBezTo>
                  <a:cubicBezTo>
                    <a:pt x="20006" y="792920"/>
                    <a:pt x="85889" y="477866"/>
                    <a:pt x="27694" y="333459"/>
                  </a:cubicBezTo>
                  <a:cubicBezTo>
                    <a:pt x="2281" y="269927"/>
                    <a:pt x="-514" y="61416"/>
                    <a:pt x="-514" y="61416"/>
                  </a:cubicBezTo>
                  <a:close/>
                </a:path>
              </a:pathLst>
            </a:custGeom>
            <a:solidFill>
              <a:srgbClr val="BE5ED3"/>
            </a:solidFill>
            <a:ln w="6346" cap="flat">
              <a:noFill/>
              <a:prstDash val="solid"/>
              <a:miter/>
            </a:ln>
          </p:spPr>
          <p:txBody>
            <a:bodyPr rtlCol="0" anchor="ctr"/>
            <a:lstStyle/>
            <a:p>
              <a:endParaRPr lang="zh-CN" altLang="en-US"/>
            </a:p>
          </p:txBody>
        </p:sp>
        <p:sp>
          <p:nvSpPr>
            <p:cNvPr id="21" name="任意多边形 15"/>
            <p:cNvSpPr/>
            <p:nvPr/>
          </p:nvSpPr>
          <p:spPr>
            <a:xfrm>
              <a:off x="4736560" y="4414867"/>
              <a:ext cx="302114" cy="302114"/>
            </a:xfrm>
            <a:custGeom>
              <a:avLst/>
              <a:gdLst>
                <a:gd name="connsiteX0" fmla="*/ 266833 w 266833"/>
                <a:gd name="connsiteY0" fmla="*/ 133417 h 266833"/>
                <a:gd name="connsiteX1" fmla="*/ 133417 w 266833"/>
                <a:gd name="connsiteY1" fmla="*/ 266833 h 266833"/>
                <a:gd name="connsiteX2" fmla="*/ 0 w 266833"/>
                <a:gd name="connsiteY2" fmla="*/ 133417 h 266833"/>
                <a:gd name="connsiteX3" fmla="*/ 133417 w 266833"/>
                <a:gd name="connsiteY3" fmla="*/ 0 h 266833"/>
                <a:gd name="connsiteX4" fmla="*/ 266833 w 266833"/>
                <a:gd name="connsiteY4" fmla="*/ 133417 h 2668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833" h="266833">
                  <a:moveTo>
                    <a:pt x="266833" y="133417"/>
                  </a:moveTo>
                  <a:cubicBezTo>
                    <a:pt x="266833" y="207101"/>
                    <a:pt x="207101" y="266833"/>
                    <a:pt x="133417" y="266833"/>
                  </a:cubicBezTo>
                  <a:cubicBezTo>
                    <a:pt x="59733" y="266833"/>
                    <a:pt x="0" y="207101"/>
                    <a:pt x="0" y="133417"/>
                  </a:cubicBezTo>
                  <a:cubicBezTo>
                    <a:pt x="0" y="59733"/>
                    <a:pt x="59733" y="0"/>
                    <a:pt x="133417" y="0"/>
                  </a:cubicBezTo>
                  <a:cubicBezTo>
                    <a:pt x="207101" y="0"/>
                    <a:pt x="266833" y="59733"/>
                    <a:pt x="266833" y="133417"/>
                  </a:cubicBezTo>
                  <a:close/>
                </a:path>
              </a:pathLst>
            </a:custGeom>
            <a:solidFill>
              <a:srgbClr val="FFC545"/>
            </a:solidFill>
            <a:ln w="6346" cap="flat">
              <a:noFill/>
              <a:prstDash val="solid"/>
              <a:miter/>
            </a:ln>
          </p:spPr>
          <p:txBody>
            <a:bodyPr rtlCol="0" anchor="ctr"/>
            <a:lstStyle/>
            <a:p>
              <a:endParaRPr lang="zh-CN" altLang="en-US"/>
            </a:p>
          </p:txBody>
        </p:sp>
        <p:sp>
          <p:nvSpPr>
            <p:cNvPr id="22" name="任意多边形 16"/>
            <p:cNvSpPr/>
            <p:nvPr/>
          </p:nvSpPr>
          <p:spPr>
            <a:xfrm>
              <a:off x="4808492" y="4501185"/>
              <a:ext cx="28772" cy="57545"/>
            </a:xfrm>
            <a:custGeom>
              <a:avLst/>
              <a:gdLst>
                <a:gd name="connsiteX0" fmla="*/ 25413 w 25412"/>
                <a:gd name="connsiteY0" fmla="*/ 25413 h 50825"/>
                <a:gd name="connsiteX1" fmla="*/ 12706 w 25412"/>
                <a:gd name="connsiteY1" fmla="*/ 50825 h 50825"/>
                <a:gd name="connsiteX2" fmla="*/ 0 w 25412"/>
                <a:gd name="connsiteY2" fmla="*/ 25413 h 50825"/>
                <a:gd name="connsiteX3" fmla="*/ 12706 w 25412"/>
                <a:gd name="connsiteY3" fmla="*/ 0 h 50825"/>
                <a:gd name="connsiteX4" fmla="*/ 25413 w 25412"/>
                <a:gd name="connsiteY4" fmla="*/ 25413 h 50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12" h="50825">
                  <a:moveTo>
                    <a:pt x="25413" y="25413"/>
                  </a:moveTo>
                  <a:cubicBezTo>
                    <a:pt x="25413" y="39448"/>
                    <a:pt x="19724" y="50825"/>
                    <a:pt x="12706" y="50825"/>
                  </a:cubicBezTo>
                  <a:cubicBezTo>
                    <a:pt x="5689" y="50825"/>
                    <a:pt x="0" y="39448"/>
                    <a:pt x="0" y="25413"/>
                  </a:cubicBezTo>
                  <a:cubicBezTo>
                    <a:pt x="0" y="11378"/>
                    <a:pt x="5689" y="0"/>
                    <a:pt x="12706" y="0"/>
                  </a:cubicBezTo>
                  <a:cubicBezTo>
                    <a:pt x="19724" y="0"/>
                    <a:pt x="25413" y="11378"/>
                    <a:pt x="25413" y="25413"/>
                  </a:cubicBezTo>
                  <a:close/>
                </a:path>
              </a:pathLst>
            </a:custGeom>
            <a:solidFill>
              <a:srgbClr val="00002B"/>
            </a:solidFill>
            <a:ln w="6346" cap="flat">
              <a:noFill/>
              <a:prstDash val="solid"/>
              <a:miter/>
            </a:ln>
          </p:spPr>
          <p:txBody>
            <a:bodyPr rtlCol="0" anchor="ctr"/>
            <a:lstStyle/>
            <a:p>
              <a:endParaRPr lang="zh-CN" altLang="en-US"/>
            </a:p>
          </p:txBody>
        </p:sp>
        <p:sp>
          <p:nvSpPr>
            <p:cNvPr id="23" name="任意多边形 17"/>
            <p:cNvSpPr/>
            <p:nvPr/>
          </p:nvSpPr>
          <p:spPr>
            <a:xfrm>
              <a:off x="4937970" y="4501185"/>
              <a:ext cx="28772" cy="57545"/>
            </a:xfrm>
            <a:custGeom>
              <a:avLst/>
              <a:gdLst>
                <a:gd name="connsiteX0" fmla="*/ 25413 w 25412"/>
                <a:gd name="connsiteY0" fmla="*/ 25413 h 50825"/>
                <a:gd name="connsiteX1" fmla="*/ 12706 w 25412"/>
                <a:gd name="connsiteY1" fmla="*/ 50825 h 50825"/>
                <a:gd name="connsiteX2" fmla="*/ 0 w 25412"/>
                <a:gd name="connsiteY2" fmla="*/ 25413 h 50825"/>
                <a:gd name="connsiteX3" fmla="*/ 12706 w 25412"/>
                <a:gd name="connsiteY3" fmla="*/ 0 h 50825"/>
                <a:gd name="connsiteX4" fmla="*/ 25413 w 25412"/>
                <a:gd name="connsiteY4" fmla="*/ 25413 h 50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12" h="50825">
                  <a:moveTo>
                    <a:pt x="25413" y="25413"/>
                  </a:moveTo>
                  <a:cubicBezTo>
                    <a:pt x="25413" y="39448"/>
                    <a:pt x="19724" y="50825"/>
                    <a:pt x="12706" y="50825"/>
                  </a:cubicBezTo>
                  <a:cubicBezTo>
                    <a:pt x="5689" y="50825"/>
                    <a:pt x="0" y="39448"/>
                    <a:pt x="0" y="25413"/>
                  </a:cubicBezTo>
                  <a:cubicBezTo>
                    <a:pt x="0" y="11378"/>
                    <a:pt x="5689" y="0"/>
                    <a:pt x="12706" y="0"/>
                  </a:cubicBezTo>
                  <a:cubicBezTo>
                    <a:pt x="19724" y="0"/>
                    <a:pt x="25413" y="11378"/>
                    <a:pt x="25413" y="25413"/>
                  </a:cubicBezTo>
                  <a:close/>
                </a:path>
              </a:pathLst>
            </a:custGeom>
            <a:solidFill>
              <a:srgbClr val="00002B"/>
            </a:solidFill>
            <a:ln w="6346" cap="flat">
              <a:noFill/>
              <a:prstDash val="solid"/>
              <a:miter/>
            </a:ln>
          </p:spPr>
          <p:txBody>
            <a:bodyPr rtlCol="0" anchor="ctr"/>
            <a:lstStyle/>
            <a:p>
              <a:endParaRPr lang="zh-CN" altLang="en-US"/>
            </a:p>
          </p:txBody>
        </p:sp>
        <p:sp>
          <p:nvSpPr>
            <p:cNvPr id="24" name="任意多边形 18"/>
            <p:cNvSpPr/>
            <p:nvPr/>
          </p:nvSpPr>
          <p:spPr>
            <a:xfrm>
              <a:off x="4809355" y="4601890"/>
              <a:ext cx="156524" cy="64640"/>
            </a:xfrm>
            <a:custGeom>
              <a:avLst/>
              <a:gdLst>
                <a:gd name="connsiteX0" fmla="*/ -514 w 138245"/>
                <a:gd name="connsiteY0" fmla="*/ -210 h 57091"/>
                <a:gd name="connsiteX1" fmla="*/ 81924 w 138245"/>
                <a:gd name="connsiteY1" fmla="*/ 55596 h 57091"/>
                <a:gd name="connsiteX2" fmla="*/ 137731 w 138245"/>
                <a:gd name="connsiteY2" fmla="*/ -210 h 57091"/>
              </a:gdLst>
              <a:ahLst/>
              <a:cxnLst>
                <a:cxn ang="0">
                  <a:pos x="connsiteX0" y="connsiteY0"/>
                </a:cxn>
                <a:cxn ang="0">
                  <a:pos x="connsiteX1" y="connsiteY1"/>
                </a:cxn>
                <a:cxn ang="0">
                  <a:pos x="connsiteX2" y="connsiteY2"/>
                </a:cxn>
              </a:cxnLst>
              <a:rect l="l" t="t" r="r" b="b"/>
              <a:pathLst>
                <a:path w="138245" h="57091">
                  <a:moveTo>
                    <a:pt x="-514" y="-210"/>
                  </a:moveTo>
                  <a:cubicBezTo>
                    <a:pt x="6836" y="37966"/>
                    <a:pt x="43748" y="62953"/>
                    <a:pt x="81924" y="55596"/>
                  </a:cubicBezTo>
                  <a:cubicBezTo>
                    <a:pt x="110183" y="50152"/>
                    <a:pt x="132286" y="28055"/>
                    <a:pt x="137731" y="-210"/>
                  </a:cubicBezTo>
                  <a:close/>
                </a:path>
              </a:pathLst>
            </a:custGeom>
            <a:solidFill>
              <a:srgbClr val="E27AA5"/>
            </a:solidFill>
            <a:ln w="6346" cap="flat">
              <a:noFill/>
              <a:prstDash val="solid"/>
              <a:miter/>
            </a:ln>
          </p:spPr>
          <p:txBody>
            <a:bodyPr rtlCol="0" anchor="ctr"/>
            <a:lstStyle/>
            <a:p>
              <a:endParaRPr lang="zh-CN" altLang="en-US"/>
            </a:p>
          </p:txBody>
        </p:sp>
        <p:sp>
          <p:nvSpPr>
            <p:cNvPr id="25" name="任意多边形 19"/>
            <p:cNvSpPr/>
            <p:nvPr/>
          </p:nvSpPr>
          <p:spPr>
            <a:xfrm>
              <a:off x="4509837" y="4987374"/>
              <a:ext cx="724245" cy="307437"/>
            </a:xfrm>
            <a:custGeom>
              <a:avLst/>
              <a:gdLst>
                <a:gd name="connsiteX0" fmla="*/ 6214 w 639667"/>
                <a:gd name="connsiteY0" fmla="*/ -210 h 271534"/>
                <a:gd name="connsiteX1" fmla="*/ 632637 w 639667"/>
                <a:gd name="connsiteY1" fmla="*/ -210 h 271534"/>
                <a:gd name="connsiteX2" fmla="*/ 537657 w 639667"/>
                <a:gd name="connsiteY2" fmla="*/ 271325 h 271534"/>
                <a:gd name="connsiteX3" fmla="*/ 101194 w 639667"/>
                <a:gd name="connsiteY3" fmla="*/ 271325 h 271534"/>
                <a:gd name="connsiteX4" fmla="*/ 5897 w 639667"/>
                <a:gd name="connsiteY4" fmla="*/ -210 h 271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9667" h="271534">
                  <a:moveTo>
                    <a:pt x="6214" y="-210"/>
                  </a:moveTo>
                  <a:cubicBezTo>
                    <a:pt x="295029" y="15101"/>
                    <a:pt x="632637" y="-210"/>
                    <a:pt x="632637" y="-210"/>
                  </a:cubicBezTo>
                  <a:cubicBezTo>
                    <a:pt x="632637" y="-210"/>
                    <a:pt x="676283" y="271325"/>
                    <a:pt x="537657" y="271325"/>
                  </a:cubicBezTo>
                  <a:lnTo>
                    <a:pt x="101194" y="271325"/>
                  </a:lnTo>
                  <a:cubicBezTo>
                    <a:pt x="-37432" y="271325"/>
                    <a:pt x="5897" y="-210"/>
                    <a:pt x="5897" y="-210"/>
                  </a:cubicBezTo>
                  <a:close/>
                </a:path>
              </a:pathLst>
            </a:custGeom>
            <a:solidFill>
              <a:srgbClr val="00002B"/>
            </a:solidFill>
            <a:ln w="6346" cap="flat">
              <a:noFill/>
              <a:prstDash val="solid"/>
              <a:miter/>
            </a:ln>
          </p:spPr>
          <p:txBody>
            <a:bodyPr rtlCol="0" anchor="ctr"/>
            <a:lstStyle/>
            <a:p>
              <a:endParaRPr lang="zh-CN" altLang="en-US"/>
            </a:p>
          </p:txBody>
        </p:sp>
        <p:sp>
          <p:nvSpPr>
            <p:cNvPr id="26" name="任意多边形 20"/>
            <p:cNvSpPr/>
            <p:nvPr/>
          </p:nvSpPr>
          <p:spPr>
            <a:xfrm>
              <a:off x="5524719" y="5246473"/>
              <a:ext cx="230304" cy="183920"/>
            </a:xfrm>
            <a:custGeom>
              <a:avLst/>
              <a:gdLst>
                <a:gd name="connsiteX0" fmla="*/ 27630 w 203409"/>
                <a:gd name="connsiteY0" fmla="*/ -210 h 162442"/>
                <a:gd name="connsiteX1" fmla="*/ 202787 w 203409"/>
                <a:gd name="connsiteY1" fmla="*/ 97057 h 162442"/>
                <a:gd name="connsiteX2" fmla="*/ -514 w 203409"/>
                <a:gd name="connsiteY2" fmla="*/ 161034 h 162442"/>
                <a:gd name="connsiteX3" fmla="*/ 27630 w 203409"/>
                <a:gd name="connsiteY3" fmla="*/ -210 h 162442"/>
              </a:gdLst>
              <a:ahLst/>
              <a:cxnLst>
                <a:cxn ang="0">
                  <a:pos x="connsiteX0" y="connsiteY0"/>
                </a:cxn>
                <a:cxn ang="0">
                  <a:pos x="connsiteX1" y="connsiteY1"/>
                </a:cxn>
                <a:cxn ang="0">
                  <a:pos x="connsiteX2" y="connsiteY2"/>
                </a:cxn>
                <a:cxn ang="0">
                  <a:pos x="connsiteX3" y="connsiteY3"/>
                </a:cxn>
              </a:cxnLst>
              <a:rect l="l" t="t" r="r" b="b"/>
              <a:pathLst>
                <a:path w="203409" h="162442">
                  <a:moveTo>
                    <a:pt x="27630" y="-210"/>
                  </a:moveTo>
                  <a:cubicBezTo>
                    <a:pt x="27630" y="-210"/>
                    <a:pt x="207933" y="20247"/>
                    <a:pt x="202787" y="97057"/>
                  </a:cubicBezTo>
                  <a:cubicBezTo>
                    <a:pt x="200246" y="176408"/>
                    <a:pt x="-514" y="161034"/>
                    <a:pt x="-514" y="161034"/>
                  </a:cubicBezTo>
                  <a:lnTo>
                    <a:pt x="27630" y="-210"/>
                  </a:lnTo>
                  <a:close/>
                </a:path>
              </a:pathLst>
            </a:custGeom>
            <a:solidFill>
              <a:srgbClr val="00002B"/>
            </a:solidFill>
            <a:ln w="6346" cap="flat">
              <a:noFill/>
              <a:prstDash val="solid"/>
              <a:miter/>
            </a:ln>
          </p:spPr>
          <p:txBody>
            <a:bodyPr rtlCol="0" anchor="ctr"/>
            <a:lstStyle/>
            <a:p>
              <a:endParaRPr lang="zh-CN" altLang="en-US"/>
            </a:p>
          </p:txBody>
        </p:sp>
        <p:sp>
          <p:nvSpPr>
            <p:cNvPr id="27" name="任意多边形 21"/>
            <p:cNvSpPr/>
            <p:nvPr/>
          </p:nvSpPr>
          <p:spPr>
            <a:xfrm>
              <a:off x="4100646" y="5006258"/>
              <a:ext cx="1488236" cy="437236"/>
            </a:xfrm>
            <a:custGeom>
              <a:avLst/>
              <a:gdLst>
                <a:gd name="connsiteX0" fmla="*/ 1313924 w 1314438"/>
                <a:gd name="connsiteY0" fmla="*/ 208966 h 386175"/>
                <a:gd name="connsiteX1" fmla="*/ 2820 w 1314438"/>
                <a:gd name="connsiteY1" fmla="*/ 90797 h 386175"/>
                <a:gd name="connsiteX2" fmla="*/ 1293403 w 1314438"/>
                <a:gd name="connsiteY2" fmla="*/ 385966 h 386175"/>
                <a:gd name="connsiteX3" fmla="*/ 1313924 w 1314438"/>
                <a:gd name="connsiteY3" fmla="*/ 208712 h 386175"/>
              </a:gdLst>
              <a:ahLst/>
              <a:cxnLst>
                <a:cxn ang="0">
                  <a:pos x="connsiteX0" y="connsiteY0"/>
                </a:cxn>
                <a:cxn ang="0">
                  <a:pos x="connsiteX1" y="connsiteY1"/>
                </a:cxn>
                <a:cxn ang="0">
                  <a:pos x="connsiteX2" y="connsiteY2"/>
                </a:cxn>
                <a:cxn ang="0">
                  <a:pos x="connsiteX3" y="connsiteY3"/>
                </a:cxn>
              </a:cxnLst>
              <a:rect l="l" t="t" r="r" b="b"/>
              <a:pathLst>
                <a:path w="1314438" h="386175">
                  <a:moveTo>
                    <a:pt x="1313924" y="208966"/>
                  </a:moveTo>
                  <a:cubicBezTo>
                    <a:pt x="1313924" y="208966"/>
                    <a:pt x="82361" y="-168603"/>
                    <a:pt x="2820" y="90797"/>
                  </a:cubicBezTo>
                  <a:cubicBezTo>
                    <a:pt x="-76722" y="347847"/>
                    <a:pt x="1293403" y="385966"/>
                    <a:pt x="1293403" y="385966"/>
                  </a:cubicBezTo>
                  <a:lnTo>
                    <a:pt x="1313924" y="208712"/>
                  </a:lnTo>
                  <a:close/>
                </a:path>
              </a:pathLst>
            </a:custGeom>
            <a:solidFill>
              <a:srgbClr val="1E2160"/>
            </a:solidFill>
            <a:ln w="6346" cap="flat">
              <a:noFill/>
              <a:prstDash val="solid"/>
              <a:miter/>
            </a:ln>
          </p:spPr>
          <p:txBody>
            <a:bodyPr rtlCol="0" anchor="ctr"/>
            <a:lstStyle/>
            <a:p>
              <a:endParaRPr lang="zh-CN" altLang="en-US"/>
            </a:p>
          </p:txBody>
        </p:sp>
        <p:sp>
          <p:nvSpPr>
            <p:cNvPr id="28" name="任意多边形 22"/>
            <p:cNvSpPr/>
            <p:nvPr/>
          </p:nvSpPr>
          <p:spPr>
            <a:xfrm>
              <a:off x="4002665" y="5286755"/>
              <a:ext cx="235837" cy="184637"/>
            </a:xfrm>
            <a:custGeom>
              <a:avLst/>
              <a:gdLst>
                <a:gd name="connsiteX0" fmla="*/ 169282 w 208296"/>
                <a:gd name="connsiteY0" fmla="*/ -210 h 163075"/>
                <a:gd name="connsiteX1" fmla="*/ -94 w 208296"/>
                <a:gd name="connsiteY1" fmla="*/ 109382 h 163075"/>
                <a:gd name="connsiteX2" fmla="*/ 207782 w 208296"/>
                <a:gd name="connsiteY2" fmla="*/ 157857 h 163075"/>
                <a:gd name="connsiteX3" fmla="*/ 169282 w 208296"/>
                <a:gd name="connsiteY3" fmla="*/ -210 h 163075"/>
              </a:gdLst>
              <a:ahLst/>
              <a:cxnLst>
                <a:cxn ang="0">
                  <a:pos x="connsiteX0" y="connsiteY0"/>
                </a:cxn>
                <a:cxn ang="0">
                  <a:pos x="connsiteX1" y="connsiteY1"/>
                </a:cxn>
                <a:cxn ang="0">
                  <a:pos x="connsiteX2" y="connsiteY2"/>
                </a:cxn>
                <a:cxn ang="0">
                  <a:pos x="connsiteX3" y="connsiteY3"/>
                </a:cxn>
              </a:cxnLst>
              <a:rect l="l" t="t" r="r" b="b"/>
              <a:pathLst>
                <a:path w="208296" h="163075">
                  <a:moveTo>
                    <a:pt x="169282" y="-210"/>
                  </a:moveTo>
                  <a:cubicBezTo>
                    <a:pt x="169282" y="-210"/>
                    <a:pt x="-10322" y="32890"/>
                    <a:pt x="-94" y="109382"/>
                  </a:cubicBezTo>
                  <a:cubicBezTo>
                    <a:pt x="10135" y="185874"/>
                    <a:pt x="207782" y="157857"/>
                    <a:pt x="207782" y="157857"/>
                  </a:cubicBezTo>
                  <a:lnTo>
                    <a:pt x="169282" y="-210"/>
                  </a:lnTo>
                  <a:close/>
                </a:path>
              </a:pathLst>
            </a:custGeom>
            <a:solidFill>
              <a:srgbClr val="00002B"/>
            </a:solidFill>
            <a:ln w="6346" cap="flat">
              <a:noFill/>
              <a:prstDash val="solid"/>
              <a:miter/>
            </a:ln>
          </p:spPr>
          <p:txBody>
            <a:bodyPr rtlCol="0" anchor="ctr"/>
            <a:lstStyle/>
            <a:p>
              <a:endParaRPr lang="zh-CN" altLang="en-US"/>
            </a:p>
          </p:txBody>
        </p:sp>
        <p:sp>
          <p:nvSpPr>
            <p:cNvPr id="29" name="任意多边形 23"/>
            <p:cNvSpPr/>
            <p:nvPr/>
          </p:nvSpPr>
          <p:spPr>
            <a:xfrm>
              <a:off x="4163334" y="4959760"/>
              <a:ext cx="1475212" cy="524448"/>
            </a:xfrm>
            <a:custGeom>
              <a:avLst/>
              <a:gdLst>
                <a:gd name="connsiteX0" fmla="*/ -514 w 1302935"/>
                <a:gd name="connsiteY0" fmla="*/ 288407 h 463202"/>
                <a:gd name="connsiteX1" fmla="*/ 1297439 w 1302935"/>
                <a:gd name="connsiteY1" fmla="*/ 75449 h 463202"/>
                <a:gd name="connsiteX2" fmla="*/ 30298 w 1302935"/>
                <a:gd name="connsiteY2" fmla="*/ 462992 h 463202"/>
                <a:gd name="connsiteX3" fmla="*/ -514 w 1302935"/>
                <a:gd name="connsiteY3" fmla="*/ 288535 h 463202"/>
              </a:gdLst>
              <a:ahLst/>
              <a:cxnLst>
                <a:cxn ang="0">
                  <a:pos x="connsiteX0" y="connsiteY0"/>
                </a:cxn>
                <a:cxn ang="0">
                  <a:pos x="connsiteX1" y="connsiteY1"/>
                </a:cxn>
                <a:cxn ang="0">
                  <a:pos x="connsiteX2" y="connsiteY2"/>
                </a:cxn>
                <a:cxn ang="0">
                  <a:pos x="connsiteX3" y="connsiteY3"/>
                </a:cxn>
              </a:cxnLst>
              <a:rect l="l" t="t" r="r" b="b"/>
              <a:pathLst>
                <a:path w="1302935" h="463202">
                  <a:moveTo>
                    <a:pt x="-514" y="288407"/>
                  </a:moveTo>
                  <a:cubicBezTo>
                    <a:pt x="-514" y="288407"/>
                    <a:pt x="1197376" y="-178551"/>
                    <a:pt x="1297439" y="75449"/>
                  </a:cubicBezTo>
                  <a:cubicBezTo>
                    <a:pt x="1394896" y="326908"/>
                    <a:pt x="30298" y="462992"/>
                    <a:pt x="30298" y="462992"/>
                  </a:cubicBezTo>
                  <a:lnTo>
                    <a:pt x="-514" y="288535"/>
                  </a:lnTo>
                  <a:close/>
                </a:path>
              </a:pathLst>
            </a:custGeom>
            <a:solidFill>
              <a:srgbClr val="2A3072"/>
            </a:solidFill>
            <a:ln w="6346" cap="flat">
              <a:noFill/>
              <a:prstDash val="solid"/>
              <a:miter/>
            </a:ln>
          </p:spPr>
          <p:txBody>
            <a:bodyPr rtlCol="0" anchor="ctr"/>
            <a:lstStyle/>
            <a:p>
              <a:endParaRPr lang="zh-CN" altLang="en-US"/>
            </a:p>
          </p:txBody>
        </p:sp>
        <p:sp>
          <p:nvSpPr>
            <p:cNvPr id="30" name="任意多边形 24"/>
            <p:cNvSpPr/>
            <p:nvPr/>
          </p:nvSpPr>
          <p:spPr>
            <a:xfrm>
              <a:off x="4197069" y="4159220"/>
              <a:ext cx="334881" cy="457055"/>
            </a:xfrm>
            <a:custGeom>
              <a:avLst/>
              <a:gdLst>
                <a:gd name="connsiteX0" fmla="*/ 262507 w 295773"/>
                <a:gd name="connsiteY0" fmla="*/ -210 h 403680"/>
                <a:gd name="connsiteX1" fmla="*/ -514 w 295773"/>
                <a:gd name="connsiteY1" fmla="*/ 206522 h 403680"/>
                <a:gd name="connsiteX2" fmla="*/ 151962 w 295773"/>
                <a:gd name="connsiteY2" fmla="*/ 403470 h 403680"/>
                <a:gd name="connsiteX3" fmla="*/ 290969 w 295773"/>
                <a:gd name="connsiteY3" fmla="*/ 272468 h 403680"/>
                <a:gd name="connsiteX4" fmla="*/ 262507 w 295773"/>
                <a:gd name="connsiteY4" fmla="*/ -210 h 4036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5773" h="403680">
                  <a:moveTo>
                    <a:pt x="262507" y="-210"/>
                  </a:moveTo>
                  <a:cubicBezTo>
                    <a:pt x="262507" y="-210"/>
                    <a:pt x="113843" y="47693"/>
                    <a:pt x="-514" y="206522"/>
                  </a:cubicBezTo>
                  <a:lnTo>
                    <a:pt x="151962" y="403470"/>
                  </a:lnTo>
                  <a:cubicBezTo>
                    <a:pt x="151962" y="403470"/>
                    <a:pt x="278326" y="317766"/>
                    <a:pt x="290969" y="272468"/>
                  </a:cubicBezTo>
                  <a:cubicBezTo>
                    <a:pt x="309393" y="206395"/>
                    <a:pt x="262507" y="-210"/>
                    <a:pt x="262507" y="-210"/>
                  </a:cubicBezTo>
                  <a:close/>
                </a:path>
              </a:pathLst>
            </a:custGeom>
            <a:solidFill>
              <a:srgbClr val="BE5ED3"/>
            </a:solidFill>
            <a:ln w="6346" cap="flat">
              <a:noFill/>
              <a:prstDash val="solid"/>
              <a:miter/>
            </a:ln>
          </p:spPr>
          <p:txBody>
            <a:bodyPr rtlCol="0" anchor="ctr"/>
            <a:lstStyle/>
            <a:p>
              <a:endParaRPr lang="zh-CN" altLang="en-US"/>
            </a:p>
          </p:txBody>
        </p:sp>
        <p:sp>
          <p:nvSpPr>
            <p:cNvPr id="31" name="任意多边形 25"/>
            <p:cNvSpPr/>
            <p:nvPr/>
          </p:nvSpPr>
          <p:spPr>
            <a:xfrm>
              <a:off x="5168201" y="4116061"/>
              <a:ext cx="316452" cy="449862"/>
            </a:xfrm>
            <a:custGeom>
              <a:avLst/>
              <a:gdLst>
                <a:gd name="connsiteX0" fmla="*/ 30827 w 279496"/>
                <a:gd name="connsiteY0" fmla="*/ -210 h 397327"/>
                <a:gd name="connsiteX1" fmla="*/ 278982 w 279496"/>
                <a:gd name="connsiteY1" fmla="*/ 203092 h 397327"/>
                <a:gd name="connsiteX2" fmla="*/ 134892 w 279496"/>
                <a:gd name="connsiteY2" fmla="*/ 397117 h 397327"/>
                <a:gd name="connsiteX3" fmla="*/ 3508 w 279496"/>
                <a:gd name="connsiteY3" fmla="*/ 268148 h 397327"/>
                <a:gd name="connsiteX4" fmla="*/ 30827 w 279496"/>
                <a:gd name="connsiteY4" fmla="*/ -210 h 3973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496" h="397327">
                  <a:moveTo>
                    <a:pt x="30827" y="-210"/>
                  </a:moveTo>
                  <a:cubicBezTo>
                    <a:pt x="30827" y="-210"/>
                    <a:pt x="161575" y="21899"/>
                    <a:pt x="278982" y="203092"/>
                  </a:cubicBezTo>
                  <a:lnTo>
                    <a:pt x="134892" y="397117"/>
                  </a:lnTo>
                  <a:cubicBezTo>
                    <a:pt x="134892" y="397117"/>
                    <a:pt x="15452" y="312747"/>
                    <a:pt x="3508" y="268148"/>
                  </a:cubicBezTo>
                  <a:cubicBezTo>
                    <a:pt x="-13899" y="203155"/>
                    <a:pt x="30827" y="-210"/>
                    <a:pt x="30827" y="-210"/>
                  </a:cubicBezTo>
                  <a:close/>
                </a:path>
              </a:pathLst>
            </a:custGeom>
            <a:solidFill>
              <a:srgbClr val="BE5ED3"/>
            </a:solidFill>
            <a:ln w="6346" cap="flat">
              <a:noFill/>
              <a:prstDash val="solid"/>
              <a:miter/>
            </a:ln>
          </p:spPr>
          <p:txBody>
            <a:bodyPr rtlCol="0" anchor="ctr"/>
            <a:lstStyle/>
            <a:p>
              <a:endParaRPr lang="zh-CN" altLang="en-US"/>
            </a:p>
          </p:txBody>
        </p:sp>
        <p:sp>
          <p:nvSpPr>
            <p:cNvPr id="32" name="任意多边形 26"/>
            <p:cNvSpPr/>
            <p:nvPr/>
          </p:nvSpPr>
          <p:spPr>
            <a:xfrm>
              <a:off x="3207781" y="3560975"/>
              <a:ext cx="1486066" cy="1759003"/>
            </a:xfrm>
            <a:custGeom>
              <a:avLst/>
              <a:gdLst>
                <a:gd name="connsiteX0" fmla="*/ 933471 w 1312521"/>
                <a:gd name="connsiteY0" fmla="*/ 872704 h 1553585"/>
                <a:gd name="connsiteX1" fmla="*/ 1030738 w 1312521"/>
                <a:gd name="connsiteY1" fmla="*/ 1006121 h 1553585"/>
                <a:gd name="connsiteX2" fmla="*/ 1002848 w 1312521"/>
                <a:gd name="connsiteY2" fmla="*/ 1177656 h 1553585"/>
                <a:gd name="connsiteX3" fmla="*/ 831211 w 1312521"/>
                <a:gd name="connsiteY3" fmla="*/ 1152962 h 1553585"/>
                <a:gd name="connsiteX4" fmla="*/ 830677 w 1312521"/>
                <a:gd name="connsiteY4" fmla="*/ 1152244 h 1553585"/>
                <a:gd name="connsiteX5" fmla="*/ 674897 w 1312521"/>
                <a:gd name="connsiteY5" fmla="*/ 940874 h 1553585"/>
                <a:gd name="connsiteX6" fmla="*/ 674008 w 1312521"/>
                <a:gd name="connsiteY6" fmla="*/ 935220 h 1553585"/>
                <a:gd name="connsiteX7" fmla="*/ 669942 w 1312521"/>
                <a:gd name="connsiteY7" fmla="*/ 931217 h 1553585"/>
                <a:gd name="connsiteX8" fmla="*/ 695354 w 1312521"/>
                <a:gd name="connsiteY8" fmla="*/ 758792 h 1553585"/>
                <a:gd name="connsiteX9" fmla="*/ 761046 w 1312521"/>
                <a:gd name="connsiteY9" fmla="*/ 359495 h 1553585"/>
                <a:gd name="connsiteX10" fmla="*/ 364075 w 1312521"/>
                <a:gd name="connsiteY10" fmla="*/ 301001 h 1553585"/>
                <a:gd name="connsiteX11" fmla="*/ 362321 w 1312521"/>
                <a:gd name="connsiteY11" fmla="*/ 302316 h 1553585"/>
                <a:gd name="connsiteX12" fmla="*/ 248727 w 1312521"/>
                <a:gd name="connsiteY12" fmla="*/ 557015 h 1553585"/>
                <a:gd name="connsiteX13" fmla="*/ 137946 w 1312521"/>
                <a:gd name="connsiteY13" fmla="*/ 696670 h 1553585"/>
                <a:gd name="connsiteX14" fmla="*/ 136910 w 1312521"/>
                <a:gd name="connsiteY14" fmla="*/ 696785 h 1553585"/>
                <a:gd name="connsiteX15" fmla="*/ 2668 w 1312521"/>
                <a:gd name="connsiteY15" fmla="*/ 586557 h 1553585"/>
                <a:gd name="connsiteX16" fmla="*/ 216389 w 1312521"/>
                <a:gd name="connsiteY16" fmla="*/ 102509 h 1553585"/>
                <a:gd name="connsiteX17" fmla="*/ 960282 w 1312521"/>
                <a:gd name="connsiteY17" fmla="*/ 215786 h 1553585"/>
                <a:gd name="connsiteX18" fmla="*/ 933471 w 1312521"/>
                <a:gd name="connsiteY18" fmla="*/ 872704 h 1553585"/>
                <a:gd name="connsiteX19" fmla="*/ 1259071 w 1312521"/>
                <a:gd name="connsiteY19" fmla="*/ 1318824 h 1553585"/>
                <a:gd name="connsiteX20" fmla="*/ 1287153 w 1312521"/>
                <a:gd name="connsiteY20" fmla="*/ 1357388 h 1553585"/>
                <a:gd name="connsiteX21" fmla="*/ 1259199 w 1312521"/>
                <a:gd name="connsiteY21" fmla="*/ 1528923 h 1553585"/>
                <a:gd name="connsiteX22" fmla="*/ 1087644 w 1312521"/>
                <a:gd name="connsiteY22" fmla="*/ 1504260 h 1553585"/>
                <a:gd name="connsiteX23" fmla="*/ 1087091 w 1312521"/>
                <a:gd name="connsiteY23" fmla="*/ 1503511 h 1553585"/>
                <a:gd name="connsiteX24" fmla="*/ 1061678 w 1312521"/>
                <a:gd name="connsiteY24" fmla="*/ 1465391 h 1553585"/>
                <a:gd name="connsiteX25" fmla="*/ 1087091 w 1312521"/>
                <a:gd name="connsiteY25" fmla="*/ 1292967 h 1553585"/>
                <a:gd name="connsiteX26" fmla="*/ 1259199 w 1312521"/>
                <a:gd name="connsiteY26" fmla="*/ 1318379 h 1553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312521" h="1553585">
                  <a:moveTo>
                    <a:pt x="933471" y="872704"/>
                  </a:moveTo>
                  <a:lnTo>
                    <a:pt x="1030738" y="1006121"/>
                  </a:lnTo>
                  <a:cubicBezTo>
                    <a:pt x="1071971" y="1062410"/>
                    <a:pt x="1061551" y="1137187"/>
                    <a:pt x="1002848" y="1177656"/>
                  </a:cubicBezTo>
                  <a:cubicBezTo>
                    <a:pt x="948630" y="1218234"/>
                    <a:pt x="871788" y="1207179"/>
                    <a:pt x="831211" y="1152962"/>
                  </a:cubicBezTo>
                  <a:cubicBezTo>
                    <a:pt x="831033" y="1152720"/>
                    <a:pt x="830855" y="1152485"/>
                    <a:pt x="830677" y="1152244"/>
                  </a:cubicBezTo>
                  <a:lnTo>
                    <a:pt x="674897" y="940874"/>
                  </a:lnTo>
                  <a:cubicBezTo>
                    <a:pt x="673246" y="937633"/>
                    <a:pt x="676486" y="935982"/>
                    <a:pt x="674008" y="935220"/>
                  </a:cubicBezTo>
                  <a:cubicBezTo>
                    <a:pt x="671530" y="934457"/>
                    <a:pt x="671594" y="934457"/>
                    <a:pt x="669942" y="931217"/>
                  </a:cubicBezTo>
                  <a:cubicBezTo>
                    <a:pt x="630362" y="878168"/>
                    <a:pt x="642369" y="798499"/>
                    <a:pt x="695354" y="758792"/>
                  </a:cubicBezTo>
                  <a:cubicBezTo>
                    <a:pt x="824769" y="665400"/>
                    <a:pt x="855010" y="486495"/>
                    <a:pt x="761046" y="359495"/>
                  </a:cubicBezTo>
                  <a:cubicBezTo>
                    <a:pt x="667578" y="233721"/>
                    <a:pt x="489849" y="207534"/>
                    <a:pt x="364075" y="301001"/>
                  </a:cubicBezTo>
                  <a:cubicBezTo>
                    <a:pt x="363490" y="301439"/>
                    <a:pt x="362906" y="301878"/>
                    <a:pt x="362321" y="302316"/>
                  </a:cubicBezTo>
                  <a:cubicBezTo>
                    <a:pt x="281636" y="360797"/>
                    <a:pt x="238326" y="457912"/>
                    <a:pt x="248727" y="557015"/>
                  </a:cubicBezTo>
                  <a:cubicBezTo>
                    <a:pt x="256700" y="626169"/>
                    <a:pt x="207101" y="688697"/>
                    <a:pt x="137946" y="696670"/>
                  </a:cubicBezTo>
                  <a:cubicBezTo>
                    <a:pt x="137603" y="696708"/>
                    <a:pt x="137254" y="696747"/>
                    <a:pt x="136910" y="696785"/>
                  </a:cubicBezTo>
                  <a:cubicBezTo>
                    <a:pt x="68106" y="701741"/>
                    <a:pt x="9847" y="656252"/>
                    <a:pt x="2668" y="586557"/>
                  </a:cubicBezTo>
                  <a:cubicBezTo>
                    <a:pt x="-18056" y="398554"/>
                    <a:pt x="63493" y="213855"/>
                    <a:pt x="216389" y="102509"/>
                  </a:cubicBezTo>
                  <a:cubicBezTo>
                    <a:pt x="453375" y="-70456"/>
                    <a:pt x="785519" y="-19878"/>
                    <a:pt x="960282" y="215786"/>
                  </a:cubicBezTo>
                  <a:cubicBezTo>
                    <a:pt x="1106405" y="415975"/>
                    <a:pt x="1089251" y="688017"/>
                    <a:pt x="933471" y="872704"/>
                  </a:cubicBezTo>
                  <a:close/>
                  <a:moveTo>
                    <a:pt x="1259071" y="1318824"/>
                  </a:moveTo>
                  <a:lnTo>
                    <a:pt x="1287153" y="1357388"/>
                  </a:lnTo>
                  <a:cubicBezTo>
                    <a:pt x="1328321" y="1413677"/>
                    <a:pt x="1317902" y="1488454"/>
                    <a:pt x="1259199" y="1528923"/>
                  </a:cubicBezTo>
                  <a:cubicBezTo>
                    <a:pt x="1205012" y="1569488"/>
                    <a:pt x="1128209" y="1558440"/>
                    <a:pt x="1087644" y="1504260"/>
                  </a:cubicBezTo>
                  <a:cubicBezTo>
                    <a:pt x="1087460" y="1504013"/>
                    <a:pt x="1087275" y="1503758"/>
                    <a:pt x="1087091" y="1503511"/>
                  </a:cubicBezTo>
                  <a:lnTo>
                    <a:pt x="1061678" y="1465391"/>
                  </a:lnTo>
                  <a:cubicBezTo>
                    <a:pt x="1019684" y="1411517"/>
                    <a:pt x="1034106" y="1332610"/>
                    <a:pt x="1087091" y="1292967"/>
                  </a:cubicBezTo>
                  <a:cubicBezTo>
                    <a:pt x="1141671" y="1252592"/>
                    <a:pt x="1218621" y="1263958"/>
                    <a:pt x="1259199" y="1318379"/>
                  </a:cubicBezTo>
                  <a:close/>
                </a:path>
              </a:pathLst>
            </a:custGeom>
            <a:solidFill>
              <a:srgbClr val="FFC545"/>
            </a:solidFill>
            <a:ln w="6346" cap="flat">
              <a:noFill/>
              <a:prstDash val="solid"/>
              <a:miter/>
            </a:ln>
          </p:spPr>
          <p:txBody>
            <a:bodyPr rtlCol="0" anchor="ctr"/>
            <a:lstStyle/>
            <a:p>
              <a:endParaRPr lang="zh-CN" altLang="en-US"/>
            </a:p>
          </p:txBody>
        </p:sp>
        <p:sp>
          <p:nvSpPr>
            <p:cNvPr id="33" name="任意多边形 27"/>
            <p:cNvSpPr/>
            <p:nvPr/>
          </p:nvSpPr>
          <p:spPr>
            <a:xfrm>
              <a:off x="6164723" y="1962102"/>
              <a:ext cx="703194" cy="564027"/>
            </a:xfrm>
            <a:custGeom>
              <a:avLst/>
              <a:gdLst>
                <a:gd name="connsiteX0" fmla="*/ 577794 w 621074"/>
                <a:gd name="connsiteY0" fmla="*/ 416455 h 498159"/>
                <a:gd name="connsiteX1" fmla="*/ 538976 w 621074"/>
                <a:gd name="connsiteY1" fmla="*/ 192061 h 498159"/>
                <a:gd name="connsiteX2" fmla="*/ 398317 w 621074"/>
                <a:gd name="connsiteY2" fmla="*/ 31135 h 498159"/>
                <a:gd name="connsiteX3" fmla="*/ 10265 w 621074"/>
                <a:gd name="connsiteY3" fmla="*/ 121159 h 498159"/>
                <a:gd name="connsiteX4" fmla="*/ 38156 w 621074"/>
                <a:gd name="connsiteY4" fmla="*/ 265504 h 498159"/>
                <a:gd name="connsiteX5" fmla="*/ 65983 w 621074"/>
                <a:gd name="connsiteY5" fmla="*/ 440152 h 498159"/>
                <a:gd name="connsiteX6" fmla="*/ 577794 w 621074"/>
                <a:gd name="connsiteY6" fmla="*/ 416455 h 498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1074" h="498159">
                  <a:moveTo>
                    <a:pt x="577794" y="416455"/>
                  </a:moveTo>
                  <a:cubicBezTo>
                    <a:pt x="667819" y="254576"/>
                    <a:pt x="596536" y="161629"/>
                    <a:pt x="538976" y="192061"/>
                  </a:cubicBezTo>
                  <a:cubicBezTo>
                    <a:pt x="538976" y="192061"/>
                    <a:pt x="530399" y="91617"/>
                    <a:pt x="398317" y="31135"/>
                  </a:cubicBezTo>
                  <a:cubicBezTo>
                    <a:pt x="245841" y="-38750"/>
                    <a:pt x="48893" y="15633"/>
                    <a:pt x="10265" y="121159"/>
                  </a:cubicBezTo>
                  <a:cubicBezTo>
                    <a:pt x="-25186" y="218554"/>
                    <a:pt x="38156" y="265504"/>
                    <a:pt x="38156" y="265504"/>
                  </a:cubicBezTo>
                  <a:cubicBezTo>
                    <a:pt x="38156" y="265504"/>
                    <a:pt x="-1043" y="335388"/>
                    <a:pt x="65983" y="440152"/>
                  </a:cubicBezTo>
                  <a:cubicBezTo>
                    <a:pt x="133009" y="544916"/>
                    <a:pt x="537515" y="488945"/>
                    <a:pt x="577794" y="416455"/>
                  </a:cubicBezTo>
                  <a:close/>
                </a:path>
              </a:pathLst>
            </a:custGeom>
            <a:solidFill>
              <a:srgbClr val="981D04"/>
            </a:solidFill>
            <a:ln w="6346" cap="flat">
              <a:noFill/>
              <a:prstDash val="solid"/>
              <a:miter/>
            </a:ln>
          </p:spPr>
          <p:txBody>
            <a:bodyPr rtlCol="0" anchor="ctr"/>
            <a:lstStyle/>
            <a:p>
              <a:endParaRPr lang="zh-CN" altLang="en-US"/>
            </a:p>
          </p:txBody>
        </p:sp>
        <p:sp>
          <p:nvSpPr>
            <p:cNvPr id="34" name="任意多边形 28"/>
            <p:cNvSpPr/>
            <p:nvPr/>
          </p:nvSpPr>
          <p:spPr>
            <a:xfrm>
              <a:off x="6390997" y="2695691"/>
              <a:ext cx="273341" cy="276362"/>
            </a:xfrm>
            <a:custGeom>
              <a:avLst/>
              <a:gdLst>
                <a:gd name="connsiteX0" fmla="*/ 120196 w 241420"/>
                <a:gd name="connsiteY0" fmla="*/ 243879 h 244088"/>
                <a:gd name="connsiteX1" fmla="*/ 120196 w 241420"/>
                <a:gd name="connsiteY1" fmla="*/ 243879 h 244088"/>
                <a:gd name="connsiteX2" fmla="*/ -514 w 241420"/>
                <a:gd name="connsiteY2" fmla="*/ 160017 h 244088"/>
                <a:gd name="connsiteX3" fmla="*/ -514 w 241420"/>
                <a:gd name="connsiteY3" fmla="*/ -210 h 244088"/>
                <a:gd name="connsiteX4" fmla="*/ 240906 w 241420"/>
                <a:gd name="connsiteY4" fmla="*/ -210 h 244088"/>
                <a:gd name="connsiteX5" fmla="*/ 240906 w 241420"/>
                <a:gd name="connsiteY5" fmla="*/ 160335 h 244088"/>
                <a:gd name="connsiteX6" fmla="*/ 120958 w 241420"/>
                <a:gd name="connsiteY6" fmla="*/ 243752 h 244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1420" h="244088">
                  <a:moveTo>
                    <a:pt x="120196" y="243879"/>
                  </a:moveTo>
                  <a:lnTo>
                    <a:pt x="120196" y="243879"/>
                  </a:lnTo>
                  <a:cubicBezTo>
                    <a:pt x="53551" y="243879"/>
                    <a:pt x="-514" y="206332"/>
                    <a:pt x="-514" y="160017"/>
                  </a:cubicBezTo>
                  <a:lnTo>
                    <a:pt x="-514" y="-210"/>
                  </a:lnTo>
                  <a:lnTo>
                    <a:pt x="240906" y="-210"/>
                  </a:lnTo>
                  <a:lnTo>
                    <a:pt x="240906" y="160335"/>
                  </a:lnTo>
                  <a:cubicBezTo>
                    <a:pt x="240906" y="206395"/>
                    <a:pt x="187222" y="243752"/>
                    <a:pt x="120958" y="243752"/>
                  </a:cubicBezTo>
                  <a:close/>
                </a:path>
              </a:pathLst>
            </a:custGeom>
            <a:solidFill>
              <a:srgbClr val="FF93B1"/>
            </a:solidFill>
            <a:ln w="6346" cap="flat">
              <a:noFill/>
              <a:prstDash val="solid"/>
              <a:miter/>
            </a:ln>
          </p:spPr>
          <p:txBody>
            <a:bodyPr rtlCol="0" anchor="ctr"/>
            <a:lstStyle/>
            <a:p>
              <a:endParaRPr lang="zh-CN" altLang="en-US"/>
            </a:p>
          </p:txBody>
        </p:sp>
        <p:sp>
          <p:nvSpPr>
            <p:cNvPr id="35" name="任意多边形 29"/>
            <p:cNvSpPr/>
            <p:nvPr/>
          </p:nvSpPr>
          <p:spPr>
            <a:xfrm>
              <a:off x="6190954" y="2434905"/>
              <a:ext cx="140645" cy="163868"/>
            </a:xfrm>
            <a:custGeom>
              <a:avLst/>
              <a:gdLst>
                <a:gd name="connsiteX0" fmla="*/ 89827 w 124220"/>
                <a:gd name="connsiteY0" fmla="*/ 32284 h 144731"/>
                <a:gd name="connsiteX1" fmla="*/ -514 w 124220"/>
                <a:gd name="connsiteY1" fmla="*/ 54139 h 144731"/>
                <a:gd name="connsiteX2" fmla="*/ 109904 w 124220"/>
                <a:gd name="connsiteY2" fmla="*/ 127518 h 144731"/>
                <a:gd name="connsiteX3" fmla="*/ 89827 w 124220"/>
                <a:gd name="connsiteY3" fmla="*/ 32221 h 144731"/>
              </a:gdLst>
              <a:ahLst/>
              <a:cxnLst>
                <a:cxn ang="0">
                  <a:pos x="connsiteX0" y="connsiteY0"/>
                </a:cxn>
                <a:cxn ang="0">
                  <a:pos x="connsiteX1" y="connsiteY1"/>
                </a:cxn>
                <a:cxn ang="0">
                  <a:pos x="connsiteX2" y="connsiteY2"/>
                </a:cxn>
                <a:cxn ang="0">
                  <a:pos x="connsiteX3" y="connsiteY3"/>
                </a:cxn>
              </a:cxnLst>
              <a:rect l="l" t="t" r="r" b="b"/>
              <a:pathLst>
                <a:path w="124220" h="144731">
                  <a:moveTo>
                    <a:pt x="89827" y="32284"/>
                  </a:moveTo>
                  <a:cubicBezTo>
                    <a:pt x="47960" y="-30739"/>
                    <a:pt x="-514" y="9730"/>
                    <a:pt x="-514" y="54139"/>
                  </a:cubicBezTo>
                  <a:cubicBezTo>
                    <a:pt x="-514" y="118306"/>
                    <a:pt x="69752" y="173579"/>
                    <a:pt x="109904" y="127518"/>
                  </a:cubicBezTo>
                  <a:cubicBezTo>
                    <a:pt x="150056" y="81458"/>
                    <a:pt x="89827" y="32221"/>
                    <a:pt x="89827" y="32221"/>
                  </a:cubicBezTo>
                  <a:close/>
                </a:path>
              </a:pathLst>
            </a:custGeom>
            <a:solidFill>
              <a:srgbClr val="FED0D6"/>
            </a:solidFill>
            <a:ln w="6346" cap="flat">
              <a:noFill/>
              <a:prstDash val="solid"/>
              <a:miter/>
            </a:ln>
          </p:spPr>
          <p:txBody>
            <a:bodyPr rtlCol="0" anchor="ctr"/>
            <a:lstStyle/>
            <a:p>
              <a:endParaRPr lang="zh-CN" altLang="en-US"/>
            </a:p>
          </p:txBody>
        </p:sp>
        <p:sp>
          <p:nvSpPr>
            <p:cNvPr id="36" name="任意多边形 30"/>
            <p:cNvSpPr/>
            <p:nvPr/>
          </p:nvSpPr>
          <p:spPr>
            <a:xfrm>
              <a:off x="6727091" y="2434905"/>
              <a:ext cx="140816" cy="163868"/>
            </a:xfrm>
            <a:custGeom>
              <a:avLst/>
              <a:gdLst>
                <a:gd name="connsiteX0" fmla="*/ 33579 w 124371"/>
                <a:gd name="connsiteY0" fmla="*/ 32284 h 144731"/>
                <a:gd name="connsiteX1" fmla="*/ 123857 w 124371"/>
                <a:gd name="connsiteY1" fmla="*/ 54139 h 144731"/>
                <a:gd name="connsiteX2" fmla="*/ 13439 w 124371"/>
                <a:gd name="connsiteY2" fmla="*/ 127518 h 144731"/>
                <a:gd name="connsiteX3" fmla="*/ 33579 w 124371"/>
                <a:gd name="connsiteY3" fmla="*/ 32221 h 144731"/>
              </a:gdLst>
              <a:ahLst/>
              <a:cxnLst>
                <a:cxn ang="0">
                  <a:pos x="connsiteX0" y="connsiteY0"/>
                </a:cxn>
                <a:cxn ang="0">
                  <a:pos x="connsiteX1" y="connsiteY1"/>
                </a:cxn>
                <a:cxn ang="0">
                  <a:pos x="connsiteX2" y="connsiteY2"/>
                </a:cxn>
                <a:cxn ang="0">
                  <a:pos x="connsiteX3" y="connsiteY3"/>
                </a:cxn>
              </a:cxnLst>
              <a:rect l="l" t="t" r="r" b="b"/>
              <a:pathLst>
                <a:path w="124371" h="144731">
                  <a:moveTo>
                    <a:pt x="33579" y="32284"/>
                  </a:moveTo>
                  <a:cubicBezTo>
                    <a:pt x="75319" y="-30739"/>
                    <a:pt x="123857" y="9730"/>
                    <a:pt x="123857" y="54139"/>
                  </a:cubicBezTo>
                  <a:cubicBezTo>
                    <a:pt x="123857" y="118306"/>
                    <a:pt x="53972" y="173579"/>
                    <a:pt x="13439" y="127518"/>
                  </a:cubicBezTo>
                  <a:cubicBezTo>
                    <a:pt x="-27095" y="81458"/>
                    <a:pt x="33579" y="32221"/>
                    <a:pt x="33579" y="32221"/>
                  </a:cubicBezTo>
                  <a:close/>
                </a:path>
              </a:pathLst>
            </a:custGeom>
            <a:solidFill>
              <a:srgbClr val="FED0D6"/>
            </a:solidFill>
            <a:ln w="6346" cap="flat">
              <a:noFill/>
              <a:prstDash val="solid"/>
              <a:miter/>
            </a:ln>
          </p:spPr>
          <p:txBody>
            <a:bodyPr rtlCol="0" anchor="ctr"/>
            <a:lstStyle/>
            <a:p>
              <a:endParaRPr lang="zh-CN" altLang="en-US"/>
            </a:p>
          </p:txBody>
        </p:sp>
        <p:sp>
          <p:nvSpPr>
            <p:cNvPr id="37" name="任意多边形 31"/>
            <p:cNvSpPr/>
            <p:nvPr/>
          </p:nvSpPr>
          <p:spPr>
            <a:xfrm>
              <a:off x="6265196" y="2209296"/>
              <a:ext cx="527030" cy="543940"/>
            </a:xfrm>
            <a:custGeom>
              <a:avLst/>
              <a:gdLst>
                <a:gd name="connsiteX0" fmla="*/ 232068 w 465483"/>
                <a:gd name="connsiteY0" fmla="*/ 480209 h 480418"/>
                <a:gd name="connsiteX1" fmla="*/ 7928 w 465483"/>
                <a:gd name="connsiteY1" fmla="*/ 114266 h 480418"/>
                <a:gd name="connsiteX2" fmla="*/ 456589 w 465483"/>
                <a:gd name="connsiteY2" fmla="*/ 114266 h 480418"/>
                <a:gd name="connsiteX3" fmla="*/ 232068 w 465483"/>
                <a:gd name="connsiteY3" fmla="*/ 480209 h 480418"/>
              </a:gdLst>
              <a:ahLst/>
              <a:cxnLst>
                <a:cxn ang="0">
                  <a:pos x="connsiteX0" y="connsiteY0"/>
                </a:cxn>
                <a:cxn ang="0">
                  <a:pos x="connsiteX1" y="connsiteY1"/>
                </a:cxn>
                <a:cxn ang="0">
                  <a:pos x="connsiteX2" y="connsiteY2"/>
                </a:cxn>
                <a:cxn ang="0">
                  <a:pos x="connsiteX3" y="connsiteY3"/>
                </a:cxn>
              </a:cxnLst>
              <a:rect l="l" t="t" r="r" b="b"/>
              <a:pathLst>
                <a:path w="465483" h="480418">
                  <a:moveTo>
                    <a:pt x="232068" y="480209"/>
                  </a:moveTo>
                  <a:cubicBezTo>
                    <a:pt x="66886" y="480209"/>
                    <a:pt x="-30763" y="299588"/>
                    <a:pt x="7928" y="114266"/>
                  </a:cubicBezTo>
                  <a:cubicBezTo>
                    <a:pt x="39694" y="-38527"/>
                    <a:pt x="424696" y="-38210"/>
                    <a:pt x="456589" y="114266"/>
                  </a:cubicBezTo>
                  <a:cubicBezTo>
                    <a:pt x="495153" y="299588"/>
                    <a:pt x="397251" y="480209"/>
                    <a:pt x="232068" y="480209"/>
                  </a:cubicBezTo>
                  <a:close/>
                </a:path>
              </a:pathLst>
            </a:custGeom>
            <a:solidFill>
              <a:srgbClr val="FED0D6"/>
            </a:solidFill>
            <a:ln w="6346" cap="flat">
              <a:noFill/>
              <a:prstDash val="solid"/>
              <a:miter/>
            </a:ln>
          </p:spPr>
          <p:txBody>
            <a:bodyPr rtlCol="0" anchor="ctr"/>
            <a:lstStyle/>
            <a:p>
              <a:endParaRPr lang="zh-CN" altLang="en-US"/>
            </a:p>
          </p:txBody>
        </p:sp>
        <p:sp>
          <p:nvSpPr>
            <p:cNvPr id="38" name="任意多边形 32"/>
            <p:cNvSpPr/>
            <p:nvPr/>
          </p:nvSpPr>
          <p:spPr>
            <a:xfrm>
              <a:off x="6255890" y="2082565"/>
              <a:ext cx="448236" cy="230262"/>
            </a:xfrm>
            <a:custGeom>
              <a:avLst/>
              <a:gdLst>
                <a:gd name="connsiteX0" fmla="*/ 386663 w 395890"/>
                <a:gd name="connsiteY0" fmla="*/ 112221 h 203372"/>
                <a:gd name="connsiteX1" fmla="*/ 250388 w 395890"/>
                <a:gd name="connsiteY1" fmla="*/ 153708 h 203372"/>
                <a:gd name="connsiteX2" fmla="*/ 94799 w 395890"/>
                <a:gd name="connsiteY2" fmla="*/ 202246 h 203372"/>
                <a:gd name="connsiteX3" fmla="*/ 66146 w 395890"/>
                <a:gd name="connsiteY3" fmla="*/ 31028 h 203372"/>
                <a:gd name="connsiteX4" fmla="*/ 386663 w 395890"/>
                <a:gd name="connsiteY4" fmla="*/ 112221 h 2033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5890" h="203372">
                  <a:moveTo>
                    <a:pt x="386663" y="112221"/>
                  </a:moveTo>
                  <a:cubicBezTo>
                    <a:pt x="344034" y="208472"/>
                    <a:pt x="250388" y="153708"/>
                    <a:pt x="250388" y="153708"/>
                  </a:cubicBezTo>
                  <a:cubicBezTo>
                    <a:pt x="207091" y="190022"/>
                    <a:pt x="151062" y="207500"/>
                    <a:pt x="94799" y="202246"/>
                  </a:cubicBezTo>
                  <a:cubicBezTo>
                    <a:pt x="581" y="192970"/>
                    <a:pt x="-48592" y="79439"/>
                    <a:pt x="66146" y="31028"/>
                  </a:cubicBezTo>
                  <a:cubicBezTo>
                    <a:pt x="180884" y="-17383"/>
                    <a:pt x="446701" y="-22784"/>
                    <a:pt x="386663" y="112221"/>
                  </a:cubicBezTo>
                  <a:close/>
                </a:path>
              </a:pathLst>
            </a:custGeom>
            <a:solidFill>
              <a:srgbClr val="981D04"/>
            </a:solidFill>
            <a:ln w="6346" cap="flat">
              <a:noFill/>
              <a:prstDash val="solid"/>
              <a:miter/>
            </a:ln>
          </p:spPr>
          <p:txBody>
            <a:bodyPr rtlCol="0" anchor="ctr"/>
            <a:lstStyle/>
            <a:p>
              <a:endParaRPr lang="zh-CN" altLang="en-US"/>
            </a:p>
          </p:txBody>
        </p:sp>
        <p:sp>
          <p:nvSpPr>
            <p:cNvPr id="39" name="任意多边形 33"/>
            <p:cNvSpPr/>
            <p:nvPr/>
          </p:nvSpPr>
          <p:spPr>
            <a:xfrm>
              <a:off x="5999615" y="5296537"/>
              <a:ext cx="484830" cy="136671"/>
            </a:xfrm>
            <a:custGeom>
              <a:avLst/>
              <a:gdLst>
                <a:gd name="connsiteX0" fmla="*/ 415046 w 428211"/>
                <a:gd name="connsiteY0" fmla="*/ -210 h 120710"/>
                <a:gd name="connsiteX1" fmla="*/ 150755 w 428211"/>
                <a:gd name="connsiteY1" fmla="*/ -210 h 120710"/>
                <a:gd name="connsiteX2" fmla="*/ -514 w 428211"/>
                <a:gd name="connsiteY2" fmla="*/ 107794 h 120710"/>
                <a:gd name="connsiteX3" fmla="*/ -514 w 428211"/>
                <a:gd name="connsiteY3" fmla="*/ 120500 h 120710"/>
                <a:gd name="connsiteX4" fmla="*/ 425148 w 428211"/>
                <a:gd name="connsiteY4" fmla="*/ 120500 h 120710"/>
                <a:gd name="connsiteX5" fmla="*/ 414856 w 428211"/>
                <a:gd name="connsiteY5" fmla="*/ -210 h 120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8211" h="120710">
                  <a:moveTo>
                    <a:pt x="415046" y="-210"/>
                  </a:moveTo>
                  <a:lnTo>
                    <a:pt x="150755" y="-210"/>
                  </a:lnTo>
                  <a:cubicBezTo>
                    <a:pt x="150755" y="-210"/>
                    <a:pt x="14924" y="76981"/>
                    <a:pt x="-514" y="107794"/>
                  </a:cubicBezTo>
                  <a:lnTo>
                    <a:pt x="-514" y="120500"/>
                  </a:lnTo>
                  <a:lnTo>
                    <a:pt x="425148" y="120500"/>
                  </a:lnTo>
                  <a:cubicBezTo>
                    <a:pt x="425148" y="120500"/>
                    <a:pt x="435377" y="30412"/>
                    <a:pt x="414856" y="-210"/>
                  </a:cubicBezTo>
                  <a:close/>
                </a:path>
              </a:pathLst>
            </a:custGeom>
            <a:solidFill>
              <a:srgbClr val="00065B"/>
            </a:solidFill>
            <a:ln w="6346" cap="flat">
              <a:noFill/>
              <a:prstDash val="solid"/>
              <a:miter/>
            </a:ln>
          </p:spPr>
          <p:txBody>
            <a:bodyPr rtlCol="0" anchor="ctr"/>
            <a:lstStyle/>
            <a:p>
              <a:endParaRPr lang="zh-CN" altLang="en-US"/>
            </a:p>
          </p:txBody>
        </p:sp>
        <p:sp>
          <p:nvSpPr>
            <p:cNvPr id="40" name="任意多边形 34"/>
            <p:cNvSpPr/>
            <p:nvPr/>
          </p:nvSpPr>
          <p:spPr>
            <a:xfrm>
              <a:off x="5999255" y="5433496"/>
              <a:ext cx="483023" cy="22802"/>
            </a:xfrm>
            <a:custGeom>
              <a:avLst/>
              <a:gdLst>
                <a:gd name="connsiteX0" fmla="*/ 426615 w 426615"/>
                <a:gd name="connsiteY0" fmla="*/ 0 h 20139"/>
                <a:gd name="connsiteX1" fmla="*/ 0 w 426615"/>
                <a:gd name="connsiteY1" fmla="*/ 0 h 20139"/>
                <a:gd name="connsiteX2" fmla="*/ 0 w 426615"/>
                <a:gd name="connsiteY2" fmla="*/ 20140 h 20139"/>
                <a:gd name="connsiteX3" fmla="*/ 426615 w 426615"/>
                <a:gd name="connsiteY3" fmla="*/ 20140 h 20139"/>
                <a:gd name="connsiteX4" fmla="*/ 426615 w 426615"/>
                <a:gd name="connsiteY4" fmla="*/ 0 h 20139"/>
                <a:gd name="connsiteX5" fmla="*/ 426615 w 426615"/>
                <a:gd name="connsiteY5" fmla="*/ 0 h 20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6615" h="20139">
                  <a:moveTo>
                    <a:pt x="426615" y="0"/>
                  </a:moveTo>
                  <a:lnTo>
                    <a:pt x="0" y="0"/>
                  </a:lnTo>
                  <a:lnTo>
                    <a:pt x="0" y="20140"/>
                  </a:lnTo>
                  <a:lnTo>
                    <a:pt x="426615" y="20140"/>
                  </a:lnTo>
                  <a:lnTo>
                    <a:pt x="426615" y="0"/>
                  </a:lnTo>
                  <a:lnTo>
                    <a:pt x="426615" y="0"/>
                  </a:lnTo>
                  <a:close/>
                </a:path>
              </a:pathLst>
            </a:custGeom>
            <a:solidFill>
              <a:srgbClr val="434CC0"/>
            </a:solidFill>
            <a:ln w="6346" cap="flat">
              <a:noFill/>
              <a:prstDash val="solid"/>
              <a:miter/>
            </a:ln>
          </p:spPr>
          <p:txBody>
            <a:bodyPr rtlCol="0" anchor="ctr"/>
            <a:lstStyle/>
            <a:p>
              <a:endParaRPr lang="zh-CN" altLang="en-US"/>
            </a:p>
          </p:txBody>
        </p:sp>
        <p:sp>
          <p:nvSpPr>
            <p:cNvPr id="41" name="任意多边形 35"/>
            <p:cNvSpPr/>
            <p:nvPr/>
          </p:nvSpPr>
          <p:spPr>
            <a:xfrm>
              <a:off x="6140242" y="3782441"/>
              <a:ext cx="395626" cy="1526181"/>
            </a:xfrm>
            <a:custGeom>
              <a:avLst/>
              <a:gdLst>
                <a:gd name="connsiteX0" fmla="*/ 348910 w 349424"/>
                <a:gd name="connsiteY0" fmla="*/ -210 h 1347952"/>
                <a:gd name="connsiteX1" fmla="*/ 17656 w 349424"/>
                <a:gd name="connsiteY1" fmla="*/ -210 h 1347952"/>
                <a:gd name="connsiteX2" fmla="*/ -514 w 349424"/>
                <a:gd name="connsiteY2" fmla="*/ 1347742 h 1347952"/>
                <a:gd name="connsiteX3" fmla="*/ 305200 w 349424"/>
                <a:gd name="connsiteY3" fmla="*/ 1347742 h 1347952"/>
                <a:gd name="connsiteX4" fmla="*/ 346369 w 349424"/>
                <a:gd name="connsiteY4" fmla="*/ 202583 h 13479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9424" h="1347952">
                  <a:moveTo>
                    <a:pt x="348910" y="-210"/>
                  </a:moveTo>
                  <a:lnTo>
                    <a:pt x="17656" y="-210"/>
                  </a:lnTo>
                  <a:lnTo>
                    <a:pt x="-514" y="1347742"/>
                  </a:lnTo>
                  <a:lnTo>
                    <a:pt x="305200" y="1347742"/>
                  </a:lnTo>
                  <a:cubicBezTo>
                    <a:pt x="305200" y="1347742"/>
                    <a:pt x="303548" y="602833"/>
                    <a:pt x="346369" y="202583"/>
                  </a:cubicBezTo>
                  <a:close/>
                </a:path>
              </a:pathLst>
            </a:custGeom>
            <a:solidFill>
              <a:srgbClr val="981D04"/>
            </a:solidFill>
            <a:ln w="6346" cap="flat">
              <a:noFill/>
              <a:prstDash val="solid"/>
              <a:miter/>
            </a:ln>
          </p:spPr>
          <p:txBody>
            <a:bodyPr rtlCol="0" anchor="ctr"/>
            <a:lstStyle/>
            <a:p>
              <a:endParaRPr lang="zh-CN" altLang="en-US"/>
            </a:p>
          </p:txBody>
        </p:sp>
        <p:sp>
          <p:nvSpPr>
            <p:cNvPr id="42" name="任意多边形 36"/>
            <p:cNvSpPr/>
            <p:nvPr/>
          </p:nvSpPr>
          <p:spPr>
            <a:xfrm>
              <a:off x="6583298" y="5296537"/>
              <a:ext cx="484866" cy="136671"/>
            </a:xfrm>
            <a:custGeom>
              <a:avLst/>
              <a:gdLst>
                <a:gd name="connsiteX0" fmla="*/ 12168 w 428243"/>
                <a:gd name="connsiteY0" fmla="*/ -210 h 120710"/>
                <a:gd name="connsiteX1" fmla="*/ 276460 w 428243"/>
                <a:gd name="connsiteY1" fmla="*/ -210 h 120710"/>
                <a:gd name="connsiteX2" fmla="*/ 427729 w 428243"/>
                <a:gd name="connsiteY2" fmla="*/ 107794 h 120710"/>
                <a:gd name="connsiteX3" fmla="*/ 427729 w 428243"/>
                <a:gd name="connsiteY3" fmla="*/ 120500 h 120710"/>
                <a:gd name="connsiteX4" fmla="*/ 2067 w 428243"/>
                <a:gd name="connsiteY4" fmla="*/ 120500 h 120710"/>
                <a:gd name="connsiteX5" fmla="*/ 12295 w 428243"/>
                <a:gd name="connsiteY5" fmla="*/ -210 h 120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8243" h="120710">
                  <a:moveTo>
                    <a:pt x="12168" y="-210"/>
                  </a:moveTo>
                  <a:lnTo>
                    <a:pt x="276460" y="-210"/>
                  </a:lnTo>
                  <a:cubicBezTo>
                    <a:pt x="276460" y="-210"/>
                    <a:pt x="412354" y="76981"/>
                    <a:pt x="427729" y="107794"/>
                  </a:cubicBezTo>
                  <a:lnTo>
                    <a:pt x="427729" y="120500"/>
                  </a:lnTo>
                  <a:lnTo>
                    <a:pt x="2067" y="120500"/>
                  </a:lnTo>
                  <a:cubicBezTo>
                    <a:pt x="2067" y="120500"/>
                    <a:pt x="-8226" y="30412"/>
                    <a:pt x="12295" y="-210"/>
                  </a:cubicBezTo>
                  <a:close/>
                </a:path>
              </a:pathLst>
            </a:custGeom>
            <a:solidFill>
              <a:srgbClr val="00065B"/>
            </a:solidFill>
            <a:ln w="6346" cap="flat">
              <a:noFill/>
              <a:prstDash val="solid"/>
              <a:miter/>
            </a:ln>
          </p:spPr>
          <p:txBody>
            <a:bodyPr rtlCol="0" anchor="ctr"/>
            <a:lstStyle/>
            <a:p>
              <a:endParaRPr lang="zh-CN" altLang="en-US"/>
            </a:p>
          </p:txBody>
        </p:sp>
        <p:sp>
          <p:nvSpPr>
            <p:cNvPr id="43" name="任意多边形 37"/>
            <p:cNvSpPr/>
            <p:nvPr/>
          </p:nvSpPr>
          <p:spPr>
            <a:xfrm>
              <a:off x="6585142" y="5433496"/>
              <a:ext cx="483023" cy="22802"/>
            </a:xfrm>
            <a:custGeom>
              <a:avLst/>
              <a:gdLst>
                <a:gd name="connsiteX0" fmla="*/ 0 w 426615"/>
                <a:gd name="connsiteY0" fmla="*/ 0 h 20139"/>
                <a:gd name="connsiteX1" fmla="*/ 426615 w 426615"/>
                <a:gd name="connsiteY1" fmla="*/ 0 h 20139"/>
                <a:gd name="connsiteX2" fmla="*/ 426615 w 426615"/>
                <a:gd name="connsiteY2" fmla="*/ 20140 h 20139"/>
                <a:gd name="connsiteX3" fmla="*/ 0 w 426615"/>
                <a:gd name="connsiteY3" fmla="*/ 20140 h 20139"/>
                <a:gd name="connsiteX4" fmla="*/ 0 w 426615"/>
                <a:gd name="connsiteY4" fmla="*/ 0 h 20139"/>
                <a:gd name="connsiteX5" fmla="*/ 0 w 426615"/>
                <a:gd name="connsiteY5" fmla="*/ 0 h 20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6615" h="20139">
                  <a:moveTo>
                    <a:pt x="0" y="0"/>
                  </a:moveTo>
                  <a:lnTo>
                    <a:pt x="426615" y="0"/>
                  </a:lnTo>
                  <a:lnTo>
                    <a:pt x="426615" y="20140"/>
                  </a:lnTo>
                  <a:lnTo>
                    <a:pt x="0" y="20140"/>
                  </a:lnTo>
                  <a:lnTo>
                    <a:pt x="0" y="0"/>
                  </a:lnTo>
                  <a:lnTo>
                    <a:pt x="0" y="0"/>
                  </a:lnTo>
                  <a:close/>
                </a:path>
              </a:pathLst>
            </a:custGeom>
            <a:solidFill>
              <a:srgbClr val="434CC0"/>
            </a:solidFill>
            <a:ln w="6346" cap="flat">
              <a:noFill/>
              <a:prstDash val="solid"/>
              <a:miter/>
            </a:ln>
          </p:spPr>
          <p:txBody>
            <a:bodyPr rtlCol="0" anchor="ctr"/>
            <a:lstStyle/>
            <a:p>
              <a:endParaRPr lang="zh-CN" altLang="en-US"/>
            </a:p>
          </p:txBody>
        </p:sp>
        <p:sp>
          <p:nvSpPr>
            <p:cNvPr id="44" name="任意多边形 38"/>
            <p:cNvSpPr/>
            <p:nvPr/>
          </p:nvSpPr>
          <p:spPr>
            <a:xfrm>
              <a:off x="6531551" y="3782441"/>
              <a:ext cx="395698" cy="1526181"/>
            </a:xfrm>
            <a:custGeom>
              <a:avLst/>
              <a:gdLst>
                <a:gd name="connsiteX0" fmla="*/ -514 w 349488"/>
                <a:gd name="connsiteY0" fmla="*/ -210 h 1347952"/>
                <a:gd name="connsiteX1" fmla="*/ 330803 w 349488"/>
                <a:gd name="connsiteY1" fmla="*/ -210 h 1347952"/>
                <a:gd name="connsiteX2" fmla="*/ 348974 w 349488"/>
                <a:gd name="connsiteY2" fmla="*/ 1347742 h 1347952"/>
                <a:gd name="connsiteX3" fmla="*/ 43259 w 349488"/>
                <a:gd name="connsiteY3" fmla="*/ 1347742 h 1347952"/>
                <a:gd name="connsiteX4" fmla="*/ 2408 w 349488"/>
                <a:gd name="connsiteY4" fmla="*/ 202583 h 13479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9488" h="1347952">
                  <a:moveTo>
                    <a:pt x="-514" y="-210"/>
                  </a:moveTo>
                  <a:lnTo>
                    <a:pt x="330803" y="-210"/>
                  </a:lnTo>
                  <a:lnTo>
                    <a:pt x="348974" y="1347742"/>
                  </a:lnTo>
                  <a:lnTo>
                    <a:pt x="43259" y="1347742"/>
                  </a:lnTo>
                  <a:cubicBezTo>
                    <a:pt x="43259" y="1347742"/>
                    <a:pt x="44911" y="602833"/>
                    <a:pt x="2408" y="202583"/>
                  </a:cubicBezTo>
                  <a:close/>
                </a:path>
              </a:pathLst>
            </a:custGeom>
            <a:solidFill>
              <a:srgbClr val="981D04"/>
            </a:solidFill>
            <a:ln w="6346" cap="flat">
              <a:noFill/>
              <a:prstDash val="solid"/>
              <a:miter/>
            </a:ln>
          </p:spPr>
          <p:txBody>
            <a:bodyPr rtlCol="0" anchor="ctr"/>
            <a:lstStyle/>
            <a:p>
              <a:endParaRPr lang="zh-CN" altLang="en-US"/>
            </a:p>
          </p:txBody>
        </p:sp>
        <p:sp>
          <p:nvSpPr>
            <p:cNvPr id="45" name="任意多边形 39"/>
            <p:cNvSpPr/>
            <p:nvPr/>
          </p:nvSpPr>
          <p:spPr>
            <a:xfrm>
              <a:off x="6096076" y="2836102"/>
              <a:ext cx="877570" cy="1154292"/>
            </a:xfrm>
            <a:custGeom>
              <a:avLst/>
              <a:gdLst>
                <a:gd name="connsiteX0" fmla="*/ 259966 w 775086"/>
                <a:gd name="connsiteY0" fmla="*/ -210 h 1019493"/>
                <a:gd name="connsiteX1" fmla="*/ 380676 w 775086"/>
                <a:gd name="connsiteY1" fmla="*/ 81873 h 1019493"/>
                <a:gd name="connsiteX2" fmla="*/ 383217 w 775086"/>
                <a:gd name="connsiteY2" fmla="*/ 81873 h 1019493"/>
                <a:gd name="connsiteX3" fmla="*/ 501132 w 775086"/>
                <a:gd name="connsiteY3" fmla="*/ -210 h 1019493"/>
                <a:gd name="connsiteX4" fmla="*/ 703735 w 775086"/>
                <a:gd name="connsiteY4" fmla="*/ 40832 h 1019493"/>
                <a:gd name="connsiteX5" fmla="*/ 774573 w 775086"/>
                <a:gd name="connsiteY5" fmla="*/ 943109 h 1019493"/>
                <a:gd name="connsiteX6" fmla="*/ -514 w 775086"/>
                <a:gd name="connsiteY6" fmla="*/ 924050 h 1019493"/>
                <a:gd name="connsiteX7" fmla="*/ 66893 w 775086"/>
                <a:gd name="connsiteY7" fmla="*/ 30603 h 1019493"/>
                <a:gd name="connsiteX8" fmla="*/ 260029 w 775086"/>
                <a:gd name="connsiteY8" fmla="*/ -210 h 1019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75086" h="1019493">
                  <a:moveTo>
                    <a:pt x="259966" y="-210"/>
                  </a:moveTo>
                  <a:cubicBezTo>
                    <a:pt x="277882" y="79268"/>
                    <a:pt x="372734" y="81873"/>
                    <a:pt x="380676" y="81873"/>
                  </a:cubicBezTo>
                  <a:lnTo>
                    <a:pt x="383217" y="81873"/>
                  </a:lnTo>
                  <a:cubicBezTo>
                    <a:pt x="390904" y="81873"/>
                    <a:pt x="480611" y="79268"/>
                    <a:pt x="501132" y="-210"/>
                  </a:cubicBezTo>
                  <a:lnTo>
                    <a:pt x="703735" y="40832"/>
                  </a:lnTo>
                  <a:lnTo>
                    <a:pt x="774573" y="943109"/>
                  </a:lnTo>
                  <a:cubicBezTo>
                    <a:pt x="615743" y="1025700"/>
                    <a:pt x="132394" y="1069347"/>
                    <a:pt x="-514" y="924050"/>
                  </a:cubicBezTo>
                  <a:lnTo>
                    <a:pt x="66893" y="30603"/>
                  </a:lnTo>
                  <a:lnTo>
                    <a:pt x="260029" y="-210"/>
                  </a:lnTo>
                  <a:close/>
                </a:path>
              </a:pathLst>
            </a:custGeom>
            <a:solidFill>
              <a:srgbClr val="00065B"/>
            </a:solidFill>
            <a:ln w="6346" cap="flat">
              <a:noFill/>
              <a:prstDash val="solid"/>
              <a:miter/>
            </a:ln>
          </p:spPr>
          <p:txBody>
            <a:bodyPr rtlCol="0" anchor="ctr"/>
            <a:lstStyle/>
            <a:p>
              <a:endParaRPr lang="zh-CN" altLang="en-US"/>
            </a:p>
          </p:txBody>
        </p:sp>
        <p:sp>
          <p:nvSpPr>
            <p:cNvPr id="46" name="任意多边形 40"/>
            <p:cNvSpPr/>
            <p:nvPr/>
          </p:nvSpPr>
          <p:spPr>
            <a:xfrm>
              <a:off x="5368249" y="3005839"/>
              <a:ext cx="792980" cy="422613"/>
            </a:xfrm>
            <a:custGeom>
              <a:avLst/>
              <a:gdLst>
                <a:gd name="connsiteX0" fmla="*/ 698477 w 700375"/>
                <a:gd name="connsiteY0" fmla="*/ 67344 h 373260"/>
                <a:gd name="connsiteX1" fmla="*/ 582976 w 700375"/>
                <a:gd name="connsiteY1" fmla="*/ 238880 h 373260"/>
                <a:gd name="connsiteX2" fmla="*/ 51470 w 700375"/>
                <a:gd name="connsiteY2" fmla="*/ 369755 h 373260"/>
                <a:gd name="connsiteX3" fmla="*/ 51470 w 700375"/>
                <a:gd name="connsiteY3" fmla="*/ 261751 h 373260"/>
                <a:gd name="connsiteX4" fmla="*/ 505786 w 700375"/>
                <a:gd name="connsiteY4" fmla="*/ 161816 h 373260"/>
                <a:gd name="connsiteX5" fmla="*/ 580181 w 700375"/>
                <a:gd name="connsiteY5" fmla="*/ 74714 h 373260"/>
                <a:gd name="connsiteX6" fmla="*/ 587932 w 700375"/>
                <a:gd name="connsiteY6" fmla="*/ 56798 h 373260"/>
                <a:gd name="connsiteX7" fmla="*/ 587932 w 700375"/>
                <a:gd name="connsiteY7" fmla="*/ 59339 h 373260"/>
                <a:gd name="connsiteX8" fmla="*/ 590474 w 700375"/>
                <a:gd name="connsiteY8" fmla="*/ 51652 h 373260"/>
                <a:gd name="connsiteX9" fmla="*/ 593015 w 700375"/>
                <a:gd name="connsiteY9" fmla="*/ 38945 h 373260"/>
                <a:gd name="connsiteX10" fmla="*/ 698287 w 700375"/>
                <a:gd name="connsiteY10" fmla="*/ 67154 h 373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00375" h="373260">
                  <a:moveTo>
                    <a:pt x="698477" y="67344"/>
                  </a:moveTo>
                  <a:cubicBezTo>
                    <a:pt x="683039" y="133989"/>
                    <a:pt x="634310" y="195488"/>
                    <a:pt x="582976" y="238880"/>
                  </a:cubicBezTo>
                  <a:cubicBezTo>
                    <a:pt x="439014" y="362068"/>
                    <a:pt x="233933" y="382525"/>
                    <a:pt x="51470" y="369755"/>
                  </a:cubicBezTo>
                  <a:cubicBezTo>
                    <a:pt x="-17843" y="364609"/>
                    <a:pt x="-17843" y="256986"/>
                    <a:pt x="51470" y="261751"/>
                  </a:cubicBezTo>
                  <a:cubicBezTo>
                    <a:pt x="202930" y="274457"/>
                    <a:pt x="385139" y="264356"/>
                    <a:pt x="505786" y="161816"/>
                  </a:cubicBezTo>
                  <a:cubicBezTo>
                    <a:pt x="541681" y="131066"/>
                    <a:pt x="559660" y="110609"/>
                    <a:pt x="580181" y="74714"/>
                  </a:cubicBezTo>
                  <a:cubicBezTo>
                    <a:pt x="582284" y="68545"/>
                    <a:pt x="584876" y="62554"/>
                    <a:pt x="587932" y="56798"/>
                  </a:cubicBezTo>
                  <a:cubicBezTo>
                    <a:pt x="593015" y="46506"/>
                    <a:pt x="582786" y="69504"/>
                    <a:pt x="587932" y="59339"/>
                  </a:cubicBezTo>
                  <a:cubicBezTo>
                    <a:pt x="587932" y="56798"/>
                    <a:pt x="590474" y="54193"/>
                    <a:pt x="590474" y="51652"/>
                  </a:cubicBezTo>
                  <a:cubicBezTo>
                    <a:pt x="591077" y="47370"/>
                    <a:pt x="591928" y="43132"/>
                    <a:pt x="593015" y="38945"/>
                  </a:cubicBezTo>
                  <a:cubicBezTo>
                    <a:pt x="610994" y="-30241"/>
                    <a:pt x="713725" y="509"/>
                    <a:pt x="698287" y="67154"/>
                  </a:cubicBezTo>
                  <a:close/>
                </a:path>
              </a:pathLst>
            </a:custGeom>
            <a:solidFill>
              <a:srgbClr val="FED0D6"/>
            </a:solidFill>
            <a:ln w="6346" cap="flat">
              <a:noFill/>
              <a:prstDash val="solid"/>
              <a:miter/>
            </a:ln>
          </p:spPr>
          <p:txBody>
            <a:bodyPr rtlCol="0" anchor="ctr"/>
            <a:lstStyle/>
            <a:p>
              <a:endParaRPr lang="zh-CN" altLang="en-US"/>
            </a:p>
          </p:txBody>
        </p:sp>
        <p:sp>
          <p:nvSpPr>
            <p:cNvPr id="47" name="任意多边形 41"/>
            <p:cNvSpPr/>
            <p:nvPr/>
          </p:nvSpPr>
          <p:spPr>
            <a:xfrm>
              <a:off x="5555003" y="2870989"/>
              <a:ext cx="617392" cy="613005"/>
            </a:xfrm>
            <a:custGeom>
              <a:avLst/>
              <a:gdLst>
                <a:gd name="connsiteX0" fmla="*/ 14860 w 545292"/>
                <a:gd name="connsiteY0" fmla="*/ 541208 h 541418"/>
                <a:gd name="connsiteX1" fmla="*/ 534550 w 545292"/>
                <a:gd name="connsiteY1" fmla="*/ 283332 h 541418"/>
                <a:gd name="connsiteX2" fmla="*/ 544778 w 545292"/>
                <a:gd name="connsiteY2" fmla="*/ -210 h 541418"/>
                <a:gd name="connsiteX3" fmla="*/ 544778 w 545292"/>
                <a:gd name="connsiteY3" fmla="*/ -210 h 541418"/>
                <a:gd name="connsiteX4" fmla="*/ 356661 w 545292"/>
                <a:gd name="connsiteY4" fmla="*/ 143562 h 541418"/>
                <a:gd name="connsiteX5" fmla="*/ -514 w 545292"/>
                <a:gd name="connsiteY5" fmla="*/ 353662 h 54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5292" h="541418">
                  <a:moveTo>
                    <a:pt x="14860" y="541208"/>
                  </a:moveTo>
                  <a:cubicBezTo>
                    <a:pt x="14860" y="541208"/>
                    <a:pt x="369367" y="543812"/>
                    <a:pt x="534550" y="283332"/>
                  </a:cubicBezTo>
                  <a:lnTo>
                    <a:pt x="544778" y="-210"/>
                  </a:lnTo>
                  <a:lnTo>
                    <a:pt x="544778" y="-210"/>
                  </a:lnTo>
                  <a:cubicBezTo>
                    <a:pt x="544778" y="-210"/>
                    <a:pt x="471018" y="3793"/>
                    <a:pt x="356661" y="143562"/>
                  </a:cubicBezTo>
                  <a:cubicBezTo>
                    <a:pt x="285251" y="230855"/>
                    <a:pt x="140653" y="363890"/>
                    <a:pt x="-514" y="353662"/>
                  </a:cubicBezTo>
                  <a:close/>
                </a:path>
              </a:pathLst>
            </a:custGeom>
            <a:solidFill>
              <a:srgbClr val="434CC0"/>
            </a:solidFill>
            <a:ln w="6346" cap="flat">
              <a:noFill/>
              <a:prstDash val="solid"/>
              <a:miter/>
            </a:ln>
          </p:spPr>
          <p:txBody>
            <a:bodyPr rtlCol="0" anchor="ctr"/>
            <a:lstStyle/>
            <a:p>
              <a:endParaRPr lang="zh-CN" altLang="en-US"/>
            </a:p>
          </p:txBody>
        </p:sp>
        <p:sp>
          <p:nvSpPr>
            <p:cNvPr id="48" name="任意多边形 42"/>
            <p:cNvSpPr/>
            <p:nvPr/>
          </p:nvSpPr>
          <p:spPr>
            <a:xfrm>
              <a:off x="4621893" y="1105990"/>
              <a:ext cx="1140920" cy="1998720"/>
            </a:xfrm>
            <a:custGeom>
              <a:avLst/>
              <a:gdLst>
                <a:gd name="connsiteX0" fmla="*/ 596690 w 1007682"/>
                <a:gd name="connsiteY0" fmla="*/ 1042540 h 1765307"/>
                <a:gd name="connsiteX1" fmla="*/ 596690 w 1007682"/>
                <a:gd name="connsiteY1" fmla="*/ 1209120 h 1765307"/>
                <a:gd name="connsiteX2" fmla="*/ 479747 w 1007682"/>
                <a:gd name="connsiteY2" fmla="*/ 1332124 h 1765307"/>
                <a:gd name="connsiteX3" fmla="*/ 473502 w 1007682"/>
                <a:gd name="connsiteY3" fmla="*/ 1332118 h 1765307"/>
                <a:gd name="connsiteX4" fmla="*/ 350314 w 1007682"/>
                <a:gd name="connsiteY4" fmla="*/ 1209120 h 1765307"/>
                <a:gd name="connsiteX5" fmla="*/ 350314 w 1007682"/>
                <a:gd name="connsiteY5" fmla="*/ 945209 h 1765307"/>
                <a:gd name="connsiteX6" fmla="*/ 352855 w 1007682"/>
                <a:gd name="connsiteY6" fmla="*/ 940063 h 1765307"/>
                <a:gd name="connsiteX7" fmla="*/ 350314 w 1007682"/>
                <a:gd name="connsiteY7" fmla="*/ 934981 h 1765307"/>
                <a:gd name="connsiteX8" fmla="*/ 473502 w 1007682"/>
                <a:gd name="connsiteY8" fmla="*/ 811983 h 1765307"/>
                <a:gd name="connsiteX9" fmla="*/ 760983 w 1007682"/>
                <a:gd name="connsiteY9" fmla="*/ 530157 h 1765307"/>
                <a:gd name="connsiteX10" fmla="*/ 473502 w 1007682"/>
                <a:gd name="connsiteY10" fmla="*/ 245725 h 1765307"/>
                <a:gd name="connsiteX11" fmla="*/ 229667 w 1007682"/>
                <a:gd name="connsiteY11" fmla="*/ 384097 h 1765307"/>
                <a:gd name="connsiteX12" fmla="*/ 62134 w 1007682"/>
                <a:gd name="connsiteY12" fmla="*/ 430888 h 1765307"/>
                <a:gd name="connsiteX13" fmla="*/ 15343 w 1007682"/>
                <a:gd name="connsiteY13" fmla="*/ 263355 h 1765307"/>
                <a:gd name="connsiteX14" fmla="*/ 16645 w 1007682"/>
                <a:gd name="connsiteY14" fmla="*/ 261100 h 1765307"/>
                <a:gd name="connsiteX15" fmla="*/ 473502 w 1007682"/>
                <a:gd name="connsiteY15" fmla="*/ -206 h 1765307"/>
                <a:gd name="connsiteX16" fmla="*/ 1007168 w 1007682"/>
                <a:gd name="connsiteY16" fmla="*/ 530157 h 1765307"/>
                <a:gd name="connsiteX17" fmla="*/ 596499 w 1007682"/>
                <a:gd name="connsiteY17" fmla="*/ 1042540 h 1765307"/>
                <a:gd name="connsiteX18" fmla="*/ 596690 w 1007682"/>
                <a:gd name="connsiteY18" fmla="*/ 1595965 h 1765307"/>
                <a:gd name="connsiteX19" fmla="*/ 596690 w 1007682"/>
                <a:gd name="connsiteY19" fmla="*/ 1642089 h 1765307"/>
                <a:gd name="connsiteX20" fmla="*/ 473502 w 1007682"/>
                <a:gd name="connsiteY20" fmla="*/ 1765086 h 1765307"/>
                <a:gd name="connsiteX21" fmla="*/ 350314 w 1007682"/>
                <a:gd name="connsiteY21" fmla="*/ 1645221 h 1765307"/>
                <a:gd name="connsiteX22" fmla="*/ 350314 w 1007682"/>
                <a:gd name="connsiteY22" fmla="*/ 1642089 h 1765307"/>
                <a:gd name="connsiteX23" fmla="*/ 350314 w 1007682"/>
                <a:gd name="connsiteY23" fmla="*/ 1595965 h 1765307"/>
                <a:gd name="connsiteX24" fmla="*/ 473502 w 1007682"/>
                <a:gd name="connsiteY24" fmla="*/ 1473031 h 1765307"/>
                <a:gd name="connsiteX25" fmla="*/ 596690 w 1007682"/>
                <a:gd name="connsiteY25" fmla="*/ 1592769 h 1765307"/>
                <a:gd name="connsiteX26" fmla="*/ 596690 w 1007682"/>
                <a:gd name="connsiteY26" fmla="*/ 1595965 h 1765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07682" h="1765307">
                  <a:moveTo>
                    <a:pt x="596690" y="1042540"/>
                  </a:moveTo>
                  <a:lnTo>
                    <a:pt x="596690" y="1209120"/>
                  </a:lnTo>
                  <a:cubicBezTo>
                    <a:pt x="598361" y="1275377"/>
                    <a:pt x="546004" y="1330447"/>
                    <a:pt x="479747" y="1332124"/>
                  </a:cubicBezTo>
                  <a:cubicBezTo>
                    <a:pt x="477663" y="1332175"/>
                    <a:pt x="475579" y="1332175"/>
                    <a:pt x="473502" y="1332118"/>
                  </a:cubicBezTo>
                  <a:cubicBezTo>
                    <a:pt x="405529" y="1332156"/>
                    <a:pt x="350384" y="1277093"/>
                    <a:pt x="350314" y="1209120"/>
                  </a:cubicBezTo>
                  <a:lnTo>
                    <a:pt x="350314" y="945209"/>
                  </a:lnTo>
                  <a:cubicBezTo>
                    <a:pt x="350314" y="942668"/>
                    <a:pt x="352855" y="942668"/>
                    <a:pt x="352855" y="940063"/>
                  </a:cubicBezTo>
                  <a:cubicBezTo>
                    <a:pt x="350314" y="937522"/>
                    <a:pt x="350314" y="937522"/>
                    <a:pt x="350314" y="934981"/>
                  </a:cubicBezTo>
                  <a:cubicBezTo>
                    <a:pt x="350314" y="870941"/>
                    <a:pt x="406793" y="811983"/>
                    <a:pt x="473502" y="811983"/>
                  </a:cubicBezTo>
                  <a:cubicBezTo>
                    <a:pt x="632649" y="811983"/>
                    <a:pt x="760983" y="686445"/>
                    <a:pt x="760983" y="530157"/>
                  </a:cubicBezTo>
                  <a:cubicBezTo>
                    <a:pt x="760983" y="368723"/>
                    <a:pt x="632649" y="245725"/>
                    <a:pt x="473502" y="245725"/>
                  </a:cubicBezTo>
                  <a:cubicBezTo>
                    <a:pt x="373636" y="246094"/>
                    <a:pt x="281198" y="298552"/>
                    <a:pt x="229667" y="384097"/>
                  </a:cubicBezTo>
                  <a:cubicBezTo>
                    <a:pt x="196326" y="443283"/>
                    <a:pt x="121320" y="464230"/>
                    <a:pt x="62134" y="430888"/>
                  </a:cubicBezTo>
                  <a:cubicBezTo>
                    <a:pt x="2948" y="397547"/>
                    <a:pt x="-17999" y="322541"/>
                    <a:pt x="15343" y="263355"/>
                  </a:cubicBezTo>
                  <a:cubicBezTo>
                    <a:pt x="15769" y="262599"/>
                    <a:pt x="16201" y="261850"/>
                    <a:pt x="16645" y="261100"/>
                  </a:cubicBezTo>
                  <a:cubicBezTo>
                    <a:pt x="111346" y="98668"/>
                    <a:pt x="285480" y="-930"/>
                    <a:pt x="473502" y="-206"/>
                  </a:cubicBezTo>
                  <a:cubicBezTo>
                    <a:pt x="766129" y="-206"/>
                    <a:pt x="1007168" y="235497"/>
                    <a:pt x="1007168" y="530157"/>
                  </a:cubicBezTo>
                  <a:cubicBezTo>
                    <a:pt x="1007168" y="778693"/>
                    <a:pt x="832647" y="988792"/>
                    <a:pt x="596499" y="1042540"/>
                  </a:cubicBezTo>
                  <a:close/>
                  <a:moveTo>
                    <a:pt x="596690" y="1595965"/>
                  </a:moveTo>
                  <a:lnTo>
                    <a:pt x="596690" y="1642089"/>
                  </a:lnTo>
                  <a:cubicBezTo>
                    <a:pt x="596690" y="1713816"/>
                    <a:pt x="545356" y="1765086"/>
                    <a:pt x="473502" y="1765086"/>
                  </a:cubicBezTo>
                  <a:cubicBezTo>
                    <a:pt x="406387" y="1766001"/>
                    <a:pt x="351235" y="1712336"/>
                    <a:pt x="350314" y="1645221"/>
                  </a:cubicBezTo>
                  <a:cubicBezTo>
                    <a:pt x="350301" y="1644179"/>
                    <a:pt x="350301" y="1643131"/>
                    <a:pt x="350314" y="1642089"/>
                  </a:cubicBezTo>
                  <a:lnTo>
                    <a:pt x="350314" y="1595965"/>
                  </a:lnTo>
                  <a:cubicBezTo>
                    <a:pt x="351305" y="1528386"/>
                    <a:pt x="405923" y="1473882"/>
                    <a:pt x="473502" y="1473031"/>
                  </a:cubicBezTo>
                  <a:cubicBezTo>
                    <a:pt x="540585" y="1472078"/>
                    <a:pt x="595737" y="1525686"/>
                    <a:pt x="596690" y="1592769"/>
                  </a:cubicBezTo>
                  <a:cubicBezTo>
                    <a:pt x="596703" y="1593830"/>
                    <a:pt x="596703" y="1594897"/>
                    <a:pt x="596690" y="1595965"/>
                  </a:cubicBezTo>
                  <a:close/>
                </a:path>
              </a:pathLst>
            </a:custGeom>
            <a:solidFill>
              <a:srgbClr val="FFC545"/>
            </a:solidFill>
            <a:ln w="6346" cap="flat">
              <a:noFill/>
              <a:prstDash val="solid"/>
              <a:miter/>
            </a:ln>
          </p:spPr>
          <p:txBody>
            <a:bodyPr rtlCol="0" anchor="ctr"/>
            <a:lstStyle/>
            <a:p>
              <a:endParaRPr lang="zh-CN" altLang="en-US"/>
            </a:p>
          </p:txBody>
        </p:sp>
        <p:sp>
          <p:nvSpPr>
            <p:cNvPr id="49" name="任意多边形 43"/>
            <p:cNvSpPr/>
            <p:nvPr/>
          </p:nvSpPr>
          <p:spPr>
            <a:xfrm>
              <a:off x="6447837" y="2687348"/>
              <a:ext cx="549892" cy="723736"/>
            </a:xfrm>
            <a:custGeom>
              <a:avLst/>
              <a:gdLst>
                <a:gd name="connsiteX0" fmla="*/ 104936 w 485675"/>
                <a:gd name="connsiteY0" fmla="*/ 49599 h 639217"/>
                <a:gd name="connsiteX1" fmla="*/ 228188 w 485675"/>
                <a:gd name="connsiteY1" fmla="*/ 397943 h 639217"/>
                <a:gd name="connsiteX2" fmla="*/ 282126 w 485675"/>
                <a:gd name="connsiteY2" fmla="*/ 492733 h 639217"/>
                <a:gd name="connsiteX3" fmla="*/ 305252 w 485675"/>
                <a:gd name="connsiteY3" fmla="*/ 523482 h 639217"/>
                <a:gd name="connsiteX4" fmla="*/ 315544 w 485675"/>
                <a:gd name="connsiteY4" fmla="*/ 533711 h 639217"/>
                <a:gd name="connsiteX5" fmla="*/ 294959 w 485675"/>
                <a:gd name="connsiteY5" fmla="*/ 533711 h 639217"/>
                <a:gd name="connsiteX6" fmla="*/ 310398 w 485675"/>
                <a:gd name="connsiteY6" fmla="*/ 513253 h 639217"/>
                <a:gd name="connsiteX7" fmla="*/ 341210 w 485675"/>
                <a:gd name="connsiteY7" fmla="*/ 456837 h 639217"/>
                <a:gd name="connsiteX8" fmla="*/ 379711 w 485675"/>
                <a:gd name="connsiteY8" fmla="*/ 308300 h 639217"/>
                <a:gd name="connsiteX9" fmla="*/ 484982 w 485675"/>
                <a:gd name="connsiteY9" fmla="*/ 308300 h 639217"/>
                <a:gd name="connsiteX10" fmla="*/ 364272 w 485675"/>
                <a:gd name="connsiteY10" fmla="*/ 613252 h 639217"/>
                <a:gd name="connsiteX11" fmla="*/ 179395 w 485675"/>
                <a:gd name="connsiteY11" fmla="*/ 528692 h 639217"/>
                <a:gd name="connsiteX12" fmla="*/ 53602 w 485675"/>
                <a:gd name="connsiteY12" fmla="*/ 267449 h 639217"/>
                <a:gd name="connsiteX13" fmla="*/ -336 w 485675"/>
                <a:gd name="connsiteY13" fmla="*/ 49726 h 639217"/>
                <a:gd name="connsiteX14" fmla="*/ 104936 w 485675"/>
                <a:gd name="connsiteY14" fmla="*/ 49726 h 639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85675" h="639217">
                  <a:moveTo>
                    <a:pt x="104936" y="49599"/>
                  </a:moveTo>
                  <a:cubicBezTo>
                    <a:pt x="115228" y="172533"/>
                    <a:pt x="174312" y="290384"/>
                    <a:pt x="228188" y="397943"/>
                  </a:cubicBezTo>
                  <a:cubicBezTo>
                    <a:pt x="246167" y="431234"/>
                    <a:pt x="261605" y="461983"/>
                    <a:pt x="282126" y="492733"/>
                  </a:cubicBezTo>
                  <a:lnTo>
                    <a:pt x="305252" y="523482"/>
                  </a:lnTo>
                  <a:cubicBezTo>
                    <a:pt x="307793" y="528565"/>
                    <a:pt x="320626" y="536188"/>
                    <a:pt x="315544" y="533711"/>
                  </a:cubicBezTo>
                  <a:cubicBezTo>
                    <a:pt x="297564" y="541398"/>
                    <a:pt x="290131" y="541398"/>
                    <a:pt x="294959" y="533711"/>
                  </a:cubicBezTo>
                  <a:cubicBezTo>
                    <a:pt x="302647" y="528565"/>
                    <a:pt x="305252" y="521004"/>
                    <a:pt x="310398" y="513253"/>
                  </a:cubicBezTo>
                  <a:cubicBezTo>
                    <a:pt x="322596" y="495566"/>
                    <a:pt x="332951" y="476659"/>
                    <a:pt x="341210" y="456837"/>
                  </a:cubicBezTo>
                  <a:cubicBezTo>
                    <a:pt x="364145" y="410497"/>
                    <a:pt x="377233" y="359932"/>
                    <a:pt x="379711" y="308300"/>
                  </a:cubicBezTo>
                  <a:cubicBezTo>
                    <a:pt x="382252" y="241719"/>
                    <a:pt x="490129" y="241719"/>
                    <a:pt x="484982" y="308300"/>
                  </a:cubicBezTo>
                  <a:cubicBezTo>
                    <a:pt x="479837" y="410777"/>
                    <a:pt x="441336" y="541398"/>
                    <a:pt x="364272" y="613252"/>
                  </a:cubicBezTo>
                  <a:cubicBezTo>
                    <a:pt x="287208" y="685107"/>
                    <a:pt x="218149" y="590190"/>
                    <a:pt x="179395" y="528692"/>
                  </a:cubicBezTo>
                  <a:cubicBezTo>
                    <a:pt x="128061" y="446736"/>
                    <a:pt x="92102" y="357156"/>
                    <a:pt x="53602" y="267449"/>
                  </a:cubicBezTo>
                  <a:cubicBezTo>
                    <a:pt x="25185" y="197869"/>
                    <a:pt x="7014" y="124528"/>
                    <a:pt x="-336" y="49726"/>
                  </a:cubicBezTo>
                  <a:cubicBezTo>
                    <a:pt x="-5419" y="-16855"/>
                    <a:pt x="99853" y="-16855"/>
                    <a:pt x="104936" y="49726"/>
                  </a:cubicBezTo>
                  <a:close/>
                </a:path>
              </a:pathLst>
            </a:custGeom>
            <a:solidFill>
              <a:srgbClr val="FED0D6"/>
            </a:solidFill>
            <a:ln w="6346" cap="flat">
              <a:noFill/>
              <a:prstDash val="solid"/>
              <a:miter/>
            </a:ln>
          </p:spPr>
          <p:txBody>
            <a:bodyPr rtlCol="0" anchor="ctr"/>
            <a:lstStyle/>
            <a:p>
              <a:endParaRPr lang="zh-CN" altLang="en-US"/>
            </a:p>
          </p:txBody>
        </p:sp>
        <p:sp>
          <p:nvSpPr>
            <p:cNvPr id="50" name="任意多边形 44"/>
            <p:cNvSpPr/>
            <p:nvPr/>
          </p:nvSpPr>
          <p:spPr>
            <a:xfrm>
              <a:off x="6450484" y="2821356"/>
              <a:ext cx="595677" cy="626971"/>
            </a:xfrm>
            <a:custGeom>
              <a:avLst/>
              <a:gdLst>
                <a:gd name="connsiteX0" fmla="*/ 391667 w 526113"/>
                <a:gd name="connsiteY0" fmla="*/ 53983 h 553753"/>
                <a:gd name="connsiteX1" fmla="*/ 525083 w 526113"/>
                <a:gd name="connsiteY1" fmla="*/ 215734 h 553753"/>
                <a:gd name="connsiteX2" fmla="*/ 273815 w 526113"/>
                <a:gd name="connsiteY2" fmla="*/ 552135 h 553753"/>
                <a:gd name="connsiteX3" fmla="*/ -514 w 526113"/>
                <a:gd name="connsiteY3" fmla="*/ 53983 h 553753"/>
                <a:gd name="connsiteX4" fmla="*/ 137540 w 526113"/>
                <a:gd name="connsiteY4" fmla="*/ -210 h 553753"/>
                <a:gd name="connsiteX5" fmla="*/ 299037 w 526113"/>
                <a:gd name="connsiteY5" fmla="*/ 364398 h 553753"/>
                <a:gd name="connsiteX6" fmla="*/ 391667 w 526113"/>
                <a:gd name="connsiteY6" fmla="*/ 53983 h 553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6113" h="553753">
                  <a:moveTo>
                    <a:pt x="391667" y="53983"/>
                  </a:moveTo>
                  <a:cubicBezTo>
                    <a:pt x="391667" y="53983"/>
                    <a:pt x="535248" y="69357"/>
                    <a:pt x="525083" y="215734"/>
                  </a:cubicBezTo>
                  <a:cubicBezTo>
                    <a:pt x="514791" y="364653"/>
                    <a:pt x="391667" y="572656"/>
                    <a:pt x="273815" y="552135"/>
                  </a:cubicBezTo>
                  <a:cubicBezTo>
                    <a:pt x="155837" y="529009"/>
                    <a:pt x="27630" y="187463"/>
                    <a:pt x="-514" y="53983"/>
                  </a:cubicBezTo>
                  <a:lnTo>
                    <a:pt x="137540" y="-210"/>
                  </a:lnTo>
                  <a:cubicBezTo>
                    <a:pt x="137540" y="-210"/>
                    <a:pt x="275975" y="356711"/>
                    <a:pt x="299037" y="364398"/>
                  </a:cubicBezTo>
                  <a:lnTo>
                    <a:pt x="391667" y="53983"/>
                  </a:lnTo>
                  <a:close/>
                </a:path>
              </a:pathLst>
            </a:custGeom>
            <a:solidFill>
              <a:srgbClr val="434CC0"/>
            </a:solidFill>
            <a:ln w="6346" cap="flat">
              <a:noFill/>
              <a:prstDash val="solid"/>
              <a:miter/>
            </a:ln>
          </p:spPr>
          <p:txBody>
            <a:bodyPr rtlCol="0" anchor="ctr"/>
            <a:lstStyle/>
            <a:p>
              <a:endParaRPr lang="zh-CN" altLang="en-US"/>
            </a:p>
          </p:txBody>
        </p:sp>
        <p:sp>
          <p:nvSpPr>
            <p:cNvPr id="51" name="任意多边形 45"/>
            <p:cNvSpPr/>
            <p:nvPr/>
          </p:nvSpPr>
          <p:spPr>
            <a:xfrm>
              <a:off x="8263601" y="2004798"/>
              <a:ext cx="273214" cy="237195"/>
            </a:xfrm>
            <a:custGeom>
              <a:avLst/>
              <a:gdLst>
                <a:gd name="connsiteX0" fmla="*/ -513 w 241308"/>
                <a:gd name="connsiteY0" fmla="*/ 130082 h 209495"/>
                <a:gd name="connsiteX1" fmla="*/ 215813 w 241308"/>
                <a:gd name="connsiteY1" fmla="*/ 56513 h 209495"/>
                <a:gd name="connsiteX2" fmla="*/ 122294 w 241308"/>
                <a:gd name="connsiteY2" fmla="*/ 208608 h 209495"/>
                <a:gd name="connsiteX3" fmla="*/ 21470 w 241308"/>
                <a:gd name="connsiteY3" fmla="*/ 130972 h 209495"/>
              </a:gdLst>
              <a:ahLst/>
              <a:cxnLst>
                <a:cxn ang="0">
                  <a:pos x="connsiteX0" y="connsiteY0"/>
                </a:cxn>
                <a:cxn ang="0">
                  <a:pos x="connsiteX1" y="connsiteY1"/>
                </a:cxn>
                <a:cxn ang="0">
                  <a:pos x="connsiteX2" y="connsiteY2"/>
                </a:cxn>
                <a:cxn ang="0">
                  <a:pos x="connsiteX3" y="connsiteY3"/>
                </a:cxn>
              </a:cxnLst>
              <a:rect l="l" t="t" r="r" b="b"/>
              <a:pathLst>
                <a:path w="241308" h="209495">
                  <a:moveTo>
                    <a:pt x="-513" y="130082"/>
                  </a:moveTo>
                  <a:cubicBezTo>
                    <a:pt x="-1084" y="1177"/>
                    <a:pt x="150439" y="-48188"/>
                    <a:pt x="215813" y="56513"/>
                  </a:cubicBezTo>
                  <a:cubicBezTo>
                    <a:pt x="281187" y="161213"/>
                    <a:pt x="207046" y="216104"/>
                    <a:pt x="122294" y="208608"/>
                  </a:cubicBezTo>
                  <a:cubicBezTo>
                    <a:pt x="37543" y="201111"/>
                    <a:pt x="21470" y="130972"/>
                    <a:pt x="21470" y="130972"/>
                  </a:cubicBezTo>
                  <a:close/>
                </a:path>
              </a:pathLst>
            </a:custGeom>
            <a:solidFill>
              <a:srgbClr val="981D04"/>
            </a:solidFill>
            <a:ln w="6346" cap="flat">
              <a:noFill/>
              <a:prstDash val="solid"/>
              <a:miter/>
            </a:ln>
          </p:spPr>
          <p:txBody>
            <a:bodyPr rtlCol="0" anchor="ctr"/>
            <a:lstStyle/>
            <a:p>
              <a:endParaRPr lang="zh-CN" altLang="en-US"/>
            </a:p>
          </p:txBody>
        </p:sp>
        <p:sp>
          <p:nvSpPr>
            <p:cNvPr id="52" name="任意多边形 46"/>
            <p:cNvSpPr/>
            <p:nvPr/>
          </p:nvSpPr>
          <p:spPr>
            <a:xfrm>
              <a:off x="8197929" y="2105151"/>
              <a:ext cx="197911" cy="239513"/>
            </a:xfrm>
            <a:custGeom>
              <a:avLst/>
              <a:gdLst>
                <a:gd name="connsiteX0" fmla="*/ -514 w 174799"/>
                <a:gd name="connsiteY0" fmla="*/ 24739 h 211542"/>
                <a:gd name="connsiteX1" fmla="*/ 166701 w 174799"/>
                <a:gd name="connsiteY1" fmla="*/ 92020 h 211542"/>
                <a:gd name="connsiteX2" fmla="*/ 160348 w 174799"/>
                <a:gd name="connsiteY2" fmla="*/ 211332 h 211542"/>
              </a:gdLst>
              <a:ahLst/>
              <a:cxnLst>
                <a:cxn ang="0">
                  <a:pos x="connsiteX0" y="connsiteY0"/>
                </a:cxn>
                <a:cxn ang="0">
                  <a:pos x="connsiteX1" y="connsiteY1"/>
                </a:cxn>
                <a:cxn ang="0">
                  <a:pos x="connsiteX2" y="connsiteY2"/>
                </a:cxn>
              </a:cxnLst>
              <a:rect l="l" t="t" r="r" b="b"/>
              <a:pathLst>
                <a:path w="174799" h="211542">
                  <a:moveTo>
                    <a:pt x="-514" y="24739"/>
                  </a:moveTo>
                  <a:cubicBezTo>
                    <a:pt x="35890" y="-41461"/>
                    <a:pt x="146498" y="39161"/>
                    <a:pt x="166701" y="92020"/>
                  </a:cubicBezTo>
                  <a:cubicBezTo>
                    <a:pt x="186904" y="144878"/>
                    <a:pt x="160348" y="211332"/>
                    <a:pt x="160348" y="211332"/>
                  </a:cubicBezTo>
                  <a:close/>
                </a:path>
              </a:pathLst>
            </a:custGeom>
            <a:solidFill>
              <a:srgbClr val="F93F57"/>
            </a:solidFill>
            <a:ln w="6346" cap="flat">
              <a:noFill/>
              <a:prstDash val="solid"/>
              <a:miter/>
            </a:ln>
          </p:spPr>
          <p:txBody>
            <a:bodyPr rtlCol="0" anchor="ctr"/>
            <a:lstStyle/>
            <a:p>
              <a:endParaRPr lang="zh-CN" altLang="en-US"/>
            </a:p>
          </p:txBody>
        </p:sp>
        <p:sp>
          <p:nvSpPr>
            <p:cNvPr id="53" name="任意多边形 47"/>
            <p:cNvSpPr/>
            <p:nvPr/>
          </p:nvSpPr>
          <p:spPr>
            <a:xfrm>
              <a:off x="7774250" y="2086348"/>
              <a:ext cx="652587" cy="579300"/>
            </a:xfrm>
            <a:custGeom>
              <a:avLst/>
              <a:gdLst>
                <a:gd name="connsiteX0" fmla="*/ -514 w 576377"/>
                <a:gd name="connsiteY0" fmla="*/ 291788 h 511649"/>
                <a:gd name="connsiteX1" fmla="*/ 355898 w 576377"/>
                <a:gd name="connsiteY1" fmla="*/ 7992 h 511649"/>
                <a:gd name="connsiteX2" fmla="*/ 556976 w 576377"/>
                <a:gd name="connsiteY2" fmla="*/ 175842 h 511649"/>
                <a:gd name="connsiteX3" fmla="*/ 473114 w 576377"/>
                <a:gd name="connsiteY3" fmla="*/ 482701 h 511649"/>
                <a:gd name="connsiteX4" fmla="*/ -514 w 576377"/>
                <a:gd name="connsiteY4" fmla="*/ 291661 h 5116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6377" h="511649">
                  <a:moveTo>
                    <a:pt x="-514" y="291788"/>
                  </a:moveTo>
                  <a:cubicBezTo>
                    <a:pt x="10667" y="33341"/>
                    <a:pt x="203739" y="-24473"/>
                    <a:pt x="355898" y="7992"/>
                  </a:cubicBezTo>
                  <a:cubicBezTo>
                    <a:pt x="508056" y="40456"/>
                    <a:pt x="556976" y="175842"/>
                    <a:pt x="556976" y="175842"/>
                  </a:cubicBezTo>
                  <a:cubicBezTo>
                    <a:pt x="556976" y="175842"/>
                    <a:pt x="635247" y="359195"/>
                    <a:pt x="473114" y="482701"/>
                  </a:cubicBezTo>
                  <a:cubicBezTo>
                    <a:pt x="310981" y="606206"/>
                    <a:pt x="-514" y="291661"/>
                    <a:pt x="-514" y="291661"/>
                  </a:cubicBezTo>
                  <a:close/>
                </a:path>
              </a:pathLst>
            </a:custGeom>
            <a:solidFill>
              <a:srgbClr val="981D04"/>
            </a:solidFill>
            <a:ln w="6346" cap="flat">
              <a:noFill/>
              <a:prstDash val="solid"/>
              <a:miter/>
            </a:ln>
          </p:spPr>
          <p:txBody>
            <a:bodyPr rtlCol="0" anchor="ctr"/>
            <a:lstStyle/>
            <a:p>
              <a:endParaRPr lang="zh-CN" altLang="en-US"/>
            </a:p>
          </p:txBody>
        </p:sp>
        <p:sp>
          <p:nvSpPr>
            <p:cNvPr id="54" name="任意多边形 48"/>
            <p:cNvSpPr/>
            <p:nvPr/>
          </p:nvSpPr>
          <p:spPr>
            <a:xfrm>
              <a:off x="7926027" y="2682959"/>
              <a:ext cx="248884" cy="276290"/>
            </a:xfrm>
            <a:custGeom>
              <a:avLst/>
              <a:gdLst>
                <a:gd name="connsiteX0" fmla="*/ 109395 w 219819"/>
                <a:gd name="connsiteY0" fmla="*/ 243815 h 244025"/>
                <a:gd name="connsiteX1" fmla="*/ 109395 w 219819"/>
                <a:gd name="connsiteY1" fmla="*/ 243815 h 244025"/>
                <a:gd name="connsiteX2" fmla="*/ -514 w 219819"/>
                <a:gd name="connsiteY2" fmla="*/ 160906 h 244025"/>
                <a:gd name="connsiteX3" fmla="*/ -514 w 219819"/>
                <a:gd name="connsiteY3" fmla="*/ -210 h 244025"/>
                <a:gd name="connsiteX4" fmla="*/ 219305 w 219819"/>
                <a:gd name="connsiteY4" fmla="*/ -210 h 244025"/>
                <a:gd name="connsiteX5" fmla="*/ 219305 w 219819"/>
                <a:gd name="connsiteY5" fmla="*/ 160017 h 244025"/>
                <a:gd name="connsiteX6" fmla="*/ 110602 w 219819"/>
                <a:gd name="connsiteY6" fmla="*/ 243815 h 244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9819" h="244025">
                  <a:moveTo>
                    <a:pt x="109395" y="243815"/>
                  </a:moveTo>
                  <a:lnTo>
                    <a:pt x="109395" y="243815"/>
                  </a:lnTo>
                  <a:cubicBezTo>
                    <a:pt x="48976" y="243815"/>
                    <a:pt x="-197" y="206967"/>
                    <a:pt x="-514" y="160906"/>
                  </a:cubicBezTo>
                  <a:lnTo>
                    <a:pt x="-514" y="-210"/>
                  </a:lnTo>
                  <a:lnTo>
                    <a:pt x="219305" y="-210"/>
                  </a:lnTo>
                  <a:lnTo>
                    <a:pt x="219305" y="160017"/>
                  </a:lnTo>
                  <a:cubicBezTo>
                    <a:pt x="219305" y="206014"/>
                    <a:pt x="170958" y="243498"/>
                    <a:pt x="110602" y="243815"/>
                  </a:cubicBezTo>
                  <a:close/>
                </a:path>
              </a:pathLst>
            </a:custGeom>
            <a:solidFill>
              <a:srgbClr val="FF93B1"/>
            </a:solidFill>
            <a:ln w="6346" cap="flat">
              <a:noFill/>
              <a:prstDash val="solid"/>
              <a:miter/>
            </a:ln>
          </p:spPr>
          <p:txBody>
            <a:bodyPr rtlCol="0" anchor="ctr"/>
            <a:lstStyle/>
            <a:p>
              <a:endParaRPr lang="zh-CN" altLang="en-US"/>
            </a:p>
          </p:txBody>
        </p:sp>
        <p:sp>
          <p:nvSpPr>
            <p:cNvPr id="55" name="任意多边形 49"/>
            <p:cNvSpPr/>
            <p:nvPr/>
          </p:nvSpPr>
          <p:spPr>
            <a:xfrm>
              <a:off x="7730087" y="2415564"/>
              <a:ext cx="132524" cy="169000"/>
            </a:xfrm>
            <a:custGeom>
              <a:avLst/>
              <a:gdLst>
                <a:gd name="connsiteX0" fmla="*/ 93764 w 117048"/>
                <a:gd name="connsiteY0" fmla="*/ 41043 h 149264"/>
                <a:gd name="connsiteX1" fmla="*/ 1072 w 117048"/>
                <a:gd name="connsiteY1" fmla="*/ 45490 h 149264"/>
                <a:gd name="connsiteX2" fmla="*/ 95670 w 117048"/>
                <a:gd name="connsiteY2" fmla="*/ 138183 h 149264"/>
                <a:gd name="connsiteX3" fmla="*/ 93764 w 117048"/>
                <a:gd name="connsiteY3" fmla="*/ 41043 h 149264"/>
              </a:gdLst>
              <a:ahLst/>
              <a:cxnLst>
                <a:cxn ang="0">
                  <a:pos x="connsiteX0" y="connsiteY0"/>
                </a:cxn>
                <a:cxn ang="0">
                  <a:pos x="connsiteX1" y="connsiteY1"/>
                </a:cxn>
                <a:cxn ang="0">
                  <a:pos x="connsiteX2" y="connsiteY2"/>
                </a:cxn>
                <a:cxn ang="0">
                  <a:pos x="connsiteX3" y="connsiteY3"/>
                </a:cxn>
              </a:cxnLst>
              <a:rect l="l" t="t" r="r" b="b"/>
              <a:pathLst>
                <a:path w="117048" h="149264">
                  <a:moveTo>
                    <a:pt x="93764" y="41043"/>
                  </a:moveTo>
                  <a:cubicBezTo>
                    <a:pt x="64540" y="-28842"/>
                    <a:pt x="9394" y="2098"/>
                    <a:pt x="1072" y="45490"/>
                  </a:cubicBezTo>
                  <a:cubicBezTo>
                    <a:pt x="-10936" y="108450"/>
                    <a:pt x="47640" y="175857"/>
                    <a:pt x="95670" y="138183"/>
                  </a:cubicBezTo>
                  <a:cubicBezTo>
                    <a:pt x="143700" y="100509"/>
                    <a:pt x="93764" y="41043"/>
                    <a:pt x="93764" y="41043"/>
                  </a:cubicBezTo>
                  <a:close/>
                </a:path>
              </a:pathLst>
            </a:custGeom>
            <a:solidFill>
              <a:srgbClr val="FED0D6"/>
            </a:solidFill>
            <a:ln w="6346" cap="flat">
              <a:noFill/>
              <a:prstDash val="solid"/>
              <a:miter/>
            </a:ln>
          </p:spPr>
          <p:txBody>
            <a:bodyPr rtlCol="0" anchor="ctr"/>
            <a:lstStyle/>
            <a:p>
              <a:endParaRPr lang="zh-CN" altLang="en-US"/>
            </a:p>
          </p:txBody>
        </p:sp>
        <p:sp>
          <p:nvSpPr>
            <p:cNvPr id="56" name="任意多边形 50"/>
            <p:cNvSpPr/>
            <p:nvPr/>
          </p:nvSpPr>
          <p:spPr>
            <a:xfrm>
              <a:off x="8248927" y="2523567"/>
              <a:ext cx="148402" cy="155616"/>
            </a:xfrm>
            <a:custGeom>
              <a:avLst/>
              <a:gdLst>
                <a:gd name="connsiteX0" fmla="*/ 44850 w 131071"/>
                <a:gd name="connsiteY0" fmla="*/ 23606 h 137443"/>
                <a:gd name="connsiteX1" fmla="*/ 129474 w 131071"/>
                <a:gd name="connsiteY1" fmla="*/ 61725 h 137443"/>
                <a:gd name="connsiteX2" fmla="*/ 7430 w 131071"/>
                <a:gd name="connsiteY2" fmla="*/ 113122 h 137443"/>
                <a:gd name="connsiteX3" fmla="*/ 44850 w 131071"/>
                <a:gd name="connsiteY3" fmla="*/ 23479 h 137443"/>
              </a:gdLst>
              <a:ahLst/>
              <a:cxnLst>
                <a:cxn ang="0">
                  <a:pos x="connsiteX0" y="connsiteY0"/>
                </a:cxn>
                <a:cxn ang="0">
                  <a:pos x="connsiteX1" y="connsiteY1"/>
                </a:cxn>
                <a:cxn ang="0">
                  <a:pos x="connsiteX2" y="connsiteY2"/>
                </a:cxn>
                <a:cxn ang="0">
                  <a:pos x="connsiteX3" y="connsiteY3"/>
                </a:cxn>
              </a:cxnLst>
              <a:rect l="l" t="t" r="r" b="b"/>
              <a:pathLst>
                <a:path w="131071" h="137443">
                  <a:moveTo>
                    <a:pt x="44850" y="23606"/>
                  </a:moveTo>
                  <a:cubicBezTo>
                    <a:pt x="97708" y="-30396"/>
                    <a:pt x="137734" y="18397"/>
                    <a:pt x="129474" y="61725"/>
                  </a:cubicBezTo>
                  <a:cubicBezTo>
                    <a:pt x="117466" y="124685"/>
                    <a:pt x="38115" y="165790"/>
                    <a:pt x="7430" y="113122"/>
                  </a:cubicBezTo>
                  <a:cubicBezTo>
                    <a:pt x="-23256" y="60455"/>
                    <a:pt x="44850" y="23479"/>
                    <a:pt x="44850" y="23479"/>
                  </a:cubicBezTo>
                  <a:close/>
                </a:path>
              </a:pathLst>
            </a:custGeom>
            <a:solidFill>
              <a:srgbClr val="FED0D6"/>
            </a:solidFill>
            <a:ln w="6346" cap="flat">
              <a:noFill/>
              <a:prstDash val="solid"/>
              <a:miter/>
            </a:ln>
          </p:spPr>
          <p:txBody>
            <a:bodyPr rtlCol="0" anchor="ctr"/>
            <a:lstStyle/>
            <a:p>
              <a:endParaRPr lang="zh-CN" altLang="en-US"/>
            </a:p>
          </p:txBody>
        </p:sp>
        <p:sp>
          <p:nvSpPr>
            <p:cNvPr id="57" name="任意多边形 51"/>
            <p:cNvSpPr/>
            <p:nvPr/>
          </p:nvSpPr>
          <p:spPr>
            <a:xfrm>
              <a:off x="7809723" y="2240589"/>
              <a:ext cx="532212" cy="546181"/>
            </a:xfrm>
            <a:custGeom>
              <a:avLst/>
              <a:gdLst>
                <a:gd name="connsiteX0" fmla="*/ 180923 w 470060"/>
                <a:gd name="connsiteY0" fmla="*/ 478301 h 482397"/>
                <a:gd name="connsiteX1" fmla="*/ 29463 w 470060"/>
                <a:gd name="connsiteY1" fmla="*/ 77479 h 482397"/>
                <a:gd name="connsiteX2" fmla="*/ 469484 w 470060"/>
                <a:gd name="connsiteY2" fmla="*/ 161341 h 482397"/>
                <a:gd name="connsiteX3" fmla="*/ 180923 w 470060"/>
                <a:gd name="connsiteY3" fmla="*/ 478301 h 482397"/>
              </a:gdLst>
              <a:ahLst/>
              <a:cxnLst>
                <a:cxn ang="0">
                  <a:pos x="connsiteX0" y="connsiteY0"/>
                </a:cxn>
                <a:cxn ang="0">
                  <a:pos x="connsiteX1" y="connsiteY1"/>
                </a:cxn>
                <a:cxn ang="0">
                  <a:pos x="connsiteX2" y="connsiteY2"/>
                </a:cxn>
                <a:cxn ang="0">
                  <a:pos x="connsiteX3" y="connsiteY3"/>
                </a:cxn>
              </a:cxnLst>
              <a:rect l="l" t="t" r="r" b="b"/>
              <a:pathLst>
                <a:path w="470060" h="482397">
                  <a:moveTo>
                    <a:pt x="180923" y="478301"/>
                  </a:moveTo>
                  <a:cubicBezTo>
                    <a:pt x="19045" y="447488"/>
                    <a:pt x="-42962" y="252065"/>
                    <a:pt x="29463" y="77479"/>
                  </a:cubicBezTo>
                  <a:cubicBezTo>
                    <a:pt x="89247" y="-66293"/>
                    <a:pt x="466880" y="5688"/>
                    <a:pt x="469484" y="161341"/>
                  </a:cubicBezTo>
                  <a:cubicBezTo>
                    <a:pt x="472788" y="350348"/>
                    <a:pt x="342929" y="509304"/>
                    <a:pt x="180923" y="478301"/>
                  </a:cubicBezTo>
                  <a:close/>
                </a:path>
              </a:pathLst>
            </a:custGeom>
            <a:solidFill>
              <a:srgbClr val="FED0D6"/>
            </a:solidFill>
            <a:ln w="6346" cap="flat">
              <a:noFill/>
              <a:prstDash val="solid"/>
              <a:miter/>
            </a:ln>
          </p:spPr>
          <p:txBody>
            <a:bodyPr rtlCol="0" anchor="ctr"/>
            <a:lstStyle/>
            <a:p>
              <a:endParaRPr lang="zh-CN" altLang="en-US"/>
            </a:p>
          </p:txBody>
        </p:sp>
        <p:sp>
          <p:nvSpPr>
            <p:cNvPr id="58" name="任意多边形 52"/>
            <p:cNvSpPr/>
            <p:nvPr/>
          </p:nvSpPr>
          <p:spPr>
            <a:xfrm>
              <a:off x="7789201" y="2165401"/>
              <a:ext cx="375782" cy="560573"/>
            </a:xfrm>
            <a:custGeom>
              <a:avLst/>
              <a:gdLst>
                <a:gd name="connsiteX0" fmla="*/ 331384 w 331898"/>
                <a:gd name="connsiteY0" fmla="*/ 36709 h 495109"/>
                <a:gd name="connsiteX1" fmla="*/ 61184 w 331898"/>
                <a:gd name="connsiteY1" fmla="*/ 494899 h 495109"/>
                <a:gd name="connsiteX2" fmla="*/ 61184 w 331898"/>
                <a:gd name="connsiteY2" fmla="*/ 494899 h 495109"/>
                <a:gd name="connsiteX3" fmla="*/ 42633 w 331898"/>
                <a:gd name="connsiteY3" fmla="*/ 73430 h 495109"/>
                <a:gd name="connsiteX4" fmla="*/ 331384 w 331898"/>
                <a:gd name="connsiteY4" fmla="*/ 36709 h 495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898" h="495109">
                  <a:moveTo>
                    <a:pt x="331384" y="36709"/>
                  </a:moveTo>
                  <a:cubicBezTo>
                    <a:pt x="45491" y="74002"/>
                    <a:pt x="40409" y="335308"/>
                    <a:pt x="61184" y="494899"/>
                  </a:cubicBezTo>
                  <a:lnTo>
                    <a:pt x="61184" y="494899"/>
                  </a:lnTo>
                  <a:cubicBezTo>
                    <a:pt x="61184" y="494899"/>
                    <a:pt x="-64292" y="213962"/>
                    <a:pt x="42633" y="73430"/>
                  </a:cubicBezTo>
                  <a:cubicBezTo>
                    <a:pt x="149556" y="-67102"/>
                    <a:pt x="331384" y="36709"/>
                    <a:pt x="331384" y="36709"/>
                  </a:cubicBezTo>
                  <a:close/>
                </a:path>
              </a:pathLst>
            </a:custGeom>
            <a:solidFill>
              <a:srgbClr val="981D04"/>
            </a:solidFill>
            <a:ln w="6346" cap="flat">
              <a:noFill/>
              <a:prstDash val="solid"/>
              <a:miter/>
            </a:ln>
          </p:spPr>
          <p:txBody>
            <a:bodyPr rtlCol="0" anchor="ctr"/>
            <a:lstStyle/>
            <a:p>
              <a:endParaRPr lang="zh-CN" altLang="en-US"/>
            </a:p>
          </p:txBody>
        </p:sp>
        <p:sp>
          <p:nvSpPr>
            <p:cNvPr id="59" name="任意多边形 53"/>
            <p:cNvSpPr/>
            <p:nvPr/>
          </p:nvSpPr>
          <p:spPr>
            <a:xfrm>
              <a:off x="7703109" y="2838260"/>
              <a:ext cx="683282" cy="765140"/>
            </a:xfrm>
            <a:custGeom>
              <a:avLst/>
              <a:gdLst>
                <a:gd name="connsiteX0" fmla="*/ 602973 w 603487"/>
                <a:gd name="connsiteY0" fmla="*/ 61225 h 675786"/>
                <a:gd name="connsiteX1" fmla="*/ 415491 w 603487"/>
                <a:gd name="connsiteY1" fmla="*/ -210 h 675786"/>
                <a:gd name="connsiteX2" fmla="*/ 302532 w 603487"/>
                <a:gd name="connsiteY2" fmla="*/ 86828 h 675786"/>
                <a:gd name="connsiteX3" fmla="*/ 299927 w 603487"/>
                <a:gd name="connsiteY3" fmla="*/ 86828 h 675786"/>
                <a:gd name="connsiteX4" fmla="*/ 197260 w 603487"/>
                <a:gd name="connsiteY4" fmla="*/ -210 h 675786"/>
                <a:gd name="connsiteX5" fmla="*/ -514 w 603487"/>
                <a:gd name="connsiteY5" fmla="*/ 61225 h 675786"/>
                <a:gd name="connsiteX6" fmla="*/ 24898 w 603487"/>
                <a:gd name="connsiteY6" fmla="*/ 268529 h 675786"/>
                <a:gd name="connsiteX7" fmla="*/ 50311 w 603487"/>
                <a:gd name="connsiteY7" fmla="*/ 406774 h 675786"/>
                <a:gd name="connsiteX8" fmla="*/ 88811 w 603487"/>
                <a:gd name="connsiteY8" fmla="*/ 675577 h 675786"/>
                <a:gd name="connsiteX9" fmla="*/ 512504 w 603487"/>
                <a:gd name="connsiteY9" fmla="*/ 675577 h 675786"/>
                <a:gd name="connsiteX10" fmla="*/ 553609 w 603487"/>
                <a:gd name="connsiteY10" fmla="*/ 406774 h 675786"/>
                <a:gd name="connsiteX11" fmla="*/ 576735 w 603487"/>
                <a:gd name="connsiteY11" fmla="*/ 268529 h 675786"/>
                <a:gd name="connsiteX12" fmla="*/ 602147 w 603487"/>
                <a:gd name="connsiteY12" fmla="*/ 61225 h 675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03487" h="675786">
                  <a:moveTo>
                    <a:pt x="602973" y="61225"/>
                  </a:moveTo>
                  <a:lnTo>
                    <a:pt x="415491" y="-210"/>
                  </a:lnTo>
                  <a:cubicBezTo>
                    <a:pt x="400116" y="66308"/>
                    <a:pt x="315365" y="86828"/>
                    <a:pt x="302532" y="86828"/>
                  </a:cubicBezTo>
                  <a:lnTo>
                    <a:pt x="299927" y="86828"/>
                  </a:lnTo>
                  <a:cubicBezTo>
                    <a:pt x="287220" y="86828"/>
                    <a:pt x="212634" y="66308"/>
                    <a:pt x="197260" y="-210"/>
                  </a:cubicBezTo>
                  <a:lnTo>
                    <a:pt x="-514" y="61225"/>
                  </a:lnTo>
                  <a:lnTo>
                    <a:pt x="24898" y="268529"/>
                  </a:lnTo>
                  <a:cubicBezTo>
                    <a:pt x="24898" y="268529"/>
                    <a:pt x="9460" y="347880"/>
                    <a:pt x="50311" y="406774"/>
                  </a:cubicBezTo>
                  <a:cubicBezTo>
                    <a:pt x="88811" y="463063"/>
                    <a:pt x="88811" y="675577"/>
                    <a:pt x="88811" y="675577"/>
                  </a:cubicBezTo>
                  <a:lnTo>
                    <a:pt x="512504" y="675577"/>
                  </a:lnTo>
                  <a:cubicBezTo>
                    <a:pt x="512504" y="675577"/>
                    <a:pt x="512504" y="463063"/>
                    <a:pt x="553609" y="406774"/>
                  </a:cubicBezTo>
                  <a:cubicBezTo>
                    <a:pt x="592109" y="347880"/>
                    <a:pt x="576735" y="268529"/>
                    <a:pt x="576735" y="268529"/>
                  </a:cubicBezTo>
                  <a:lnTo>
                    <a:pt x="602147" y="61225"/>
                  </a:lnTo>
                  <a:close/>
                </a:path>
              </a:pathLst>
            </a:custGeom>
            <a:solidFill>
              <a:srgbClr val="F93F57"/>
            </a:solidFill>
            <a:ln w="6346" cap="flat">
              <a:noFill/>
              <a:prstDash val="solid"/>
              <a:miter/>
            </a:ln>
          </p:spPr>
          <p:txBody>
            <a:bodyPr rtlCol="0" anchor="ctr"/>
            <a:lstStyle/>
            <a:p>
              <a:endParaRPr lang="zh-CN" altLang="en-US"/>
            </a:p>
          </p:txBody>
        </p:sp>
        <p:sp>
          <p:nvSpPr>
            <p:cNvPr id="60" name="任意多边形 54"/>
            <p:cNvSpPr/>
            <p:nvPr/>
          </p:nvSpPr>
          <p:spPr>
            <a:xfrm>
              <a:off x="7668222" y="2246131"/>
              <a:ext cx="203061" cy="147805"/>
            </a:xfrm>
            <a:custGeom>
              <a:avLst/>
              <a:gdLst>
                <a:gd name="connsiteX0" fmla="*/ -514 w 179347"/>
                <a:gd name="connsiteY0" fmla="*/ 71186 h 130544"/>
                <a:gd name="connsiteX1" fmla="*/ 171784 w 179347"/>
                <a:gd name="connsiteY1" fmla="*/ 4287 h 130544"/>
                <a:gd name="connsiteX2" fmla="*/ 43195 w 179347"/>
                <a:gd name="connsiteY2" fmla="*/ 130334 h 130544"/>
                <a:gd name="connsiteX3" fmla="*/ -514 w 179347"/>
                <a:gd name="connsiteY3" fmla="*/ 71186 h 130544"/>
              </a:gdLst>
              <a:ahLst/>
              <a:cxnLst>
                <a:cxn ang="0">
                  <a:pos x="connsiteX0" y="connsiteY0"/>
                </a:cxn>
                <a:cxn ang="0">
                  <a:pos x="connsiteX1" y="connsiteY1"/>
                </a:cxn>
                <a:cxn ang="0">
                  <a:pos x="connsiteX2" y="connsiteY2"/>
                </a:cxn>
                <a:cxn ang="0">
                  <a:pos x="connsiteX3" y="connsiteY3"/>
                </a:cxn>
              </a:cxnLst>
              <a:rect l="l" t="t" r="r" b="b"/>
              <a:pathLst>
                <a:path w="179347" h="130544">
                  <a:moveTo>
                    <a:pt x="-514" y="71186"/>
                  </a:moveTo>
                  <a:cubicBezTo>
                    <a:pt x="-514" y="71186"/>
                    <a:pt x="146053" y="-21379"/>
                    <a:pt x="171784" y="4287"/>
                  </a:cubicBezTo>
                  <a:cubicBezTo>
                    <a:pt x="197196" y="27477"/>
                    <a:pt x="153804" y="73728"/>
                    <a:pt x="43195" y="130334"/>
                  </a:cubicBezTo>
                  <a:lnTo>
                    <a:pt x="-514" y="71186"/>
                  </a:lnTo>
                  <a:close/>
                </a:path>
              </a:pathLst>
            </a:custGeom>
            <a:solidFill>
              <a:srgbClr val="FED0D6"/>
            </a:solidFill>
            <a:ln w="6346" cap="flat">
              <a:noFill/>
              <a:prstDash val="solid"/>
              <a:miter/>
            </a:ln>
          </p:spPr>
          <p:txBody>
            <a:bodyPr rtlCol="0" anchor="ctr"/>
            <a:lstStyle/>
            <a:p>
              <a:endParaRPr lang="zh-CN" altLang="en-US"/>
            </a:p>
          </p:txBody>
        </p:sp>
        <p:sp>
          <p:nvSpPr>
            <p:cNvPr id="61" name="任意多边形 55"/>
            <p:cNvSpPr/>
            <p:nvPr/>
          </p:nvSpPr>
          <p:spPr>
            <a:xfrm>
              <a:off x="7253337" y="2273163"/>
              <a:ext cx="519616" cy="812040"/>
            </a:xfrm>
            <a:custGeom>
              <a:avLst/>
              <a:gdLst>
                <a:gd name="connsiteX0" fmla="*/ 396859 w 458935"/>
                <a:gd name="connsiteY0" fmla="*/ 560775 h 717209"/>
                <a:gd name="connsiteX1" fmla="*/ 147942 w 458935"/>
                <a:gd name="connsiteY1" fmla="*/ 358426 h 717209"/>
                <a:gd name="connsiteX2" fmla="*/ 458421 w 458935"/>
                <a:gd name="connsiteY2" fmla="*/ 107349 h 717209"/>
                <a:gd name="connsiteX3" fmla="*/ 409628 w 458935"/>
                <a:gd name="connsiteY3" fmla="*/ -210 h 717209"/>
                <a:gd name="connsiteX4" fmla="*/ 4297 w 458935"/>
                <a:gd name="connsiteY4" fmla="*/ 348134 h 717209"/>
                <a:gd name="connsiteX5" fmla="*/ 417253 w 458935"/>
                <a:gd name="connsiteY5" fmla="*/ 716999 h 717209"/>
                <a:gd name="connsiteX6" fmla="*/ 396732 w 458935"/>
                <a:gd name="connsiteY6" fmla="*/ 560775 h 717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8935" h="717209">
                  <a:moveTo>
                    <a:pt x="396859" y="560775"/>
                  </a:moveTo>
                  <a:cubicBezTo>
                    <a:pt x="396859" y="560775"/>
                    <a:pt x="158234" y="399404"/>
                    <a:pt x="147942" y="358426"/>
                  </a:cubicBezTo>
                  <a:cubicBezTo>
                    <a:pt x="137713" y="320307"/>
                    <a:pt x="458421" y="107349"/>
                    <a:pt x="458421" y="107349"/>
                  </a:cubicBezTo>
                  <a:lnTo>
                    <a:pt x="409628" y="-210"/>
                  </a:lnTo>
                  <a:cubicBezTo>
                    <a:pt x="409628" y="-210"/>
                    <a:pt x="47879" y="230346"/>
                    <a:pt x="4297" y="348134"/>
                  </a:cubicBezTo>
                  <a:cubicBezTo>
                    <a:pt x="-41891" y="465986"/>
                    <a:pt x="255691" y="696542"/>
                    <a:pt x="417253" y="716999"/>
                  </a:cubicBezTo>
                  <a:lnTo>
                    <a:pt x="396732" y="560775"/>
                  </a:lnTo>
                  <a:close/>
                </a:path>
              </a:pathLst>
            </a:custGeom>
            <a:solidFill>
              <a:srgbClr val="F93F57"/>
            </a:solidFill>
            <a:ln w="6346" cap="flat">
              <a:noFill/>
              <a:prstDash val="solid"/>
              <a:miter/>
            </a:ln>
          </p:spPr>
          <p:txBody>
            <a:bodyPr rtlCol="0" anchor="ctr"/>
            <a:lstStyle/>
            <a:p>
              <a:endParaRPr lang="zh-CN" altLang="en-US"/>
            </a:p>
          </p:txBody>
        </p:sp>
        <p:sp>
          <p:nvSpPr>
            <p:cNvPr id="62" name="任意多边形 56"/>
            <p:cNvSpPr/>
            <p:nvPr/>
          </p:nvSpPr>
          <p:spPr>
            <a:xfrm>
              <a:off x="7861504" y="4281217"/>
              <a:ext cx="152998" cy="1017478"/>
            </a:xfrm>
            <a:custGeom>
              <a:avLst/>
              <a:gdLst>
                <a:gd name="connsiteX0" fmla="*/ 126555 w 135131"/>
                <a:gd name="connsiteY0" fmla="*/ 898656 h 898656"/>
                <a:gd name="connsiteX1" fmla="*/ 0 w 135131"/>
                <a:gd name="connsiteY1" fmla="*/ 898656 h 898656"/>
                <a:gd name="connsiteX2" fmla="*/ 0 w 135131"/>
                <a:gd name="connsiteY2" fmla="*/ 0 h 898656"/>
                <a:gd name="connsiteX3" fmla="*/ 135132 w 135131"/>
                <a:gd name="connsiteY3" fmla="*/ 0 h 898656"/>
                <a:gd name="connsiteX4" fmla="*/ 126555 w 135131"/>
                <a:gd name="connsiteY4" fmla="*/ 898656 h 898656"/>
                <a:gd name="connsiteX5" fmla="*/ 126555 w 135131"/>
                <a:gd name="connsiteY5" fmla="*/ 898656 h 898656"/>
                <a:gd name="connsiteX6" fmla="*/ 126555 w 135131"/>
                <a:gd name="connsiteY6" fmla="*/ 898656 h 898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5131" h="898656">
                  <a:moveTo>
                    <a:pt x="126555" y="898656"/>
                  </a:moveTo>
                  <a:lnTo>
                    <a:pt x="0" y="898656"/>
                  </a:lnTo>
                  <a:lnTo>
                    <a:pt x="0" y="0"/>
                  </a:lnTo>
                  <a:lnTo>
                    <a:pt x="135132" y="0"/>
                  </a:lnTo>
                  <a:lnTo>
                    <a:pt x="126555" y="898656"/>
                  </a:lnTo>
                  <a:lnTo>
                    <a:pt x="126555" y="898656"/>
                  </a:lnTo>
                  <a:lnTo>
                    <a:pt x="126555" y="898656"/>
                  </a:lnTo>
                  <a:close/>
                </a:path>
              </a:pathLst>
            </a:custGeom>
            <a:solidFill>
              <a:srgbClr val="FED0D6"/>
            </a:solidFill>
            <a:ln w="6346" cap="flat">
              <a:noFill/>
              <a:prstDash val="solid"/>
              <a:miter/>
            </a:ln>
          </p:spPr>
          <p:txBody>
            <a:bodyPr rtlCol="0" anchor="ctr"/>
            <a:lstStyle/>
            <a:p>
              <a:endParaRPr lang="zh-CN" altLang="en-US"/>
            </a:p>
          </p:txBody>
        </p:sp>
        <p:sp>
          <p:nvSpPr>
            <p:cNvPr id="63" name="任意多边形 57"/>
            <p:cNvSpPr/>
            <p:nvPr/>
          </p:nvSpPr>
          <p:spPr>
            <a:xfrm>
              <a:off x="7703109" y="5287978"/>
              <a:ext cx="316405" cy="123506"/>
            </a:xfrm>
            <a:custGeom>
              <a:avLst/>
              <a:gdLst>
                <a:gd name="connsiteX0" fmla="*/ 264603 w 279455"/>
                <a:gd name="connsiteY0" fmla="*/ -210 h 109083"/>
                <a:gd name="connsiteX1" fmla="*/ 138493 w 279455"/>
                <a:gd name="connsiteY1" fmla="*/ -210 h 109083"/>
                <a:gd name="connsiteX2" fmla="*/ -514 w 279455"/>
                <a:gd name="connsiteY2" fmla="*/ 96168 h 109083"/>
                <a:gd name="connsiteX3" fmla="*/ -514 w 279455"/>
                <a:gd name="connsiteY3" fmla="*/ 108874 h 109083"/>
                <a:gd name="connsiteX4" fmla="*/ 277500 w 279455"/>
                <a:gd name="connsiteY4" fmla="*/ 108874 h 109083"/>
                <a:gd name="connsiteX5" fmla="*/ 264794 w 279455"/>
                <a:gd name="connsiteY5" fmla="*/ -210 h 109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9455" h="109083">
                  <a:moveTo>
                    <a:pt x="264603" y="-210"/>
                  </a:moveTo>
                  <a:lnTo>
                    <a:pt x="138493" y="-210"/>
                  </a:lnTo>
                  <a:cubicBezTo>
                    <a:pt x="138493" y="-210"/>
                    <a:pt x="12382" y="68277"/>
                    <a:pt x="-514" y="96168"/>
                  </a:cubicBezTo>
                  <a:lnTo>
                    <a:pt x="-514" y="108874"/>
                  </a:lnTo>
                  <a:lnTo>
                    <a:pt x="277500" y="108874"/>
                  </a:lnTo>
                  <a:cubicBezTo>
                    <a:pt x="277500" y="108874"/>
                    <a:pt x="285251" y="27681"/>
                    <a:pt x="264794" y="-210"/>
                  </a:cubicBezTo>
                  <a:close/>
                </a:path>
              </a:pathLst>
            </a:custGeom>
            <a:solidFill>
              <a:srgbClr val="F93F57"/>
            </a:solidFill>
            <a:ln w="6346" cap="flat">
              <a:noFill/>
              <a:prstDash val="solid"/>
              <a:miter/>
            </a:ln>
          </p:spPr>
          <p:txBody>
            <a:bodyPr rtlCol="0" anchor="ctr"/>
            <a:lstStyle/>
            <a:p>
              <a:endParaRPr lang="zh-CN" altLang="en-US"/>
            </a:p>
          </p:txBody>
        </p:sp>
        <p:sp>
          <p:nvSpPr>
            <p:cNvPr id="64" name="任意多边形 58"/>
            <p:cNvSpPr/>
            <p:nvPr/>
          </p:nvSpPr>
          <p:spPr>
            <a:xfrm>
              <a:off x="7703109" y="5411484"/>
              <a:ext cx="314126" cy="18773"/>
            </a:xfrm>
            <a:custGeom>
              <a:avLst/>
              <a:gdLst>
                <a:gd name="connsiteX0" fmla="*/ 0 w 277442"/>
                <a:gd name="connsiteY0" fmla="*/ 0 h 16581"/>
                <a:gd name="connsiteX1" fmla="*/ 277443 w 277442"/>
                <a:gd name="connsiteY1" fmla="*/ 0 h 16581"/>
                <a:gd name="connsiteX2" fmla="*/ 277443 w 277442"/>
                <a:gd name="connsiteY2" fmla="*/ 16582 h 16581"/>
                <a:gd name="connsiteX3" fmla="*/ 0 w 277442"/>
                <a:gd name="connsiteY3" fmla="*/ 16582 h 16581"/>
                <a:gd name="connsiteX4" fmla="*/ 0 w 277442"/>
                <a:gd name="connsiteY4" fmla="*/ 0 h 16581"/>
                <a:gd name="connsiteX5" fmla="*/ 0 w 277442"/>
                <a:gd name="connsiteY5" fmla="*/ 0 h 16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442" h="16581">
                  <a:moveTo>
                    <a:pt x="0" y="0"/>
                  </a:moveTo>
                  <a:lnTo>
                    <a:pt x="277443" y="0"/>
                  </a:lnTo>
                  <a:lnTo>
                    <a:pt x="277443" y="16582"/>
                  </a:lnTo>
                  <a:lnTo>
                    <a:pt x="0" y="16582"/>
                  </a:lnTo>
                  <a:lnTo>
                    <a:pt x="0" y="0"/>
                  </a:lnTo>
                  <a:lnTo>
                    <a:pt x="0" y="0"/>
                  </a:lnTo>
                  <a:close/>
                </a:path>
              </a:pathLst>
            </a:custGeom>
            <a:solidFill>
              <a:srgbClr val="981D04"/>
            </a:solidFill>
            <a:ln w="6346" cap="flat">
              <a:noFill/>
              <a:prstDash val="solid"/>
              <a:miter/>
            </a:ln>
          </p:spPr>
          <p:txBody>
            <a:bodyPr rtlCol="0" anchor="ctr"/>
            <a:lstStyle/>
            <a:p>
              <a:endParaRPr lang="zh-CN" altLang="en-US"/>
            </a:p>
          </p:txBody>
        </p:sp>
        <p:sp>
          <p:nvSpPr>
            <p:cNvPr id="65" name="任意多边形 59"/>
            <p:cNvSpPr/>
            <p:nvPr/>
          </p:nvSpPr>
          <p:spPr>
            <a:xfrm>
              <a:off x="8074926" y="4281217"/>
              <a:ext cx="154366" cy="1017478"/>
            </a:xfrm>
            <a:custGeom>
              <a:avLst/>
              <a:gdLst>
                <a:gd name="connsiteX0" fmla="*/ 8704 w 136339"/>
                <a:gd name="connsiteY0" fmla="*/ 898656 h 898656"/>
                <a:gd name="connsiteX1" fmla="*/ 136339 w 136339"/>
                <a:gd name="connsiteY1" fmla="*/ 898656 h 898656"/>
                <a:gd name="connsiteX2" fmla="*/ 136339 w 136339"/>
                <a:gd name="connsiteY2" fmla="*/ 0 h 898656"/>
                <a:gd name="connsiteX3" fmla="*/ 0 w 136339"/>
                <a:gd name="connsiteY3" fmla="*/ 0 h 898656"/>
                <a:gd name="connsiteX4" fmla="*/ 8704 w 136339"/>
                <a:gd name="connsiteY4" fmla="*/ 898656 h 898656"/>
                <a:gd name="connsiteX5" fmla="*/ 8704 w 136339"/>
                <a:gd name="connsiteY5" fmla="*/ 898656 h 898656"/>
                <a:gd name="connsiteX6" fmla="*/ 8704 w 136339"/>
                <a:gd name="connsiteY6" fmla="*/ 898656 h 898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339" h="898656">
                  <a:moveTo>
                    <a:pt x="8704" y="898656"/>
                  </a:moveTo>
                  <a:lnTo>
                    <a:pt x="136339" y="898656"/>
                  </a:lnTo>
                  <a:lnTo>
                    <a:pt x="136339" y="0"/>
                  </a:lnTo>
                  <a:lnTo>
                    <a:pt x="0" y="0"/>
                  </a:lnTo>
                  <a:lnTo>
                    <a:pt x="8704" y="898656"/>
                  </a:lnTo>
                  <a:lnTo>
                    <a:pt x="8704" y="898656"/>
                  </a:lnTo>
                  <a:lnTo>
                    <a:pt x="8704" y="898656"/>
                  </a:lnTo>
                  <a:close/>
                </a:path>
              </a:pathLst>
            </a:custGeom>
            <a:solidFill>
              <a:srgbClr val="FED0D6"/>
            </a:solidFill>
            <a:ln w="6346" cap="flat">
              <a:noFill/>
              <a:prstDash val="solid"/>
              <a:miter/>
            </a:ln>
          </p:spPr>
          <p:txBody>
            <a:bodyPr rtlCol="0" anchor="ctr"/>
            <a:lstStyle/>
            <a:p>
              <a:endParaRPr lang="zh-CN" altLang="en-US"/>
            </a:p>
          </p:txBody>
        </p:sp>
        <p:sp>
          <p:nvSpPr>
            <p:cNvPr id="66" name="任意多边形 60"/>
            <p:cNvSpPr/>
            <p:nvPr/>
          </p:nvSpPr>
          <p:spPr>
            <a:xfrm>
              <a:off x="8073764" y="5287978"/>
              <a:ext cx="312627" cy="123506"/>
            </a:xfrm>
            <a:custGeom>
              <a:avLst/>
              <a:gdLst>
                <a:gd name="connsiteX0" fmla="*/ 11376 w 276118"/>
                <a:gd name="connsiteY0" fmla="*/ -210 h 109083"/>
                <a:gd name="connsiteX1" fmla="*/ 139646 w 276118"/>
                <a:gd name="connsiteY1" fmla="*/ -210 h 109083"/>
                <a:gd name="connsiteX2" fmla="*/ 275604 w 276118"/>
                <a:gd name="connsiteY2" fmla="*/ 96168 h 109083"/>
                <a:gd name="connsiteX3" fmla="*/ 275604 w 276118"/>
                <a:gd name="connsiteY3" fmla="*/ 108874 h 109083"/>
                <a:gd name="connsiteX4" fmla="*/ 1147 w 276118"/>
                <a:gd name="connsiteY4" fmla="*/ 108874 h 109083"/>
                <a:gd name="connsiteX5" fmla="*/ 11376 w 276118"/>
                <a:gd name="connsiteY5" fmla="*/ -210 h 109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6118" h="109083">
                  <a:moveTo>
                    <a:pt x="11376" y="-210"/>
                  </a:moveTo>
                  <a:lnTo>
                    <a:pt x="139646" y="-210"/>
                  </a:lnTo>
                  <a:cubicBezTo>
                    <a:pt x="139646" y="-210"/>
                    <a:pt x="262771" y="68277"/>
                    <a:pt x="275604" y="96168"/>
                  </a:cubicBezTo>
                  <a:lnTo>
                    <a:pt x="275604" y="108874"/>
                  </a:lnTo>
                  <a:lnTo>
                    <a:pt x="1147" y="108874"/>
                  </a:lnTo>
                  <a:cubicBezTo>
                    <a:pt x="1147" y="108874"/>
                    <a:pt x="-6604" y="27681"/>
                    <a:pt x="11376" y="-210"/>
                  </a:cubicBezTo>
                  <a:close/>
                </a:path>
              </a:pathLst>
            </a:custGeom>
            <a:solidFill>
              <a:srgbClr val="F93F57"/>
            </a:solidFill>
            <a:ln w="6346" cap="flat">
              <a:noFill/>
              <a:prstDash val="solid"/>
              <a:miter/>
            </a:ln>
          </p:spPr>
          <p:txBody>
            <a:bodyPr rtlCol="0" anchor="ctr"/>
            <a:lstStyle/>
            <a:p>
              <a:endParaRPr lang="zh-CN" altLang="en-US"/>
            </a:p>
          </p:txBody>
        </p:sp>
        <p:sp>
          <p:nvSpPr>
            <p:cNvPr id="67" name="任意多边形 61"/>
            <p:cNvSpPr/>
            <p:nvPr/>
          </p:nvSpPr>
          <p:spPr>
            <a:xfrm>
              <a:off x="8074926" y="5411484"/>
              <a:ext cx="311393" cy="18773"/>
            </a:xfrm>
            <a:custGeom>
              <a:avLst/>
              <a:gdLst>
                <a:gd name="connsiteX0" fmla="*/ 0 w 275028"/>
                <a:gd name="connsiteY0" fmla="*/ 0 h 16581"/>
                <a:gd name="connsiteX1" fmla="*/ 275029 w 275028"/>
                <a:gd name="connsiteY1" fmla="*/ 0 h 16581"/>
                <a:gd name="connsiteX2" fmla="*/ 275029 w 275028"/>
                <a:gd name="connsiteY2" fmla="*/ 16582 h 16581"/>
                <a:gd name="connsiteX3" fmla="*/ 0 w 275028"/>
                <a:gd name="connsiteY3" fmla="*/ 16582 h 16581"/>
                <a:gd name="connsiteX4" fmla="*/ 0 w 275028"/>
                <a:gd name="connsiteY4" fmla="*/ 0 h 16581"/>
                <a:gd name="connsiteX5" fmla="*/ 0 w 275028"/>
                <a:gd name="connsiteY5" fmla="*/ 0 h 16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5028" h="16581">
                  <a:moveTo>
                    <a:pt x="0" y="0"/>
                  </a:moveTo>
                  <a:lnTo>
                    <a:pt x="275029" y="0"/>
                  </a:lnTo>
                  <a:lnTo>
                    <a:pt x="275029" y="16582"/>
                  </a:lnTo>
                  <a:lnTo>
                    <a:pt x="0" y="16582"/>
                  </a:lnTo>
                  <a:lnTo>
                    <a:pt x="0" y="0"/>
                  </a:lnTo>
                  <a:lnTo>
                    <a:pt x="0" y="0"/>
                  </a:lnTo>
                  <a:close/>
                </a:path>
              </a:pathLst>
            </a:custGeom>
            <a:solidFill>
              <a:srgbClr val="981D04"/>
            </a:solidFill>
            <a:ln w="6346" cap="flat">
              <a:noFill/>
              <a:prstDash val="solid"/>
              <a:miter/>
            </a:ln>
          </p:spPr>
          <p:txBody>
            <a:bodyPr rtlCol="0" anchor="ctr"/>
            <a:lstStyle/>
            <a:p>
              <a:endParaRPr lang="zh-CN" altLang="en-US"/>
            </a:p>
          </p:txBody>
        </p:sp>
        <p:sp>
          <p:nvSpPr>
            <p:cNvPr id="68" name="任意多边形 62"/>
            <p:cNvSpPr/>
            <p:nvPr/>
          </p:nvSpPr>
          <p:spPr>
            <a:xfrm>
              <a:off x="7564855" y="3584555"/>
              <a:ext cx="961084" cy="1110846"/>
            </a:xfrm>
            <a:custGeom>
              <a:avLst/>
              <a:gdLst>
                <a:gd name="connsiteX0" fmla="*/ 635502 w 848847"/>
                <a:gd name="connsiteY0" fmla="*/ -210 h 981120"/>
                <a:gd name="connsiteX1" fmla="*/ 212380 w 848847"/>
                <a:gd name="connsiteY1" fmla="*/ -210 h 981120"/>
                <a:gd name="connsiteX2" fmla="*/ -514 w 848847"/>
                <a:gd name="connsiteY2" fmla="*/ 980910 h 981120"/>
                <a:gd name="connsiteX3" fmla="*/ 848334 w 848847"/>
                <a:gd name="connsiteY3" fmla="*/ 980910 h 981120"/>
                <a:gd name="connsiteX4" fmla="*/ 635502 w 848847"/>
                <a:gd name="connsiteY4" fmla="*/ -210 h 981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8847" h="981120">
                  <a:moveTo>
                    <a:pt x="635502" y="-210"/>
                  </a:moveTo>
                  <a:lnTo>
                    <a:pt x="212380" y="-210"/>
                  </a:lnTo>
                  <a:cubicBezTo>
                    <a:pt x="12319" y="253281"/>
                    <a:pt x="-514" y="980910"/>
                    <a:pt x="-514" y="980910"/>
                  </a:cubicBezTo>
                  <a:lnTo>
                    <a:pt x="848334" y="980910"/>
                  </a:lnTo>
                  <a:cubicBezTo>
                    <a:pt x="848334" y="980910"/>
                    <a:pt x="838104" y="253281"/>
                    <a:pt x="635502" y="-210"/>
                  </a:cubicBezTo>
                  <a:close/>
                </a:path>
              </a:pathLst>
            </a:custGeom>
            <a:solidFill>
              <a:srgbClr val="434CC0"/>
            </a:solidFill>
            <a:ln w="6346" cap="flat">
              <a:noFill/>
              <a:prstDash val="solid"/>
              <a:miter/>
            </a:ln>
          </p:spPr>
          <p:txBody>
            <a:bodyPr rtlCol="0" anchor="ctr"/>
            <a:lstStyle/>
            <a:p>
              <a:endParaRPr lang="zh-CN" altLang="en-US"/>
            </a:p>
          </p:txBody>
        </p:sp>
        <p:sp>
          <p:nvSpPr>
            <p:cNvPr id="69" name="任意多边形 63"/>
            <p:cNvSpPr/>
            <p:nvPr/>
          </p:nvSpPr>
          <p:spPr>
            <a:xfrm>
              <a:off x="6993099" y="2948350"/>
              <a:ext cx="1467130" cy="1769867"/>
            </a:xfrm>
            <a:custGeom>
              <a:avLst/>
              <a:gdLst>
                <a:gd name="connsiteX0" fmla="*/ 927593 w 1295797"/>
                <a:gd name="connsiteY0" fmla="*/ 878849 h 1563180"/>
                <a:gd name="connsiteX1" fmla="*/ 1022891 w 1295797"/>
                <a:gd name="connsiteY1" fmla="*/ 1014617 h 1563180"/>
                <a:gd name="connsiteX2" fmla="*/ 992077 w 1295797"/>
                <a:gd name="connsiteY2" fmla="*/ 1186152 h 1563180"/>
                <a:gd name="connsiteX3" fmla="*/ 821876 w 1295797"/>
                <a:gd name="connsiteY3" fmla="*/ 1157900 h 1563180"/>
                <a:gd name="connsiteX4" fmla="*/ 820161 w 1295797"/>
                <a:gd name="connsiteY4" fmla="*/ 1155403 h 1563180"/>
                <a:gd name="connsiteX5" fmla="*/ 668447 w 1295797"/>
                <a:gd name="connsiteY5" fmla="*/ 940348 h 1563180"/>
                <a:gd name="connsiteX6" fmla="*/ 668447 w 1295797"/>
                <a:gd name="connsiteY6" fmla="*/ 935202 h 1563180"/>
                <a:gd name="connsiteX7" fmla="*/ 663300 w 1295797"/>
                <a:gd name="connsiteY7" fmla="*/ 932661 h 1563180"/>
                <a:gd name="connsiteX8" fmla="*/ 694114 w 1295797"/>
                <a:gd name="connsiteY8" fmla="*/ 761125 h 1563180"/>
                <a:gd name="connsiteX9" fmla="*/ 765968 w 1295797"/>
                <a:gd name="connsiteY9" fmla="*/ 364243 h 1563180"/>
                <a:gd name="connsiteX10" fmla="*/ 368196 w 1295797"/>
                <a:gd name="connsiteY10" fmla="*/ 297661 h 1563180"/>
                <a:gd name="connsiteX11" fmla="*/ 250154 w 1295797"/>
                <a:gd name="connsiteY11" fmla="*/ 551153 h 1563180"/>
                <a:gd name="connsiteX12" fmla="*/ 134780 w 1295797"/>
                <a:gd name="connsiteY12" fmla="*/ 686793 h 1563180"/>
                <a:gd name="connsiteX13" fmla="*/ 1364 w 1295797"/>
                <a:gd name="connsiteY13" fmla="*/ 574152 h 1563180"/>
                <a:gd name="connsiteX14" fmla="*/ 224614 w 1295797"/>
                <a:gd name="connsiteY14" fmla="*/ 95313 h 1563180"/>
                <a:gd name="connsiteX15" fmla="*/ 966156 w 1295797"/>
                <a:gd name="connsiteY15" fmla="*/ 223329 h 1563180"/>
                <a:gd name="connsiteX16" fmla="*/ 927657 w 1295797"/>
                <a:gd name="connsiteY16" fmla="*/ 878849 h 1563180"/>
                <a:gd name="connsiteX17" fmla="*/ 1245823 w 1295797"/>
                <a:gd name="connsiteY17" fmla="*/ 1332149 h 1563180"/>
                <a:gd name="connsiteX18" fmla="*/ 1271236 w 1295797"/>
                <a:gd name="connsiteY18" fmla="*/ 1367980 h 1563180"/>
                <a:gd name="connsiteX19" fmla="*/ 1242965 w 1295797"/>
                <a:gd name="connsiteY19" fmla="*/ 1542121 h 1563180"/>
                <a:gd name="connsiteX20" fmla="*/ 1068506 w 1295797"/>
                <a:gd name="connsiteY20" fmla="*/ 1511371 h 1563180"/>
                <a:gd name="connsiteX21" fmla="*/ 1043093 w 1295797"/>
                <a:gd name="connsiteY21" fmla="*/ 1473252 h 1563180"/>
                <a:gd name="connsiteX22" fmla="*/ 1073906 w 1295797"/>
                <a:gd name="connsiteY22" fmla="*/ 1301717 h 1563180"/>
                <a:gd name="connsiteX23" fmla="*/ 1242583 w 1295797"/>
                <a:gd name="connsiteY23" fmla="*/ 1327847 h 1563180"/>
                <a:gd name="connsiteX24" fmla="*/ 1245823 w 1295797"/>
                <a:gd name="connsiteY24" fmla="*/ 1332466 h 1563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95797" h="1563180">
                  <a:moveTo>
                    <a:pt x="927593" y="878849"/>
                  </a:moveTo>
                  <a:lnTo>
                    <a:pt x="1022891" y="1014617"/>
                  </a:lnTo>
                  <a:cubicBezTo>
                    <a:pt x="1063932" y="1070906"/>
                    <a:pt x="1051098" y="1145174"/>
                    <a:pt x="992077" y="1186152"/>
                  </a:cubicBezTo>
                  <a:cubicBezTo>
                    <a:pt x="937313" y="1225345"/>
                    <a:pt x="861075" y="1212696"/>
                    <a:pt x="821876" y="1157900"/>
                  </a:cubicBezTo>
                  <a:cubicBezTo>
                    <a:pt x="821305" y="1157074"/>
                    <a:pt x="820732" y="1156242"/>
                    <a:pt x="820161" y="1155403"/>
                  </a:cubicBezTo>
                  <a:lnTo>
                    <a:pt x="668447" y="940348"/>
                  </a:lnTo>
                  <a:lnTo>
                    <a:pt x="668447" y="935202"/>
                  </a:lnTo>
                  <a:cubicBezTo>
                    <a:pt x="663300" y="935202"/>
                    <a:pt x="663300" y="935202"/>
                    <a:pt x="663300" y="932661"/>
                  </a:cubicBezTo>
                  <a:cubicBezTo>
                    <a:pt x="624801" y="878849"/>
                    <a:pt x="640239" y="799244"/>
                    <a:pt x="694114" y="761125"/>
                  </a:cubicBezTo>
                  <a:cubicBezTo>
                    <a:pt x="822384" y="668941"/>
                    <a:pt x="855738" y="492259"/>
                    <a:pt x="765968" y="364243"/>
                  </a:cubicBezTo>
                  <a:cubicBezTo>
                    <a:pt x="673593" y="233621"/>
                    <a:pt x="499135" y="208018"/>
                    <a:pt x="368196" y="297661"/>
                  </a:cubicBezTo>
                  <a:cubicBezTo>
                    <a:pt x="283572" y="359096"/>
                    <a:pt x="239926" y="456491"/>
                    <a:pt x="250154" y="551153"/>
                  </a:cubicBezTo>
                  <a:cubicBezTo>
                    <a:pt x="255618" y="620421"/>
                    <a:pt x="204030" y="681056"/>
                    <a:pt x="134780" y="686793"/>
                  </a:cubicBezTo>
                  <a:cubicBezTo>
                    <a:pt x="65467" y="691939"/>
                    <a:pt x="9051" y="643274"/>
                    <a:pt x="1364" y="574152"/>
                  </a:cubicBezTo>
                  <a:cubicBezTo>
                    <a:pt x="-14456" y="386231"/>
                    <a:pt x="70486" y="204003"/>
                    <a:pt x="224614" y="95313"/>
                  </a:cubicBezTo>
                  <a:cubicBezTo>
                    <a:pt x="466035" y="-71140"/>
                    <a:pt x="799386" y="-14788"/>
                    <a:pt x="966156" y="223329"/>
                  </a:cubicBezTo>
                  <a:cubicBezTo>
                    <a:pt x="1107832" y="424058"/>
                    <a:pt x="1091822" y="696081"/>
                    <a:pt x="927657" y="878849"/>
                  </a:cubicBezTo>
                  <a:close/>
                  <a:moveTo>
                    <a:pt x="1245823" y="1332149"/>
                  </a:moveTo>
                  <a:lnTo>
                    <a:pt x="1271236" y="1367980"/>
                  </a:lnTo>
                  <a:cubicBezTo>
                    <a:pt x="1312277" y="1426874"/>
                    <a:pt x="1299444" y="1501397"/>
                    <a:pt x="1242965" y="1542121"/>
                  </a:cubicBezTo>
                  <a:cubicBezTo>
                    <a:pt x="1189089" y="1577953"/>
                    <a:pt x="1109548" y="1567533"/>
                    <a:pt x="1068506" y="1511371"/>
                  </a:cubicBezTo>
                  <a:lnTo>
                    <a:pt x="1043093" y="1473252"/>
                  </a:lnTo>
                  <a:cubicBezTo>
                    <a:pt x="1004593" y="1419505"/>
                    <a:pt x="1019968" y="1339836"/>
                    <a:pt x="1073906" y="1301717"/>
                  </a:cubicBezTo>
                  <a:cubicBezTo>
                    <a:pt x="1127718" y="1262346"/>
                    <a:pt x="1203257" y="1274049"/>
                    <a:pt x="1242583" y="1327847"/>
                  </a:cubicBezTo>
                  <a:cubicBezTo>
                    <a:pt x="1243727" y="1329359"/>
                    <a:pt x="1244806" y="1330903"/>
                    <a:pt x="1245823" y="1332466"/>
                  </a:cubicBezTo>
                  <a:close/>
                </a:path>
              </a:pathLst>
            </a:custGeom>
            <a:solidFill>
              <a:srgbClr val="FFC545"/>
            </a:solidFill>
            <a:ln w="6346" cap="flat">
              <a:noFill/>
              <a:prstDash val="solid"/>
              <a:miter/>
            </a:ln>
          </p:spPr>
          <p:txBody>
            <a:bodyPr rtlCol="0" anchor="ctr"/>
            <a:lstStyle/>
            <a:p>
              <a:endParaRPr lang="zh-CN" altLang="en-US"/>
            </a:p>
          </p:txBody>
        </p:sp>
        <p:sp>
          <p:nvSpPr>
            <p:cNvPr id="70" name="任意多边形 64"/>
            <p:cNvSpPr/>
            <p:nvPr/>
          </p:nvSpPr>
          <p:spPr>
            <a:xfrm>
              <a:off x="8074926" y="2908035"/>
              <a:ext cx="512041" cy="826857"/>
            </a:xfrm>
            <a:custGeom>
              <a:avLst/>
              <a:gdLst>
                <a:gd name="connsiteX0" fmla="*/ 274260 w 452244"/>
                <a:gd name="connsiteY0" fmla="*/ -210 h 730296"/>
                <a:gd name="connsiteX1" fmla="*/ 451387 w 452244"/>
                <a:gd name="connsiteY1" fmla="*/ 381616 h 730296"/>
                <a:gd name="connsiteX2" fmla="*/ 43132 w 452244"/>
                <a:gd name="connsiteY2" fmla="*/ 730087 h 730296"/>
                <a:gd name="connsiteX3" fmla="*/ -514 w 452244"/>
                <a:gd name="connsiteY3" fmla="*/ 558551 h 730296"/>
                <a:gd name="connsiteX4" fmla="*/ 315302 w 452244"/>
                <a:gd name="connsiteY4" fmla="*/ 366368 h 730296"/>
                <a:gd name="connsiteX5" fmla="*/ 248594 w 452244"/>
                <a:gd name="connsiteY5" fmla="*/ 207539 h 730296"/>
                <a:gd name="connsiteX6" fmla="*/ 274007 w 452244"/>
                <a:gd name="connsiteY6" fmla="*/ -19 h 730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2244" h="730296">
                  <a:moveTo>
                    <a:pt x="274260" y="-210"/>
                  </a:moveTo>
                  <a:cubicBezTo>
                    <a:pt x="274260" y="-210"/>
                    <a:pt x="438553" y="292036"/>
                    <a:pt x="451387" y="381616"/>
                  </a:cubicBezTo>
                  <a:cubicBezTo>
                    <a:pt x="464093" y="473864"/>
                    <a:pt x="120196" y="717317"/>
                    <a:pt x="43132" y="730087"/>
                  </a:cubicBezTo>
                  <a:lnTo>
                    <a:pt x="-514" y="558551"/>
                  </a:lnTo>
                  <a:cubicBezTo>
                    <a:pt x="-514" y="558551"/>
                    <a:pt x="284489" y="425135"/>
                    <a:pt x="315302" y="366368"/>
                  </a:cubicBezTo>
                  <a:lnTo>
                    <a:pt x="248594" y="207539"/>
                  </a:lnTo>
                  <a:lnTo>
                    <a:pt x="274007" y="-19"/>
                  </a:lnTo>
                  <a:close/>
                </a:path>
              </a:pathLst>
            </a:custGeom>
            <a:solidFill>
              <a:srgbClr val="F93F57"/>
            </a:solidFill>
            <a:ln w="6346" cap="flat">
              <a:noFill/>
              <a:prstDash val="solid"/>
              <a:miter/>
            </a:ln>
          </p:spPr>
          <p:txBody>
            <a:bodyPr rtlCol="0" anchor="ctr"/>
            <a:lstStyle/>
            <a:p>
              <a:endParaRPr lang="zh-CN" altLang="en-US"/>
            </a:p>
          </p:txBody>
        </p:sp>
        <p:sp>
          <p:nvSpPr>
            <p:cNvPr id="71" name="任意多边形 65"/>
            <p:cNvSpPr/>
            <p:nvPr/>
          </p:nvSpPr>
          <p:spPr>
            <a:xfrm>
              <a:off x="8008236" y="3573622"/>
              <a:ext cx="101648" cy="117572"/>
            </a:xfrm>
            <a:custGeom>
              <a:avLst/>
              <a:gdLst>
                <a:gd name="connsiteX0" fmla="*/ 66265 w 89777"/>
                <a:gd name="connsiteY0" fmla="*/ 362 h 103842"/>
                <a:gd name="connsiteX1" fmla="*/ 5147 w 89777"/>
                <a:gd name="connsiteY1" fmla="*/ 15800 h 103842"/>
                <a:gd name="connsiteX2" fmla="*/ 89263 w 89777"/>
                <a:gd name="connsiteY2" fmla="*/ 95596 h 103842"/>
                <a:gd name="connsiteX3" fmla="*/ 66265 w 89777"/>
                <a:gd name="connsiteY3" fmla="*/ 298 h 103842"/>
              </a:gdLst>
              <a:ahLst/>
              <a:cxnLst>
                <a:cxn ang="0">
                  <a:pos x="connsiteX0" y="connsiteY0"/>
                </a:cxn>
                <a:cxn ang="0">
                  <a:pos x="connsiteX1" y="connsiteY1"/>
                </a:cxn>
                <a:cxn ang="0">
                  <a:pos x="connsiteX2" y="connsiteY2"/>
                </a:cxn>
                <a:cxn ang="0">
                  <a:pos x="connsiteX3" y="connsiteY3"/>
                </a:cxn>
              </a:cxnLst>
              <a:rect l="l" t="t" r="r" b="b"/>
              <a:pathLst>
                <a:path w="89777" h="103842">
                  <a:moveTo>
                    <a:pt x="66265" y="362"/>
                  </a:moveTo>
                  <a:cubicBezTo>
                    <a:pt x="66265" y="362"/>
                    <a:pt x="15439" y="-4784"/>
                    <a:pt x="5147" y="15800"/>
                  </a:cubicBezTo>
                  <a:cubicBezTo>
                    <a:pt x="-5145" y="36384"/>
                    <a:pt x="-12705" y="131555"/>
                    <a:pt x="89263" y="95596"/>
                  </a:cubicBezTo>
                  <a:lnTo>
                    <a:pt x="66265" y="298"/>
                  </a:lnTo>
                  <a:close/>
                </a:path>
              </a:pathLst>
            </a:custGeom>
            <a:solidFill>
              <a:srgbClr val="FF93B1"/>
            </a:solidFill>
            <a:ln w="6346" cap="flat">
              <a:noFill/>
              <a:prstDash val="solid"/>
              <a:miter/>
            </a:ln>
          </p:spPr>
          <p:txBody>
            <a:bodyPr rtlCol="0" anchor="ctr"/>
            <a:lstStyle/>
            <a:p>
              <a:endParaRPr lang="zh-CN" altLang="en-US"/>
            </a:p>
          </p:txBody>
        </p:sp>
        <p:sp>
          <p:nvSpPr>
            <p:cNvPr id="72" name="任意多边形 67"/>
            <p:cNvSpPr/>
            <p:nvPr/>
          </p:nvSpPr>
          <p:spPr>
            <a:xfrm rot="19901924">
              <a:off x="4001212" y="2597109"/>
              <a:ext cx="340051" cy="595716"/>
            </a:xfrm>
            <a:custGeom>
              <a:avLst/>
              <a:gdLst>
                <a:gd name="connsiteX0" fmla="*/ 596690 w 1007682"/>
                <a:gd name="connsiteY0" fmla="*/ 1042540 h 1765307"/>
                <a:gd name="connsiteX1" fmla="*/ 596690 w 1007682"/>
                <a:gd name="connsiteY1" fmla="*/ 1209120 h 1765307"/>
                <a:gd name="connsiteX2" fmla="*/ 479747 w 1007682"/>
                <a:gd name="connsiteY2" fmla="*/ 1332124 h 1765307"/>
                <a:gd name="connsiteX3" fmla="*/ 473502 w 1007682"/>
                <a:gd name="connsiteY3" fmla="*/ 1332118 h 1765307"/>
                <a:gd name="connsiteX4" fmla="*/ 350314 w 1007682"/>
                <a:gd name="connsiteY4" fmla="*/ 1209120 h 1765307"/>
                <a:gd name="connsiteX5" fmla="*/ 350314 w 1007682"/>
                <a:gd name="connsiteY5" fmla="*/ 945209 h 1765307"/>
                <a:gd name="connsiteX6" fmla="*/ 352855 w 1007682"/>
                <a:gd name="connsiteY6" fmla="*/ 940063 h 1765307"/>
                <a:gd name="connsiteX7" fmla="*/ 350314 w 1007682"/>
                <a:gd name="connsiteY7" fmla="*/ 934981 h 1765307"/>
                <a:gd name="connsiteX8" fmla="*/ 473502 w 1007682"/>
                <a:gd name="connsiteY8" fmla="*/ 811983 h 1765307"/>
                <a:gd name="connsiteX9" fmla="*/ 760983 w 1007682"/>
                <a:gd name="connsiteY9" fmla="*/ 530157 h 1765307"/>
                <a:gd name="connsiteX10" fmla="*/ 473502 w 1007682"/>
                <a:gd name="connsiteY10" fmla="*/ 245725 h 1765307"/>
                <a:gd name="connsiteX11" fmla="*/ 229667 w 1007682"/>
                <a:gd name="connsiteY11" fmla="*/ 384097 h 1765307"/>
                <a:gd name="connsiteX12" fmla="*/ 62134 w 1007682"/>
                <a:gd name="connsiteY12" fmla="*/ 430888 h 1765307"/>
                <a:gd name="connsiteX13" fmla="*/ 15343 w 1007682"/>
                <a:gd name="connsiteY13" fmla="*/ 263355 h 1765307"/>
                <a:gd name="connsiteX14" fmla="*/ 16645 w 1007682"/>
                <a:gd name="connsiteY14" fmla="*/ 261100 h 1765307"/>
                <a:gd name="connsiteX15" fmla="*/ 473502 w 1007682"/>
                <a:gd name="connsiteY15" fmla="*/ -206 h 1765307"/>
                <a:gd name="connsiteX16" fmla="*/ 1007168 w 1007682"/>
                <a:gd name="connsiteY16" fmla="*/ 530157 h 1765307"/>
                <a:gd name="connsiteX17" fmla="*/ 596499 w 1007682"/>
                <a:gd name="connsiteY17" fmla="*/ 1042540 h 1765307"/>
                <a:gd name="connsiteX18" fmla="*/ 596690 w 1007682"/>
                <a:gd name="connsiteY18" fmla="*/ 1595965 h 1765307"/>
                <a:gd name="connsiteX19" fmla="*/ 596690 w 1007682"/>
                <a:gd name="connsiteY19" fmla="*/ 1642089 h 1765307"/>
                <a:gd name="connsiteX20" fmla="*/ 473502 w 1007682"/>
                <a:gd name="connsiteY20" fmla="*/ 1765086 h 1765307"/>
                <a:gd name="connsiteX21" fmla="*/ 350314 w 1007682"/>
                <a:gd name="connsiteY21" fmla="*/ 1645221 h 1765307"/>
                <a:gd name="connsiteX22" fmla="*/ 350314 w 1007682"/>
                <a:gd name="connsiteY22" fmla="*/ 1642089 h 1765307"/>
                <a:gd name="connsiteX23" fmla="*/ 350314 w 1007682"/>
                <a:gd name="connsiteY23" fmla="*/ 1595965 h 1765307"/>
                <a:gd name="connsiteX24" fmla="*/ 473502 w 1007682"/>
                <a:gd name="connsiteY24" fmla="*/ 1473031 h 1765307"/>
                <a:gd name="connsiteX25" fmla="*/ 596690 w 1007682"/>
                <a:gd name="connsiteY25" fmla="*/ 1592769 h 1765307"/>
                <a:gd name="connsiteX26" fmla="*/ 596690 w 1007682"/>
                <a:gd name="connsiteY26" fmla="*/ 1595965 h 1765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07682" h="1765307">
                  <a:moveTo>
                    <a:pt x="596690" y="1042540"/>
                  </a:moveTo>
                  <a:lnTo>
                    <a:pt x="596690" y="1209120"/>
                  </a:lnTo>
                  <a:cubicBezTo>
                    <a:pt x="598361" y="1275377"/>
                    <a:pt x="546004" y="1330447"/>
                    <a:pt x="479747" y="1332124"/>
                  </a:cubicBezTo>
                  <a:cubicBezTo>
                    <a:pt x="477663" y="1332175"/>
                    <a:pt x="475579" y="1332175"/>
                    <a:pt x="473502" y="1332118"/>
                  </a:cubicBezTo>
                  <a:cubicBezTo>
                    <a:pt x="405529" y="1332156"/>
                    <a:pt x="350384" y="1277093"/>
                    <a:pt x="350314" y="1209120"/>
                  </a:cubicBezTo>
                  <a:lnTo>
                    <a:pt x="350314" y="945209"/>
                  </a:lnTo>
                  <a:cubicBezTo>
                    <a:pt x="350314" y="942668"/>
                    <a:pt x="352855" y="942668"/>
                    <a:pt x="352855" y="940063"/>
                  </a:cubicBezTo>
                  <a:cubicBezTo>
                    <a:pt x="350314" y="937522"/>
                    <a:pt x="350314" y="937522"/>
                    <a:pt x="350314" y="934981"/>
                  </a:cubicBezTo>
                  <a:cubicBezTo>
                    <a:pt x="350314" y="870941"/>
                    <a:pt x="406793" y="811983"/>
                    <a:pt x="473502" y="811983"/>
                  </a:cubicBezTo>
                  <a:cubicBezTo>
                    <a:pt x="632649" y="811983"/>
                    <a:pt x="760983" y="686445"/>
                    <a:pt x="760983" y="530157"/>
                  </a:cubicBezTo>
                  <a:cubicBezTo>
                    <a:pt x="760983" y="368723"/>
                    <a:pt x="632649" y="245725"/>
                    <a:pt x="473502" y="245725"/>
                  </a:cubicBezTo>
                  <a:cubicBezTo>
                    <a:pt x="373636" y="246094"/>
                    <a:pt x="281198" y="298552"/>
                    <a:pt x="229667" y="384097"/>
                  </a:cubicBezTo>
                  <a:cubicBezTo>
                    <a:pt x="196326" y="443283"/>
                    <a:pt x="121320" y="464230"/>
                    <a:pt x="62134" y="430888"/>
                  </a:cubicBezTo>
                  <a:cubicBezTo>
                    <a:pt x="2948" y="397547"/>
                    <a:pt x="-17999" y="322541"/>
                    <a:pt x="15343" y="263355"/>
                  </a:cubicBezTo>
                  <a:cubicBezTo>
                    <a:pt x="15769" y="262599"/>
                    <a:pt x="16201" y="261850"/>
                    <a:pt x="16645" y="261100"/>
                  </a:cubicBezTo>
                  <a:cubicBezTo>
                    <a:pt x="111346" y="98668"/>
                    <a:pt x="285480" y="-930"/>
                    <a:pt x="473502" y="-206"/>
                  </a:cubicBezTo>
                  <a:cubicBezTo>
                    <a:pt x="766129" y="-206"/>
                    <a:pt x="1007168" y="235497"/>
                    <a:pt x="1007168" y="530157"/>
                  </a:cubicBezTo>
                  <a:cubicBezTo>
                    <a:pt x="1007168" y="778693"/>
                    <a:pt x="832647" y="988792"/>
                    <a:pt x="596499" y="1042540"/>
                  </a:cubicBezTo>
                  <a:close/>
                  <a:moveTo>
                    <a:pt x="596690" y="1595965"/>
                  </a:moveTo>
                  <a:lnTo>
                    <a:pt x="596690" y="1642089"/>
                  </a:lnTo>
                  <a:cubicBezTo>
                    <a:pt x="596690" y="1713816"/>
                    <a:pt x="545356" y="1765086"/>
                    <a:pt x="473502" y="1765086"/>
                  </a:cubicBezTo>
                  <a:cubicBezTo>
                    <a:pt x="406387" y="1766001"/>
                    <a:pt x="351235" y="1712336"/>
                    <a:pt x="350314" y="1645221"/>
                  </a:cubicBezTo>
                  <a:cubicBezTo>
                    <a:pt x="350301" y="1644179"/>
                    <a:pt x="350301" y="1643131"/>
                    <a:pt x="350314" y="1642089"/>
                  </a:cubicBezTo>
                  <a:lnTo>
                    <a:pt x="350314" y="1595965"/>
                  </a:lnTo>
                  <a:cubicBezTo>
                    <a:pt x="351305" y="1528386"/>
                    <a:pt x="405923" y="1473882"/>
                    <a:pt x="473502" y="1473031"/>
                  </a:cubicBezTo>
                  <a:cubicBezTo>
                    <a:pt x="540585" y="1472078"/>
                    <a:pt x="595737" y="1525686"/>
                    <a:pt x="596690" y="1592769"/>
                  </a:cubicBezTo>
                  <a:cubicBezTo>
                    <a:pt x="596703" y="1593830"/>
                    <a:pt x="596703" y="1594897"/>
                    <a:pt x="596690" y="1595965"/>
                  </a:cubicBezTo>
                  <a:close/>
                </a:path>
              </a:pathLst>
            </a:custGeom>
            <a:solidFill>
              <a:srgbClr val="D0D4DA"/>
            </a:solidFill>
            <a:ln w="6346" cap="flat">
              <a:noFill/>
              <a:prstDash val="solid"/>
              <a:miter/>
            </a:ln>
          </p:spPr>
          <p:txBody>
            <a:bodyPr rtlCol="0" anchor="ctr"/>
            <a:lstStyle/>
            <a:p>
              <a:endParaRPr lang="zh-CN" altLang="en-US"/>
            </a:p>
          </p:txBody>
        </p:sp>
      </p:grpSp>
      <p:pic>
        <p:nvPicPr>
          <p:cNvPr id="74" name="图片 7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903035" y="299594"/>
            <a:ext cx="1837445" cy="501494"/>
          </a:xfrm>
          <a:prstGeom prst="rect">
            <a:avLst/>
          </a:prstGeom>
        </p:spPr>
      </p:pic>
    </p:spTree>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组合 10"/>
          <p:cNvGrpSpPr/>
          <p:nvPr/>
        </p:nvGrpSpPr>
        <p:grpSpPr>
          <a:xfrm>
            <a:off x="660400" y="1130300"/>
            <a:ext cx="10872445" cy="5003800"/>
            <a:chOff x="660400" y="1130300"/>
            <a:chExt cx="10872445" cy="5003800"/>
          </a:xfrm>
        </p:grpSpPr>
        <p:grpSp>
          <p:nvGrpSpPr>
            <p:cNvPr id="2" name="组合 1"/>
            <p:cNvGrpSpPr/>
            <p:nvPr/>
          </p:nvGrpSpPr>
          <p:grpSpPr>
            <a:xfrm>
              <a:off x="660400" y="1130300"/>
              <a:ext cx="3407040" cy="1417447"/>
              <a:chOff x="660400" y="1130300"/>
              <a:chExt cx="3407040" cy="1417447"/>
            </a:xfrm>
          </p:grpSpPr>
          <p:sp>
            <p:nvSpPr>
              <p:cNvPr id="44" name="矩形: 圆角 43"/>
              <p:cNvSpPr/>
              <p:nvPr/>
            </p:nvSpPr>
            <p:spPr>
              <a:xfrm>
                <a:off x="660400" y="1464780"/>
                <a:ext cx="3407040" cy="1082967"/>
              </a:xfrm>
              <a:prstGeom prst="roundRect">
                <a:avLst>
                  <a:gd name="adj" fmla="val 17510"/>
                </a:avLst>
              </a:prstGeom>
              <a:gradFill flip="none" rotWithShape="1">
                <a:gsLst>
                  <a:gs pos="24000">
                    <a:schemeClr val="bg1"/>
                  </a:gs>
                  <a:gs pos="100000">
                    <a:schemeClr val="bg1">
                      <a:alpha val="62000"/>
                    </a:schemeClr>
                  </a:gs>
                </a:gsLst>
                <a:lin ang="5400000" scaled="1"/>
                <a:tileRect/>
              </a:gradFill>
              <a:ln w="12700">
                <a:gradFill flip="none" rotWithShape="1">
                  <a:gsLst>
                    <a:gs pos="0">
                      <a:schemeClr val="accent1">
                        <a:alpha val="0"/>
                      </a:schemeClr>
                    </a:gs>
                    <a:gs pos="100000">
                      <a:schemeClr val="accent1">
                        <a:alpha val="24000"/>
                      </a:schemeClr>
                    </a:gs>
                  </a:gsLst>
                  <a:lin ang="16200000" scaled="1"/>
                  <a:tileRect/>
                </a:gradFill>
              </a:ln>
              <a:effectLst>
                <a:outerShdw blurRad="533400" dist="50800" dir="5400000" algn="ctr" rotWithShape="0">
                  <a:schemeClr val="accent1">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endParaRPr lang="zh-CN" altLang="en-US"/>
              </a:p>
            </p:txBody>
          </p:sp>
          <p:sp>
            <p:nvSpPr>
              <p:cNvPr id="46" name="矩形 45"/>
              <p:cNvSpPr/>
              <p:nvPr/>
            </p:nvSpPr>
            <p:spPr>
              <a:xfrm>
                <a:off x="842216" y="1815255"/>
                <a:ext cx="3028257" cy="6592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normAutofit/>
              </a:bodyPr>
              <a:lstStyle/>
              <a:p>
                <a:pPr>
                  <a:lnSpc>
                    <a:spcPct val="120000"/>
                  </a:lnSpc>
                </a:pPr>
                <a:r>
                  <a:rPr kumimoji="1" lang="en-US" altLang="zh-CN" sz="1200" dirty="0">
                    <a:solidFill>
                      <a:schemeClr val="tx1"/>
                    </a:solidFill>
                    <a:latin typeface="Arial" panose="020B0604020202090204" pitchFamily="34" charset="0"/>
                    <a:ea typeface="华文楷体" panose="02010600040101010101" pitchFamily="2" charset="-122"/>
                  </a:rPr>
                  <a:t>Et </a:t>
                </a:r>
                <a:r>
                  <a:rPr kumimoji="1" lang="en-US" altLang="zh-CN" sz="1200" dirty="0" err="1">
                    <a:solidFill>
                      <a:schemeClr val="tx1"/>
                    </a:solidFill>
                    <a:latin typeface="Arial" panose="020B0604020202090204" pitchFamily="34" charset="0"/>
                    <a:ea typeface="华文楷体" panose="02010600040101010101" pitchFamily="2" charset="-122"/>
                  </a:rPr>
                  <a:t>rebum</a:t>
                </a:r>
                <a:r>
                  <a:rPr kumimoji="1" lang="en-US" altLang="zh-CN" sz="1200" dirty="0">
                    <a:solidFill>
                      <a:schemeClr val="tx1"/>
                    </a:solidFill>
                    <a:latin typeface="Arial" panose="020B0604020202090204" pitchFamily="34" charset="0"/>
                    <a:ea typeface="华文楷体" panose="02010600040101010101" pitchFamily="2" charset="-122"/>
                  </a:rPr>
                  <a:t> </a:t>
                </a:r>
                <a:r>
                  <a:rPr kumimoji="1" lang="en-US" altLang="zh-CN" sz="1200" dirty="0" err="1">
                    <a:solidFill>
                      <a:schemeClr val="tx1"/>
                    </a:solidFill>
                    <a:latin typeface="Arial" panose="020B0604020202090204" pitchFamily="34" charset="0"/>
                    <a:ea typeface="华文楷体" panose="02010600040101010101" pitchFamily="2" charset="-122"/>
                  </a:rPr>
                  <a:t>rebum</a:t>
                </a:r>
                <a:r>
                  <a:rPr kumimoji="1" lang="en-US" altLang="zh-CN" sz="1200" dirty="0">
                    <a:solidFill>
                      <a:schemeClr val="tx1"/>
                    </a:solidFill>
                    <a:latin typeface="Arial" panose="020B0604020202090204" pitchFamily="34" charset="0"/>
                    <a:ea typeface="华文楷体" panose="02010600040101010101" pitchFamily="2" charset="-122"/>
                  </a:rPr>
                  <a:t> </a:t>
                </a:r>
                <a:r>
                  <a:rPr kumimoji="1" lang="en-US" altLang="zh-CN" sz="1200" dirty="0" err="1">
                    <a:solidFill>
                      <a:schemeClr val="tx1"/>
                    </a:solidFill>
                    <a:latin typeface="Arial" panose="020B0604020202090204" pitchFamily="34" charset="0"/>
                    <a:ea typeface="华文楷体" panose="02010600040101010101" pitchFamily="2" charset="-122"/>
                  </a:rPr>
                  <a:t>tempor</a:t>
                </a:r>
                <a:r>
                  <a:rPr kumimoji="1" lang="en-US" altLang="zh-CN" sz="1200" dirty="0">
                    <a:solidFill>
                      <a:schemeClr val="tx1"/>
                    </a:solidFill>
                    <a:latin typeface="Arial" panose="020B0604020202090204" pitchFamily="34" charset="0"/>
                    <a:ea typeface="华文楷体" panose="02010600040101010101" pitchFamily="2" charset="-122"/>
                  </a:rPr>
                  <a:t> </a:t>
                </a:r>
                <a:r>
                  <a:rPr kumimoji="1" lang="en-US" altLang="zh-CN" sz="1200" dirty="0" err="1">
                    <a:solidFill>
                      <a:schemeClr val="tx1"/>
                    </a:solidFill>
                    <a:latin typeface="Arial" panose="020B0604020202090204" pitchFamily="34" charset="0"/>
                    <a:ea typeface="华文楷体" panose="02010600040101010101" pitchFamily="2" charset="-122"/>
                  </a:rPr>
                  <a:t>veniam</a:t>
                </a:r>
                <a:r>
                  <a:rPr kumimoji="1" lang="en-US" altLang="zh-CN" sz="1200" dirty="0">
                    <a:solidFill>
                      <a:schemeClr val="tx1"/>
                    </a:solidFill>
                    <a:latin typeface="Arial" panose="020B0604020202090204" pitchFamily="34" charset="0"/>
                    <a:ea typeface="华文楷体" panose="02010600040101010101" pitchFamily="2" charset="-122"/>
                  </a:rPr>
                  <a:t> labore et </a:t>
                </a:r>
                <a:r>
                  <a:rPr kumimoji="1" lang="en-US" altLang="zh-CN" sz="1200" dirty="0" err="1">
                    <a:solidFill>
                      <a:schemeClr val="tx1"/>
                    </a:solidFill>
                    <a:latin typeface="Arial" panose="020B0604020202090204" pitchFamily="34" charset="0"/>
                    <a:ea typeface="华文楷体" panose="02010600040101010101" pitchFamily="2" charset="-122"/>
                  </a:rPr>
                  <a:t>accusam</a:t>
                </a:r>
                <a:r>
                  <a:rPr kumimoji="1" lang="en-US" altLang="zh-CN" sz="1200" dirty="0">
                    <a:solidFill>
                      <a:schemeClr val="tx1"/>
                    </a:solidFill>
                    <a:latin typeface="Arial" panose="020B0604020202090204" pitchFamily="34" charset="0"/>
                    <a:ea typeface="华文楷体" panose="02010600040101010101" pitchFamily="2" charset="-122"/>
                  </a:rPr>
                  <a:t> </a:t>
                </a:r>
                <a:r>
                  <a:rPr kumimoji="1" lang="en-US" altLang="zh-CN" sz="1200" dirty="0" err="1">
                    <a:solidFill>
                      <a:schemeClr val="tx1"/>
                    </a:solidFill>
                    <a:latin typeface="Arial" panose="020B0604020202090204" pitchFamily="34" charset="0"/>
                    <a:ea typeface="华文楷体" panose="02010600040101010101" pitchFamily="2" charset="-122"/>
                  </a:rPr>
                  <a:t>veniam</a:t>
                </a:r>
                <a:r>
                  <a:rPr kumimoji="1" lang="en-US" altLang="zh-CN" sz="1200" dirty="0">
                    <a:solidFill>
                      <a:schemeClr val="tx1"/>
                    </a:solidFill>
                    <a:latin typeface="Arial" panose="020B0604020202090204" pitchFamily="34" charset="0"/>
                    <a:ea typeface="华文楷体" panose="02010600040101010101" pitchFamily="2" charset="-122"/>
                  </a:rPr>
                  <a:t>.</a:t>
                </a:r>
                <a:endParaRPr kumimoji="1" lang="en-US" altLang="zh-CN" sz="1200" dirty="0">
                  <a:solidFill>
                    <a:schemeClr val="tx1"/>
                  </a:solidFill>
                  <a:latin typeface="Arial" panose="020B0604020202090204" pitchFamily="34" charset="0"/>
                  <a:ea typeface="华文楷体" panose="02010600040101010101" pitchFamily="2" charset="-122"/>
                </a:endParaRPr>
              </a:p>
            </p:txBody>
          </p:sp>
          <p:sp>
            <p:nvSpPr>
              <p:cNvPr id="47" name="文本框 46"/>
              <p:cNvSpPr txBox="1"/>
              <p:nvPr/>
            </p:nvSpPr>
            <p:spPr bwMode="auto">
              <a:xfrm>
                <a:off x="842216" y="1130300"/>
                <a:ext cx="3028257" cy="540474"/>
              </a:xfrm>
              <a:prstGeom prst="roundRect">
                <a:avLst>
                  <a:gd name="adj" fmla="val 50000"/>
                </a:avLst>
              </a:prstGeom>
              <a:gradFill flip="none" rotWithShape="1">
                <a:gsLst>
                  <a:gs pos="51000">
                    <a:schemeClr val="bg1"/>
                  </a:gs>
                  <a:gs pos="100000">
                    <a:schemeClr val="bg1"/>
                  </a:gs>
                </a:gsLst>
                <a:lin ang="5400000" scaled="1"/>
                <a:tileRect/>
              </a:gradFill>
              <a:ln w="12700">
                <a:solidFill>
                  <a:schemeClr val="accent1"/>
                </a:solidFill>
              </a:ln>
              <a:effectLst>
                <a:outerShdw blurRad="533400" dist="127000" algn="ctr" rotWithShape="0">
                  <a:schemeClr val="accent1">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lIns="91440" tIns="45720" rIns="91440" bIns="45720" anchor="ctr"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eaLnBrk="1" hangingPunct="1">
                  <a:spcBef>
                    <a:spcPct val="0"/>
                  </a:spcBef>
                  <a:buFontTx/>
                  <a:buNone/>
                </a:pPr>
                <a:r>
                  <a:rPr lang="en-US" altLang="zh-CN" b="1" dirty="0">
                    <a:latin typeface="Arial" panose="020B0604020202090204" pitchFamily="34" charset="0"/>
                    <a:ea typeface="华文楷体" panose="02010600040101010101" pitchFamily="2" charset="-122"/>
                  </a:rPr>
                  <a:t>Click to add text</a:t>
                </a:r>
                <a:endParaRPr lang="en-US" altLang="zh-CN" b="1" dirty="0">
                  <a:latin typeface="Arial" panose="020B0604020202090204" pitchFamily="34" charset="0"/>
                  <a:ea typeface="华文楷体" panose="02010600040101010101" pitchFamily="2" charset="-122"/>
                </a:endParaRPr>
              </a:p>
            </p:txBody>
          </p:sp>
        </p:grpSp>
        <p:grpSp>
          <p:nvGrpSpPr>
            <p:cNvPr id="6" name="组合 5"/>
            <p:cNvGrpSpPr/>
            <p:nvPr/>
          </p:nvGrpSpPr>
          <p:grpSpPr>
            <a:xfrm>
              <a:off x="4393102" y="1130300"/>
              <a:ext cx="3407041" cy="1417447"/>
              <a:chOff x="4393102" y="1130300"/>
              <a:chExt cx="3407041" cy="1417447"/>
            </a:xfrm>
          </p:grpSpPr>
          <p:sp>
            <p:nvSpPr>
              <p:cNvPr id="49" name="矩形: 圆角 48"/>
              <p:cNvSpPr/>
              <p:nvPr/>
            </p:nvSpPr>
            <p:spPr>
              <a:xfrm>
                <a:off x="4393102" y="1464780"/>
                <a:ext cx="3407041" cy="1082967"/>
              </a:xfrm>
              <a:prstGeom prst="roundRect">
                <a:avLst>
                  <a:gd name="adj" fmla="val 17510"/>
                </a:avLst>
              </a:prstGeom>
              <a:gradFill flip="none" rotWithShape="1">
                <a:gsLst>
                  <a:gs pos="24000">
                    <a:schemeClr val="bg1"/>
                  </a:gs>
                  <a:gs pos="100000">
                    <a:schemeClr val="bg1">
                      <a:alpha val="62000"/>
                    </a:schemeClr>
                  </a:gs>
                </a:gsLst>
                <a:lin ang="5400000" scaled="1"/>
                <a:tileRect/>
              </a:gradFill>
              <a:ln w="12700">
                <a:gradFill flip="none" rotWithShape="1">
                  <a:gsLst>
                    <a:gs pos="0">
                      <a:schemeClr val="accent1">
                        <a:alpha val="0"/>
                      </a:schemeClr>
                    </a:gs>
                    <a:gs pos="100000">
                      <a:schemeClr val="accent1">
                        <a:alpha val="24000"/>
                      </a:schemeClr>
                    </a:gs>
                  </a:gsLst>
                  <a:lin ang="16200000" scaled="1"/>
                  <a:tileRect/>
                </a:gradFill>
              </a:ln>
              <a:effectLst>
                <a:outerShdw blurRad="533400" dist="50800" dir="5400000" algn="ctr" rotWithShape="0">
                  <a:schemeClr val="accent1">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endParaRPr lang="zh-CN" altLang="en-US"/>
              </a:p>
            </p:txBody>
          </p:sp>
          <p:sp>
            <p:nvSpPr>
              <p:cNvPr id="51" name="矩形 50"/>
              <p:cNvSpPr/>
              <p:nvPr/>
            </p:nvSpPr>
            <p:spPr>
              <a:xfrm>
                <a:off x="4574918" y="1815255"/>
                <a:ext cx="3028257" cy="6592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normAutofit/>
              </a:bodyPr>
              <a:lstStyle/>
              <a:p>
                <a:pPr>
                  <a:lnSpc>
                    <a:spcPct val="120000"/>
                  </a:lnSpc>
                </a:pPr>
                <a:r>
                  <a:rPr kumimoji="1" lang="en-US" altLang="zh-CN" sz="1200" dirty="0">
                    <a:solidFill>
                      <a:schemeClr val="tx1"/>
                    </a:solidFill>
                    <a:latin typeface="Arial" panose="020B0604020202090204" pitchFamily="34" charset="0"/>
                    <a:ea typeface="华文楷体" panose="02010600040101010101" pitchFamily="2" charset="-122"/>
                  </a:rPr>
                  <a:t>Et </a:t>
                </a:r>
                <a:r>
                  <a:rPr kumimoji="1" lang="en-US" altLang="zh-CN" sz="1200" dirty="0" err="1">
                    <a:solidFill>
                      <a:schemeClr val="tx1"/>
                    </a:solidFill>
                    <a:latin typeface="Arial" panose="020B0604020202090204" pitchFamily="34" charset="0"/>
                    <a:ea typeface="华文楷体" panose="02010600040101010101" pitchFamily="2" charset="-122"/>
                  </a:rPr>
                  <a:t>rebum</a:t>
                </a:r>
                <a:r>
                  <a:rPr kumimoji="1" lang="en-US" altLang="zh-CN" sz="1200" dirty="0">
                    <a:solidFill>
                      <a:schemeClr val="tx1"/>
                    </a:solidFill>
                    <a:latin typeface="Arial" panose="020B0604020202090204" pitchFamily="34" charset="0"/>
                    <a:ea typeface="华文楷体" panose="02010600040101010101" pitchFamily="2" charset="-122"/>
                  </a:rPr>
                  <a:t> </a:t>
                </a:r>
                <a:r>
                  <a:rPr kumimoji="1" lang="en-US" altLang="zh-CN" sz="1200" dirty="0" err="1">
                    <a:solidFill>
                      <a:schemeClr val="tx1"/>
                    </a:solidFill>
                    <a:latin typeface="Arial" panose="020B0604020202090204" pitchFamily="34" charset="0"/>
                    <a:ea typeface="华文楷体" panose="02010600040101010101" pitchFamily="2" charset="-122"/>
                  </a:rPr>
                  <a:t>rebum</a:t>
                </a:r>
                <a:r>
                  <a:rPr kumimoji="1" lang="en-US" altLang="zh-CN" sz="1200" dirty="0">
                    <a:solidFill>
                      <a:schemeClr val="tx1"/>
                    </a:solidFill>
                    <a:latin typeface="Arial" panose="020B0604020202090204" pitchFamily="34" charset="0"/>
                    <a:ea typeface="华文楷体" panose="02010600040101010101" pitchFamily="2" charset="-122"/>
                  </a:rPr>
                  <a:t> </a:t>
                </a:r>
                <a:r>
                  <a:rPr kumimoji="1" lang="en-US" altLang="zh-CN" sz="1200" dirty="0" err="1">
                    <a:solidFill>
                      <a:schemeClr val="tx1"/>
                    </a:solidFill>
                    <a:latin typeface="Arial" panose="020B0604020202090204" pitchFamily="34" charset="0"/>
                    <a:ea typeface="华文楷体" panose="02010600040101010101" pitchFamily="2" charset="-122"/>
                  </a:rPr>
                  <a:t>tempor</a:t>
                </a:r>
                <a:r>
                  <a:rPr kumimoji="1" lang="en-US" altLang="zh-CN" sz="1200" dirty="0">
                    <a:solidFill>
                      <a:schemeClr val="tx1"/>
                    </a:solidFill>
                    <a:latin typeface="Arial" panose="020B0604020202090204" pitchFamily="34" charset="0"/>
                    <a:ea typeface="华文楷体" panose="02010600040101010101" pitchFamily="2" charset="-122"/>
                  </a:rPr>
                  <a:t> </a:t>
                </a:r>
                <a:r>
                  <a:rPr kumimoji="1" lang="en-US" altLang="zh-CN" sz="1200" dirty="0" err="1">
                    <a:solidFill>
                      <a:schemeClr val="tx1"/>
                    </a:solidFill>
                    <a:latin typeface="Arial" panose="020B0604020202090204" pitchFamily="34" charset="0"/>
                    <a:ea typeface="华文楷体" panose="02010600040101010101" pitchFamily="2" charset="-122"/>
                  </a:rPr>
                  <a:t>veniam</a:t>
                </a:r>
                <a:r>
                  <a:rPr kumimoji="1" lang="en-US" altLang="zh-CN" sz="1200" dirty="0">
                    <a:solidFill>
                      <a:schemeClr val="tx1"/>
                    </a:solidFill>
                    <a:latin typeface="Arial" panose="020B0604020202090204" pitchFamily="34" charset="0"/>
                    <a:ea typeface="华文楷体" panose="02010600040101010101" pitchFamily="2" charset="-122"/>
                  </a:rPr>
                  <a:t> labore et </a:t>
                </a:r>
                <a:r>
                  <a:rPr kumimoji="1" lang="en-US" altLang="zh-CN" sz="1200" dirty="0" err="1">
                    <a:solidFill>
                      <a:schemeClr val="tx1"/>
                    </a:solidFill>
                    <a:latin typeface="Arial" panose="020B0604020202090204" pitchFamily="34" charset="0"/>
                    <a:ea typeface="华文楷体" panose="02010600040101010101" pitchFamily="2" charset="-122"/>
                  </a:rPr>
                  <a:t>accusam</a:t>
                </a:r>
                <a:r>
                  <a:rPr kumimoji="1" lang="en-US" altLang="zh-CN" sz="1200" dirty="0">
                    <a:solidFill>
                      <a:schemeClr val="tx1"/>
                    </a:solidFill>
                    <a:latin typeface="Arial" panose="020B0604020202090204" pitchFamily="34" charset="0"/>
                    <a:ea typeface="华文楷体" panose="02010600040101010101" pitchFamily="2" charset="-122"/>
                  </a:rPr>
                  <a:t> </a:t>
                </a:r>
                <a:r>
                  <a:rPr kumimoji="1" lang="en-US" altLang="zh-CN" sz="1200" dirty="0" err="1">
                    <a:solidFill>
                      <a:schemeClr val="tx1"/>
                    </a:solidFill>
                    <a:latin typeface="Arial" panose="020B0604020202090204" pitchFamily="34" charset="0"/>
                    <a:ea typeface="华文楷体" panose="02010600040101010101" pitchFamily="2" charset="-122"/>
                  </a:rPr>
                  <a:t>veniam</a:t>
                </a:r>
                <a:r>
                  <a:rPr kumimoji="1" lang="en-US" altLang="zh-CN" sz="1200" dirty="0">
                    <a:solidFill>
                      <a:schemeClr val="tx1"/>
                    </a:solidFill>
                    <a:latin typeface="Arial" panose="020B0604020202090204" pitchFamily="34" charset="0"/>
                    <a:ea typeface="华文楷体" panose="02010600040101010101" pitchFamily="2" charset="-122"/>
                  </a:rPr>
                  <a:t>.</a:t>
                </a:r>
                <a:endParaRPr kumimoji="1" lang="en-US" altLang="zh-CN" sz="1200" dirty="0">
                  <a:solidFill>
                    <a:schemeClr val="tx1"/>
                  </a:solidFill>
                  <a:latin typeface="Arial" panose="020B0604020202090204" pitchFamily="34" charset="0"/>
                  <a:ea typeface="华文楷体" panose="02010600040101010101" pitchFamily="2" charset="-122"/>
                </a:endParaRPr>
              </a:p>
            </p:txBody>
          </p:sp>
          <p:sp>
            <p:nvSpPr>
              <p:cNvPr id="52" name="文本框 51"/>
              <p:cNvSpPr txBox="1"/>
              <p:nvPr/>
            </p:nvSpPr>
            <p:spPr bwMode="auto">
              <a:xfrm>
                <a:off x="4574918" y="1130300"/>
                <a:ext cx="3028257" cy="540474"/>
              </a:xfrm>
              <a:prstGeom prst="roundRect">
                <a:avLst>
                  <a:gd name="adj" fmla="val 50000"/>
                </a:avLst>
              </a:prstGeom>
              <a:gradFill flip="none" rotWithShape="1">
                <a:gsLst>
                  <a:gs pos="51000">
                    <a:schemeClr val="bg1"/>
                  </a:gs>
                  <a:gs pos="100000">
                    <a:schemeClr val="bg1"/>
                  </a:gs>
                </a:gsLst>
                <a:lin ang="5400000" scaled="1"/>
                <a:tileRect/>
              </a:gradFill>
              <a:ln w="12700">
                <a:solidFill>
                  <a:schemeClr val="accent1"/>
                </a:solidFill>
              </a:ln>
              <a:effectLst>
                <a:outerShdw blurRad="533400" dist="127000" algn="ctr" rotWithShape="0">
                  <a:schemeClr val="accent1">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lIns="91440" tIns="45720" rIns="91440" bIns="45720" anchor="ctr" anchorCtr="0">
                <a:noAutofit/>
              </a:bodyPr>
              <a:lstStyle>
                <a:defPPr>
                  <a:defRPr lang="en-US"/>
                </a:defPPr>
                <a:lvl1pPr algn="ctr">
                  <a:spcBef>
                    <a:spcPct val="0"/>
                  </a:spcBef>
                  <a:buFontTx/>
                  <a:buNone/>
                  <a:defRPr b="1">
                    <a:solidFill>
                      <a:srgbClr val="FFFFFF"/>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r>
                  <a:rPr lang="en-US" altLang="zh-CN" dirty="0">
                    <a:solidFill>
                      <a:schemeClr val="tx1"/>
                    </a:solidFill>
                    <a:latin typeface="Arial" panose="020B0604020202090204" pitchFamily="34" charset="0"/>
                    <a:ea typeface="华文楷体" panose="02010600040101010101" pitchFamily="2" charset="-122"/>
                  </a:rPr>
                  <a:t>Click to add text</a:t>
                </a:r>
                <a:endParaRPr lang="en-US" altLang="zh-CN" dirty="0">
                  <a:solidFill>
                    <a:schemeClr val="tx1"/>
                  </a:solidFill>
                  <a:latin typeface="Arial" panose="020B0604020202090204" pitchFamily="34" charset="0"/>
                  <a:ea typeface="华文楷体" panose="02010600040101010101" pitchFamily="2" charset="-122"/>
                </a:endParaRPr>
              </a:p>
            </p:txBody>
          </p:sp>
        </p:grpSp>
        <p:grpSp>
          <p:nvGrpSpPr>
            <p:cNvPr id="7" name="组合 6"/>
            <p:cNvGrpSpPr/>
            <p:nvPr/>
          </p:nvGrpSpPr>
          <p:grpSpPr>
            <a:xfrm>
              <a:off x="8125805" y="1130300"/>
              <a:ext cx="3407040" cy="1417447"/>
              <a:chOff x="8125805" y="1130300"/>
              <a:chExt cx="3407040" cy="1417447"/>
            </a:xfrm>
          </p:grpSpPr>
          <p:sp>
            <p:nvSpPr>
              <p:cNvPr id="54" name="矩形: 圆角 53"/>
              <p:cNvSpPr/>
              <p:nvPr/>
            </p:nvSpPr>
            <p:spPr>
              <a:xfrm>
                <a:off x="8125805" y="1464780"/>
                <a:ext cx="3407040" cy="1082967"/>
              </a:xfrm>
              <a:prstGeom prst="roundRect">
                <a:avLst>
                  <a:gd name="adj" fmla="val 17510"/>
                </a:avLst>
              </a:prstGeom>
              <a:gradFill flip="none" rotWithShape="1">
                <a:gsLst>
                  <a:gs pos="24000">
                    <a:schemeClr val="bg1"/>
                  </a:gs>
                  <a:gs pos="100000">
                    <a:schemeClr val="bg1">
                      <a:alpha val="62000"/>
                    </a:schemeClr>
                  </a:gs>
                </a:gsLst>
                <a:lin ang="5400000" scaled="1"/>
                <a:tileRect/>
              </a:gradFill>
              <a:ln w="12700">
                <a:gradFill flip="none" rotWithShape="1">
                  <a:gsLst>
                    <a:gs pos="0">
                      <a:schemeClr val="accent1">
                        <a:alpha val="0"/>
                      </a:schemeClr>
                    </a:gs>
                    <a:gs pos="100000">
                      <a:schemeClr val="accent1">
                        <a:alpha val="24000"/>
                      </a:schemeClr>
                    </a:gs>
                  </a:gsLst>
                  <a:lin ang="16200000" scaled="1"/>
                  <a:tileRect/>
                </a:gradFill>
              </a:ln>
              <a:effectLst>
                <a:outerShdw blurRad="533400" dist="50800" dir="5400000" algn="ctr" rotWithShape="0">
                  <a:schemeClr val="accent1">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endParaRPr lang="zh-CN" altLang="en-US"/>
              </a:p>
            </p:txBody>
          </p:sp>
          <p:sp>
            <p:nvSpPr>
              <p:cNvPr id="56" name="矩形 55"/>
              <p:cNvSpPr/>
              <p:nvPr/>
            </p:nvSpPr>
            <p:spPr>
              <a:xfrm>
                <a:off x="8307621" y="1815255"/>
                <a:ext cx="3028257" cy="6592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normAutofit/>
              </a:bodyPr>
              <a:lstStyle/>
              <a:p>
                <a:pPr>
                  <a:lnSpc>
                    <a:spcPct val="120000"/>
                  </a:lnSpc>
                </a:pPr>
                <a:r>
                  <a:rPr kumimoji="1" lang="en-US" altLang="zh-CN" sz="1200" dirty="0">
                    <a:solidFill>
                      <a:schemeClr val="tx1"/>
                    </a:solidFill>
                    <a:latin typeface="Arial" panose="020B0604020202090204" pitchFamily="34" charset="0"/>
                    <a:ea typeface="华文楷体" panose="02010600040101010101" pitchFamily="2" charset="-122"/>
                  </a:rPr>
                  <a:t>Et </a:t>
                </a:r>
                <a:r>
                  <a:rPr kumimoji="1" lang="en-US" altLang="zh-CN" sz="1200" dirty="0" err="1">
                    <a:solidFill>
                      <a:schemeClr val="tx1"/>
                    </a:solidFill>
                    <a:latin typeface="Arial" panose="020B0604020202090204" pitchFamily="34" charset="0"/>
                    <a:ea typeface="华文楷体" panose="02010600040101010101" pitchFamily="2" charset="-122"/>
                  </a:rPr>
                  <a:t>rebum</a:t>
                </a:r>
                <a:r>
                  <a:rPr kumimoji="1" lang="en-US" altLang="zh-CN" sz="1200" dirty="0">
                    <a:solidFill>
                      <a:schemeClr val="tx1"/>
                    </a:solidFill>
                    <a:latin typeface="Arial" panose="020B0604020202090204" pitchFamily="34" charset="0"/>
                    <a:ea typeface="华文楷体" panose="02010600040101010101" pitchFamily="2" charset="-122"/>
                  </a:rPr>
                  <a:t> </a:t>
                </a:r>
                <a:r>
                  <a:rPr kumimoji="1" lang="en-US" altLang="zh-CN" sz="1200" dirty="0" err="1">
                    <a:solidFill>
                      <a:schemeClr val="tx1"/>
                    </a:solidFill>
                    <a:latin typeface="Arial" panose="020B0604020202090204" pitchFamily="34" charset="0"/>
                    <a:ea typeface="华文楷体" panose="02010600040101010101" pitchFamily="2" charset="-122"/>
                  </a:rPr>
                  <a:t>rebum</a:t>
                </a:r>
                <a:r>
                  <a:rPr kumimoji="1" lang="en-US" altLang="zh-CN" sz="1200" dirty="0">
                    <a:solidFill>
                      <a:schemeClr val="tx1"/>
                    </a:solidFill>
                    <a:latin typeface="Arial" panose="020B0604020202090204" pitchFamily="34" charset="0"/>
                    <a:ea typeface="华文楷体" panose="02010600040101010101" pitchFamily="2" charset="-122"/>
                  </a:rPr>
                  <a:t> </a:t>
                </a:r>
                <a:r>
                  <a:rPr kumimoji="1" lang="en-US" altLang="zh-CN" sz="1200" dirty="0" err="1">
                    <a:solidFill>
                      <a:schemeClr val="tx1"/>
                    </a:solidFill>
                    <a:latin typeface="Arial" panose="020B0604020202090204" pitchFamily="34" charset="0"/>
                    <a:ea typeface="华文楷体" panose="02010600040101010101" pitchFamily="2" charset="-122"/>
                  </a:rPr>
                  <a:t>tempor</a:t>
                </a:r>
                <a:r>
                  <a:rPr kumimoji="1" lang="en-US" altLang="zh-CN" sz="1200" dirty="0">
                    <a:solidFill>
                      <a:schemeClr val="tx1"/>
                    </a:solidFill>
                    <a:latin typeface="Arial" panose="020B0604020202090204" pitchFamily="34" charset="0"/>
                    <a:ea typeface="华文楷体" panose="02010600040101010101" pitchFamily="2" charset="-122"/>
                  </a:rPr>
                  <a:t> </a:t>
                </a:r>
                <a:r>
                  <a:rPr kumimoji="1" lang="en-US" altLang="zh-CN" sz="1200" dirty="0" err="1">
                    <a:solidFill>
                      <a:schemeClr val="tx1"/>
                    </a:solidFill>
                    <a:latin typeface="Arial" panose="020B0604020202090204" pitchFamily="34" charset="0"/>
                    <a:ea typeface="华文楷体" panose="02010600040101010101" pitchFamily="2" charset="-122"/>
                  </a:rPr>
                  <a:t>veniam</a:t>
                </a:r>
                <a:r>
                  <a:rPr kumimoji="1" lang="en-US" altLang="zh-CN" sz="1200" dirty="0">
                    <a:solidFill>
                      <a:schemeClr val="tx1"/>
                    </a:solidFill>
                    <a:latin typeface="Arial" panose="020B0604020202090204" pitchFamily="34" charset="0"/>
                    <a:ea typeface="华文楷体" panose="02010600040101010101" pitchFamily="2" charset="-122"/>
                  </a:rPr>
                  <a:t> labore et </a:t>
                </a:r>
                <a:r>
                  <a:rPr kumimoji="1" lang="en-US" altLang="zh-CN" sz="1200" dirty="0" err="1">
                    <a:solidFill>
                      <a:schemeClr val="tx1"/>
                    </a:solidFill>
                    <a:latin typeface="Arial" panose="020B0604020202090204" pitchFamily="34" charset="0"/>
                    <a:ea typeface="华文楷体" panose="02010600040101010101" pitchFamily="2" charset="-122"/>
                  </a:rPr>
                  <a:t>accusam</a:t>
                </a:r>
                <a:r>
                  <a:rPr kumimoji="1" lang="en-US" altLang="zh-CN" sz="1200" dirty="0">
                    <a:solidFill>
                      <a:schemeClr val="tx1"/>
                    </a:solidFill>
                    <a:latin typeface="Arial" panose="020B0604020202090204" pitchFamily="34" charset="0"/>
                    <a:ea typeface="华文楷体" panose="02010600040101010101" pitchFamily="2" charset="-122"/>
                  </a:rPr>
                  <a:t> </a:t>
                </a:r>
                <a:r>
                  <a:rPr kumimoji="1" lang="en-US" altLang="zh-CN" sz="1200" dirty="0" err="1">
                    <a:solidFill>
                      <a:schemeClr val="tx1"/>
                    </a:solidFill>
                    <a:latin typeface="Arial" panose="020B0604020202090204" pitchFamily="34" charset="0"/>
                    <a:ea typeface="华文楷体" panose="02010600040101010101" pitchFamily="2" charset="-122"/>
                  </a:rPr>
                  <a:t>veniam</a:t>
                </a:r>
                <a:r>
                  <a:rPr kumimoji="1" lang="en-US" altLang="zh-CN" sz="1200" dirty="0">
                    <a:solidFill>
                      <a:schemeClr val="tx1"/>
                    </a:solidFill>
                    <a:latin typeface="Arial" panose="020B0604020202090204" pitchFamily="34" charset="0"/>
                    <a:ea typeface="华文楷体" panose="02010600040101010101" pitchFamily="2" charset="-122"/>
                  </a:rPr>
                  <a:t>.</a:t>
                </a:r>
                <a:endParaRPr kumimoji="1" lang="en-US" altLang="zh-CN" sz="1200" dirty="0">
                  <a:solidFill>
                    <a:schemeClr val="tx1"/>
                  </a:solidFill>
                  <a:latin typeface="Arial" panose="020B0604020202090204" pitchFamily="34" charset="0"/>
                  <a:ea typeface="华文楷体" panose="02010600040101010101" pitchFamily="2" charset="-122"/>
                </a:endParaRPr>
              </a:p>
            </p:txBody>
          </p:sp>
          <p:sp>
            <p:nvSpPr>
              <p:cNvPr id="57" name="文本框 56"/>
              <p:cNvSpPr txBox="1"/>
              <p:nvPr/>
            </p:nvSpPr>
            <p:spPr bwMode="auto">
              <a:xfrm>
                <a:off x="8307621" y="1130300"/>
                <a:ext cx="3028257" cy="540474"/>
              </a:xfrm>
              <a:prstGeom prst="roundRect">
                <a:avLst>
                  <a:gd name="adj" fmla="val 50000"/>
                </a:avLst>
              </a:prstGeom>
              <a:gradFill flip="none" rotWithShape="1">
                <a:gsLst>
                  <a:gs pos="51000">
                    <a:schemeClr val="bg1"/>
                  </a:gs>
                  <a:gs pos="100000">
                    <a:schemeClr val="bg1"/>
                  </a:gs>
                </a:gsLst>
                <a:lin ang="5400000" scaled="1"/>
                <a:tileRect/>
              </a:gradFill>
              <a:ln w="12700">
                <a:solidFill>
                  <a:schemeClr val="accent1"/>
                </a:solidFill>
              </a:ln>
              <a:effectLst>
                <a:outerShdw blurRad="533400" dist="127000" algn="ctr" rotWithShape="0">
                  <a:schemeClr val="accent1">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lIns="91440" tIns="45720" rIns="91440" bIns="45720" anchor="ctr"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eaLnBrk="1" hangingPunct="1">
                  <a:spcBef>
                    <a:spcPct val="0"/>
                  </a:spcBef>
                  <a:buFontTx/>
                  <a:buNone/>
                </a:pPr>
                <a:r>
                  <a:rPr lang="en-US" altLang="zh-CN" b="1" dirty="0">
                    <a:latin typeface="Arial" panose="020B0604020202090204" pitchFamily="34" charset="0"/>
                    <a:ea typeface="华文楷体" panose="02010600040101010101" pitchFamily="2" charset="-122"/>
                  </a:rPr>
                  <a:t>Click to add text</a:t>
                </a:r>
                <a:endParaRPr lang="en-US" altLang="zh-CN" b="1" dirty="0">
                  <a:latin typeface="Arial" panose="020B0604020202090204" pitchFamily="34" charset="0"/>
                  <a:ea typeface="华文楷体" panose="02010600040101010101" pitchFamily="2" charset="-122"/>
                </a:endParaRPr>
              </a:p>
            </p:txBody>
          </p:sp>
        </p:grpSp>
        <p:grpSp>
          <p:nvGrpSpPr>
            <p:cNvPr id="8" name="组合 7"/>
            <p:cNvGrpSpPr/>
            <p:nvPr/>
          </p:nvGrpSpPr>
          <p:grpSpPr>
            <a:xfrm>
              <a:off x="660400" y="4716653"/>
              <a:ext cx="3407041" cy="1417447"/>
              <a:chOff x="660400" y="4716653"/>
              <a:chExt cx="3407041" cy="1417447"/>
            </a:xfrm>
          </p:grpSpPr>
          <p:sp>
            <p:nvSpPr>
              <p:cNvPr id="59" name="矩形: 圆角 58"/>
              <p:cNvSpPr/>
              <p:nvPr/>
            </p:nvSpPr>
            <p:spPr>
              <a:xfrm>
                <a:off x="660400" y="5051133"/>
                <a:ext cx="3407041" cy="1082967"/>
              </a:xfrm>
              <a:prstGeom prst="roundRect">
                <a:avLst>
                  <a:gd name="adj" fmla="val 17510"/>
                </a:avLst>
              </a:prstGeom>
              <a:gradFill flip="none" rotWithShape="1">
                <a:gsLst>
                  <a:gs pos="24000">
                    <a:schemeClr val="bg1"/>
                  </a:gs>
                  <a:gs pos="100000">
                    <a:schemeClr val="bg1">
                      <a:alpha val="62000"/>
                    </a:schemeClr>
                  </a:gs>
                </a:gsLst>
                <a:lin ang="5400000" scaled="1"/>
                <a:tileRect/>
              </a:gradFill>
              <a:ln w="12700">
                <a:gradFill flip="none" rotWithShape="1">
                  <a:gsLst>
                    <a:gs pos="0">
                      <a:schemeClr val="accent1">
                        <a:alpha val="0"/>
                      </a:schemeClr>
                    </a:gs>
                    <a:gs pos="100000">
                      <a:schemeClr val="accent1">
                        <a:alpha val="24000"/>
                      </a:schemeClr>
                    </a:gs>
                  </a:gsLst>
                  <a:lin ang="16200000" scaled="1"/>
                  <a:tileRect/>
                </a:gradFill>
              </a:ln>
              <a:effectLst>
                <a:outerShdw blurRad="533400" dist="50800" dir="5400000" algn="ctr" rotWithShape="0">
                  <a:schemeClr val="accent1">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endParaRPr lang="zh-CN" altLang="en-US"/>
              </a:p>
            </p:txBody>
          </p:sp>
          <p:sp>
            <p:nvSpPr>
              <p:cNvPr id="61" name="矩形 60"/>
              <p:cNvSpPr/>
              <p:nvPr/>
            </p:nvSpPr>
            <p:spPr>
              <a:xfrm>
                <a:off x="842216" y="5401608"/>
                <a:ext cx="3028257" cy="6592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normAutofit/>
              </a:bodyPr>
              <a:lstStyle/>
              <a:p>
                <a:pPr>
                  <a:lnSpc>
                    <a:spcPct val="120000"/>
                  </a:lnSpc>
                </a:pPr>
                <a:r>
                  <a:rPr kumimoji="1" lang="en-US" altLang="zh-CN" sz="1200" dirty="0">
                    <a:solidFill>
                      <a:schemeClr val="tx1"/>
                    </a:solidFill>
                    <a:latin typeface="Arial" panose="020B0604020202090204" pitchFamily="34" charset="0"/>
                    <a:ea typeface="华文楷体" panose="02010600040101010101" pitchFamily="2" charset="-122"/>
                  </a:rPr>
                  <a:t>Et </a:t>
                </a:r>
                <a:r>
                  <a:rPr kumimoji="1" lang="en-US" altLang="zh-CN" sz="1200" dirty="0" err="1">
                    <a:solidFill>
                      <a:schemeClr val="tx1"/>
                    </a:solidFill>
                    <a:latin typeface="Arial" panose="020B0604020202090204" pitchFamily="34" charset="0"/>
                    <a:ea typeface="华文楷体" panose="02010600040101010101" pitchFamily="2" charset="-122"/>
                  </a:rPr>
                  <a:t>rebum</a:t>
                </a:r>
                <a:r>
                  <a:rPr kumimoji="1" lang="en-US" altLang="zh-CN" sz="1200" dirty="0">
                    <a:solidFill>
                      <a:schemeClr val="tx1"/>
                    </a:solidFill>
                    <a:latin typeface="Arial" panose="020B0604020202090204" pitchFamily="34" charset="0"/>
                    <a:ea typeface="华文楷体" panose="02010600040101010101" pitchFamily="2" charset="-122"/>
                  </a:rPr>
                  <a:t> </a:t>
                </a:r>
                <a:r>
                  <a:rPr kumimoji="1" lang="en-US" altLang="zh-CN" sz="1200" dirty="0" err="1">
                    <a:solidFill>
                      <a:schemeClr val="tx1"/>
                    </a:solidFill>
                    <a:latin typeface="Arial" panose="020B0604020202090204" pitchFamily="34" charset="0"/>
                    <a:ea typeface="华文楷体" panose="02010600040101010101" pitchFamily="2" charset="-122"/>
                  </a:rPr>
                  <a:t>rebum</a:t>
                </a:r>
                <a:r>
                  <a:rPr kumimoji="1" lang="en-US" altLang="zh-CN" sz="1200" dirty="0">
                    <a:solidFill>
                      <a:schemeClr val="tx1"/>
                    </a:solidFill>
                    <a:latin typeface="Arial" panose="020B0604020202090204" pitchFamily="34" charset="0"/>
                    <a:ea typeface="华文楷体" panose="02010600040101010101" pitchFamily="2" charset="-122"/>
                  </a:rPr>
                  <a:t> </a:t>
                </a:r>
                <a:r>
                  <a:rPr kumimoji="1" lang="en-US" altLang="zh-CN" sz="1200" dirty="0" err="1">
                    <a:solidFill>
                      <a:schemeClr val="tx1"/>
                    </a:solidFill>
                    <a:latin typeface="Arial" panose="020B0604020202090204" pitchFamily="34" charset="0"/>
                    <a:ea typeface="华文楷体" panose="02010600040101010101" pitchFamily="2" charset="-122"/>
                  </a:rPr>
                  <a:t>tempor</a:t>
                </a:r>
                <a:r>
                  <a:rPr kumimoji="1" lang="en-US" altLang="zh-CN" sz="1200" dirty="0">
                    <a:solidFill>
                      <a:schemeClr val="tx1"/>
                    </a:solidFill>
                    <a:latin typeface="Arial" panose="020B0604020202090204" pitchFamily="34" charset="0"/>
                    <a:ea typeface="华文楷体" panose="02010600040101010101" pitchFamily="2" charset="-122"/>
                  </a:rPr>
                  <a:t> </a:t>
                </a:r>
                <a:r>
                  <a:rPr kumimoji="1" lang="en-US" altLang="zh-CN" sz="1200" dirty="0" err="1">
                    <a:solidFill>
                      <a:schemeClr val="tx1"/>
                    </a:solidFill>
                    <a:latin typeface="Arial" panose="020B0604020202090204" pitchFamily="34" charset="0"/>
                    <a:ea typeface="华文楷体" panose="02010600040101010101" pitchFamily="2" charset="-122"/>
                  </a:rPr>
                  <a:t>veniam</a:t>
                </a:r>
                <a:r>
                  <a:rPr kumimoji="1" lang="en-US" altLang="zh-CN" sz="1200" dirty="0">
                    <a:solidFill>
                      <a:schemeClr val="tx1"/>
                    </a:solidFill>
                    <a:latin typeface="Arial" panose="020B0604020202090204" pitchFamily="34" charset="0"/>
                    <a:ea typeface="华文楷体" panose="02010600040101010101" pitchFamily="2" charset="-122"/>
                  </a:rPr>
                  <a:t> labore et </a:t>
                </a:r>
                <a:r>
                  <a:rPr kumimoji="1" lang="en-US" altLang="zh-CN" sz="1200" dirty="0" err="1">
                    <a:solidFill>
                      <a:schemeClr val="tx1"/>
                    </a:solidFill>
                    <a:latin typeface="Arial" panose="020B0604020202090204" pitchFamily="34" charset="0"/>
                    <a:ea typeface="华文楷体" panose="02010600040101010101" pitchFamily="2" charset="-122"/>
                  </a:rPr>
                  <a:t>accusam</a:t>
                </a:r>
                <a:r>
                  <a:rPr kumimoji="1" lang="en-US" altLang="zh-CN" sz="1200" dirty="0">
                    <a:solidFill>
                      <a:schemeClr val="tx1"/>
                    </a:solidFill>
                    <a:latin typeface="Arial" panose="020B0604020202090204" pitchFamily="34" charset="0"/>
                    <a:ea typeface="华文楷体" panose="02010600040101010101" pitchFamily="2" charset="-122"/>
                  </a:rPr>
                  <a:t> </a:t>
                </a:r>
                <a:r>
                  <a:rPr kumimoji="1" lang="en-US" altLang="zh-CN" sz="1200" dirty="0" err="1">
                    <a:solidFill>
                      <a:schemeClr val="tx1"/>
                    </a:solidFill>
                    <a:latin typeface="Arial" panose="020B0604020202090204" pitchFamily="34" charset="0"/>
                    <a:ea typeface="华文楷体" panose="02010600040101010101" pitchFamily="2" charset="-122"/>
                  </a:rPr>
                  <a:t>veniam</a:t>
                </a:r>
                <a:r>
                  <a:rPr kumimoji="1" lang="en-US" altLang="zh-CN" sz="1200" dirty="0">
                    <a:solidFill>
                      <a:schemeClr val="tx1"/>
                    </a:solidFill>
                    <a:latin typeface="Arial" panose="020B0604020202090204" pitchFamily="34" charset="0"/>
                    <a:ea typeface="华文楷体" panose="02010600040101010101" pitchFamily="2" charset="-122"/>
                  </a:rPr>
                  <a:t>.</a:t>
                </a:r>
                <a:endParaRPr kumimoji="1" lang="en-US" altLang="zh-CN" sz="1200" dirty="0">
                  <a:solidFill>
                    <a:schemeClr val="tx1"/>
                  </a:solidFill>
                  <a:latin typeface="Arial" panose="020B0604020202090204" pitchFamily="34" charset="0"/>
                  <a:ea typeface="华文楷体" panose="02010600040101010101" pitchFamily="2" charset="-122"/>
                </a:endParaRPr>
              </a:p>
            </p:txBody>
          </p:sp>
          <p:sp>
            <p:nvSpPr>
              <p:cNvPr id="62" name="文本框 61"/>
              <p:cNvSpPr txBox="1"/>
              <p:nvPr/>
            </p:nvSpPr>
            <p:spPr bwMode="auto">
              <a:xfrm>
                <a:off x="842216" y="4716653"/>
                <a:ext cx="3028257" cy="540474"/>
              </a:xfrm>
              <a:prstGeom prst="roundRect">
                <a:avLst>
                  <a:gd name="adj" fmla="val 50000"/>
                </a:avLst>
              </a:prstGeom>
              <a:gradFill flip="none" rotWithShape="1">
                <a:gsLst>
                  <a:gs pos="51000">
                    <a:schemeClr val="bg1"/>
                  </a:gs>
                  <a:gs pos="100000">
                    <a:schemeClr val="bg1"/>
                  </a:gs>
                </a:gsLst>
                <a:lin ang="5400000" scaled="1"/>
                <a:tileRect/>
              </a:gradFill>
              <a:ln w="12700">
                <a:solidFill>
                  <a:schemeClr val="accent1"/>
                </a:solidFill>
              </a:ln>
              <a:effectLst>
                <a:outerShdw blurRad="533400" dist="127000" algn="ctr" rotWithShape="0">
                  <a:schemeClr val="accent1">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lIns="91440" tIns="45720" rIns="91440" bIns="45720" anchor="ctr" anchorCtr="0">
                <a:noAutofit/>
              </a:bodyPr>
              <a:lstStyle>
                <a:defPPr>
                  <a:defRPr lang="en-US"/>
                </a:defPPr>
                <a:lvl1pPr algn="ctr">
                  <a:spcBef>
                    <a:spcPct val="0"/>
                  </a:spcBef>
                  <a:buFontTx/>
                  <a:buNone/>
                  <a:defRPr b="1">
                    <a:solidFill>
                      <a:srgbClr val="FFFFFF"/>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r>
                  <a:rPr lang="en-US" altLang="zh-CN" dirty="0">
                    <a:solidFill>
                      <a:schemeClr val="tx1"/>
                    </a:solidFill>
                    <a:latin typeface="Arial" panose="020B0604020202090204" pitchFamily="34" charset="0"/>
                    <a:ea typeface="华文楷体" panose="02010600040101010101" pitchFamily="2" charset="-122"/>
                  </a:rPr>
                  <a:t>Click to add text</a:t>
                </a:r>
                <a:endParaRPr lang="en-US" altLang="zh-CN" dirty="0">
                  <a:solidFill>
                    <a:schemeClr val="tx1"/>
                  </a:solidFill>
                  <a:latin typeface="Arial" panose="020B0604020202090204" pitchFamily="34" charset="0"/>
                  <a:ea typeface="华文楷体" panose="02010600040101010101" pitchFamily="2" charset="-122"/>
                </a:endParaRPr>
              </a:p>
            </p:txBody>
          </p:sp>
        </p:grpSp>
        <p:grpSp>
          <p:nvGrpSpPr>
            <p:cNvPr id="9" name="组合 8"/>
            <p:cNvGrpSpPr/>
            <p:nvPr/>
          </p:nvGrpSpPr>
          <p:grpSpPr>
            <a:xfrm>
              <a:off x="4393102" y="4716653"/>
              <a:ext cx="3407040" cy="1417447"/>
              <a:chOff x="4393102" y="4716653"/>
              <a:chExt cx="3407040" cy="1417447"/>
            </a:xfrm>
          </p:grpSpPr>
          <p:sp>
            <p:nvSpPr>
              <p:cNvPr id="64" name="矩形: 圆角 63"/>
              <p:cNvSpPr/>
              <p:nvPr/>
            </p:nvSpPr>
            <p:spPr>
              <a:xfrm>
                <a:off x="4393102" y="5051133"/>
                <a:ext cx="3407040" cy="1082967"/>
              </a:xfrm>
              <a:prstGeom prst="roundRect">
                <a:avLst>
                  <a:gd name="adj" fmla="val 17510"/>
                </a:avLst>
              </a:prstGeom>
              <a:gradFill flip="none" rotWithShape="1">
                <a:gsLst>
                  <a:gs pos="24000">
                    <a:schemeClr val="bg1"/>
                  </a:gs>
                  <a:gs pos="100000">
                    <a:schemeClr val="bg1">
                      <a:alpha val="62000"/>
                    </a:schemeClr>
                  </a:gs>
                </a:gsLst>
                <a:lin ang="5400000" scaled="1"/>
                <a:tileRect/>
              </a:gradFill>
              <a:ln w="12700">
                <a:gradFill flip="none" rotWithShape="1">
                  <a:gsLst>
                    <a:gs pos="0">
                      <a:schemeClr val="accent1">
                        <a:alpha val="0"/>
                      </a:schemeClr>
                    </a:gs>
                    <a:gs pos="100000">
                      <a:schemeClr val="accent1">
                        <a:alpha val="24000"/>
                      </a:schemeClr>
                    </a:gs>
                  </a:gsLst>
                  <a:lin ang="16200000" scaled="1"/>
                  <a:tileRect/>
                </a:gradFill>
              </a:ln>
              <a:effectLst>
                <a:outerShdw blurRad="533400" dist="50800" dir="5400000" algn="ctr" rotWithShape="0">
                  <a:schemeClr val="accent1">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endParaRPr lang="zh-CN" altLang="en-US"/>
              </a:p>
            </p:txBody>
          </p:sp>
          <p:sp>
            <p:nvSpPr>
              <p:cNvPr id="66" name="矩形 65"/>
              <p:cNvSpPr/>
              <p:nvPr/>
            </p:nvSpPr>
            <p:spPr>
              <a:xfrm>
                <a:off x="4574918" y="5401608"/>
                <a:ext cx="3028257" cy="6592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normAutofit/>
              </a:bodyPr>
              <a:lstStyle/>
              <a:p>
                <a:pPr>
                  <a:lnSpc>
                    <a:spcPct val="120000"/>
                  </a:lnSpc>
                </a:pPr>
                <a:r>
                  <a:rPr kumimoji="1" lang="en-US" altLang="zh-CN" sz="1200" dirty="0">
                    <a:solidFill>
                      <a:schemeClr val="tx1"/>
                    </a:solidFill>
                    <a:latin typeface="Arial" panose="020B0604020202090204" pitchFamily="34" charset="0"/>
                    <a:ea typeface="华文楷体" panose="02010600040101010101" pitchFamily="2" charset="-122"/>
                  </a:rPr>
                  <a:t>Et </a:t>
                </a:r>
                <a:r>
                  <a:rPr kumimoji="1" lang="en-US" altLang="zh-CN" sz="1200" dirty="0" err="1">
                    <a:solidFill>
                      <a:schemeClr val="tx1"/>
                    </a:solidFill>
                    <a:latin typeface="Arial" panose="020B0604020202090204" pitchFamily="34" charset="0"/>
                    <a:ea typeface="华文楷体" panose="02010600040101010101" pitchFamily="2" charset="-122"/>
                  </a:rPr>
                  <a:t>rebum</a:t>
                </a:r>
                <a:r>
                  <a:rPr kumimoji="1" lang="en-US" altLang="zh-CN" sz="1200" dirty="0">
                    <a:solidFill>
                      <a:schemeClr val="tx1"/>
                    </a:solidFill>
                    <a:latin typeface="Arial" panose="020B0604020202090204" pitchFamily="34" charset="0"/>
                    <a:ea typeface="华文楷体" panose="02010600040101010101" pitchFamily="2" charset="-122"/>
                  </a:rPr>
                  <a:t> </a:t>
                </a:r>
                <a:r>
                  <a:rPr kumimoji="1" lang="en-US" altLang="zh-CN" sz="1200" dirty="0" err="1">
                    <a:solidFill>
                      <a:schemeClr val="tx1"/>
                    </a:solidFill>
                    <a:latin typeface="Arial" panose="020B0604020202090204" pitchFamily="34" charset="0"/>
                    <a:ea typeface="华文楷体" panose="02010600040101010101" pitchFamily="2" charset="-122"/>
                  </a:rPr>
                  <a:t>rebum</a:t>
                </a:r>
                <a:r>
                  <a:rPr kumimoji="1" lang="en-US" altLang="zh-CN" sz="1200" dirty="0">
                    <a:solidFill>
                      <a:schemeClr val="tx1"/>
                    </a:solidFill>
                    <a:latin typeface="Arial" panose="020B0604020202090204" pitchFamily="34" charset="0"/>
                    <a:ea typeface="华文楷体" panose="02010600040101010101" pitchFamily="2" charset="-122"/>
                  </a:rPr>
                  <a:t> </a:t>
                </a:r>
                <a:r>
                  <a:rPr kumimoji="1" lang="en-US" altLang="zh-CN" sz="1200" dirty="0" err="1">
                    <a:solidFill>
                      <a:schemeClr val="tx1"/>
                    </a:solidFill>
                    <a:latin typeface="Arial" panose="020B0604020202090204" pitchFamily="34" charset="0"/>
                    <a:ea typeface="华文楷体" panose="02010600040101010101" pitchFamily="2" charset="-122"/>
                  </a:rPr>
                  <a:t>tempor</a:t>
                </a:r>
                <a:r>
                  <a:rPr kumimoji="1" lang="en-US" altLang="zh-CN" sz="1200" dirty="0">
                    <a:solidFill>
                      <a:schemeClr val="tx1"/>
                    </a:solidFill>
                    <a:latin typeface="Arial" panose="020B0604020202090204" pitchFamily="34" charset="0"/>
                    <a:ea typeface="华文楷体" panose="02010600040101010101" pitchFamily="2" charset="-122"/>
                  </a:rPr>
                  <a:t> </a:t>
                </a:r>
                <a:r>
                  <a:rPr kumimoji="1" lang="en-US" altLang="zh-CN" sz="1200" dirty="0" err="1">
                    <a:solidFill>
                      <a:schemeClr val="tx1"/>
                    </a:solidFill>
                    <a:latin typeface="Arial" panose="020B0604020202090204" pitchFamily="34" charset="0"/>
                    <a:ea typeface="华文楷体" panose="02010600040101010101" pitchFamily="2" charset="-122"/>
                  </a:rPr>
                  <a:t>veniam</a:t>
                </a:r>
                <a:r>
                  <a:rPr kumimoji="1" lang="en-US" altLang="zh-CN" sz="1200" dirty="0">
                    <a:solidFill>
                      <a:schemeClr val="tx1"/>
                    </a:solidFill>
                    <a:latin typeface="Arial" panose="020B0604020202090204" pitchFamily="34" charset="0"/>
                    <a:ea typeface="华文楷体" panose="02010600040101010101" pitchFamily="2" charset="-122"/>
                  </a:rPr>
                  <a:t> labore et </a:t>
                </a:r>
                <a:r>
                  <a:rPr kumimoji="1" lang="en-US" altLang="zh-CN" sz="1200" dirty="0" err="1">
                    <a:solidFill>
                      <a:schemeClr val="tx1"/>
                    </a:solidFill>
                    <a:latin typeface="Arial" panose="020B0604020202090204" pitchFamily="34" charset="0"/>
                    <a:ea typeface="华文楷体" panose="02010600040101010101" pitchFamily="2" charset="-122"/>
                  </a:rPr>
                  <a:t>accusam</a:t>
                </a:r>
                <a:r>
                  <a:rPr kumimoji="1" lang="en-US" altLang="zh-CN" sz="1200" dirty="0">
                    <a:solidFill>
                      <a:schemeClr val="tx1"/>
                    </a:solidFill>
                    <a:latin typeface="Arial" panose="020B0604020202090204" pitchFamily="34" charset="0"/>
                    <a:ea typeface="华文楷体" panose="02010600040101010101" pitchFamily="2" charset="-122"/>
                  </a:rPr>
                  <a:t> </a:t>
                </a:r>
                <a:r>
                  <a:rPr kumimoji="1" lang="en-US" altLang="zh-CN" sz="1200" dirty="0" err="1">
                    <a:solidFill>
                      <a:schemeClr val="tx1"/>
                    </a:solidFill>
                    <a:latin typeface="Arial" panose="020B0604020202090204" pitchFamily="34" charset="0"/>
                    <a:ea typeface="华文楷体" panose="02010600040101010101" pitchFamily="2" charset="-122"/>
                  </a:rPr>
                  <a:t>veniam</a:t>
                </a:r>
                <a:r>
                  <a:rPr kumimoji="1" lang="en-US" altLang="zh-CN" sz="1200" dirty="0">
                    <a:solidFill>
                      <a:schemeClr val="tx1"/>
                    </a:solidFill>
                    <a:latin typeface="Arial" panose="020B0604020202090204" pitchFamily="34" charset="0"/>
                    <a:ea typeface="华文楷体" panose="02010600040101010101" pitchFamily="2" charset="-122"/>
                  </a:rPr>
                  <a:t>.</a:t>
                </a:r>
                <a:endParaRPr kumimoji="1" lang="en-US" altLang="zh-CN" sz="1200" dirty="0">
                  <a:solidFill>
                    <a:schemeClr val="tx1"/>
                  </a:solidFill>
                  <a:latin typeface="Arial" panose="020B0604020202090204" pitchFamily="34" charset="0"/>
                  <a:ea typeface="华文楷体" panose="02010600040101010101" pitchFamily="2" charset="-122"/>
                </a:endParaRPr>
              </a:p>
            </p:txBody>
          </p:sp>
          <p:sp>
            <p:nvSpPr>
              <p:cNvPr id="67" name="文本框 66"/>
              <p:cNvSpPr txBox="1"/>
              <p:nvPr/>
            </p:nvSpPr>
            <p:spPr bwMode="auto">
              <a:xfrm>
                <a:off x="4574918" y="4716653"/>
                <a:ext cx="3028257" cy="540474"/>
              </a:xfrm>
              <a:prstGeom prst="roundRect">
                <a:avLst>
                  <a:gd name="adj" fmla="val 50000"/>
                </a:avLst>
              </a:prstGeom>
              <a:gradFill flip="none" rotWithShape="1">
                <a:gsLst>
                  <a:gs pos="51000">
                    <a:schemeClr val="bg1"/>
                  </a:gs>
                  <a:gs pos="100000">
                    <a:schemeClr val="bg1"/>
                  </a:gs>
                </a:gsLst>
                <a:lin ang="5400000" scaled="1"/>
                <a:tileRect/>
              </a:gradFill>
              <a:ln w="12700">
                <a:solidFill>
                  <a:schemeClr val="accent1"/>
                </a:solidFill>
              </a:ln>
              <a:effectLst>
                <a:outerShdw blurRad="533400" dist="127000" algn="ctr" rotWithShape="0">
                  <a:schemeClr val="accent1">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lIns="91440" tIns="45720" rIns="91440" bIns="45720" anchor="ctr"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eaLnBrk="1" hangingPunct="1">
                  <a:spcBef>
                    <a:spcPct val="0"/>
                  </a:spcBef>
                  <a:buFontTx/>
                  <a:buNone/>
                </a:pPr>
                <a:r>
                  <a:rPr lang="en-US" altLang="zh-CN" b="1" dirty="0">
                    <a:latin typeface="Arial" panose="020B0604020202090204" pitchFamily="34" charset="0"/>
                    <a:ea typeface="华文楷体" panose="02010600040101010101" pitchFamily="2" charset="-122"/>
                  </a:rPr>
                  <a:t>Click to add text</a:t>
                </a:r>
                <a:endParaRPr lang="en-US" altLang="zh-CN" b="1" dirty="0">
                  <a:latin typeface="Arial" panose="020B0604020202090204" pitchFamily="34" charset="0"/>
                  <a:ea typeface="华文楷体" panose="02010600040101010101" pitchFamily="2" charset="-122"/>
                </a:endParaRPr>
              </a:p>
            </p:txBody>
          </p:sp>
        </p:grpSp>
        <p:sp>
          <p:nvSpPr>
            <p:cNvPr id="68" name="矩形: 圆角 67"/>
            <p:cNvSpPr/>
            <p:nvPr/>
          </p:nvSpPr>
          <p:spPr>
            <a:xfrm>
              <a:off x="2362462" y="3089110"/>
              <a:ext cx="7485002" cy="1099348"/>
            </a:xfrm>
            <a:prstGeom prst="roundRect">
              <a:avLst>
                <a:gd name="adj" fmla="val 50000"/>
              </a:avLst>
            </a:prstGeom>
            <a:gradFill flip="none" rotWithShape="1">
              <a:gsLst>
                <a:gs pos="0">
                  <a:schemeClr val="accent1">
                    <a:lumMod val="45000"/>
                    <a:lumOff val="55000"/>
                  </a:schemeClr>
                </a:gs>
                <a:gs pos="71000">
                  <a:schemeClr val="accent1"/>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chorCtr="0">
              <a:normAutofit/>
            </a:bodyPr>
            <a:lstStyle/>
            <a:p>
              <a:pPr algn="ctr">
                <a:buSzPct val="25000"/>
              </a:pPr>
              <a:r>
                <a:rPr lang="en-US" altLang="zh-CN" sz="2400" b="1" dirty="0">
                  <a:solidFill>
                    <a:srgbClr val="FFFFFF"/>
                  </a:solidFill>
                  <a:latin typeface="Arial" panose="020B0604020202090204" pitchFamily="34" charset="0"/>
                  <a:ea typeface="华文楷体" panose="02010600040101010101" pitchFamily="2" charset="-122"/>
                </a:rPr>
                <a:t>Unified fonts make reading more fluent</a:t>
              </a:r>
              <a:endParaRPr lang="en-US" altLang="zh-CN" sz="2400" b="1" dirty="0">
                <a:solidFill>
                  <a:srgbClr val="FFFFFF"/>
                </a:solidFill>
                <a:latin typeface="Arial" panose="020B0604020202090204" pitchFamily="34" charset="0"/>
                <a:ea typeface="华文楷体" panose="02010600040101010101" pitchFamily="2" charset="-122"/>
              </a:endParaRPr>
            </a:p>
          </p:txBody>
        </p:sp>
        <p:grpSp>
          <p:nvGrpSpPr>
            <p:cNvPr id="10" name="组合 9"/>
            <p:cNvGrpSpPr/>
            <p:nvPr/>
          </p:nvGrpSpPr>
          <p:grpSpPr>
            <a:xfrm>
              <a:off x="8125804" y="4716653"/>
              <a:ext cx="3407041" cy="1417447"/>
              <a:chOff x="8125804" y="4716653"/>
              <a:chExt cx="3407041" cy="1417447"/>
            </a:xfrm>
          </p:grpSpPr>
          <p:sp>
            <p:nvSpPr>
              <p:cNvPr id="127" name="矩形: 圆角 126"/>
              <p:cNvSpPr/>
              <p:nvPr/>
            </p:nvSpPr>
            <p:spPr>
              <a:xfrm>
                <a:off x="8125804" y="5051133"/>
                <a:ext cx="3407041" cy="1082967"/>
              </a:xfrm>
              <a:prstGeom prst="roundRect">
                <a:avLst>
                  <a:gd name="adj" fmla="val 17510"/>
                </a:avLst>
              </a:prstGeom>
              <a:gradFill flip="none" rotWithShape="1">
                <a:gsLst>
                  <a:gs pos="24000">
                    <a:schemeClr val="bg1"/>
                  </a:gs>
                  <a:gs pos="100000">
                    <a:schemeClr val="bg1">
                      <a:alpha val="62000"/>
                    </a:schemeClr>
                  </a:gs>
                </a:gsLst>
                <a:lin ang="5400000" scaled="1"/>
                <a:tileRect/>
              </a:gradFill>
              <a:ln w="12700">
                <a:gradFill flip="none" rotWithShape="1">
                  <a:gsLst>
                    <a:gs pos="0">
                      <a:schemeClr val="accent1">
                        <a:alpha val="0"/>
                      </a:schemeClr>
                    </a:gs>
                    <a:gs pos="100000">
                      <a:schemeClr val="accent1">
                        <a:alpha val="24000"/>
                      </a:schemeClr>
                    </a:gs>
                  </a:gsLst>
                  <a:lin ang="16200000" scaled="1"/>
                  <a:tileRect/>
                </a:gradFill>
              </a:ln>
              <a:effectLst>
                <a:outerShdw blurRad="533400" dist="50800" dir="5400000" algn="ctr" rotWithShape="0">
                  <a:schemeClr val="accent1">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endParaRPr lang="zh-CN" altLang="en-US"/>
              </a:p>
            </p:txBody>
          </p:sp>
          <p:sp>
            <p:nvSpPr>
              <p:cNvPr id="129" name="矩形 128"/>
              <p:cNvSpPr/>
              <p:nvPr/>
            </p:nvSpPr>
            <p:spPr>
              <a:xfrm>
                <a:off x="8307620" y="5401609"/>
                <a:ext cx="3028257" cy="6592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normAutofit/>
              </a:bodyPr>
              <a:lstStyle/>
              <a:p>
                <a:pPr>
                  <a:lnSpc>
                    <a:spcPct val="120000"/>
                  </a:lnSpc>
                </a:pPr>
                <a:r>
                  <a:rPr kumimoji="1" lang="en-US" altLang="zh-CN" sz="1200" dirty="0">
                    <a:solidFill>
                      <a:schemeClr val="tx1"/>
                    </a:solidFill>
                    <a:latin typeface="Arial" panose="020B0604020202090204" pitchFamily="34" charset="0"/>
                    <a:ea typeface="华文楷体" panose="02010600040101010101" pitchFamily="2" charset="-122"/>
                  </a:rPr>
                  <a:t>Et </a:t>
                </a:r>
                <a:r>
                  <a:rPr kumimoji="1" lang="en-US" altLang="zh-CN" sz="1200" dirty="0" err="1">
                    <a:solidFill>
                      <a:schemeClr val="tx1"/>
                    </a:solidFill>
                    <a:latin typeface="Arial" panose="020B0604020202090204" pitchFamily="34" charset="0"/>
                    <a:ea typeface="华文楷体" panose="02010600040101010101" pitchFamily="2" charset="-122"/>
                  </a:rPr>
                  <a:t>rebum</a:t>
                </a:r>
                <a:r>
                  <a:rPr kumimoji="1" lang="en-US" altLang="zh-CN" sz="1200" dirty="0">
                    <a:solidFill>
                      <a:schemeClr val="tx1"/>
                    </a:solidFill>
                    <a:latin typeface="Arial" panose="020B0604020202090204" pitchFamily="34" charset="0"/>
                    <a:ea typeface="华文楷体" panose="02010600040101010101" pitchFamily="2" charset="-122"/>
                  </a:rPr>
                  <a:t> </a:t>
                </a:r>
                <a:r>
                  <a:rPr kumimoji="1" lang="en-US" altLang="zh-CN" sz="1200" dirty="0" err="1">
                    <a:solidFill>
                      <a:schemeClr val="tx1"/>
                    </a:solidFill>
                    <a:latin typeface="Arial" panose="020B0604020202090204" pitchFamily="34" charset="0"/>
                    <a:ea typeface="华文楷体" panose="02010600040101010101" pitchFamily="2" charset="-122"/>
                  </a:rPr>
                  <a:t>rebum</a:t>
                </a:r>
                <a:r>
                  <a:rPr kumimoji="1" lang="en-US" altLang="zh-CN" sz="1200" dirty="0">
                    <a:solidFill>
                      <a:schemeClr val="tx1"/>
                    </a:solidFill>
                    <a:latin typeface="Arial" panose="020B0604020202090204" pitchFamily="34" charset="0"/>
                    <a:ea typeface="华文楷体" panose="02010600040101010101" pitchFamily="2" charset="-122"/>
                  </a:rPr>
                  <a:t> </a:t>
                </a:r>
                <a:r>
                  <a:rPr kumimoji="1" lang="en-US" altLang="zh-CN" sz="1200" dirty="0" err="1">
                    <a:solidFill>
                      <a:schemeClr val="tx1"/>
                    </a:solidFill>
                    <a:latin typeface="Arial" panose="020B0604020202090204" pitchFamily="34" charset="0"/>
                    <a:ea typeface="华文楷体" panose="02010600040101010101" pitchFamily="2" charset="-122"/>
                  </a:rPr>
                  <a:t>tempor</a:t>
                </a:r>
                <a:r>
                  <a:rPr kumimoji="1" lang="en-US" altLang="zh-CN" sz="1200" dirty="0">
                    <a:solidFill>
                      <a:schemeClr val="tx1"/>
                    </a:solidFill>
                    <a:latin typeface="Arial" panose="020B0604020202090204" pitchFamily="34" charset="0"/>
                    <a:ea typeface="华文楷体" panose="02010600040101010101" pitchFamily="2" charset="-122"/>
                  </a:rPr>
                  <a:t> </a:t>
                </a:r>
                <a:r>
                  <a:rPr kumimoji="1" lang="en-US" altLang="zh-CN" sz="1200" dirty="0" err="1">
                    <a:solidFill>
                      <a:schemeClr val="tx1"/>
                    </a:solidFill>
                    <a:latin typeface="Arial" panose="020B0604020202090204" pitchFamily="34" charset="0"/>
                    <a:ea typeface="华文楷体" panose="02010600040101010101" pitchFamily="2" charset="-122"/>
                  </a:rPr>
                  <a:t>veniam</a:t>
                </a:r>
                <a:r>
                  <a:rPr kumimoji="1" lang="en-US" altLang="zh-CN" sz="1200" dirty="0">
                    <a:solidFill>
                      <a:schemeClr val="tx1"/>
                    </a:solidFill>
                    <a:latin typeface="Arial" panose="020B0604020202090204" pitchFamily="34" charset="0"/>
                    <a:ea typeface="华文楷体" panose="02010600040101010101" pitchFamily="2" charset="-122"/>
                  </a:rPr>
                  <a:t> labore et </a:t>
                </a:r>
                <a:r>
                  <a:rPr kumimoji="1" lang="en-US" altLang="zh-CN" sz="1200" dirty="0" err="1">
                    <a:solidFill>
                      <a:schemeClr val="tx1"/>
                    </a:solidFill>
                    <a:latin typeface="Arial" panose="020B0604020202090204" pitchFamily="34" charset="0"/>
                    <a:ea typeface="华文楷体" panose="02010600040101010101" pitchFamily="2" charset="-122"/>
                  </a:rPr>
                  <a:t>accusam</a:t>
                </a:r>
                <a:r>
                  <a:rPr kumimoji="1" lang="en-US" altLang="zh-CN" sz="1200" dirty="0">
                    <a:solidFill>
                      <a:schemeClr val="tx1"/>
                    </a:solidFill>
                    <a:latin typeface="Arial" panose="020B0604020202090204" pitchFamily="34" charset="0"/>
                    <a:ea typeface="华文楷体" panose="02010600040101010101" pitchFamily="2" charset="-122"/>
                  </a:rPr>
                  <a:t> </a:t>
                </a:r>
                <a:r>
                  <a:rPr kumimoji="1" lang="en-US" altLang="zh-CN" sz="1200" dirty="0" err="1">
                    <a:solidFill>
                      <a:schemeClr val="tx1"/>
                    </a:solidFill>
                    <a:latin typeface="Arial" panose="020B0604020202090204" pitchFamily="34" charset="0"/>
                    <a:ea typeface="华文楷体" panose="02010600040101010101" pitchFamily="2" charset="-122"/>
                  </a:rPr>
                  <a:t>veniam</a:t>
                </a:r>
                <a:r>
                  <a:rPr kumimoji="1" lang="en-US" altLang="zh-CN" sz="1200" dirty="0">
                    <a:solidFill>
                      <a:schemeClr val="tx1"/>
                    </a:solidFill>
                    <a:latin typeface="Arial" panose="020B0604020202090204" pitchFamily="34" charset="0"/>
                    <a:ea typeface="华文楷体" panose="02010600040101010101" pitchFamily="2" charset="-122"/>
                  </a:rPr>
                  <a:t>.</a:t>
                </a:r>
                <a:endParaRPr kumimoji="1" lang="en-US" altLang="zh-CN" sz="1200" dirty="0">
                  <a:solidFill>
                    <a:schemeClr val="tx1"/>
                  </a:solidFill>
                  <a:latin typeface="Arial" panose="020B0604020202090204" pitchFamily="34" charset="0"/>
                  <a:ea typeface="华文楷体" panose="02010600040101010101" pitchFamily="2" charset="-122"/>
                </a:endParaRPr>
              </a:p>
            </p:txBody>
          </p:sp>
          <p:sp>
            <p:nvSpPr>
              <p:cNvPr id="130" name="文本框 129"/>
              <p:cNvSpPr txBox="1"/>
              <p:nvPr/>
            </p:nvSpPr>
            <p:spPr bwMode="auto">
              <a:xfrm>
                <a:off x="8307620" y="4716653"/>
                <a:ext cx="3028257" cy="540474"/>
              </a:xfrm>
              <a:prstGeom prst="roundRect">
                <a:avLst>
                  <a:gd name="adj" fmla="val 50000"/>
                </a:avLst>
              </a:prstGeom>
              <a:gradFill flip="none" rotWithShape="1">
                <a:gsLst>
                  <a:gs pos="51000">
                    <a:schemeClr val="bg1"/>
                  </a:gs>
                  <a:gs pos="100000">
                    <a:schemeClr val="bg1"/>
                  </a:gs>
                </a:gsLst>
                <a:lin ang="5400000" scaled="1"/>
                <a:tileRect/>
              </a:gradFill>
              <a:ln w="12700">
                <a:solidFill>
                  <a:schemeClr val="accent1"/>
                </a:solidFill>
              </a:ln>
              <a:effectLst>
                <a:outerShdw blurRad="533400" dist="127000" algn="ctr" rotWithShape="0">
                  <a:schemeClr val="accent1">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lIns="91440" tIns="45720" rIns="91440" bIns="45720" anchor="ctr" anchorCtr="0">
                <a:noAutofit/>
              </a:bodyPr>
              <a:lstStyle>
                <a:defPPr>
                  <a:defRPr lang="en-US"/>
                </a:defPPr>
                <a:lvl1pPr algn="ctr">
                  <a:spcBef>
                    <a:spcPct val="0"/>
                  </a:spcBef>
                  <a:buFontTx/>
                  <a:buNone/>
                  <a:defRPr b="1">
                    <a:solidFill>
                      <a:srgbClr val="FFFFFF"/>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r>
                  <a:rPr lang="en-US" altLang="zh-CN" dirty="0">
                    <a:solidFill>
                      <a:schemeClr val="tx1"/>
                    </a:solidFill>
                    <a:latin typeface="Arial" panose="020B0604020202090204" pitchFamily="34" charset="0"/>
                    <a:ea typeface="华文楷体" panose="02010600040101010101" pitchFamily="2" charset="-122"/>
                  </a:rPr>
                  <a:t>Click to add text</a:t>
                </a:r>
                <a:endParaRPr lang="en-US" altLang="zh-CN" dirty="0">
                  <a:solidFill>
                    <a:schemeClr val="tx1"/>
                  </a:solidFill>
                  <a:latin typeface="Arial" panose="020B0604020202090204" pitchFamily="34" charset="0"/>
                  <a:ea typeface="华文楷体" panose="02010600040101010101" pitchFamily="2" charset="-122"/>
                </a:endParaRPr>
              </a:p>
            </p:txBody>
          </p:sp>
        </p:grpSp>
        <p:sp>
          <p:nvSpPr>
            <p:cNvPr id="3" name="左大括号 2"/>
            <p:cNvSpPr/>
            <p:nvPr/>
          </p:nvSpPr>
          <p:spPr>
            <a:xfrm rot="16200000">
              <a:off x="5849775" y="-945684"/>
              <a:ext cx="498139" cy="7485002"/>
            </a:xfrm>
            <a:prstGeom prst="leftBrace">
              <a:avLst/>
            </a:prstGeom>
            <a:noFill/>
            <a:ln w="12700">
              <a:gradFill flip="none" rotWithShape="1">
                <a:gsLst>
                  <a:gs pos="0">
                    <a:schemeClr val="accent1">
                      <a:alpha val="0"/>
                    </a:schemeClr>
                  </a:gs>
                  <a:gs pos="100000">
                    <a:schemeClr val="accent1"/>
                  </a:gs>
                </a:gsLst>
                <a:lin ang="0" scaled="1"/>
                <a:tileRect/>
              </a:gradFill>
            </a:ln>
            <a:effectLst>
              <a:outerShdw blurRad="533400" dist="127000" algn="ctr" rotWithShape="0">
                <a:schemeClr val="accent1">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 name="左大括号 3"/>
            <p:cNvSpPr/>
            <p:nvPr/>
          </p:nvSpPr>
          <p:spPr>
            <a:xfrm rot="5400000" flipV="1">
              <a:off x="5849776" y="738252"/>
              <a:ext cx="498139" cy="7485002"/>
            </a:xfrm>
            <a:prstGeom prst="leftBrace">
              <a:avLst/>
            </a:prstGeom>
            <a:noFill/>
            <a:ln w="12700">
              <a:gradFill flip="none" rotWithShape="1">
                <a:gsLst>
                  <a:gs pos="0">
                    <a:schemeClr val="accent1">
                      <a:alpha val="0"/>
                    </a:schemeClr>
                  </a:gs>
                  <a:gs pos="100000">
                    <a:schemeClr val="accent1"/>
                  </a:gs>
                </a:gsLst>
                <a:lin ang="0" scaled="1"/>
                <a:tileRect/>
              </a:gradFill>
            </a:ln>
            <a:effectLst>
              <a:outerShdw blurRad="533400" dist="127000" algn="ctr" rotWithShape="0">
                <a:schemeClr val="accent1">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grpSp>
    </p:spTree>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组合 9"/>
          <p:cNvGrpSpPr/>
          <p:nvPr/>
        </p:nvGrpSpPr>
        <p:grpSpPr>
          <a:xfrm>
            <a:off x="660400" y="1379909"/>
            <a:ext cx="10871200" cy="4855791"/>
            <a:chOff x="660400" y="1379909"/>
            <a:chExt cx="10871200" cy="4855791"/>
          </a:xfrm>
        </p:grpSpPr>
        <p:sp>
          <p:nvSpPr>
            <p:cNvPr id="65" name="椭圆 64"/>
            <p:cNvSpPr/>
            <p:nvPr/>
          </p:nvSpPr>
          <p:spPr bwMode="auto">
            <a:xfrm>
              <a:off x="4116907" y="1379909"/>
              <a:ext cx="3958186" cy="3963714"/>
            </a:xfrm>
            <a:prstGeom prst="ellipse">
              <a:avLst/>
            </a:prstGeom>
            <a:solidFill>
              <a:schemeClr val="accent1">
                <a:alpha val="15000"/>
              </a:schemeClr>
            </a:solidFill>
            <a:ln w="9525">
              <a:noFill/>
              <a:round/>
            </a:ln>
          </p:spPr>
          <p:txBody>
            <a:bodyPr vert="horz" wrap="square" lIns="91440" tIns="45720" rIns="91440" bIns="45720" numCol="1" anchor="t" anchorCtr="0" compatLnSpc="1"/>
            <a:lstStyle/>
            <a:p>
              <a:endParaRPr lang="zh-CN" altLang="en-US" dirty="0">
                <a:solidFill>
                  <a:schemeClr val="tx1"/>
                </a:solidFill>
              </a:endParaRPr>
            </a:p>
          </p:txBody>
        </p:sp>
        <p:grpSp>
          <p:nvGrpSpPr>
            <p:cNvPr id="3" name="组合 2"/>
            <p:cNvGrpSpPr/>
            <p:nvPr/>
          </p:nvGrpSpPr>
          <p:grpSpPr>
            <a:xfrm>
              <a:off x="660400" y="1410677"/>
              <a:ext cx="2714281" cy="1522616"/>
              <a:chOff x="660400" y="1410677"/>
              <a:chExt cx="2714281" cy="1522616"/>
            </a:xfrm>
          </p:grpSpPr>
          <p:sp>
            <p:nvSpPr>
              <p:cNvPr id="34" name="矩形 33"/>
              <p:cNvSpPr/>
              <p:nvPr/>
            </p:nvSpPr>
            <p:spPr bwMode="auto">
              <a:xfrm>
                <a:off x="660400" y="2077550"/>
                <a:ext cx="2714281" cy="855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20000"/>
                  </a:lnSpc>
                  <a:spcBef>
                    <a:spcPct val="0"/>
                  </a:spcBef>
                </a:pPr>
                <a:r>
                  <a:rPr lang="sv-SE" altLang="zh-CN" sz="1200" dirty="0">
                    <a:latin typeface="Arial" panose="020B0604020202090204" pitchFamily="34" charset="0"/>
                    <a:ea typeface="华文楷体" panose="02010600040101010101" pitchFamily="2" charset="-122"/>
                  </a:rPr>
                  <a:t>Imperdiet et elitr elitr consetetur elitr et eirmod dolore.</a:t>
                </a:r>
                <a:endParaRPr lang="sv-SE" altLang="zh-CN" sz="1200" dirty="0">
                  <a:latin typeface="Arial" panose="020B0604020202090204" pitchFamily="34" charset="0"/>
                  <a:ea typeface="华文楷体" panose="02010600040101010101" pitchFamily="2" charset="-122"/>
                </a:endParaRPr>
              </a:p>
            </p:txBody>
          </p:sp>
          <p:sp>
            <p:nvSpPr>
              <p:cNvPr id="35" name="文本框 34"/>
              <p:cNvSpPr txBox="1"/>
              <p:nvPr/>
            </p:nvSpPr>
            <p:spPr bwMode="auto">
              <a:xfrm>
                <a:off x="660400" y="1410677"/>
                <a:ext cx="2714281" cy="607512"/>
              </a:xfrm>
              <a:prstGeom prst="roundRect">
                <a:avLst>
                  <a:gd name="adj" fmla="val 50000"/>
                </a:avLst>
              </a:prstGeom>
              <a:gradFill flip="none" rotWithShape="1">
                <a:gsLst>
                  <a:gs pos="51000">
                    <a:schemeClr val="bg1"/>
                  </a:gs>
                  <a:gs pos="100000">
                    <a:schemeClr val="bg1"/>
                  </a:gs>
                </a:gsLst>
                <a:lin ang="5400000" scaled="1"/>
                <a:tileRect/>
              </a:gradFill>
              <a:ln w="12700">
                <a:gradFill flip="none" rotWithShape="1">
                  <a:gsLst>
                    <a:gs pos="0">
                      <a:schemeClr val="accent1">
                        <a:alpha val="0"/>
                      </a:schemeClr>
                    </a:gs>
                    <a:gs pos="100000">
                      <a:schemeClr val="accent1"/>
                    </a:gs>
                  </a:gsLst>
                  <a:lin ang="0" scaled="1"/>
                  <a:tileRect/>
                </a:gradFill>
              </a:ln>
              <a:effectLst>
                <a:outerShdw blurRad="533400" dist="127000" algn="ctr" rotWithShape="0">
                  <a:schemeClr val="accent1">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ctr">
                  <a:defRPr sz="2800" b="1">
                    <a:solidFill>
                      <a:schemeClr val="accen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ltLang="zh-CN" sz="1800" dirty="0">
                    <a:solidFill>
                      <a:schemeClr val="tx1"/>
                    </a:solidFill>
                    <a:latin typeface="Arial" panose="020B0604020202090204" pitchFamily="34" charset="0"/>
                    <a:ea typeface="华文楷体" panose="02010600040101010101" pitchFamily="2" charset="-122"/>
                  </a:rPr>
                  <a:t>Click to add text</a:t>
                </a:r>
                <a:endParaRPr lang="en-US" altLang="zh-CN" sz="1800" dirty="0">
                  <a:solidFill>
                    <a:schemeClr val="tx1"/>
                  </a:solidFill>
                  <a:latin typeface="Arial" panose="020B0604020202090204" pitchFamily="34" charset="0"/>
                  <a:ea typeface="华文楷体" panose="02010600040101010101" pitchFamily="2" charset="-122"/>
                </a:endParaRPr>
              </a:p>
            </p:txBody>
          </p:sp>
        </p:grpSp>
        <p:grpSp>
          <p:nvGrpSpPr>
            <p:cNvPr id="5" name="组合 4"/>
            <p:cNvGrpSpPr/>
            <p:nvPr/>
          </p:nvGrpSpPr>
          <p:grpSpPr>
            <a:xfrm>
              <a:off x="660400" y="3061880"/>
              <a:ext cx="2714281" cy="1522617"/>
              <a:chOff x="660400" y="3061880"/>
              <a:chExt cx="2714281" cy="1522617"/>
            </a:xfrm>
          </p:grpSpPr>
          <p:sp>
            <p:nvSpPr>
              <p:cNvPr id="32" name="矩形 31"/>
              <p:cNvSpPr/>
              <p:nvPr/>
            </p:nvSpPr>
            <p:spPr bwMode="auto">
              <a:xfrm>
                <a:off x="660400" y="3728754"/>
                <a:ext cx="2714281" cy="855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20000"/>
                  </a:lnSpc>
                  <a:spcBef>
                    <a:spcPct val="0"/>
                  </a:spcBef>
                </a:pPr>
                <a:r>
                  <a:rPr lang="sv-SE" altLang="zh-CN" sz="1200" dirty="0">
                    <a:latin typeface="Arial" panose="020B0604020202090204" pitchFamily="34" charset="0"/>
                    <a:ea typeface="华文楷体" panose="02010600040101010101" pitchFamily="2" charset="-122"/>
                  </a:rPr>
                  <a:t>Imperdiet et elitr elitr consetetur elitr et eirmod dolore.</a:t>
                </a:r>
                <a:endParaRPr lang="sv-SE" altLang="zh-CN" sz="1200" dirty="0">
                  <a:latin typeface="Arial" panose="020B0604020202090204" pitchFamily="34" charset="0"/>
                  <a:ea typeface="华文楷体" panose="02010600040101010101" pitchFamily="2" charset="-122"/>
                </a:endParaRPr>
              </a:p>
            </p:txBody>
          </p:sp>
          <p:sp>
            <p:nvSpPr>
              <p:cNvPr id="33" name="文本框 32"/>
              <p:cNvSpPr txBox="1"/>
              <p:nvPr/>
            </p:nvSpPr>
            <p:spPr bwMode="auto">
              <a:xfrm>
                <a:off x="660400" y="3061880"/>
                <a:ext cx="2714281" cy="607512"/>
              </a:xfrm>
              <a:prstGeom prst="roundRect">
                <a:avLst>
                  <a:gd name="adj" fmla="val 50000"/>
                </a:avLst>
              </a:prstGeom>
              <a:gradFill flip="none" rotWithShape="1">
                <a:gsLst>
                  <a:gs pos="51000">
                    <a:schemeClr val="bg1"/>
                  </a:gs>
                  <a:gs pos="100000">
                    <a:schemeClr val="bg1"/>
                  </a:gs>
                </a:gsLst>
                <a:lin ang="5400000" scaled="1"/>
                <a:tileRect/>
              </a:gradFill>
              <a:ln w="12700">
                <a:gradFill flip="none" rotWithShape="1">
                  <a:gsLst>
                    <a:gs pos="0">
                      <a:schemeClr val="accent1">
                        <a:alpha val="0"/>
                      </a:schemeClr>
                    </a:gs>
                    <a:gs pos="100000">
                      <a:schemeClr val="accent1"/>
                    </a:gs>
                  </a:gsLst>
                  <a:lin ang="0" scaled="1"/>
                  <a:tileRect/>
                </a:gradFill>
              </a:ln>
              <a:effectLst>
                <a:outerShdw blurRad="533400" dist="127000" algn="ctr" rotWithShape="0">
                  <a:schemeClr val="accent1">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ctr">
                  <a:defRPr b="1">
                    <a:solidFill>
                      <a:schemeClr val="tx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ltLang="zh-CN" dirty="0">
                    <a:latin typeface="Arial" panose="020B0604020202090204" pitchFamily="34" charset="0"/>
                    <a:ea typeface="华文楷体" panose="02010600040101010101" pitchFamily="2" charset="-122"/>
                  </a:rPr>
                  <a:t>Click to add text</a:t>
                </a:r>
                <a:endParaRPr lang="en-US" altLang="zh-CN" dirty="0">
                  <a:latin typeface="Arial" panose="020B0604020202090204" pitchFamily="34" charset="0"/>
                  <a:ea typeface="华文楷体" panose="02010600040101010101" pitchFamily="2" charset="-122"/>
                </a:endParaRPr>
              </a:p>
            </p:txBody>
          </p:sp>
        </p:grpSp>
        <p:grpSp>
          <p:nvGrpSpPr>
            <p:cNvPr id="6" name="组合 5"/>
            <p:cNvGrpSpPr/>
            <p:nvPr/>
          </p:nvGrpSpPr>
          <p:grpSpPr>
            <a:xfrm>
              <a:off x="660400" y="4713084"/>
              <a:ext cx="2714281" cy="1522616"/>
              <a:chOff x="660400" y="4713084"/>
              <a:chExt cx="2714281" cy="1522616"/>
            </a:xfrm>
          </p:grpSpPr>
          <p:sp>
            <p:nvSpPr>
              <p:cNvPr id="30" name="矩形 29"/>
              <p:cNvSpPr/>
              <p:nvPr/>
            </p:nvSpPr>
            <p:spPr bwMode="auto">
              <a:xfrm>
                <a:off x="660400" y="5379957"/>
                <a:ext cx="2714281" cy="855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20000"/>
                  </a:lnSpc>
                  <a:spcBef>
                    <a:spcPct val="0"/>
                  </a:spcBef>
                </a:pPr>
                <a:r>
                  <a:rPr lang="sv-SE" altLang="zh-CN" sz="1200" dirty="0">
                    <a:latin typeface="Arial" panose="020B0604020202090204" pitchFamily="34" charset="0"/>
                    <a:ea typeface="华文楷体" panose="02010600040101010101" pitchFamily="2" charset="-122"/>
                  </a:rPr>
                  <a:t>Imperdiet et elitr elitr consetetur elitr et eirmod dolore.</a:t>
                </a:r>
                <a:endParaRPr lang="sv-SE" altLang="zh-CN" sz="1200" dirty="0">
                  <a:latin typeface="Arial" panose="020B0604020202090204" pitchFamily="34" charset="0"/>
                  <a:ea typeface="华文楷体" panose="02010600040101010101" pitchFamily="2" charset="-122"/>
                </a:endParaRPr>
              </a:p>
            </p:txBody>
          </p:sp>
          <p:sp>
            <p:nvSpPr>
              <p:cNvPr id="31" name="文本框 30"/>
              <p:cNvSpPr txBox="1"/>
              <p:nvPr/>
            </p:nvSpPr>
            <p:spPr bwMode="auto">
              <a:xfrm>
                <a:off x="660400" y="4713084"/>
                <a:ext cx="2714281" cy="607512"/>
              </a:xfrm>
              <a:prstGeom prst="roundRect">
                <a:avLst>
                  <a:gd name="adj" fmla="val 50000"/>
                </a:avLst>
              </a:prstGeom>
              <a:gradFill flip="none" rotWithShape="1">
                <a:gsLst>
                  <a:gs pos="51000">
                    <a:schemeClr val="bg1"/>
                  </a:gs>
                  <a:gs pos="100000">
                    <a:schemeClr val="bg1"/>
                  </a:gs>
                </a:gsLst>
                <a:lin ang="5400000" scaled="1"/>
                <a:tileRect/>
              </a:gradFill>
              <a:ln w="12700">
                <a:gradFill flip="none" rotWithShape="1">
                  <a:gsLst>
                    <a:gs pos="0">
                      <a:schemeClr val="accent1">
                        <a:alpha val="0"/>
                      </a:schemeClr>
                    </a:gs>
                    <a:gs pos="100000">
                      <a:schemeClr val="accent1"/>
                    </a:gs>
                  </a:gsLst>
                  <a:lin ang="0" scaled="1"/>
                  <a:tileRect/>
                </a:gradFill>
              </a:ln>
              <a:effectLst>
                <a:outerShdw blurRad="533400" dist="127000" algn="ctr" rotWithShape="0">
                  <a:schemeClr val="accent1">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ctr">
                  <a:defRPr b="1">
                    <a:solidFill>
                      <a:schemeClr val="tx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ltLang="zh-CN" dirty="0">
                    <a:latin typeface="Arial" panose="020B0604020202090204" pitchFamily="34" charset="0"/>
                    <a:ea typeface="华文楷体" panose="02010600040101010101" pitchFamily="2" charset="-122"/>
                  </a:rPr>
                  <a:t>Click to add text</a:t>
                </a:r>
                <a:endParaRPr lang="en-US" altLang="zh-CN" dirty="0">
                  <a:latin typeface="Arial" panose="020B0604020202090204" pitchFamily="34" charset="0"/>
                  <a:ea typeface="华文楷体" panose="02010600040101010101" pitchFamily="2" charset="-122"/>
                </a:endParaRPr>
              </a:p>
            </p:txBody>
          </p:sp>
        </p:grpSp>
        <p:grpSp>
          <p:nvGrpSpPr>
            <p:cNvPr id="7" name="组合 6"/>
            <p:cNvGrpSpPr/>
            <p:nvPr/>
          </p:nvGrpSpPr>
          <p:grpSpPr>
            <a:xfrm>
              <a:off x="8765451" y="1410677"/>
              <a:ext cx="2766149" cy="1522616"/>
              <a:chOff x="8765451" y="1410677"/>
              <a:chExt cx="2766149" cy="1522616"/>
            </a:xfrm>
          </p:grpSpPr>
          <p:sp>
            <p:nvSpPr>
              <p:cNvPr id="26" name="矩形 25"/>
              <p:cNvSpPr/>
              <p:nvPr/>
            </p:nvSpPr>
            <p:spPr bwMode="auto">
              <a:xfrm>
                <a:off x="8765451" y="2077550"/>
                <a:ext cx="2766149" cy="855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20000"/>
                  </a:lnSpc>
                  <a:spcBef>
                    <a:spcPct val="0"/>
                  </a:spcBef>
                </a:pPr>
                <a:r>
                  <a:rPr lang="sv-SE" altLang="zh-CN" sz="1200" dirty="0">
                    <a:latin typeface="Arial" panose="020B0604020202090204" pitchFamily="34" charset="0"/>
                    <a:ea typeface="华文楷体" panose="02010600040101010101" pitchFamily="2" charset="-122"/>
                  </a:rPr>
                  <a:t>Invidunt sit ipsum dolore sed erat et nibh labore.</a:t>
                </a:r>
                <a:endParaRPr lang="en-US" altLang="zh-CN" sz="1200" dirty="0">
                  <a:latin typeface="Arial" panose="020B0604020202090204" pitchFamily="34" charset="0"/>
                  <a:ea typeface="华文楷体" panose="02010600040101010101" pitchFamily="2" charset="-122"/>
                </a:endParaRPr>
              </a:p>
            </p:txBody>
          </p:sp>
          <p:sp>
            <p:nvSpPr>
              <p:cNvPr id="27" name="文本框 26"/>
              <p:cNvSpPr txBox="1"/>
              <p:nvPr/>
            </p:nvSpPr>
            <p:spPr bwMode="auto">
              <a:xfrm>
                <a:off x="8765451" y="1410677"/>
                <a:ext cx="2766149" cy="607512"/>
              </a:xfrm>
              <a:prstGeom prst="roundRect">
                <a:avLst>
                  <a:gd name="adj" fmla="val 50000"/>
                </a:avLst>
              </a:prstGeom>
              <a:gradFill flip="none" rotWithShape="1">
                <a:gsLst>
                  <a:gs pos="51000">
                    <a:schemeClr val="bg1"/>
                  </a:gs>
                  <a:gs pos="100000">
                    <a:schemeClr val="bg1"/>
                  </a:gs>
                </a:gsLst>
                <a:lin ang="5400000" scaled="1"/>
                <a:tileRect/>
              </a:gradFill>
              <a:ln w="12700">
                <a:gradFill flip="none" rotWithShape="1">
                  <a:gsLst>
                    <a:gs pos="0">
                      <a:schemeClr val="accent1">
                        <a:alpha val="0"/>
                      </a:schemeClr>
                    </a:gs>
                    <a:gs pos="100000">
                      <a:schemeClr val="accent1"/>
                    </a:gs>
                  </a:gsLst>
                  <a:lin ang="10800000" scaled="1"/>
                  <a:tileRect/>
                </a:gradFill>
              </a:ln>
              <a:effectLst>
                <a:outerShdw blurRad="533400" dist="127000" algn="ctr" rotWithShape="0">
                  <a:schemeClr val="accent1">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ctr">
                  <a:defRPr b="1">
                    <a:solidFill>
                      <a:schemeClr val="tx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ltLang="zh-CN" dirty="0">
                    <a:latin typeface="Arial" panose="020B0604020202090204" pitchFamily="34" charset="0"/>
                    <a:ea typeface="华文楷体" panose="02010600040101010101" pitchFamily="2" charset="-122"/>
                  </a:rPr>
                  <a:t>Click to add text</a:t>
                </a:r>
                <a:endParaRPr lang="en-US" altLang="zh-CN" dirty="0">
                  <a:latin typeface="Arial" panose="020B0604020202090204" pitchFamily="34" charset="0"/>
                  <a:ea typeface="华文楷体" panose="02010600040101010101" pitchFamily="2" charset="-122"/>
                </a:endParaRPr>
              </a:p>
            </p:txBody>
          </p:sp>
        </p:grpSp>
        <p:grpSp>
          <p:nvGrpSpPr>
            <p:cNvPr id="8" name="组合 7"/>
            <p:cNvGrpSpPr/>
            <p:nvPr/>
          </p:nvGrpSpPr>
          <p:grpSpPr>
            <a:xfrm>
              <a:off x="8765451" y="3061879"/>
              <a:ext cx="2766149" cy="1522616"/>
              <a:chOff x="8765451" y="3061879"/>
              <a:chExt cx="2766149" cy="1522616"/>
            </a:xfrm>
          </p:grpSpPr>
          <p:sp>
            <p:nvSpPr>
              <p:cNvPr id="24" name="矩形 23"/>
              <p:cNvSpPr/>
              <p:nvPr/>
            </p:nvSpPr>
            <p:spPr bwMode="auto">
              <a:xfrm>
                <a:off x="8765451" y="3728752"/>
                <a:ext cx="2766149" cy="855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20000"/>
                  </a:lnSpc>
                  <a:spcBef>
                    <a:spcPct val="0"/>
                  </a:spcBef>
                </a:pPr>
                <a:r>
                  <a:rPr lang="sv-SE" altLang="zh-CN" sz="1200" dirty="0">
                    <a:latin typeface="Arial" panose="020B0604020202090204" pitchFamily="34" charset="0"/>
                    <a:ea typeface="华文楷体" panose="02010600040101010101" pitchFamily="2" charset="-122"/>
                  </a:rPr>
                  <a:t>Invidunt sit ipsum dolore sed erat et nibh labore.</a:t>
                </a:r>
                <a:endParaRPr lang="en-US" altLang="zh-CN" sz="1200" dirty="0">
                  <a:latin typeface="Arial" panose="020B0604020202090204" pitchFamily="34" charset="0"/>
                  <a:ea typeface="华文楷体" panose="02010600040101010101" pitchFamily="2" charset="-122"/>
                </a:endParaRPr>
              </a:p>
            </p:txBody>
          </p:sp>
          <p:sp>
            <p:nvSpPr>
              <p:cNvPr id="25" name="文本框 24"/>
              <p:cNvSpPr txBox="1"/>
              <p:nvPr/>
            </p:nvSpPr>
            <p:spPr bwMode="auto">
              <a:xfrm>
                <a:off x="8765451" y="3061879"/>
                <a:ext cx="2766149" cy="607512"/>
              </a:xfrm>
              <a:prstGeom prst="roundRect">
                <a:avLst>
                  <a:gd name="adj" fmla="val 50000"/>
                </a:avLst>
              </a:prstGeom>
              <a:gradFill flip="none" rotWithShape="1">
                <a:gsLst>
                  <a:gs pos="51000">
                    <a:schemeClr val="bg1"/>
                  </a:gs>
                  <a:gs pos="100000">
                    <a:schemeClr val="bg1"/>
                  </a:gs>
                </a:gsLst>
                <a:lin ang="5400000" scaled="1"/>
                <a:tileRect/>
              </a:gradFill>
              <a:ln w="12700">
                <a:gradFill flip="none" rotWithShape="1">
                  <a:gsLst>
                    <a:gs pos="0">
                      <a:schemeClr val="accent1">
                        <a:alpha val="0"/>
                      </a:schemeClr>
                    </a:gs>
                    <a:gs pos="100000">
                      <a:schemeClr val="accent1"/>
                    </a:gs>
                  </a:gsLst>
                  <a:lin ang="10800000" scaled="1"/>
                  <a:tileRect/>
                </a:gradFill>
              </a:ln>
              <a:effectLst>
                <a:outerShdw blurRad="533400" dist="127000" algn="ctr" rotWithShape="0">
                  <a:schemeClr val="accent1">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ctr">
                  <a:defRPr b="1">
                    <a:solidFill>
                      <a:schemeClr val="tx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ltLang="zh-CN" dirty="0">
                    <a:latin typeface="Arial" panose="020B0604020202090204" pitchFamily="34" charset="0"/>
                    <a:ea typeface="华文楷体" panose="02010600040101010101" pitchFamily="2" charset="-122"/>
                  </a:rPr>
                  <a:t>Click to add text</a:t>
                </a:r>
                <a:endParaRPr lang="en-US" altLang="zh-CN" dirty="0">
                  <a:latin typeface="Arial" panose="020B0604020202090204" pitchFamily="34" charset="0"/>
                  <a:ea typeface="华文楷体" panose="02010600040101010101" pitchFamily="2" charset="-122"/>
                </a:endParaRPr>
              </a:p>
            </p:txBody>
          </p:sp>
        </p:grpSp>
        <p:grpSp>
          <p:nvGrpSpPr>
            <p:cNvPr id="9" name="组合 8"/>
            <p:cNvGrpSpPr/>
            <p:nvPr/>
          </p:nvGrpSpPr>
          <p:grpSpPr>
            <a:xfrm>
              <a:off x="8765451" y="4713084"/>
              <a:ext cx="2766149" cy="1522616"/>
              <a:chOff x="8765451" y="4713084"/>
              <a:chExt cx="2766149" cy="1522616"/>
            </a:xfrm>
          </p:grpSpPr>
          <p:sp>
            <p:nvSpPr>
              <p:cNvPr id="22" name="矩形 21"/>
              <p:cNvSpPr/>
              <p:nvPr/>
            </p:nvSpPr>
            <p:spPr bwMode="auto">
              <a:xfrm>
                <a:off x="8765451" y="5379957"/>
                <a:ext cx="2766149" cy="855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20000"/>
                  </a:lnSpc>
                  <a:spcBef>
                    <a:spcPct val="0"/>
                  </a:spcBef>
                </a:pPr>
                <a:r>
                  <a:rPr lang="sv-SE" altLang="zh-CN" sz="1200" dirty="0">
                    <a:latin typeface="Arial" panose="020B0604020202090204" pitchFamily="34" charset="0"/>
                    <a:ea typeface="华文楷体" panose="02010600040101010101" pitchFamily="2" charset="-122"/>
                  </a:rPr>
                  <a:t>Invidunt sit ipsum dolore sed erat et nibh labore.</a:t>
                </a:r>
                <a:endParaRPr lang="en-US" altLang="zh-CN" sz="1200" dirty="0">
                  <a:latin typeface="Arial" panose="020B0604020202090204" pitchFamily="34" charset="0"/>
                  <a:ea typeface="华文楷体" panose="02010600040101010101" pitchFamily="2" charset="-122"/>
                </a:endParaRPr>
              </a:p>
            </p:txBody>
          </p:sp>
          <p:sp>
            <p:nvSpPr>
              <p:cNvPr id="23" name="文本框 22"/>
              <p:cNvSpPr txBox="1"/>
              <p:nvPr/>
            </p:nvSpPr>
            <p:spPr bwMode="auto">
              <a:xfrm>
                <a:off x="8765451" y="4713084"/>
                <a:ext cx="2766149" cy="607512"/>
              </a:xfrm>
              <a:prstGeom prst="roundRect">
                <a:avLst>
                  <a:gd name="adj" fmla="val 50000"/>
                </a:avLst>
              </a:prstGeom>
              <a:gradFill flip="none" rotWithShape="1">
                <a:gsLst>
                  <a:gs pos="51000">
                    <a:schemeClr val="bg1"/>
                  </a:gs>
                  <a:gs pos="100000">
                    <a:schemeClr val="bg1"/>
                  </a:gs>
                </a:gsLst>
                <a:lin ang="5400000" scaled="1"/>
                <a:tileRect/>
              </a:gradFill>
              <a:ln w="12700">
                <a:gradFill flip="none" rotWithShape="1">
                  <a:gsLst>
                    <a:gs pos="0">
                      <a:schemeClr val="accent1">
                        <a:alpha val="0"/>
                      </a:schemeClr>
                    </a:gs>
                    <a:gs pos="100000">
                      <a:schemeClr val="accent1"/>
                    </a:gs>
                  </a:gsLst>
                  <a:lin ang="10800000" scaled="1"/>
                  <a:tileRect/>
                </a:gradFill>
              </a:ln>
              <a:effectLst>
                <a:outerShdw blurRad="533400" dist="127000" algn="ctr" rotWithShape="0">
                  <a:schemeClr val="accent1">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ctr">
                  <a:defRPr b="1">
                    <a:solidFill>
                      <a:schemeClr val="tx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ltLang="zh-CN" dirty="0">
                    <a:latin typeface="Arial" panose="020B0604020202090204" pitchFamily="34" charset="0"/>
                    <a:ea typeface="华文楷体" panose="02010600040101010101" pitchFamily="2" charset="-122"/>
                  </a:rPr>
                  <a:t>Click to add text</a:t>
                </a:r>
                <a:endParaRPr lang="en-US" altLang="zh-CN" dirty="0">
                  <a:latin typeface="Arial" panose="020B0604020202090204" pitchFamily="34" charset="0"/>
                  <a:ea typeface="华文楷体" panose="02010600040101010101" pitchFamily="2" charset="-122"/>
                </a:endParaRPr>
              </a:p>
            </p:txBody>
          </p:sp>
        </p:grpSp>
        <p:sp>
          <p:nvSpPr>
            <p:cNvPr id="41" name="矩形: 圆角 40"/>
            <p:cNvSpPr/>
            <p:nvPr/>
          </p:nvSpPr>
          <p:spPr>
            <a:xfrm>
              <a:off x="4443666" y="1697226"/>
              <a:ext cx="3330389" cy="3329081"/>
            </a:xfrm>
            <a:prstGeom prst="roundRect">
              <a:avLst>
                <a:gd name="adj" fmla="val 50000"/>
              </a:avLst>
            </a:prstGeom>
            <a:gradFill flip="none" rotWithShape="1">
              <a:gsLst>
                <a:gs pos="0">
                  <a:schemeClr val="accent1">
                    <a:lumMod val="45000"/>
                    <a:lumOff val="55000"/>
                  </a:schemeClr>
                </a:gs>
                <a:gs pos="71000">
                  <a:schemeClr val="accent1"/>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chorCtr="0">
              <a:normAutofit/>
            </a:bodyPr>
            <a:lstStyle/>
            <a:p>
              <a:pPr algn="ctr">
                <a:buSzPct val="25000"/>
              </a:pPr>
              <a:r>
                <a:rPr lang="en-US" altLang="zh-CN" sz="2400" b="1" dirty="0">
                  <a:solidFill>
                    <a:srgbClr val="FFFFFF"/>
                  </a:solidFill>
                  <a:latin typeface="Arial" panose="020B0604020202090204" pitchFamily="34" charset="0"/>
                  <a:ea typeface="华文楷体" panose="02010600040101010101" pitchFamily="2" charset="-122"/>
                </a:rPr>
                <a:t>Unified fonts make reading more fluent</a:t>
              </a:r>
              <a:endParaRPr lang="en-US" altLang="zh-CN" sz="2400" b="1" dirty="0">
                <a:solidFill>
                  <a:srgbClr val="FFFFFF"/>
                </a:solidFill>
                <a:latin typeface="Arial" panose="020B0604020202090204" pitchFamily="34" charset="0"/>
                <a:ea typeface="华文楷体" panose="02010600040101010101" pitchFamily="2" charset="-122"/>
              </a:endParaRPr>
            </a:p>
          </p:txBody>
        </p:sp>
        <p:cxnSp>
          <p:nvCxnSpPr>
            <p:cNvPr id="42" name="连接符: 肘形 41"/>
            <p:cNvCxnSpPr>
              <a:stCxn id="35" idx="3"/>
              <a:endCxn id="41" idx="1"/>
            </p:cNvCxnSpPr>
            <p:nvPr/>
          </p:nvCxnSpPr>
          <p:spPr>
            <a:xfrm>
              <a:off x="3374681" y="1714433"/>
              <a:ext cx="1068985" cy="1647334"/>
            </a:xfrm>
            <a:prstGeom prst="bentConnector3">
              <a:avLst/>
            </a:prstGeom>
            <a:gradFill flip="none" rotWithShape="1">
              <a:gsLst>
                <a:gs pos="51000">
                  <a:schemeClr val="bg1"/>
                </a:gs>
                <a:gs pos="100000">
                  <a:schemeClr val="bg1"/>
                </a:gs>
              </a:gsLst>
              <a:lin ang="5400000" scaled="1"/>
              <a:tileRect/>
            </a:gradFill>
            <a:ln w="12700">
              <a:gradFill flip="none" rotWithShape="1">
                <a:gsLst>
                  <a:gs pos="0">
                    <a:schemeClr val="accent1">
                      <a:alpha val="0"/>
                    </a:schemeClr>
                  </a:gs>
                  <a:gs pos="100000">
                    <a:schemeClr val="accent1"/>
                  </a:gs>
                </a:gsLst>
                <a:lin ang="0" scaled="1"/>
                <a:tileRect/>
              </a:gradFill>
            </a:ln>
            <a:effectLst>
              <a:outerShdw blurRad="533400" dist="127000" algn="ctr" rotWithShape="0">
                <a:schemeClr val="accent1">
                  <a:alpha val="15000"/>
                </a:schemeClr>
              </a:outerShdw>
            </a:effectLst>
          </p:spPr>
          <p:style>
            <a:lnRef idx="2">
              <a:schemeClr val="accent1">
                <a:shade val="15000"/>
              </a:schemeClr>
            </a:lnRef>
            <a:fillRef idx="1">
              <a:schemeClr val="accent1"/>
            </a:fillRef>
            <a:effectRef idx="0">
              <a:schemeClr val="accent1"/>
            </a:effectRef>
            <a:fontRef idx="minor">
              <a:schemeClr val="lt1"/>
            </a:fontRef>
          </p:style>
        </p:cxnSp>
        <p:cxnSp>
          <p:nvCxnSpPr>
            <p:cNvPr id="43" name="连接符: 肘形 42"/>
            <p:cNvCxnSpPr>
              <a:stCxn id="33" idx="3"/>
              <a:endCxn id="41" idx="1"/>
            </p:cNvCxnSpPr>
            <p:nvPr/>
          </p:nvCxnSpPr>
          <p:spPr>
            <a:xfrm flipV="1">
              <a:off x="3374681" y="3361767"/>
              <a:ext cx="1068985" cy="3869"/>
            </a:xfrm>
            <a:prstGeom prst="bentConnector3">
              <a:avLst>
                <a:gd name="adj1" fmla="val 50000"/>
              </a:avLst>
            </a:prstGeom>
            <a:gradFill flip="none" rotWithShape="1">
              <a:gsLst>
                <a:gs pos="51000">
                  <a:schemeClr val="bg1"/>
                </a:gs>
                <a:gs pos="100000">
                  <a:schemeClr val="bg1"/>
                </a:gs>
              </a:gsLst>
              <a:lin ang="5400000" scaled="1"/>
              <a:tileRect/>
            </a:gradFill>
            <a:ln w="12700">
              <a:gradFill flip="none" rotWithShape="1">
                <a:gsLst>
                  <a:gs pos="0">
                    <a:schemeClr val="accent1">
                      <a:alpha val="0"/>
                    </a:schemeClr>
                  </a:gs>
                  <a:gs pos="100000">
                    <a:schemeClr val="accent1"/>
                  </a:gs>
                </a:gsLst>
                <a:lin ang="0" scaled="1"/>
                <a:tileRect/>
              </a:gradFill>
            </a:ln>
            <a:effectLst>
              <a:outerShdw blurRad="533400" dist="127000" algn="ctr" rotWithShape="0">
                <a:schemeClr val="accent1">
                  <a:alpha val="15000"/>
                </a:schemeClr>
              </a:outerShdw>
            </a:effectLst>
          </p:spPr>
          <p:style>
            <a:lnRef idx="2">
              <a:schemeClr val="accent1">
                <a:shade val="15000"/>
              </a:schemeClr>
            </a:lnRef>
            <a:fillRef idx="1">
              <a:schemeClr val="accent1"/>
            </a:fillRef>
            <a:effectRef idx="0">
              <a:schemeClr val="accent1"/>
            </a:effectRef>
            <a:fontRef idx="minor">
              <a:schemeClr val="lt1"/>
            </a:fontRef>
          </p:style>
        </p:cxnSp>
        <p:cxnSp>
          <p:nvCxnSpPr>
            <p:cNvPr id="44" name="连接符: 肘形 43"/>
            <p:cNvCxnSpPr>
              <a:stCxn id="31" idx="3"/>
              <a:endCxn id="41" idx="1"/>
            </p:cNvCxnSpPr>
            <p:nvPr/>
          </p:nvCxnSpPr>
          <p:spPr>
            <a:xfrm flipV="1">
              <a:off x="3374681" y="3361767"/>
              <a:ext cx="1068985" cy="1655073"/>
            </a:xfrm>
            <a:prstGeom prst="bentConnector3">
              <a:avLst>
                <a:gd name="adj1" fmla="val 50000"/>
              </a:avLst>
            </a:prstGeom>
            <a:gradFill flip="none" rotWithShape="1">
              <a:gsLst>
                <a:gs pos="51000">
                  <a:schemeClr val="bg1"/>
                </a:gs>
                <a:gs pos="100000">
                  <a:schemeClr val="bg1"/>
                </a:gs>
              </a:gsLst>
              <a:lin ang="5400000" scaled="1"/>
              <a:tileRect/>
            </a:gradFill>
            <a:ln w="12700">
              <a:gradFill flip="none" rotWithShape="1">
                <a:gsLst>
                  <a:gs pos="0">
                    <a:schemeClr val="accent1">
                      <a:alpha val="0"/>
                    </a:schemeClr>
                  </a:gs>
                  <a:gs pos="100000">
                    <a:schemeClr val="accent1"/>
                  </a:gs>
                </a:gsLst>
                <a:lin ang="0" scaled="1"/>
                <a:tileRect/>
              </a:gradFill>
            </a:ln>
            <a:effectLst>
              <a:outerShdw blurRad="533400" dist="127000" algn="ctr" rotWithShape="0">
                <a:schemeClr val="accent1">
                  <a:alpha val="15000"/>
                </a:schemeClr>
              </a:outerShdw>
            </a:effectLst>
          </p:spPr>
          <p:style>
            <a:lnRef idx="2">
              <a:schemeClr val="accent1">
                <a:shade val="15000"/>
              </a:schemeClr>
            </a:lnRef>
            <a:fillRef idx="1">
              <a:schemeClr val="accent1"/>
            </a:fillRef>
            <a:effectRef idx="0">
              <a:schemeClr val="accent1"/>
            </a:effectRef>
            <a:fontRef idx="minor">
              <a:schemeClr val="lt1"/>
            </a:fontRef>
          </p:style>
        </p:cxnSp>
        <p:cxnSp>
          <p:nvCxnSpPr>
            <p:cNvPr id="46" name="连接符: 肘形 45"/>
            <p:cNvCxnSpPr>
              <a:stCxn id="27" idx="1"/>
              <a:endCxn id="41" idx="3"/>
            </p:cNvCxnSpPr>
            <p:nvPr/>
          </p:nvCxnSpPr>
          <p:spPr>
            <a:xfrm rot="10800000" flipV="1">
              <a:off x="7774055" y="1714433"/>
              <a:ext cx="991396" cy="1647334"/>
            </a:xfrm>
            <a:prstGeom prst="bentConnector3">
              <a:avLst>
                <a:gd name="adj1" fmla="val 50000"/>
              </a:avLst>
            </a:prstGeom>
            <a:gradFill flip="none" rotWithShape="1">
              <a:gsLst>
                <a:gs pos="51000">
                  <a:schemeClr val="bg1"/>
                </a:gs>
                <a:gs pos="100000">
                  <a:schemeClr val="bg1"/>
                </a:gs>
              </a:gsLst>
              <a:lin ang="5400000" scaled="1"/>
              <a:tileRect/>
            </a:gradFill>
            <a:ln w="12700">
              <a:gradFill flip="none" rotWithShape="1">
                <a:gsLst>
                  <a:gs pos="0">
                    <a:schemeClr val="accent1">
                      <a:alpha val="0"/>
                    </a:schemeClr>
                  </a:gs>
                  <a:gs pos="100000">
                    <a:schemeClr val="accent1"/>
                  </a:gs>
                </a:gsLst>
                <a:lin ang="0" scaled="1"/>
                <a:tileRect/>
              </a:gradFill>
            </a:ln>
            <a:effectLst>
              <a:outerShdw blurRad="533400" dist="127000" algn="ctr" rotWithShape="0">
                <a:schemeClr val="accent1">
                  <a:alpha val="15000"/>
                </a:schemeClr>
              </a:outerShdw>
            </a:effectLst>
          </p:spPr>
          <p:style>
            <a:lnRef idx="2">
              <a:schemeClr val="accent1">
                <a:shade val="15000"/>
              </a:schemeClr>
            </a:lnRef>
            <a:fillRef idx="1">
              <a:schemeClr val="accent1"/>
            </a:fillRef>
            <a:effectRef idx="0">
              <a:schemeClr val="accent1"/>
            </a:effectRef>
            <a:fontRef idx="minor">
              <a:schemeClr val="lt1"/>
            </a:fontRef>
          </p:style>
        </p:cxnSp>
        <p:cxnSp>
          <p:nvCxnSpPr>
            <p:cNvPr id="47" name="连接符: 肘形 46"/>
            <p:cNvCxnSpPr>
              <a:stCxn id="25" idx="1"/>
              <a:endCxn id="41" idx="3"/>
            </p:cNvCxnSpPr>
            <p:nvPr/>
          </p:nvCxnSpPr>
          <p:spPr>
            <a:xfrm rot="10800000">
              <a:off x="7774055" y="3361767"/>
              <a:ext cx="991396" cy="3869"/>
            </a:xfrm>
            <a:prstGeom prst="bentConnector3">
              <a:avLst>
                <a:gd name="adj1" fmla="val 50000"/>
              </a:avLst>
            </a:prstGeom>
            <a:gradFill flip="none" rotWithShape="1">
              <a:gsLst>
                <a:gs pos="51000">
                  <a:schemeClr val="bg1"/>
                </a:gs>
                <a:gs pos="100000">
                  <a:schemeClr val="bg1"/>
                </a:gs>
              </a:gsLst>
              <a:lin ang="5400000" scaled="1"/>
              <a:tileRect/>
            </a:gradFill>
            <a:ln w="12700">
              <a:gradFill flip="none" rotWithShape="1">
                <a:gsLst>
                  <a:gs pos="0">
                    <a:schemeClr val="accent1">
                      <a:alpha val="0"/>
                    </a:schemeClr>
                  </a:gs>
                  <a:gs pos="100000">
                    <a:schemeClr val="accent1"/>
                  </a:gs>
                </a:gsLst>
                <a:lin ang="0" scaled="1"/>
                <a:tileRect/>
              </a:gradFill>
            </a:ln>
            <a:effectLst>
              <a:outerShdw blurRad="533400" dist="127000" algn="ctr" rotWithShape="0">
                <a:schemeClr val="accent1">
                  <a:alpha val="15000"/>
                </a:schemeClr>
              </a:outerShdw>
            </a:effectLst>
          </p:spPr>
          <p:style>
            <a:lnRef idx="2">
              <a:schemeClr val="accent1">
                <a:shade val="15000"/>
              </a:schemeClr>
            </a:lnRef>
            <a:fillRef idx="1">
              <a:schemeClr val="accent1"/>
            </a:fillRef>
            <a:effectRef idx="0">
              <a:schemeClr val="accent1"/>
            </a:effectRef>
            <a:fontRef idx="minor">
              <a:schemeClr val="lt1"/>
            </a:fontRef>
          </p:style>
        </p:cxnSp>
        <p:cxnSp>
          <p:nvCxnSpPr>
            <p:cNvPr id="48" name="连接符: 肘形 47"/>
            <p:cNvCxnSpPr>
              <a:stCxn id="23" idx="1"/>
              <a:endCxn id="41" idx="3"/>
            </p:cNvCxnSpPr>
            <p:nvPr/>
          </p:nvCxnSpPr>
          <p:spPr>
            <a:xfrm rot="10800000">
              <a:off x="7774055" y="3361768"/>
              <a:ext cx="991396" cy="1655073"/>
            </a:xfrm>
            <a:prstGeom prst="bentConnector3">
              <a:avLst>
                <a:gd name="adj1" fmla="val 50000"/>
              </a:avLst>
            </a:prstGeom>
            <a:gradFill flip="none" rotWithShape="1">
              <a:gsLst>
                <a:gs pos="51000">
                  <a:schemeClr val="bg1"/>
                </a:gs>
                <a:gs pos="100000">
                  <a:schemeClr val="bg1"/>
                </a:gs>
              </a:gsLst>
              <a:lin ang="5400000" scaled="1"/>
              <a:tileRect/>
            </a:gradFill>
            <a:ln w="12700">
              <a:gradFill flip="none" rotWithShape="1">
                <a:gsLst>
                  <a:gs pos="0">
                    <a:schemeClr val="accent1">
                      <a:alpha val="0"/>
                    </a:schemeClr>
                  </a:gs>
                  <a:gs pos="100000">
                    <a:schemeClr val="accent1"/>
                  </a:gs>
                </a:gsLst>
                <a:lin ang="0" scaled="1"/>
                <a:tileRect/>
              </a:gradFill>
            </a:ln>
            <a:effectLst>
              <a:outerShdw blurRad="533400" dist="127000" algn="ctr" rotWithShape="0">
                <a:schemeClr val="accent1">
                  <a:alpha val="15000"/>
                </a:schemeClr>
              </a:outerShdw>
            </a:effectLst>
          </p:spPr>
          <p:style>
            <a:lnRef idx="2">
              <a:schemeClr val="accent1">
                <a:shade val="15000"/>
              </a:schemeClr>
            </a:lnRef>
            <a:fillRef idx="1">
              <a:schemeClr val="accent1"/>
            </a:fillRef>
            <a:effectRef idx="0">
              <a:schemeClr val="accent1"/>
            </a:effectRef>
            <a:fontRef idx="minor">
              <a:schemeClr val="lt1"/>
            </a:fontRef>
          </p:style>
        </p:cxnSp>
      </p:grpSp>
    </p:spTree>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5" name="组合 104"/>
          <p:cNvGrpSpPr/>
          <p:nvPr/>
        </p:nvGrpSpPr>
        <p:grpSpPr>
          <a:xfrm flipH="1">
            <a:off x="0" y="-11147"/>
            <a:ext cx="10796544" cy="6869147"/>
            <a:chOff x="1395455" y="-11147"/>
            <a:chExt cx="10796544" cy="6869147"/>
          </a:xfrm>
        </p:grpSpPr>
        <p:grpSp>
          <p:nvGrpSpPr>
            <p:cNvPr id="92" name="组合 91"/>
            <p:cNvGrpSpPr/>
            <p:nvPr/>
          </p:nvGrpSpPr>
          <p:grpSpPr>
            <a:xfrm>
              <a:off x="1395455" y="1238390"/>
              <a:ext cx="7837446" cy="4787619"/>
              <a:chOff x="673101" y="1238390"/>
              <a:chExt cx="7837446" cy="4787619"/>
            </a:xfrm>
          </p:grpSpPr>
          <p:grpSp>
            <p:nvGrpSpPr>
              <p:cNvPr id="85" name="组合 84"/>
              <p:cNvGrpSpPr/>
              <p:nvPr/>
            </p:nvGrpSpPr>
            <p:grpSpPr>
              <a:xfrm>
                <a:off x="4879259" y="1756101"/>
                <a:ext cx="3631288" cy="3787178"/>
                <a:chOff x="4879259" y="1756101"/>
                <a:chExt cx="3631288" cy="3787178"/>
              </a:xfrm>
            </p:grpSpPr>
            <p:sp>
              <p:nvSpPr>
                <p:cNvPr id="64" name="椭圆 63"/>
                <p:cNvSpPr/>
                <p:nvPr/>
              </p:nvSpPr>
              <p:spPr>
                <a:xfrm flipH="1">
                  <a:off x="6046747" y="2417790"/>
                  <a:ext cx="2463800" cy="2463800"/>
                </a:xfrm>
                <a:prstGeom prst="ellipse">
                  <a:avLst/>
                </a:prstGeom>
                <a:solidFill>
                  <a:schemeClr val="accent1"/>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r>
                    <a:rPr lang="zh-CN" altLang="en-US" sz="2800" b="1" dirty="0">
                      <a:solidFill>
                        <a:schemeClr val="bg1"/>
                      </a:solidFill>
                      <a:latin typeface="Arial" panose="020B0604020202090204" pitchFamily="34" charset="0"/>
                      <a:ea typeface="华文楷体" panose="02010600040101010101" pitchFamily="2" charset="-122"/>
                      <a:cs typeface="+mn-ea"/>
                      <a:sym typeface="+mn-lt"/>
                    </a:rPr>
                    <a:t>纯文本</a:t>
                  </a:r>
                  <a:endParaRPr lang="zh-CN" altLang="en-US" sz="2800" b="1" dirty="0">
                    <a:solidFill>
                      <a:schemeClr val="bg1"/>
                    </a:solidFill>
                    <a:latin typeface="Arial" panose="020B0604020202090204" pitchFamily="34" charset="0"/>
                    <a:ea typeface="华文楷体" panose="02010600040101010101" pitchFamily="2" charset="-122"/>
                    <a:cs typeface="+mn-ea"/>
                    <a:sym typeface="+mn-lt"/>
                  </a:endParaRPr>
                </a:p>
              </p:txBody>
            </p:sp>
            <p:cxnSp>
              <p:nvCxnSpPr>
                <p:cNvPr id="65" name="直接箭头连接符 64"/>
                <p:cNvCxnSpPr/>
                <p:nvPr/>
              </p:nvCxnSpPr>
              <p:spPr>
                <a:xfrm flipH="1">
                  <a:off x="5467174" y="1756101"/>
                  <a:ext cx="0" cy="3787178"/>
                </a:xfrm>
                <a:prstGeom prst="straightConnector1">
                  <a:avLst/>
                </a:prstGeom>
                <a:ln w="12700">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66" name="直接箭头连接符 65"/>
                <p:cNvCxnSpPr/>
                <p:nvPr/>
              </p:nvCxnSpPr>
              <p:spPr>
                <a:xfrm>
                  <a:off x="4879259" y="1756101"/>
                  <a:ext cx="587915" cy="0"/>
                </a:xfrm>
                <a:prstGeom prst="straightConnector1">
                  <a:avLst/>
                </a:prstGeom>
                <a:ln w="12700">
                  <a:solidFill>
                    <a:schemeClr val="accent1"/>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67" name="直接箭头连接符 66"/>
                <p:cNvCxnSpPr/>
                <p:nvPr/>
              </p:nvCxnSpPr>
              <p:spPr>
                <a:xfrm flipV="1">
                  <a:off x="4879259" y="3632200"/>
                  <a:ext cx="1167488" cy="7965"/>
                </a:xfrm>
                <a:prstGeom prst="straightConnector1">
                  <a:avLst/>
                </a:prstGeom>
                <a:ln w="12700">
                  <a:solidFill>
                    <a:schemeClr val="accent1"/>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68" name="直接箭头连接符 67"/>
                <p:cNvCxnSpPr/>
                <p:nvPr/>
              </p:nvCxnSpPr>
              <p:spPr>
                <a:xfrm>
                  <a:off x="4879259" y="5543279"/>
                  <a:ext cx="587915" cy="0"/>
                </a:xfrm>
                <a:prstGeom prst="straightConnector1">
                  <a:avLst/>
                </a:prstGeom>
                <a:ln w="12700">
                  <a:solidFill>
                    <a:schemeClr val="accent1"/>
                  </a:solidFill>
                  <a:headEnd type="oval"/>
                  <a:tailEnd type="none"/>
                </a:ln>
              </p:spPr>
              <p:style>
                <a:lnRef idx="1">
                  <a:schemeClr val="accent1"/>
                </a:lnRef>
                <a:fillRef idx="0">
                  <a:schemeClr val="accent1"/>
                </a:fillRef>
                <a:effectRef idx="0">
                  <a:schemeClr val="accent1"/>
                </a:effectRef>
                <a:fontRef idx="minor">
                  <a:schemeClr val="tx1"/>
                </a:fontRef>
              </p:style>
            </p:cxnSp>
          </p:grpSp>
          <p:sp>
            <p:nvSpPr>
              <p:cNvPr id="69" name="矩形: 圆角 68"/>
              <p:cNvSpPr/>
              <p:nvPr/>
            </p:nvSpPr>
            <p:spPr>
              <a:xfrm flipH="1">
                <a:off x="673101" y="1238390"/>
                <a:ext cx="4206158" cy="996840"/>
              </a:xfrm>
              <a:prstGeom prst="roundRect">
                <a:avLst>
                  <a:gd name="adj" fmla="val 50000"/>
                </a:avLst>
              </a:prstGeom>
              <a:solidFill>
                <a:schemeClr val="tx2">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30000"/>
                  </a:lnSpc>
                </a:pPr>
                <a:r>
                  <a:rPr kumimoji="1" lang="zh-CN" altLang="en-US" sz="1600" b="1" dirty="0">
                    <a:solidFill>
                      <a:schemeClr val="tx1"/>
                    </a:solidFill>
                    <a:latin typeface="Arial" panose="020B0604020202090204" pitchFamily="34" charset="0"/>
                    <a:ea typeface="华文楷体" panose="02010600040101010101" pitchFamily="2" charset="-122"/>
                    <a:cs typeface="+mn-ea"/>
                    <a:sym typeface="+mn-lt"/>
                  </a:rPr>
                  <a:t>Text hereText hereText hereText here</a:t>
                </a:r>
                <a:endParaRPr kumimoji="1" lang="en-US" altLang="zh-CN" sz="1600" b="1" dirty="0">
                  <a:solidFill>
                    <a:schemeClr val="tx1"/>
                  </a:solidFill>
                  <a:latin typeface="Arial" panose="020B0604020202090204" pitchFamily="34" charset="0"/>
                  <a:ea typeface="华文楷体" panose="02010600040101010101" pitchFamily="2" charset="-122"/>
                  <a:cs typeface="+mn-ea"/>
                  <a:sym typeface="+mn-lt"/>
                </a:endParaRPr>
              </a:p>
            </p:txBody>
          </p:sp>
          <p:sp>
            <p:nvSpPr>
              <p:cNvPr id="71" name="矩形: 圆角 70"/>
              <p:cNvSpPr/>
              <p:nvPr/>
            </p:nvSpPr>
            <p:spPr>
              <a:xfrm flipH="1">
                <a:off x="673101" y="3137761"/>
                <a:ext cx="4206158" cy="996840"/>
              </a:xfrm>
              <a:prstGeom prst="roundRect">
                <a:avLst>
                  <a:gd name="adj" fmla="val 50000"/>
                </a:avLst>
              </a:prstGeom>
              <a:solidFill>
                <a:schemeClr val="tx2">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30000"/>
                  </a:lnSpc>
                </a:pPr>
                <a:r>
                  <a:rPr kumimoji="1" lang="zh-CN" altLang="en-US" sz="1600" b="1" dirty="0">
                    <a:solidFill>
                      <a:schemeClr val="tx1"/>
                    </a:solidFill>
                    <a:latin typeface="Arial" panose="020B0604020202090204" pitchFamily="34" charset="0"/>
                    <a:ea typeface="华文楷体" panose="02010600040101010101" pitchFamily="2" charset="-122"/>
                    <a:cs typeface="+mn-ea"/>
                    <a:sym typeface="+mn-lt"/>
                  </a:rPr>
                  <a:t>Text hereText hereText hereText here</a:t>
                </a:r>
                <a:endParaRPr kumimoji="1" lang="en-US" altLang="zh-CN" sz="1600" b="1" dirty="0">
                  <a:solidFill>
                    <a:schemeClr val="tx1"/>
                  </a:solidFill>
                  <a:latin typeface="Arial" panose="020B0604020202090204" pitchFamily="34" charset="0"/>
                  <a:ea typeface="华文楷体" panose="02010600040101010101" pitchFamily="2" charset="-122"/>
                  <a:cs typeface="+mn-ea"/>
                  <a:sym typeface="+mn-lt"/>
                </a:endParaRPr>
              </a:p>
            </p:txBody>
          </p:sp>
          <p:sp>
            <p:nvSpPr>
              <p:cNvPr id="80" name="矩形: 圆角 79"/>
              <p:cNvSpPr/>
              <p:nvPr/>
            </p:nvSpPr>
            <p:spPr>
              <a:xfrm flipH="1">
                <a:off x="673101" y="5029169"/>
                <a:ext cx="4206158" cy="996840"/>
              </a:xfrm>
              <a:prstGeom prst="roundRect">
                <a:avLst>
                  <a:gd name="adj" fmla="val 50000"/>
                </a:avLst>
              </a:prstGeom>
              <a:solidFill>
                <a:schemeClr val="tx2">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30000"/>
                  </a:lnSpc>
                </a:pPr>
                <a:r>
                  <a:rPr kumimoji="1" lang="zh-CN" altLang="en-US" sz="1600" b="1" dirty="0">
                    <a:solidFill>
                      <a:schemeClr val="tx1"/>
                    </a:solidFill>
                    <a:latin typeface="Arial" panose="020B0604020202090204" pitchFamily="34" charset="0"/>
                    <a:ea typeface="华文楷体" panose="02010600040101010101" pitchFamily="2" charset="-122"/>
                    <a:cs typeface="+mn-ea"/>
                    <a:sym typeface="+mn-lt"/>
                  </a:rPr>
                  <a:t>Text hereText hereText hereText here</a:t>
                </a:r>
                <a:endParaRPr kumimoji="1" lang="en-US" altLang="zh-CN" sz="1600" b="1" dirty="0">
                  <a:solidFill>
                    <a:schemeClr val="tx1"/>
                  </a:solidFill>
                  <a:latin typeface="Arial" panose="020B0604020202090204" pitchFamily="34" charset="0"/>
                  <a:ea typeface="华文楷体" panose="02010600040101010101" pitchFamily="2" charset="-122"/>
                  <a:cs typeface="+mn-ea"/>
                  <a:sym typeface="+mn-lt"/>
                </a:endParaRPr>
              </a:p>
            </p:txBody>
          </p:sp>
        </p:grpSp>
        <p:grpSp>
          <p:nvGrpSpPr>
            <p:cNvPr id="94" name="组合 93"/>
            <p:cNvGrpSpPr/>
            <p:nvPr/>
          </p:nvGrpSpPr>
          <p:grpSpPr>
            <a:xfrm>
              <a:off x="8414524" y="-11147"/>
              <a:ext cx="3777475" cy="6869147"/>
              <a:chOff x="8414524" y="-11147"/>
              <a:chExt cx="3777475" cy="6869147"/>
            </a:xfrm>
          </p:grpSpPr>
          <p:sp>
            <p:nvSpPr>
              <p:cNvPr id="31" name="任意多边形: 形状 30"/>
              <p:cNvSpPr/>
              <p:nvPr/>
            </p:nvSpPr>
            <p:spPr>
              <a:xfrm rot="5400000" flipH="1">
                <a:off x="6868688" y="1534689"/>
                <a:ext cx="6869147" cy="3777475"/>
              </a:xfrm>
              <a:custGeom>
                <a:avLst/>
                <a:gdLst>
                  <a:gd name="connsiteX0" fmla="*/ 0 w 2832410"/>
                  <a:gd name="connsiteY0" fmla="*/ 0 h 1416206"/>
                  <a:gd name="connsiteX1" fmla="*/ 2832410 w 2832410"/>
                  <a:gd name="connsiteY1" fmla="*/ 0 h 1416206"/>
                  <a:gd name="connsiteX2" fmla="*/ 2832410 w 2832410"/>
                  <a:gd name="connsiteY2" fmla="*/ 1 h 1416206"/>
                  <a:gd name="connsiteX3" fmla="*/ 1416205 w 2832410"/>
                  <a:gd name="connsiteY3" fmla="*/ 1416206 h 1416206"/>
                  <a:gd name="connsiteX4" fmla="*/ 0 w 2832410"/>
                  <a:gd name="connsiteY4" fmla="*/ 1 h 14162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2410" h="1416206">
                    <a:moveTo>
                      <a:pt x="0" y="0"/>
                    </a:moveTo>
                    <a:lnTo>
                      <a:pt x="2832410" y="0"/>
                    </a:lnTo>
                    <a:lnTo>
                      <a:pt x="2832410" y="1"/>
                    </a:lnTo>
                    <a:cubicBezTo>
                      <a:pt x="2832410" y="782149"/>
                      <a:pt x="2198353" y="1416206"/>
                      <a:pt x="1416205" y="1416206"/>
                    </a:cubicBezTo>
                    <a:cubicBezTo>
                      <a:pt x="634057" y="1416206"/>
                      <a:pt x="0" y="782149"/>
                      <a:pt x="0" y="1"/>
                    </a:cubicBezTo>
                    <a:close/>
                  </a:path>
                </a:pathLst>
              </a:custGeom>
              <a:solidFill>
                <a:schemeClr val="accent1">
                  <a:alpha val="15000"/>
                </a:schemeClr>
              </a:solidFill>
              <a:ln w="12700" cap="flat" cmpd="sng" algn="ctr">
                <a:noFill/>
                <a:prstDash val="solid"/>
                <a:miter lim="800000"/>
              </a:ln>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cs typeface="+mn-ea"/>
                  <a:sym typeface="+mn-lt"/>
                </a:endParaRPr>
              </a:p>
            </p:txBody>
          </p:sp>
          <p:sp>
            <p:nvSpPr>
              <p:cNvPr id="81" name="椭圆 80"/>
              <p:cNvSpPr/>
              <p:nvPr/>
            </p:nvSpPr>
            <p:spPr>
              <a:xfrm flipH="1">
                <a:off x="9062224" y="919270"/>
                <a:ext cx="540523" cy="540523"/>
              </a:xfrm>
              <a:prstGeom prst="ellipse">
                <a:avLst/>
              </a:prstGeom>
              <a:solidFill>
                <a:schemeClr val="accent1"/>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lnSpcReduction="10000"/>
              </a:bodyPr>
              <a:lstStyle/>
              <a:p>
                <a:pPr algn="ctr" defTabSz="914400"/>
                <a:endParaRPr lang="zh-CN" altLang="en-US" sz="2000" b="1">
                  <a:solidFill>
                    <a:schemeClr val="bg1"/>
                  </a:solidFill>
                  <a:cs typeface="+mn-ea"/>
                  <a:sym typeface="+mn-lt"/>
                </a:endParaRPr>
              </a:p>
            </p:txBody>
          </p:sp>
          <p:sp>
            <p:nvSpPr>
              <p:cNvPr id="82" name="椭圆 81"/>
              <p:cNvSpPr/>
              <p:nvPr/>
            </p:nvSpPr>
            <p:spPr>
              <a:xfrm flipH="1">
                <a:off x="9062224" y="5101237"/>
                <a:ext cx="1016000" cy="1016000"/>
              </a:xfrm>
              <a:prstGeom prst="ellipse">
                <a:avLst/>
              </a:prstGeom>
              <a:solidFill>
                <a:schemeClr val="accent1"/>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endParaRPr lang="zh-CN" altLang="en-US" sz="2000" b="1">
                  <a:solidFill>
                    <a:schemeClr val="bg1"/>
                  </a:solidFill>
                  <a:cs typeface="+mn-ea"/>
                  <a:sym typeface="+mn-lt"/>
                </a:endParaRPr>
              </a:p>
            </p:txBody>
          </p:sp>
        </p:grpSp>
      </p:grpSp>
    </p:spTree>
    <p:custDataLst>
      <p:tags r:id="rId1"/>
    </p:custData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组合 2"/>
          <p:cNvGrpSpPr/>
          <p:nvPr/>
        </p:nvGrpSpPr>
        <p:grpSpPr>
          <a:xfrm>
            <a:off x="775628" y="1113043"/>
            <a:ext cx="10854091" cy="4881619"/>
            <a:chOff x="775628" y="1113043"/>
            <a:chExt cx="10854091" cy="4881619"/>
          </a:xfrm>
        </p:grpSpPr>
        <p:sp>
          <p:nvSpPr>
            <p:cNvPr id="34" name="椭圆 33"/>
            <p:cNvSpPr/>
            <p:nvPr/>
          </p:nvSpPr>
          <p:spPr>
            <a:xfrm>
              <a:off x="775628" y="2716587"/>
              <a:ext cx="2111644" cy="2111645"/>
            </a:xfrm>
            <a:prstGeom prst="ellipse">
              <a:avLst/>
            </a:prstGeom>
            <a:solidFill>
              <a:schemeClr val="bg2">
                <a:lumMod val="75000"/>
              </a:schemeClr>
            </a:solidFill>
            <a:ln w="254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endParaRPr lang="zh-CN" altLang="en-US" sz="2000" b="1" dirty="0">
                <a:solidFill>
                  <a:schemeClr val="bg1"/>
                </a:solidFill>
              </a:endParaRPr>
            </a:p>
          </p:txBody>
        </p:sp>
        <p:sp>
          <p:nvSpPr>
            <p:cNvPr id="2" name="椭圆 1"/>
            <p:cNvSpPr/>
            <p:nvPr/>
          </p:nvSpPr>
          <p:spPr>
            <a:xfrm>
              <a:off x="932601" y="2716588"/>
              <a:ext cx="2111644" cy="2111645"/>
            </a:xfrm>
            <a:prstGeom prst="ellipse">
              <a:avLst/>
            </a:prstGeom>
            <a:solidFill>
              <a:schemeClr val="bg2"/>
            </a:solidFill>
            <a:ln w="254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endParaRPr lang="zh-CN" altLang="en-US" sz="2000" b="1">
                <a:solidFill>
                  <a:schemeClr val="bg1"/>
                </a:solidFill>
              </a:endParaRPr>
            </a:p>
          </p:txBody>
        </p:sp>
        <p:sp>
          <p:nvSpPr>
            <p:cNvPr id="6" name="文本框 5"/>
            <p:cNvSpPr txBox="1"/>
            <p:nvPr/>
          </p:nvSpPr>
          <p:spPr>
            <a:xfrm>
              <a:off x="1270439" y="3235468"/>
              <a:ext cx="2016122" cy="307777"/>
            </a:xfrm>
            <a:prstGeom prst="rect">
              <a:avLst/>
            </a:prstGeom>
            <a:noFill/>
          </p:spPr>
          <p:txBody>
            <a:bodyPr wrap="square" rtlCol="0">
              <a:spAutoFit/>
            </a:bodyPr>
            <a:lstStyle/>
            <a:p>
              <a:r>
                <a:rPr lang="en-US" altLang="zh-CN" sz="1400" b="1" dirty="0">
                  <a:solidFill>
                    <a:schemeClr val="tx1">
                      <a:lumMod val="95000"/>
                      <a:lumOff val="5000"/>
                    </a:schemeClr>
                  </a:solidFill>
                  <a:latin typeface="Arial" panose="020B0604020202090204" pitchFamily="34" charset="0"/>
                  <a:ea typeface="华文楷体" panose="02010600040101010101" pitchFamily="2" charset="-122"/>
                </a:rPr>
                <a:t>Text here.</a:t>
              </a:r>
              <a:endParaRPr lang="en-US" altLang="zh-CN" sz="1400" b="1" dirty="0">
                <a:solidFill>
                  <a:schemeClr val="tx1">
                    <a:lumMod val="95000"/>
                    <a:lumOff val="5000"/>
                  </a:schemeClr>
                </a:solidFill>
                <a:latin typeface="Arial" panose="020B0604020202090204" pitchFamily="34" charset="0"/>
                <a:ea typeface="华文楷体" panose="02010600040101010101" pitchFamily="2" charset="-122"/>
              </a:endParaRPr>
            </a:p>
          </p:txBody>
        </p:sp>
        <p:sp>
          <p:nvSpPr>
            <p:cNvPr id="7" name="文本框 6"/>
            <p:cNvSpPr txBox="1"/>
            <p:nvPr/>
          </p:nvSpPr>
          <p:spPr>
            <a:xfrm>
              <a:off x="1270439" y="3536814"/>
              <a:ext cx="1640246" cy="839910"/>
            </a:xfrm>
            <a:prstGeom prst="rect">
              <a:avLst/>
            </a:prstGeom>
            <a:noFill/>
          </p:spPr>
          <p:txBody>
            <a:bodyPr wrap="square" rtlCol="0">
              <a:spAutoFit/>
            </a:bodyPr>
            <a:lstStyle>
              <a:defPPr>
                <a:defRPr lang="zh-CN"/>
              </a:defPPr>
              <a:lvl1pPr>
                <a:lnSpc>
                  <a:spcPts val="1500"/>
                </a:lnSpc>
                <a:defRPr sz="900"/>
              </a:lvl1pPr>
            </a:lstStyle>
            <a:p>
              <a:r>
                <a:rPr lang="en-US" altLang="zh-CN" dirty="0">
                  <a:solidFill>
                    <a:schemeClr val="tx1">
                      <a:lumMod val="95000"/>
                      <a:lumOff val="5000"/>
                    </a:schemeClr>
                  </a:solidFill>
                  <a:latin typeface="Arial" panose="020B0604020202090204" pitchFamily="34" charset="0"/>
                  <a:ea typeface="华文楷体" panose="02010600040101010101" pitchFamily="2" charset="-122"/>
                </a:rPr>
                <a:t>Unified fonts make reading more </a:t>
              </a:r>
              <a:r>
                <a:rPr lang="en-US" altLang="zh-CN" dirty="0" err="1">
                  <a:solidFill>
                    <a:schemeClr val="tx1">
                      <a:lumMod val="95000"/>
                      <a:lumOff val="5000"/>
                    </a:schemeClr>
                  </a:solidFill>
                  <a:latin typeface="Arial" panose="020B0604020202090204" pitchFamily="34" charset="0"/>
                  <a:ea typeface="华文楷体" panose="02010600040101010101" pitchFamily="2" charset="-122"/>
                </a:rPr>
                <a:t>fluent.Copy</a:t>
              </a:r>
              <a:r>
                <a:rPr lang="en-US" altLang="zh-CN" dirty="0">
                  <a:solidFill>
                    <a:schemeClr val="tx1">
                      <a:lumMod val="95000"/>
                      <a:lumOff val="5000"/>
                    </a:schemeClr>
                  </a:solidFill>
                  <a:latin typeface="Arial" panose="020B0604020202090204" pitchFamily="34" charset="0"/>
                  <a:ea typeface="华文楷体" panose="02010600040101010101" pitchFamily="2" charset="-122"/>
                </a:rPr>
                <a:t> paste fonts. Choose the only </a:t>
              </a:r>
              <a:r>
                <a:rPr lang="en-US" altLang="zh-CN" dirty="0" err="1">
                  <a:solidFill>
                    <a:schemeClr val="tx1">
                      <a:lumMod val="95000"/>
                      <a:lumOff val="5000"/>
                    </a:schemeClr>
                  </a:solidFill>
                  <a:latin typeface="Arial" panose="020B0604020202090204" pitchFamily="34" charset="0"/>
                  <a:ea typeface="华文楷体" panose="02010600040101010101" pitchFamily="2" charset="-122"/>
                </a:rPr>
                <a:t>optio</a:t>
              </a:r>
              <a:r>
                <a:rPr lang="en-US" altLang="zh-CN" dirty="0">
                  <a:solidFill>
                    <a:schemeClr val="tx1">
                      <a:lumMod val="95000"/>
                      <a:lumOff val="5000"/>
                    </a:schemeClr>
                  </a:solidFill>
                  <a:latin typeface="Arial" panose="020B0604020202090204" pitchFamily="34" charset="0"/>
                  <a:ea typeface="华文楷体" panose="02010600040101010101" pitchFamily="2" charset="-122"/>
                </a:rPr>
                <a:t> to retain text……</a:t>
              </a:r>
              <a:endParaRPr lang="en-US" altLang="zh-CN" dirty="0">
                <a:solidFill>
                  <a:schemeClr val="tx1">
                    <a:lumMod val="95000"/>
                    <a:lumOff val="5000"/>
                  </a:schemeClr>
                </a:solidFill>
                <a:latin typeface="Arial" panose="020B0604020202090204" pitchFamily="34" charset="0"/>
                <a:ea typeface="华文楷体" panose="02010600040101010101" pitchFamily="2" charset="-122"/>
              </a:endParaRPr>
            </a:p>
          </p:txBody>
        </p:sp>
        <p:sp>
          <p:nvSpPr>
            <p:cNvPr id="30" name="文本框 29"/>
            <p:cNvSpPr txBox="1"/>
            <p:nvPr/>
          </p:nvSpPr>
          <p:spPr>
            <a:xfrm>
              <a:off x="804598" y="1113043"/>
              <a:ext cx="10582805" cy="646331"/>
            </a:xfrm>
            <a:prstGeom prst="rect">
              <a:avLst/>
            </a:prstGeom>
            <a:noFill/>
          </p:spPr>
          <p:txBody>
            <a:bodyPr wrap="square">
              <a:spAutoFit/>
            </a:bodyPr>
            <a:lstStyle/>
            <a:p>
              <a:pPr marL="0" marR="0" lvl="0" indent="0" algn="ctr" defTabSz="913765" rtl="0" eaLnBrk="1" fontAlgn="auto" latinLnBrk="0" hangingPunct="1">
                <a:lnSpc>
                  <a:spcPct val="100000"/>
                </a:lnSpc>
                <a:spcBef>
                  <a:spcPts val="0"/>
                </a:spcBef>
                <a:spcAft>
                  <a:spcPts val="0"/>
                </a:spcAft>
                <a:buClrTx/>
                <a:buSzPct val="25000"/>
                <a:buFontTx/>
                <a:buNone/>
                <a:defRPr/>
              </a:pPr>
              <a:r>
                <a:rPr kumimoji="0" lang="en-US" altLang="zh-CN" sz="3600" b="1" i="0" u="none" strike="noStrike" kern="1200" cap="none" spc="0" normalizeH="0" baseline="0" noProof="0" dirty="0">
                  <a:ln>
                    <a:noFill/>
                  </a:ln>
                  <a:effectLst/>
                  <a:uLnTx/>
                  <a:uFillTx/>
                  <a:latin typeface="Arial" panose="020B0604020202090204" pitchFamily="34" charset="0"/>
                  <a:ea typeface="华文楷体" panose="02010600040101010101" pitchFamily="2" charset="-122"/>
                </a:rPr>
                <a:t>Unified fonts make reading more fluent. </a:t>
              </a:r>
              <a:endParaRPr kumimoji="0" lang="en-US" altLang="zh-CN" sz="3600" b="1" i="0" u="none" strike="noStrike" kern="1200" cap="none" spc="0" normalizeH="0" baseline="0" noProof="0" dirty="0">
                <a:ln>
                  <a:noFill/>
                </a:ln>
                <a:effectLst/>
                <a:uLnTx/>
                <a:uFillTx/>
                <a:latin typeface="Arial" panose="020B0604020202090204" pitchFamily="34" charset="0"/>
                <a:ea typeface="华文楷体" panose="02010600040101010101" pitchFamily="2" charset="-122"/>
              </a:endParaRPr>
            </a:p>
          </p:txBody>
        </p:sp>
        <p:grpSp>
          <p:nvGrpSpPr>
            <p:cNvPr id="31" name="组合 30"/>
            <p:cNvGrpSpPr/>
            <p:nvPr/>
          </p:nvGrpSpPr>
          <p:grpSpPr>
            <a:xfrm>
              <a:off x="2412779" y="2703335"/>
              <a:ext cx="597561" cy="597562"/>
              <a:chOff x="1753866" y="3281811"/>
              <a:chExt cx="834641" cy="834642"/>
            </a:xfrm>
          </p:grpSpPr>
          <p:sp>
            <p:nvSpPr>
              <p:cNvPr id="32" name="椭圆 31"/>
              <p:cNvSpPr/>
              <p:nvPr/>
            </p:nvSpPr>
            <p:spPr>
              <a:xfrm>
                <a:off x="1753866" y="3281811"/>
                <a:ext cx="834641" cy="834642"/>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dirty="0"/>
              </a:p>
            </p:txBody>
          </p:sp>
          <p:sp>
            <p:nvSpPr>
              <p:cNvPr id="33" name="任意多边形: 形状 32"/>
              <p:cNvSpPr/>
              <p:nvPr/>
            </p:nvSpPr>
            <p:spPr>
              <a:xfrm>
                <a:off x="1984827" y="3534312"/>
                <a:ext cx="372717" cy="372717"/>
              </a:xfrm>
              <a:custGeom>
                <a:avLst/>
                <a:gdLst>
                  <a:gd name="connsiteX0" fmla="*/ 343764 w 533400"/>
                  <a:gd name="connsiteY0" fmla="*/ 621 h 533400"/>
                  <a:gd name="connsiteX1" fmla="*/ 381864 w 533400"/>
                  <a:gd name="connsiteY1" fmla="*/ 38721 h 533400"/>
                  <a:gd name="connsiteX2" fmla="*/ 381864 w 533400"/>
                  <a:gd name="connsiteY2" fmla="*/ 38721 h 533400"/>
                  <a:gd name="connsiteX3" fmla="*/ 381864 w 533400"/>
                  <a:gd name="connsiteY3" fmla="*/ 114921 h 533400"/>
                  <a:gd name="connsiteX4" fmla="*/ 496164 w 533400"/>
                  <a:gd name="connsiteY4" fmla="*/ 114921 h 533400"/>
                  <a:gd name="connsiteX5" fmla="*/ 534264 w 533400"/>
                  <a:gd name="connsiteY5" fmla="*/ 151116 h 533400"/>
                  <a:gd name="connsiteX6" fmla="*/ 534264 w 533400"/>
                  <a:gd name="connsiteY6" fmla="*/ 153021 h 533400"/>
                  <a:gd name="connsiteX7" fmla="*/ 534264 w 533400"/>
                  <a:gd name="connsiteY7" fmla="*/ 381621 h 533400"/>
                  <a:gd name="connsiteX8" fmla="*/ 498069 w 533400"/>
                  <a:gd name="connsiteY8" fmla="*/ 419721 h 533400"/>
                  <a:gd name="connsiteX9" fmla="*/ 496164 w 533400"/>
                  <a:gd name="connsiteY9" fmla="*/ 419721 h 533400"/>
                  <a:gd name="connsiteX10" fmla="*/ 381864 w 533400"/>
                  <a:gd name="connsiteY10" fmla="*/ 419721 h 533400"/>
                  <a:gd name="connsiteX11" fmla="*/ 381864 w 533400"/>
                  <a:gd name="connsiteY11" fmla="*/ 495921 h 533400"/>
                  <a:gd name="connsiteX12" fmla="*/ 345669 w 533400"/>
                  <a:gd name="connsiteY12" fmla="*/ 534021 h 533400"/>
                  <a:gd name="connsiteX13" fmla="*/ 343764 w 533400"/>
                  <a:gd name="connsiteY13" fmla="*/ 534021 h 533400"/>
                  <a:gd name="connsiteX14" fmla="*/ 191364 w 533400"/>
                  <a:gd name="connsiteY14" fmla="*/ 534021 h 533400"/>
                  <a:gd name="connsiteX15" fmla="*/ 153264 w 533400"/>
                  <a:gd name="connsiteY15" fmla="*/ 495921 h 533400"/>
                  <a:gd name="connsiteX16" fmla="*/ 153264 w 533400"/>
                  <a:gd name="connsiteY16" fmla="*/ 495921 h 533400"/>
                  <a:gd name="connsiteX17" fmla="*/ 153264 w 533400"/>
                  <a:gd name="connsiteY17" fmla="*/ 419721 h 533400"/>
                  <a:gd name="connsiteX18" fmla="*/ 38964 w 533400"/>
                  <a:gd name="connsiteY18" fmla="*/ 419721 h 533400"/>
                  <a:gd name="connsiteX19" fmla="*/ 864 w 533400"/>
                  <a:gd name="connsiteY19" fmla="*/ 383526 h 533400"/>
                  <a:gd name="connsiteX20" fmla="*/ 864 w 533400"/>
                  <a:gd name="connsiteY20" fmla="*/ 381621 h 533400"/>
                  <a:gd name="connsiteX21" fmla="*/ 864 w 533400"/>
                  <a:gd name="connsiteY21" fmla="*/ 197789 h 533400"/>
                  <a:gd name="connsiteX22" fmla="*/ 9436 w 533400"/>
                  <a:gd name="connsiteY22" fmla="*/ 173976 h 533400"/>
                  <a:gd name="connsiteX23" fmla="*/ 11342 w 533400"/>
                  <a:gd name="connsiteY23" fmla="*/ 172071 h 533400"/>
                  <a:gd name="connsiteX24" fmla="*/ 52299 w 533400"/>
                  <a:gd name="connsiteY24" fmla="*/ 127304 h 533400"/>
                  <a:gd name="connsiteX25" fmla="*/ 78017 w 533400"/>
                  <a:gd name="connsiteY25" fmla="*/ 114921 h 533400"/>
                  <a:gd name="connsiteX26" fmla="*/ 79921 w 533400"/>
                  <a:gd name="connsiteY26" fmla="*/ 114921 h 533400"/>
                  <a:gd name="connsiteX27" fmla="*/ 153264 w 533400"/>
                  <a:gd name="connsiteY27" fmla="*/ 114921 h 533400"/>
                  <a:gd name="connsiteX28" fmla="*/ 153264 w 533400"/>
                  <a:gd name="connsiteY28" fmla="*/ 38721 h 533400"/>
                  <a:gd name="connsiteX29" fmla="*/ 189459 w 533400"/>
                  <a:gd name="connsiteY29" fmla="*/ 621 h 533400"/>
                  <a:gd name="connsiteX30" fmla="*/ 191364 w 533400"/>
                  <a:gd name="connsiteY30" fmla="*/ 621 h 533400"/>
                  <a:gd name="connsiteX31" fmla="*/ 343764 w 533400"/>
                  <a:gd name="connsiteY31" fmla="*/ 621 h 533400"/>
                  <a:gd name="connsiteX32" fmla="*/ 343764 w 533400"/>
                  <a:gd name="connsiteY32" fmla="*/ 286371 h 533400"/>
                  <a:gd name="connsiteX33" fmla="*/ 191364 w 533400"/>
                  <a:gd name="connsiteY33" fmla="*/ 286371 h 533400"/>
                  <a:gd name="connsiteX34" fmla="*/ 172314 w 533400"/>
                  <a:gd name="connsiteY34" fmla="*/ 305421 h 533400"/>
                  <a:gd name="connsiteX35" fmla="*/ 172314 w 533400"/>
                  <a:gd name="connsiteY35" fmla="*/ 305421 h 533400"/>
                  <a:gd name="connsiteX36" fmla="*/ 172314 w 533400"/>
                  <a:gd name="connsiteY36" fmla="*/ 495921 h 533400"/>
                  <a:gd name="connsiteX37" fmla="*/ 191364 w 533400"/>
                  <a:gd name="connsiteY37" fmla="*/ 514971 h 533400"/>
                  <a:gd name="connsiteX38" fmla="*/ 191364 w 533400"/>
                  <a:gd name="connsiteY38" fmla="*/ 514971 h 533400"/>
                  <a:gd name="connsiteX39" fmla="*/ 343764 w 533400"/>
                  <a:gd name="connsiteY39" fmla="*/ 514971 h 533400"/>
                  <a:gd name="connsiteX40" fmla="*/ 362814 w 533400"/>
                  <a:gd name="connsiteY40" fmla="*/ 495921 h 533400"/>
                  <a:gd name="connsiteX41" fmla="*/ 362814 w 533400"/>
                  <a:gd name="connsiteY41" fmla="*/ 495921 h 533400"/>
                  <a:gd name="connsiteX42" fmla="*/ 362814 w 533400"/>
                  <a:gd name="connsiteY42" fmla="*/ 305421 h 533400"/>
                  <a:gd name="connsiteX43" fmla="*/ 343764 w 533400"/>
                  <a:gd name="connsiteY43" fmla="*/ 286371 h 533400"/>
                  <a:gd name="connsiteX44" fmla="*/ 343764 w 533400"/>
                  <a:gd name="connsiteY44" fmla="*/ 286371 h 533400"/>
                  <a:gd name="connsiteX45" fmla="*/ 496164 w 533400"/>
                  <a:gd name="connsiteY45" fmla="*/ 133971 h 533400"/>
                  <a:gd name="connsiteX46" fmla="*/ 79921 w 533400"/>
                  <a:gd name="connsiteY46" fmla="*/ 133971 h 533400"/>
                  <a:gd name="connsiteX47" fmla="*/ 67539 w 533400"/>
                  <a:gd name="connsiteY47" fmla="*/ 138734 h 533400"/>
                  <a:gd name="connsiteX48" fmla="*/ 66586 w 533400"/>
                  <a:gd name="connsiteY48" fmla="*/ 139686 h 533400"/>
                  <a:gd name="connsiteX49" fmla="*/ 25629 w 533400"/>
                  <a:gd name="connsiteY49" fmla="*/ 184454 h 533400"/>
                  <a:gd name="connsiteX50" fmla="*/ 20867 w 533400"/>
                  <a:gd name="connsiteY50" fmla="*/ 195884 h 533400"/>
                  <a:gd name="connsiteX51" fmla="*/ 20867 w 533400"/>
                  <a:gd name="connsiteY51" fmla="*/ 197789 h 533400"/>
                  <a:gd name="connsiteX52" fmla="*/ 20867 w 533400"/>
                  <a:gd name="connsiteY52" fmla="*/ 381621 h 533400"/>
                  <a:gd name="connsiteX53" fmla="*/ 38964 w 533400"/>
                  <a:gd name="connsiteY53" fmla="*/ 400671 h 533400"/>
                  <a:gd name="connsiteX54" fmla="*/ 39917 w 533400"/>
                  <a:gd name="connsiteY54" fmla="*/ 400671 h 533400"/>
                  <a:gd name="connsiteX55" fmla="*/ 154217 w 533400"/>
                  <a:gd name="connsiteY55" fmla="*/ 400671 h 533400"/>
                  <a:gd name="connsiteX56" fmla="*/ 154217 w 533400"/>
                  <a:gd name="connsiteY56" fmla="*/ 305421 h 533400"/>
                  <a:gd name="connsiteX57" fmla="*/ 190411 w 533400"/>
                  <a:gd name="connsiteY57" fmla="*/ 267321 h 533400"/>
                  <a:gd name="connsiteX58" fmla="*/ 192317 w 533400"/>
                  <a:gd name="connsiteY58" fmla="*/ 267321 h 533400"/>
                  <a:gd name="connsiteX59" fmla="*/ 344717 w 533400"/>
                  <a:gd name="connsiteY59" fmla="*/ 267321 h 533400"/>
                  <a:gd name="connsiteX60" fmla="*/ 382817 w 533400"/>
                  <a:gd name="connsiteY60" fmla="*/ 305421 h 533400"/>
                  <a:gd name="connsiteX61" fmla="*/ 382817 w 533400"/>
                  <a:gd name="connsiteY61" fmla="*/ 305421 h 533400"/>
                  <a:gd name="connsiteX62" fmla="*/ 382817 w 533400"/>
                  <a:gd name="connsiteY62" fmla="*/ 400671 h 533400"/>
                  <a:gd name="connsiteX63" fmla="*/ 497117 w 533400"/>
                  <a:gd name="connsiteY63" fmla="*/ 400671 h 533400"/>
                  <a:gd name="connsiteX64" fmla="*/ 516167 w 533400"/>
                  <a:gd name="connsiteY64" fmla="*/ 382574 h 533400"/>
                  <a:gd name="connsiteX65" fmla="*/ 516167 w 533400"/>
                  <a:gd name="connsiteY65" fmla="*/ 381621 h 533400"/>
                  <a:gd name="connsiteX66" fmla="*/ 516167 w 533400"/>
                  <a:gd name="connsiteY66" fmla="*/ 153021 h 533400"/>
                  <a:gd name="connsiteX67" fmla="*/ 498069 w 533400"/>
                  <a:gd name="connsiteY67" fmla="*/ 133971 h 533400"/>
                  <a:gd name="connsiteX68" fmla="*/ 496164 w 533400"/>
                  <a:gd name="connsiteY68" fmla="*/ 133971 h 533400"/>
                  <a:gd name="connsiteX69" fmla="*/ 462827 w 533400"/>
                  <a:gd name="connsiteY69" fmla="*/ 172071 h 533400"/>
                  <a:gd name="connsiteX70" fmla="*/ 477114 w 533400"/>
                  <a:gd name="connsiteY70" fmla="*/ 186359 h 533400"/>
                  <a:gd name="connsiteX71" fmla="*/ 462827 w 533400"/>
                  <a:gd name="connsiteY71" fmla="*/ 200646 h 533400"/>
                  <a:gd name="connsiteX72" fmla="*/ 448539 w 533400"/>
                  <a:gd name="connsiteY72" fmla="*/ 186359 h 533400"/>
                  <a:gd name="connsiteX73" fmla="*/ 462827 w 533400"/>
                  <a:gd name="connsiteY73" fmla="*/ 172071 h 533400"/>
                  <a:gd name="connsiteX74" fmla="*/ 343764 w 533400"/>
                  <a:gd name="connsiteY74" fmla="*/ 19671 h 533400"/>
                  <a:gd name="connsiteX75" fmla="*/ 191364 w 533400"/>
                  <a:gd name="connsiteY75" fmla="*/ 19671 h 533400"/>
                  <a:gd name="connsiteX76" fmla="*/ 172314 w 533400"/>
                  <a:gd name="connsiteY76" fmla="*/ 38721 h 533400"/>
                  <a:gd name="connsiteX77" fmla="*/ 172314 w 533400"/>
                  <a:gd name="connsiteY77" fmla="*/ 38721 h 533400"/>
                  <a:gd name="connsiteX78" fmla="*/ 172314 w 533400"/>
                  <a:gd name="connsiteY78" fmla="*/ 114921 h 533400"/>
                  <a:gd name="connsiteX79" fmla="*/ 362814 w 533400"/>
                  <a:gd name="connsiteY79" fmla="*/ 114921 h 533400"/>
                  <a:gd name="connsiteX80" fmla="*/ 362814 w 533400"/>
                  <a:gd name="connsiteY80" fmla="*/ 38721 h 533400"/>
                  <a:gd name="connsiteX81" fmla="*/ 344717 w 533400"/>
                  <a:gd name="connsiteY81" fmla="*/ 19671 h 533400"/>
                  <a:gd name="connsiteX82" fmla="*/ 344717 w 533400"/>
                  <a:gd name="connsiteY82" fmla="*/ 19671 h 533400"/>
                  <a:gd name="connsiteX83" fmla="*/ 343764 w 533400"/>
                  <a:gd name="connsiteY83" fmla="*/ 19671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533400" h="533400">
                    <a:moveTo>
                      <a:pt x="343764" y="621"/>
                    </a:moveTo>
                    <a:cubicBezTo>
                      <a:pt x="364719" y="621"/>
                      <a:pt x="381864" y="17766"/>
                      <a:pt x="381864" y="38721"/>
                    </a:cubicBezTo>
                    <a:lnTo>
                      <a:pt x="381864" y="38721"/>
                    </a:lnTo>
                    <a:lnTo>
                      <a:pt x="381864" y="114921"/>
                    </a:lnTo>
                    <a:lnTo>
                      <a:pt x="496164" y="114921"/>
                    </a:lnTo>
                    <a:cubicBezTo>
                      <a:pt x="516167" y="114921"/>
                      <a:pt x="533311" y="131114"/>
                      <a:pt x="534264" y="151116"/>
                    </a:cubicBezTo>
                    <a:lnTo>
                      <a:pt x="534264" y="153021"/>
                    </a:lnTo>
                    <a:lnTo>
                      <a:pt x="534264" y="381621"/>
                    </a:lnTo>
                    <a:cubicBezTo>
                      <a:pt x="534264" y="401624"/>
                      <a:pt x="518071" y="418769"/>
                      <a:pt x="498069" y="419721"/>
                    </a:cubicBezTo>
                    <a:lnTo>
                      <a:pt x="496164" y="419721"/>
                    </a:lnTo>
                    <a:lnTo>
                      <a:pt x="381864" y="419721"/>
                    </a:lnTo>
                    <a:lnTo>
                      <a:pt x="381864" y="495921"/>
                    </a:lnTo>
                    <a:cubicBezTo>
                      <a:pt x="381864" y="515924"/>
                      <a:pt x="365671" y="533069"/>
                      <a:pt x="345669" y="534021"/>
                    </a:cubicBezTo>
                    <a:lnTo>
                      <a:pt x="343764" y="534021"/>
                    </a:lnTo>
                    <a:lnTo>
                      <a:pt x="191364" y="534021"/>
                    </a:lnTo>
                    <a:cubicBezTo>
                      <a:pt x="170409" y="534021"/>
                      <a:pt x="153264" y="516876"/>
                      <a:pt x="153264" y="495921"/>
                    </a:cubicBezTo>
                    <a:lnTo>
                      <a:pt x="153264" y="495921"/>
                    </a:lnTo>
                    <a:lnTo>
                      <a:pt x="153264" y="419721"/>
                    </a:lnTo>
                    <a:lnTo>
                      <a:pt x="38964" y="419721"/>
                    </a:lnTo>
                    <a:cubicBezTo>
                      <a:pt x="18961" y="419721"/>
                      <a:pt x="1817" y="403529"/>
                      <a:pt x="864" y="383526"/>
                    </a:cubicBezTo>
                    <a:lnTo>
                      <a:pt x="864" y="381621"/>
                    </a:lnTo>
                    <a:lnTo>
                      <a:pt x="864" y="197789"/>
                    </a:lnTo>
                    <a:cubicBezTo>
                      <a:pt x="864" y="189216"/>
                      <a:pt x="3721" y="180644"/>
                      <a:pt x="9436" y="173976"/>
                    </a:cubicBezTo>
                    <a:lnTo>
                      <a:pt x="11342" y="172071"/>
                    </a:lnTo>
                    <a:lnTo>
                      <a:pt x="52299" y="127304"/>
                    </a:lnTo>
                    <a:cubicBezTo>
                      <a:pt x="58967" y="119684"/>
                      <a:pt x="68492" y="115874"/>
                      <a:pt x="78017" y="114921"/>
                    </a:cubicBezTo>
                    <a:lnTo>
                      <a:pt x="79921" y="114921"/>
                    </a:lnTo>
                    <a:lnTo>
                      <a:pt x="153264" y="114921"/>
                    </a:lnTo>
                    <a:lnTo>
                      <a:pt x="153264" y="38721"/>
                    </a:lnTo>
                    <a:cubicBezTo>
                      <a:pt x="153264" y="18719"/>
                      <a:pt x="169457" y="1574"/>
                      <a:pt x="189459" y="621"/>
                    </a:cubicBezTo>
                    <a:lnTo>
                      <a:pt x="191364" y="621"/>
                    </a:lnTo>
                    <a:lnTo>
                      <a:pt x="343764" y="621"/>
                    </a:lnTo>
                    <a:close/>
                    <a:moveTo>
                      <a:pt x="343764" y="286371"/>
                    </a:moveTo>
                    <a:lnTo>
                      <a:pt x="191364" y="286371"/>
                    </a:lnTo>
                    <a:cubicBezTo>
                      <a:pt x="180886" y="286371"/>
                      <a:pt x="172314" y="294944"/>
                      <a:pt x="172314" y="305421"/>
                    </a:cubicBezTo>
                    <a:lnTo>
                      <a:pt x="172314" y="305421"/>
                    </a:lnTo>
                    <a:lnTo>
                      <a:pt x="172314" y="495921"/>
                    </a:lnTo>
                    <a:cubicBezTo>
                      <a:pt x="172314" y="506399"/>
                      <a:pt x="180886" y="514971"/>
                      <a:pt x="191364" y="514971"/>
                    </a:cubicBezTo>
                    <a:lnTo>
                      <a:pt x="191364" y="514971"/>
                    </a:lnTo>
                    <a:lnTo>
                      <a:pt x="343764" y="514971"/>
                    </a:lnTo>
                    <a:cubicBezTo>
                      <a:pt x="354242" y="514971"/>
                      <a:pt x="362814" y="506399"/>
                      <a:pt x="362814" y="495921"/>
                    </a:cubicBezTo>
                    <a:lnTo>
                      <a:pt x="362814" y="495921"/>
                    </a:lnTo>
                    <a:lnTo>
                      <a:pt x="362814" y="305421"/>
                    </a:lnTo>
                    <a:cubicBezTo>
                      <a:pt x="362814" y="294944"/>
                      <a:pt x="354242" y="286371"/>
                      <a:pt x="343764" y="286371"/>
                    </a:cubicBezTo>
                    <a:lnTo>
                      <a:pt x="343764" y="286371"/>
                    </a:lnTo>
                    <a:close/>
                    <a:moveTo>
                      <a:pt x="496164" y="133971"/>
                    </a:moveTo>
                    <a:lnTo>
                      <a:pt x="79921" y="133971"/>
                    </a:lnTo>
                    <a:cubicBezTo>
                      <a:pt x="75159" y="133971"/>
                      <a:pt x="70396" y="135876"/>
                      <a:pt x="67539" y="138734"/>
                    </a:cubicBezTo>
                    <a:lnTo>
                      <a:pt x="66586" y="139686"/>
                    </a:lnTo>
                    <a:lnTo>
                      <a:pt x="25629" y="184454"/>
                    </a:lnTo>
                    <a:cubicBezTo>
                      <a:pt x="22771" y="187311"/>
                      <a:pt x="20867" y="191121"/>
                      <a:pt x="20867" y="195884"/>
                    </a:cubicBezTo>
                    <a:lnTo>
                      <a:pt x="20867" y="197789"/>
                    </a:lnTo>
                    <a:lnTo>
                      <a:pt x="20867" y="381621"/>
                    </a:lnTo>
                    <a:cubicBezTo>
                      <a:pt x="20867" y="392099"/>
                      <a:pt x="28486" y="399719"/>
                      <a:pt x="38964" y="400671"/>
                    </a:cubicBezTo>
                    <a:lnTo>
                      <a:pt x="39917" y="400671"/>
                    </a:lnTo>
                    <a:lnTo>
                      <a:pt x="154217" y="400671"/>
                    </a:lnTo>
                    <a:lnTo>
                      <a:pt x="154217" y="305421"/>
                    </a:lnTo>
                    <a:cubicBezTo>
                      <a:pt x="154217" y="285419"/>
                      <a:pt x="170409" y="268274"/>
                      <a:pt x="190411" y="267321"/>
                    </a:cubicBezTo>
                    <a:lnTo>
                      <a:pt x="192317" y="267321"/>
                    </a:lnTo>
                    <a:lnTo>
                      <a:pt x="344717" y="267321"/>
                    </a:lnTo>
                    <a:cubicBezTo>
                      <a:pt x="365671" y="267321"/>
                      <a:pt x="382817" y="284466"/>
                      <a:pt x="382817" y="305421"/>
                    </a:cubicBezTo>
                    <a:lnTo>
                      <a:pt x="382817" y="305421"/>
                    </a:lnTo>
                    <a:lnTo>
                      <a:pt x="382817" y="400671"/>
                    </a:lnTo>
                    <a:lnTo>
                      <a:pt x="497117" y="400671"/>
                    </a:lnTo>
                    <a:cubicBezTo>
                      <a:pt x="507594" y="400671"/>
                      <a:pt x="515214" y="393051"/>
                      <a:pt x="516167" y="382574"/>
                    </a:cubicBezTo>
                    <a:lnTo>
                      <a:pt x="516167" y="381621"/>
                    </a:lnTo>
                    <a:lnTo>
                      <a:pt x="516167" y="153021"/>
                    </a:lnTo>
                    <a:cubicBezTo>
                      <a:pt x="516167" y="142544"/>
                      <a:pt x="508546" y="134924"/>
                      <a:pt x="498069" y="133971"/>
                    </a:cubicBezTo>
                    <a:lnTo>
                      <a:pt x="496164" y="133971"/>
                    </a:lnTo>
                    <a:close/>
                    <a:moveTo>
                      <a:pt x="462827" y="172071"/>
                    </a:moveTo>
                    <a:cubicBezTo>
                      <a:pt x="470446" y="172071"/>
                      <a:pt x="477114" y="178739"/>
                      <a:pt x="477114" y="186359"/>
                    </a:cubicBezTo>
                    <a:cubicBezTo>
                      <a:pt x="477114" y="193979"/>
                      <a:pt x="470446" y="200646"/>
                      <a:pt x="462827" y="200646"/>
                    </a:cubicBezTo>
                    <a:cubicBezTo>
                      <a:pt x="455207" y="200646"/>
                      <a:pt x="448539" y="193979"/>
                      <a:pt x="448539" y="186359"/>
                    </a:cubicBezTo>
                    <a:cubicBezTo>
                      <a:pt x="448539" y="178739"/>
                      <a:pt x="455207" y="172071"/>
                      <a:pt x="462827" y="172071"/>
                    </a:cubicBezTo>
                    <a:close/>
                    <a:moveTo>
                      <a:pt x="343764" y="19671"/>
                    </a:moveTo>
                    <a:lnTo>
                      <a:pt x="191364" y="19671"/>
                    </a:lnTo>
                    <a:cubicBezTo>
                      <a:pt x="180886" y="19671"/>
                      <a:pt x="172314" y="28244"/>
                      <a:pt x="172314" y="38721"/>
                    </a:cubicBezTo>
                    <a:lnTo>
                      <a:pt x="172314" y="38721"/>
                    </a:lnTo>
                    <a:lnTo>
                      <a:pt x="172314" y="114921"/>
                    </a:lnTo>
                    <a:lnTo>
                      <a:pt x="362814" y="114921"/>
                    </a:lnTo>
                    <a:lnTo>
                      <a:pt x="362814" y="38721"/>
                    </a:lnTo>
                    <a:cubicBezTo>
                      <a:pt x="362814" y="28244"/>
                      <a:pt x="355194" y="20624"/>
                      <a:pt x="344717" y="19671"/>
                    </a:cubicBezTo>
                    <a:lnTo>
                      <a:pt x="344717" y="19671"/>
                    </a:lnTo>
                    <a:lnTo>
                      <a:pt x="343764" y="19671"/>
                    </a:lnTo>
                    <a:close/>
                  </a:path>
                </a:pathLst>
              </a:custGeom>
              <a:solidFill>
                <a:schemeClr val="bg2">
                  <a:lumMod val="10000"/>
                </a:schemeClr>
              </a:solidFill>
              <a:ln w="9525" cap="flat">
                <a:noFill/>
                <a:prstDash val="solid"/>
                <a:miter/>
              </a:ln>
            </p:spPr>
            <p:txBody>
              <a:bodyPr rtlCol="0" anchor="ctr"/>
              <a:lstStyle/>
              <a:p>
                <a:endParaRPr lang="zh-CN" altLang="en-US" dirty="0"/>
              </a:p>
            </p:txBody>
          </p:sp>
        </p:grpSp>
        <p:sp>
          <p:nvSpPr>
            <p:cNvPr id="37" name="椭圆 36"/>
            <p:cNvSpPr/>
            <p:nvPr/>
          </p:nvSpPr>
          <p:spPr>
            <a:xfrm>
              <a:off x="3536509" y="2716587"/>
              <a:ext cx="2111644" cy="2111645"/>
            </a:xfrm>
            <a:prstGeom prst="ellipse">
              <a:avLst/>
            </a:prstGeom>
            <a:solidFill>
              <a:schemeClr val="bg2">
                <a:lumMod val="75000"/>
              </a:schemeClr>
            </a:solidFill>
            <a:ln w="254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endParaRPr lang="zh-CN" altLang="en-US" sz="2000" b="1" dirty="0">
                <a:solidFill>
                  <a:schemeClr val="bg1"/>
                </a:solidFill>
              </a:endParaRPr>
            </a:p>
          </p:txBody>
        </p:sp>
        <p:sp>
          <p:nvSpPr>
            <p:cNvPr id="38" name="椭圆 37"/>
            <p:cNvSpPr/>
            <p:nvPr/>
          </p:nvSpPr>
          <p:spPr>
            <a:xfrm>
              <a:off x="3693482" y="2716588"/>
              <a:ext cx="2111644" cy="2111645"/>
            </a:xfrm>
            <a:prstGeom prst="ellipse">
              <a:avLst/>
            </a:prstGeom>
            <a:solidFill>
              <a:schemeClr val="bg2"/>
            </a:solidFill>
            <a:ln w="254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endParaRPr lang="zh-CN" altLang="en-US" sz="2000" b="1">
                <a:solidFill>
                  <a:schemeClr val="bg1"/>
                </a:solidFill>
              </a:endParaRPr>
            </a:p>
          </p:txBody>
        </p:sp>
        <p:sp>
          <p:nvSpPr>
            <p:cNvPr id="39" name="文本框 38"/>
            <p:cNvSpPr txBox="1"/>
            <p:nvPr/>
          </p:nvSpPr>
          <p:spPr>
            <a:xfrm>
              <a:off x="4031320" y="3235468"/>
              <a:ext cx="2016122" cy="307777"/>
            </a:xfrm>
            <a:prstGeom prst="rect">
              <a:avLst/>
            </a:prstGeom>
            <a:noFill/>
          </p:spPr>
          <p:txBody>
            <a:bodyPr wrap="square" rtlCol="0">
              <a:spAutoFit/>
            </a:bodyPr>
            <a:lstStyle/>
            <a:p>
              <a:r>
                <a:rPr lang="en-US" altLang="zh-CN" sz="1400" b="1" dirty="0">
                  <a:solidFill>
                    <a:schemeClr val="tx1">
                      <a:lumMod val="95000"/>
                      <a:lumOff val="5000"/>
                    </a:schemeClr>
                  </a:solidFill>
                  <a:latin typeface="Arial" panose="020B0604020202090204" pitchFamily="34" charset="0"/>
                  <a:ea typeface="华文楷体" panose="02010600040101010101" pitchFamily="2" charset="-122"/>
                </a:rPr>
                <a:t>Text here.</a:t>
              </a:r>
              <a:endParaRPr lang="en-US" altLang="zh-CN" sz="1400" b="1" dirty="0">
                <a:solidFill>
                  <a:schemeClr val="tx1">
                    <a:lumMod val="95000"/>
                    <a:lumOff val="5000"/>
                  </a:schemeClr>
                </a:solidFill>
                <a:latin typeface="Arial" panose="020B0604020202090204" pitchFamily="34" charset="0"/>
                <a:ea typeface="华文楷体" panose="02010600040101010101" pitchFamily="2" charset="-122"/>
              </a:endParaRPr>
            </a:p>
          </p:txBody>
        </p:sp>
        <p:sp>
          <p:nvSpPr>
            <p:cNvPr id="40" name="文本框 39"/>
            <p:cNvSpPr txBox="1"/>
            <p:nvPr/>
          </p:nvSpPr>
          <p:spPr>
            <a:xfrm>
              <a:off x="4031320" y="3536814"/>
              <a:ext cx="1640246" cy="839910"/>
            </a:xfrm>
            <a:prstGeom prst="rect">
              <a:avLst/>
            </a:prstGeom>
            <a:noFill/>
          </p:spPr>
          <p:txBody>
            <a:bodyPr wrap="square" rtlCol="0">
              <a:spAutoFit/>
            </a:bodyPr>
            <a:lstStyle>
              <a:defPPr>
                <a:defRPr lang="zh-CN"/>
              </a:defPPr>
              <a:lvl1pPr>
                <a:lnSpc>
                  <a:spcPts val="1500"/>
                </a:lnSpc>
                <a:defRPr sz="900"/>
              </a:lvl1pPr>
            </a:lstStyle>
            <a:p>
              <a:r>
                <a:rPr lang="en-US" altLang="zh-CN" dirty="0">
                  <a:solidFill>
                    <a:schemeClr val="tx1">
                      <a:lumMod val="95000"/>
                      <a:lumOff val="5000"/>
                    </a:schemeClr>
                  </a:solidFill>
                  <a:latin typeface="Arial" panose="020B0604020202090204" pitchFamily="34" charset="0"/>
                  <a:ea typeface="华文楷体" panose="02010600040101010101" pitchFamily="2" charset="-122"/>
                </a:rPr>
                <a:t>Unified fonts make reading more </a:t>
              </a:r>
              <a:r>
                <a:rPr lang="en-US" altLang="zh-CN" dirty="0" err="1">
                  <a:solidFill>
                    <a:schemeClr val="tx1">
                      <a:lumMod val="95000"/>
                      <a:lumOff val="5000"/>
                    </a:schemeClr>
                  </a:solidFill>
                  <a:latin typeface="Arial" panose="020B0604020202090204" pitchFamily="34" charset="0"/>
                  <a:ea typeface="华文楷体" panose="02010600040101010101" pitchFamily="2" charset="-122"/>
                </a:rPr>
                <a:t>fluent.Copy</a:t>
              </a:r>
              <a:r>
                <a:rPr lang="en-US" altLang="zh-CN" dirty="0">
                  <a:solidFill>
                    <a:schemeClr val="tx1">
                      <a:lumMod val="95000"/>
                      <a:lumOff val="5000"/>
                    </a:schemeClr>
                  </a:solidFill>
                  <a:latin typeface="Arial" panose="020B0604020202090204" pitchFamily="34" charset="0"/>
                  <a:ea typeface="华文楷体" panose="02010600040101010101" pitchFamily="2" charset="-122"/>
                </a:rPr>
                <a:t> paste fonts. Choose the only </a:t>
              </a:r>
              <a:r>
                <a:rPr lang="en-US" altLang="zh-CN" dirty="0" err="1">
                  <a:solidFill>
                    <a:schemeClr val="tx1">
                      <a:lumMod val="95000"/>
                      <a:lumOff val="5000"/>
                    </a:schemeClr>
                  </a:solidFill>
                  <a:latin typeface="Arial" panose="020B0604020202090204" pitchFamily="34" charset="0"/>
                  <a:ea typeface="华文楷体" panose="02010600040101010101" pitchFamily="2" charset="-122"/>
                </a:rPr>
                <a:t>optio</a:t>
              </a:r>
              <a:r>
                <a:rPr lang="en-US" altLang="zh-CN" dirty="0">
                  <a:solidFill>
                    <a:schemeClr val="tx1">
                      <a:lumMod val="95000"/>
                      <a:lumOff val="5000"/>
                    </a:schemeClr>
                  </a:solidFill>
                  <a:latin typeface="Arial" panose="020B0604020202090204" pitchFamily="34" charset="0"/>
                  <a:ea typeface="华文楷体" panose="02010600040101010101" pitchFamily="2" charset="-122"/>
                </a:rPr>
                <a:t> to retain text……</a:t>
              </a:r>
              <a:endParaRPr lang="en-US" altLang="zh-CN" dirty="0">
                <a:solidFill>
                  <a:schemeClr val="tx1">
                    <a:lumMod val="95000"/>
                    <a:lumOff val="5000"/>
                  </a:schemeClr>
                </a:solidFill>
                <a:latin typeface="Arial" panose="020B0604020202090204" pitchFamily="34" charset="0"/>
                <a:ea typeface="华文楷体" panose="02010600040101010101" pitchFamily="2" charset="-122"/>
              </a:endParaRPr>
            </a:p>
          </p:txBody>
        </p:sp>
        <p:sp>
          <p:nvSpPr>
            <p:cNvPr id="44" name="椭圆 43"/>
            <p:cNvSpPr/>
            <p:nvPr/>
          </p:nvSpPr>
          <p:spPr>
            <a:xfrm>
              <a:off x="6330062" y="2716587"/>
              <a:ext cx="2111644" cy="2111645"/>
            </a:xfrm>
            <a:prstGeom prst="ellipse">
              <a:avLst/>
            </a:prstGeom>
            <a:solidFill>
              <a:schemeClr val="bg2">
                <a:lumMod val="75000"/>
              </a:schemeClr>
            </a:solidFill>
            <a:ln w="254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endParaRPr lang="zh-CN" altLang="en-US" sz="2000" b="1" dirty="0">
                <a:solidFill>
                  <a:schemeClr val="bg1"/>
                </a:solidFill>
              </a:endParaRPr>
            </a:p>
          </p:txBody>
        </p:sp>
        <p:sp>
          <p:nvSpPr>
            <p:cNvPr id="45" name="椭圆 44"/>
            <p:cNvSpPr/>
            <p:nvPr/>
          </p:nvSpPr>
          <p:spPr>
            <a:xfrm>
              <a:off x="6487035" y="2716588"/>
              <a:ext cx="2111644" cy="2111645"/>
            </a:xfrm>
            <a:prstGeom prst="ellipse">
              <a:avLst/>
            </a:prstGeom>
            <a:solidFill>
              <a:schemeClr val="bg2"/>
            </a:solidFill>
            <a:ln w="254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endParaRPr lang="zh-CN" altLang="en-US" sz="2000" b="1">
                <a:solidFill>
                  <a:schemeClr val="bg1"/>
                </a:solidFill>
              </a:endParaRPr>
            </a:p>
          </p:txBody>
        </p:sp>
        <p:sp>
          <p:nvSpPr>
            <p:cNvPr id="46" name="文本框 45"/>
            <p:cNvSpPr txBox="1"/>
            <p:nvPr/>
          </p:nvSpPr>
          <p:spPr>
            <a:xfrm>
              <a:off x="6824873" y="3235468"/>
              <a:ext cx="2016122" cy="307777"/>
            </a:xfrm>
            <a:prstGeom prst="rect">
              <a:avLst/>
            </a:prstGeom>
            <a:noFill/>
          </p:spPr>
          <p:txBody>
            <a:bodyPr wrap="square" rtlCol="0">
              <a:spAutoFit/>
            </a:bodyPr>
            <a:lstStyle/>
            <a:p>
              <a:r>
                <a:rPr lang="en-US" altLang="zh-CN" sz="1400" b="1" dirty="0">
                  <a:solidFill>
                    <a:schemeClr val="tx1">
                      <a:lumMod val="95000"/>
                      <a:lumOff val="5000"/>
                    </a:schemeClr>
                  </a:solidFill>
                  <a:latin typeface="Arial" panose="020B0604020202090204" pitchFamily="34" charset="0"/>
                  <a:ea typeface="华文楷体" panose="02010600040101010101" pitchFamily="2" charset="-122"/>
                </a:rPr>
                <a:t>Text here.</a:t>
              </a:r>
              <a:endParaRPr lang="en-US" altLang="zh-CN" sz="1400" b="1" dirty="0">
                <a:solidFill>
                  <a:schemeClr val="tx1">
                    <a:lumMod val="95000"/>
                    <a:lumOff val="5000"/>
                  </a:schemeClr>
                </a:solidFill>
                <a:latin typeface="Arial" panose="020B0604020202090204" pitchFamily="34" charset="0"/>
                <a:ea typeface="华文楷体" panose="02010600040101010101" pitchFamily="2" charset="-122"/>
              </a:endParaRPr>
            </a:p>
          </p:txBody>
        </p:sp>
        <p:sp>
          <p:nvSpPr>
            <p:cNvPr id="47" name="文本框 46"/>
            <p:cNvSpPr txBox="1"/>
            <p:nvPr/>
          </p:nvSpPr>
          <p:spPr>
            <a:xfrm>
              <a:off x="6824873" y="3536814"/>
              <a:ext cx="1640246" cy="839910"/>
            </a:xfrm>
            <a:prstGeom prst="rect">
              <a:avLst/>
            </a:prstGeom>
            <a:noFill/>
          </p:spPr>
          <p:txBody>
            <a:bodyPr wrap="square" rtlCol="0">
              <a:spAutoFit/>
            </a:bodyPr>
            <a:lstStyle>
              <a:defPPr>
                <a:defRPr lang="zh-CN"/>
              </a:defPPr>
              <a:lvl1pPr>
                <a:lnSpc>
                  <a:spcPts val="1500"/>
                </a:lnSpc>
                <a:defRPr sz="900"/>
              </a:lvl1pPr>
            </a:lstStyle>
            <a:p>
              <a:r>
                <a:rPr lang="en-US" altLang="zh-CN" dirty="0">
                  <a:solidFill>
                    <a:schemeClr val="tx1">
                      <a:lumMod val="95000"/>
                      <a:lumOff val="5000"/>
                    </a:schemeClr>
                  </a:solidFill>
                  <a:latin typeface="Arial" panose="020B0604020202090204" pitchFamily="34" charset="0"/>
                  <a:ea typeface="华文楷体" panose="02010600040101010101" pitchFamily="2" charset="-122"/>
                </a:rPr>
                <a:t>Unified fonts make reading more </a:t>
              </a:r>
              <a:r>
                <a:rPr lang="en-US" altLang="zh-CN" dirty="0" err="1">
                  <a:solidFill>
                    <a:schemeClr val="tx1">
                      <a:lumMod val="95000"/>
                      <a:lumOff val="5000"/>
                    </a:schemeClr>
                  </a:solidFill>
                  <a:latin typeface="Arial" panose="020B0604020202090204" pitchFamily="34" charset="0"/>
                  <a:ea typeface="华文楷体" panose="02010600040101010101" pitchFamily="2" charset="-122"/>
                </a:rPr>
                <a:t>fluent.Copy</a:t>
              </a:r>
              <a:r>
                <a:rPr lang="en-US" altLang="zh-CN" dirty="0">
                  <a:solidFill>
                    <a:schemeClr val="tx1">
                      <a:lumMod val="95000"/>
                      <a:lumOff val="5000"/>
                    </a:schemeClr>
                  </a:solidFill>
                  <a:latin typeface="Arial" panose="020B0604020202090204" pitchFamily="34" charset="0"/>
                  <a:ea typeface="华文楷体" panose="02010600040101010101" pitchFamily="2" charset="-122"/>
                </a:rPr>
                <a:t> paste fonts. Choose the only </a:t>
              </a:r>
              <a:r>
                <a:rPr lang="en-US" altLang="zh-CN" dirty="0" err="1">
                  <a:solidFill>
                    <a:schemeClr val="tx1">
                      <a:lumMod val="95000"/>
                      <a:lumOff val="5000"/>
                    </a:schemeClr>
                  </a:solidFill>
                  <a:latin typeface="Arial" panose="020B0604020202090204" pitchFamily="34" charset="0"/>
                  <a:ea typeface="华文楷体" panose="02010600040101010101" pitchFamily="2" charset="-122"/>
                </a:rPr>
                <a:t>optio</a:t>
              </a:r>
              <a:r>
                <a:rPr lang="en-US" altLang="zh-CN" dirty="0">
                  <a:solidFill>
                    <a:schemeClr val="tx1">
                      <a:lumMod val="95000"/>
                      <a:lumOff val="5000"/>
                    </a:schemeClr>
                  </a:solidFill>
                  <a:latin typeface="Arial" panose="020B0604020202090204" pitchFamily="34" charset="0"/>
                  <a:ea typeface="华文楷体" panose="02010600040101010101" pitchFamily="2" charset="-122"/>
                </a:rPr>
                <a:t> to retain text……</a:t>
              </a:r>
              <a:endParaRPr lang="en-US" altLang="zh-CN" dirty="0">
                <a:solidFill>
                  <a:schemeClr val="tx1">
                    <a:lumMod val="95000"/>
                    <a:lumOff val="5000"/>
                  </a:schemeClr>
                </a:solidFill>
                <a:latin typeface="Arial" panose="020B0604020202090204" pitchFamily="34" charset="0"/>
                <a:ea typeface="华文楷体" panose="02010600040101010101" pitchFamily="2" charset="-122"/>
              </a:endParaRPr>
            </a:p>
          </p:txBody>
        </p:sp>
        <p:sp>
          <p:nvSpPr>
            <p:cNvPr id="51" name="椭圆 50"/>
            <p:cNvSpPr/>
            <p:nvPr/>
          </p:nvSpPr>
          <p:spPr>
            <a:xfrm>
              <a:off x="9118786" y="2716587"/>
              <a:ext cx="2111644" cy="2111645"/>
            </a:xfrm>
            <a:prstGeom prst="ellipse">
              <a:avLst/>
            </a:prstGeom>
            <a:solidFill>
              <a:schemeClr val="accent1"/>
            </a:solidFill>
            <a:ln w="254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endParaRPr lang="zh-CN" altLang="en-US" sz="2000" b="1" dirty="0">
                <a:solidFill>
                  <a:schemeClr val="bg1"/>
                </a:solidFill>
              </a:endParaRPr>
            </a:p>
          </p:txBody>
        </p:sp>
        <p:sp>
          <p:nvSpPr>
            <p:cNvPr id="52" name="椭圆 51"/>
            <p:cNvSpPr/>
            <p:nvPr/>
          </p:nvSpPr>
          <p:spPr>
            <a:xfrm>
              <a:off x="9275759" y="2716588"/>
              <a:ext cx="2111644" cy="2111645"/>
            </a:xfrm>
            <a:prstGeom prst="ellipse">
              <a:avLst/>
            </a:prstGeom>
            <a:solidFill>
              <a:schemeClr val="bg2"/>
            </a:solidFill>
            <a:ln w="254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endParaRPr lang="zh-CN" altLang="en-US" sz="2000" b="1">
                <a:solidFill>
                  <a:schemeClr val="bg1"/>
                </a:solidFill>
              </a:endParaRPr>
            </a:p>
          </p:txBody>
        </p:sp>
        <p:sp>
          <p:nvSpPr>
            <p:cNvPr id="53" name="文本框 52"/>
            <p:cNvSpPr txBox="1"/>
            <p:nvPr/>
          </p:nvSpPr>
          <p:spPr>
            <a:xfrm>
              <a:off x="9613597" y="3235468"/>
              <a:ext cx="2016122" cy="307777"/>
            </a:xfrm>
            <a:prstGeom prst="rect">
              <a:avLst/>
            </a:prstGeom>
            <a:noFill/>
          </p:spPr>
          <p:txBody>
            <a:bodyPr wrap="square" rtlCol="0">
              <a:spAutoFit/>
            </a:bodyPr>
            <a:lstStyle/>
            <a:p>
              <a:r>
                <a:rPr lang="en-US" altLang="zh-CN" sz="1400" b="1" dirty="0">
                  <a:solidFill>
                    <a:schemeClr val="tx1">
                      <a:lumMod val="95000"/>
                      <a:lumOff val="5000"/>
                    </a:schemeClr>
                  </a:solidFill>
                  <a:latin typeface="Arial" panose="020B0604020202090204" pitchFamily="34" charset="0"/>
                  <a:ea typeface="华文楷体" panose="02010600040101010101" pitchFamily="2" charset="-122"/>
                </a:rPr>
                <a:t>Text here.</a:t>
              </a:r>
              <a:endParaRPr lang="en-US" altLang="zh-CN" sz="1400" b="1" dirty="0">
                <a:solidFill>
                  <a:schemeClr val="tx1">
                    <a:lumMod val="95000"/>
                    <a:lumOff val="5000"/>
                  </a:schemeClr>
                </a:solidFill>
                <a:latin typeface="Arial" panose="020B0604020202090204" pitchFamily="34" charset="0"/>
                <a:ea typeface="华文楷体" panose="02010600040101010101" pitchFamily="2" charset="-122"/>
              </a:endParaRPr>
            </a:p>
          </p:txBody>
        </p:sp>
        <p:sp>
          <p:nvSpPr>
            <p:cNvPr id="54" name="文本框 53"/>
            <p:cNvSpPr txBox="1"/>
            <p:nvPr/>
          </p:nvSpPr>
          <p:spPr>
            <a:xfrm>
              <a:off x="9613597" y="3536814"/>
              <a:ext cx="1640246" cy="839910"/>
            </a:xfrm>
            <a:prstGeom prst="rect">
              <a:avLst/>
            </a:prstGeom>
            <a:noFill/>
          </p:spPr>
          <p:txBody>
            <a:bodyPr wrap="square" rtlCol="0">
              <a:spAutoFit/>
            </a:bodyPr>
            <a:lstStyle>
              <a:defPPr>
                <a:defRPr lang="zh-CN"/>
              </a:defPPr>
              <a:lvl1pPr>
                <a:lnSpc>
                  <a:spcPts val="1500"/>
                </a:lnSpc>
                <a:defRPr sz="900"/>
              </a:lvl1pPr>
            </a:lstStyle>
            <a:p>
              <a:r>
                <a:rPr lang="en-US" altLang="zh-CN" dirty="0">
                  <a:solidFill>
                    <a:schemeClr val="tx1">
                      <a:lumMod val="95000"/>
                      <a:lumOff val="5000"/>
                    </a:schemeClr>
                  </a:solidFill>
                  <a:latin typeface="Arial" panose="020B0604020202090204" pitchFamily="34" charset="0"/>
                  <a:ea typeface="华文楷体" panose="02010600040101010101" pitchFamily="2" charset="-122"/>
                </a:rPr>
                <a:t>Unified fonts make reading more </a:t>
              </a:r>
              <a:r>
                <a:rPr lang="en-US" altLang="zh-CN" dirty="0" err="1">
                  <a:solidFill>
                    <a:schemeClr val="tx1">
                      <a:lumMod val="95000"/>
                      <a:lumOff val="5000"/>
                    </a:schemeClr>
                  </a:solidFill>
                  <a:latin typeface="Arial" panose="020B0604020202090204" pitchFamily="34" charset="0"/>
                  <a:ea typeface="华文楷体" panose="02010600040101010101" pitchFamily="2" charset="-122"/>
                </a:rPr>
                <a:t>fluent.Copy</a:t>
              </a:r>
              <a:r>
                <a:rPr lang="en-US" altLang="zh-CN" dirty="0">
                  <a:solidFill>
                    <a:schemeClr val="tx1">
                      <a:lumMod val="95000"/>
                      <a:lumOff val="5000"/>
                    </a:schemeClr>
                  </a:solidFill>
                  <a:latin typeface="Arial" panose="020B0604020202090204" pitchFamily="34" charset="0"/>
                  <a:ea typeface="华文楷体" panose="02010600040101010101" pitchFamily="2" charset="-122"/>
                </a:rPr>
                <a:t> paste fonts. Choose the only </a:t>
              </a:r>
              <a:r>
                <a:rPr lang="en-US" altLang="zh-CN" dirty="0" err="1">
                  <a:solidFill>
                    <a:schemeClr val="tx1">
                      <a:lumMod val="95000"/>
                      <a:lumOff val="5000"/>
                    </a:schemeClr>
                  </a:solidFill>
                  <a:latin typeface="Arial" panose="020B0604020202090204" pitchFamily="34" charset="0"/>
                  <a:ea typeface="华文楷体" panose="02010600040101010101" pitchFamily="2" charset="-122"/>
                </a:rPr>
                <a:t>optio</a:t>
              </a:r>
              <a:r>
                <a:rPr lang="en-US" altLang="zh-CN" dirty="0">
                  <a:solidFill>
                    <a:schemeClr val="tx1">
                      <a:lumMod val="95000"/>
                      <a:lumOff val="5000"/>
                    </a:schemeClr>
                  </a:solidFill>
                  <a:latin typeface="Arial" panose="020B0604020202090204" pitchFamily="34" charset="0"/>
                  <a:ea typeface="华文楷体" panose="02010600040101010101" pitchFamily="2" charset="-122"/>
                </a:rPr>
                <a:t> to retain text……</a:t>
              </a:r>
              <a:endParaRPr lang="en-US" altLang="zh-CN" dirty="0">
                <a:solidFill>
                  <a:schemeClr val="tx1">
                    <a:lumMod val="95000"/>
                    <a:lumOff val="5000"/>
                  </a:schemeClr>
                </a:solidFill>
                <a:latin typeface="Arial" panose="020B0604020202090204" pitchFamily="34" charset="0"/>
                <a:ea typeface="华文楷体" panose="02010600040101010101" pitchFamily="2" charset="-122"/>
              </a:endParaRPr>
            </a:p>
          </p:txBody>
        </p:sp>
        <p:sp>
          <p:nvSpPr>
            <p:cNvPr id="58" name="矩形: 圆角 57"/>
            <p:cNvSpPr/>
            <p:nvPr/>
          </p:nvSpPr>
          <p:spPr>
            <a:xfrm>
              <a:off x="3338525" y="5450216"/>
              <a:ext cx="277390" cy="277390"/>
            </a:xfrm>
            <a:prstGeom prst="roundRect">
              <a:avLst>
                <a:gd name="adj" fmla="val 8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9" name="文本框 58"/>
            <p:cNvSpPr txBox="1"/>
            <p:nvPr/>
          </p:nvSpPr>
          <p:spPr>
            <a:xfrm>
              <a:off x="3820665" y="5347112"/>
              <a:ext cx="4636002" cy="647550"/>
            </a:xfrm>
            <a:prstGeom prst="rect">
              <a:avLst/>
            </a:prstGeom>
            <a:noFill/>
          </p:spPr>
          <p:txBody>
            <a:bodyPr wrap="square" rtlCol="0">
              <a:spAutoFit/>
            </a:bodyPr>
            <a:lstStyle>
              <a:defPPr>
                <a:defRPr lang="zh-CN"/>
              </a:defPPr>
              <a:lvl1pPr>
                <a:lnSpc>
                  <a:spcPts val="1500"/>
                </a:lnSpc>
                <a:defRPr sz="900"/>
              </a:lvl1pPr>
            </a:lstStyle>
            <a:p>
              <a:r>
                <a:rPr lang="en-US" dirty="0">
                  <a:latin typeface="Arial" panose="020B0604020202090204" pitchFamily="34" charset="0"/>
                  <a:ea typeface="华文楷体" panose="02010600040101010101" pitchFamily="2" charset="-122"/>
                </a:rPr>
                <a:t>Adjust the spacing to adapt to Chinese typesetting, use the reference line in </a:t>
              </a:r>
              <a:r>
                <a:rPr lang="en-US" dirty="0" err="1">
                  <a:latin typeface="Arial" panose="020B0604020202090204" pitchFamily="34" charset="0"/>
                  <a:ea typeface="华文楷体" panose="02010600040101010101" pitchFamily="2" charset="-122"/>
                </a:rPr>
                <a:t>PPT.</a:t>
              </a:r>
              <a:r>
                <a:rPr lang="en-US" altLang="zh-CN" dirty="0" err="1">
                  <a:latin typeface="Arial" panose="020B0604020202090204" pitchFamily="34" charset="0"/>
                  <a:ea typeface="华文楷体" panose="02010600040101010101" pitchFamily="2" charset="-122"/>
                </a:rPr>
                <a:t>Unified</a:t>
              </a:r>
              <a:r>
                <a:rPr lang="en-US" altLang="zh-CN" dirty="0">
                  <a:latin typeface="Arial" panose="020B0604020202090204" pitchFamily="34" charset="0"/>
                  <a:ea typeface="华文楷体" panose="02010600040101010101" pitchFamily="2" charset="-122"/>
                </a:rPr>
                <a:t> fonts make reading more </a:t>
              </a:r>
              <a:r>
                <a:rPr lang="en-US" altLang="zh-CN" dirty="0" err="1">
                  <a:latin typeface="Arial" panose="020B0604020202090204" pitchFamily="34" charset="0"/>
                  <a:ea typeface="华文楷体" panose="02010600040101010101" pitchFamily="2" charset="-122"/>
                </a:rPr>
                <a:t>fluent.Copy</a:t>
              </a:r>
              <a:r>
                <a:rPr lang="en-US" altLang="zh-CN" dirty="0">
                  <a:latin typeface="Arial" panose="020B0604020202090204" pitchFamily="34" charset="0"/>
                  <a:ea typeface="华文楷体" panose="02010600040101010101" pitchFamily="2" charset="-122"/>
                </a:rPr>
                <a:t> paste fonts. Choose the only </a:t>
              </a:r>
              <a:r>
                <a:rPr lang="en-US" altLang="zh-CN" dirty="0" err="1">
                  <a:latin typeface="Arial" panose="020B0604020202090204" pitchFamily="34" charset="0"/>
                  <a:ea typeface="华文楷体" panose="02010600040101010101" pitchFamily="2" charset="-122"/>
                </a:rPr>
                <a:t>optio</a:t>
              </a:r>
              <a:r>
                <a:rPr lang="en-US" altLang="zh-CN" dirty="0">
                  <a:latin typeface="Arial" panose="020B0604020202090204" pitchFamily="34" charset="0"/>
                  <a:ea typeface="华文楷体" panose="02010600040101010101" pitchFamily="2" charset="-122"/>
                </a:rPr>
                <a:t> to retain text……</a:t>
              </a:r>
              <a:endParaRPr lang="en-US" altLang="zh-CN" dirty="0">
                <a:latin typeface="Arial" panose="020B0604020202090204" pitchFamily="34" charset="0"/>
                <a:ea typeface="华文楷体" panose="02010600040101010101" pitchFamily="2" charset="-122"/>
              </a:endParaRPr>
            </a:p>
          </p:txBody>
        </p:sp>
        <p:grpSp>
          <p:nvGrpSpPr>
            <p:cNvPr id="63" name="组合 62"/>
            <p:cNvGrpSpPr/>
            <p:nvPr/>
          </p:nvGrpSpPr>
          <p:grpSpPr>
            <a:xfrm>
              <a:off x="5172427" y="2716587"/>
              <a:ext cx="597561" cy="597562"/>
              <a:chOff x="5534896" y="2915877"/>
              <a:chExt cx="834641" cy="834642"/>
            </a:xfrm>
          </p:grpSpPr>
          <p:sp>
            <p:nvSpPr>
              <p:cNvPr id="64" name="椭圆 63"/>
              <p:cNvSpPr/>
              <p:nvPr/>
            </p:nvSpPr>
            <p:spPr>
              <a:xfrm>
                <a:off x="5534896" y="2915877"/>
                <a:ext cx="834641" cy="834642"/>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dirty="0"/>
              </a:p>
            </p:txBody>
          </p:sp>
          <p:sp>
            <p:nvSpPr>
              <p:cNvPr id="65" name="任意多边形: 形状 64"/>
              <p:cNvSpPr/>
              <p:nvPr/>
            </p:nvSpPr>
            <p:spPr>
              <a:xfrm>
                <a:off x="5765857" y="3191130"/>
                <a:ext cx="372717" cy="279537"/>
              </a:xfrm>
              <a:custGeom>
                <a:avLst/>
                <a:gdLst>
                  <a:gd name="connsiteX0" fmla="*/ 495908 w 533400"/>
                  <a:gd name="connsiteY0" fmla="*/ 621 h 400050"/>
                  <a:gd name="connsiteX1" fmla="*/ 534008 w 533400"/>
                  <a:gd name="connsiteY1" fmla="*/ 38721 h 400050"/>
                  <a:gd name="connsiteX2" fmla="*/ 534008 w 533400"/>
                  <a:gd name="connsiteY2" fmla="*/ 38721 h 400050"/>
                  <a:gd name="connsiteX3" fmla="*/ 534008 w 533400"/>
                  <a:gd name="connsiteY3" fmla="*/ 362571 h 400050"/>
                  <a:gd name="connsiteX4" fmla="*/ 495908 w 533400"/>
                  <a:gd name="connsiteY4" fmla="*/ 400671 h 400050"/>
                  <a:gd name="connsiteX5" fmla="*/ 495908 w 533400"/>
                  <a:gd name="connsiteY5" fmla="*/ 400671 h 400050"/>
                  <a:gd name="connsiteX6" fmla="*/ 38708 w 533400"/>
                  <a:gd name="connsiteY6" fmla="*/ 400671 h 400050"/>
                  <a:gd name="connsiteX7" fmla="*/ 608 w 533400"/>
                  <a:gd name="connsiteY7" fmla="*/ 362571 h 400050"/>
                  <a:gd name="connsiteX8" fmla="*/ 608 w 533400"/>
                  <a:gd name="connsiteY8" fmla="*/ 362571 h 400050"/>
                  <a:gd name="connsiteX9" fmla="*/ 608 w 533400"/>
                  <a:gd name="connsiteY9" fmla="*/ 38721 h 400050"/>
                  <a:gd name="connsiteX10" fmla="*/ 38708 w 533400"/>
                  <a:gd name="connsiteY10" fmla="*/ 621 h 400050"/>
                  <a:gd name="connsiteX11" fmla="*/ 38708 w 533400"/>
                  <a:gd name="connsiteY11" fmla="*/ 621 h 400050"/>
                  <a:gd name="connsiteX12" fmla="*/ 495908 w 533400"/>
                  <a:gd name="connsiteY12" fmla="*/ 621 h 400050"/>
                  <a:gd name="connsiteX13" fmla="*/ 361605 w 533400"/>
                  <a:gd name="connsiteY13" fmla="*/ 172071 h 400050"/>
                  <a:gd name="connsiteX14" fmla="*/ 360653 w 533400"/>
                  <a:gd name="connsiteY14" fmla="*/ 173024 h 400050"/>
                  <a:gd name="connsiteX15" fmla="*/ 274928 w 533400"/>
                  <a:gd name="connsiteY15" fmla="*/ 284466 h 400050"/>
                  <a:gd name="connsiteX16" fmla="*/ 272071 w 533400"/>
                  <a:gd name="connsiteY16" fmla="*/ 288276 h 400050"/>
                  <a:gd name="connsiteX17" fmla="*/ 219683 w 533400"/>
                  <a:gd name="connsiteY17" fmla="*/ 290181 h 400050"/>
                  <a:gd name="connsiteX18" fmla="*/ 217778 w 533400"/>
                  <a:gd name="connsiteY18" fmla="*/ 289229 h 400050"/>
                  <a:gd name="connsiteX19" fmla="*/ 154913 w 533400"/>
                  <a:gd name="connsiteY19" fmla="*/ 228269 h 400050"/>
                  <a:gd name="connsiteX20" fmla="*/ 153961 w 533400"/>
                  <a:gd name="connsiteY20" fmla="*/ 227316 h 400050"/>
                  <a:gd name="connsiteX21" fmla="*/ 128243 w 533400"/>
                  <a:gd name="connsiteY21" fmla="*/ 228269 h 400050"/>
                  <a:gd name="connsiteX22" fmla="*/ 127290 w 533400"/>
                  <a:gd name="connsiteY22" fmla="*/ 229221 h 400050"/>
                  <a:gd name="connsiteX23" fmla="*/ 19658 w 533400"/>
                  <a:gd name="connsiteY23" fmla="*/ 354951 h 400050"/>
                  <a:gd name="connsiteX24" fmla="*/ 19658 w 533400"/>
                  <a:gd name="connsiteY24" fmla="*/ 361619 h 400050"/>
                  <a:gd name="connsiteX25" fmla="*/ 37755 w 533400"/>
                  <a:gd name="connsiteY25" fmla="*/ 380669 h 400050"/>
                  <a:gd name="connsiteX26" fmla="*/ 38708 w 533400"/>
                  <a:gd name="connsiteY26" fmla="*/ 380669 h 400050"/>
                  <a:gd name="connsiteX27" fmla="*/ 495908 w 533400"/>
                  <a:gd name="connsiteY27" fmla="*/ 380669 h 400050"/>
                  <a:gd name="connsiteX28" fmla="*/ 514958 w 533400"/>
                  <a:gd name="connsiteY28" fmla="*/ 361619 h 400050"/>
                  <a:gd name="connsiteX29" fmla="*/ 514958 w 533400"/>
                  <a:gd name="connsiteY29" fmla="*/ 361619 h 400050"/>
                  <a:gd name="connsiteX30" fmla="*/ 514958 w 533400"/>
                  <a:gd name="connsiteY30" fmla="*/ 337806 h 400050"/>
                  <a:gd name="connsiteX31" fmla="*/ 391133 w 533400"/>
                  <a:gd name="connsiteY31" fmla="*/ 173024 h 400050"/>
                  <a:gd name="connsiteX32" fmla="*/ 387323 w 533400"/>
                  <a:gd name="connsiteY32" fmla="*/ 169214 h 400050"/>
                  <a:gd name="connsiteX33" fmla="*/ 361605 w 533400"/>
                  <a:gd name="connsiteY33" fmla="*/ 172071 h 400050"/>
                  <a:gd name="connsiteX34" fmla="*/ 495908 w 533400"/>
                  <a:gd name="connsiteY34" fmla="*/ 19671 h 400050"/>
                  <a:gd name="connsiteX35" fmla="*/ 38708 w 533400"/>
                  <a:gd name="connsiteY35" fmla="*/ 19671 h 400050"/>
                  <a:gd name="connsiteX36" fmla="*/ 19658 w 533400"/>
                  <a:gd name="connsiteY36" fmla="*/ 38721 h 400050"/>
                  <a:gd name="connsiteX37" fmla="*/ 19658 w 533400"/>
                  <a:gd name="connsiteY37" fmla="*/ 38721 h 400050"/>
                  <a:gd name="connsiteX38" fmla="*/ 19658 w 533400"/>
                  <a:gd name="connsiteY38" fmla="*/ 327329 h 400050"/>
                  <a:gd name="connsiteX39" fmla="*/ 113003 w 533400"/>
                  <a:gd name="connsiteY39" fmla="*/ 217791 h 400050"/>
                  <a:gd name="connsiteX40" fmla="*/ 166343 w 533400"/>
                  <a:gd name="connsiteY40" fmla="*/ 213981 h 400050"/>
                  <a:gd name="connsiteX41" fmla="*/ 167296 w 533400"/>
                  <a:gd name="connsiteY41" fmla="*/ 214934 h 400050"/>
                  <a:gd name="connsiteX42" fmla="*/ 168248 w 533400"/>
                  <a:gd name="connsiteY42" fmla="*/ 215886 h 400050"/>
                  <a:gd name="connsiteX43" fmla="*/ 231113 w 533400"/>
                  <a:gd name="connsiteY43" fmla="*/ 276846 h 400050"/>
                  <a:gd name="connsiteX44" fmla="*/ 257783 w 533400"/>
                  <a:gd name="connsiteY44" fmla="*/ 276846 h 400050"/>
                  <a:gd name="connsiteX45" fmla="*/ 258736 w 533400"/>
                  <a:gd name="connsiteY45" fmla="*/ 275894 h 400050"/>
                  <a:gd name="connsiteX46" fmla="*/ 259688 w 533400"/>
                  <a:gd name="connsiteY46" fmla="*/ 274941 h 400050"/>
                  <a:gd name="connsiteX47" fmla="*/ 345413 w 533400"/>
                  <a:gd name="connsiteY47" fmla="*/ 163499 h 400050"/>
                  <a:gd name="connsiteX48" fmla="*/ 398753 w 533400"/>
                  <a:gd name="connsiteY48" fmla="*/ 156831 h 400050"/>
                  <a:gd name="connsiteX49" fmla="*/ 404468 w 533400"/>
                  <a:gd name="connsiteY49" fmla="*/ 162546 h 400050"/>
                  <a:gd name="connsiteX50" fmla="*/ 406373 w 533400"/>
                  <a:gd name="connsiteY50" fmla="*/ 164451 h 400050"/>
                  <a:gd name="connsiteX51" fmla="*/ 515911 w 533400"/>
                  <a:gd name="connsiteY51" fmla="*/ 309231 h 400050"/>
                  <a:gd name="connsiteX52" fmla="*/ 515911 w 533400"/>
                  <a:gd name="connsiteY52" fmla="*/ 40626 h 400050"/>
                  <a:gd name="connsiteX53" fmla="*/ 497813 w 533400"/>
                  <a:gd name="connsiteY53" fmla="*/ 21576 h 400050"/>
                  <a:gd name="connsiteX54" fmla="*/ 495908 w 533400"/>
                  <a:gd name="connsiteY54" fmla="*/ 19671 h 400050"/>
                  <a:gd name="connsiteX55" fmla="*/ 95858 w 533400"/>
                  <a:gd name="connsiteY55" fmla="*/ 48246 h 400050"/>
                  <a:gd name="connsiteX56" fmla="*/ 143483 w 533400"/>
                  <a:gd name="connsiteY56" fmla="*/ 95871 h 400050"/>
                  <a:gd name="connsiteX57" fmla="*/ 95858 w 533400"/>
                  <a:gd name="connsiteY57" fmla="*/ 143496 h 400050"/>
                  <a:gd name="connsiteX58" fmla="*/ 48233 w 533400"/>
                  <a:gd name="connsiteY58" fmla="*/ 95871 h 400050"/>
                  <a:gd name="connsiteX59" fmla="*/ 95858 w 533400"/>
                  <a:gd name="connsiteY59" fmla="*/ 48246 h 400050"/>
                  <a:gd name="connsiteX60" fmla="*/ 95858 w 533400"/>
                  <a:gd name="connsiteY60" fmla="*/ 67296 h 400050"/>
                  <a:gd name="connsiteX61" fmla="*/ 67283 w 533400"/>
                  <a:gd name="connsiteY61" fmla="*/ 95871 h 400050"/>
                  <a:gd name="connsiteX62" fmla="*/ 95858 w 533400"/>
                  <a:gd name="connsiteY62" fmla="*/ 124446 h 400050"/>
                  <a:gd name="connsiteX63" fmla="*/ 124433 w 533400"/>
                  <a:gd name="connsiteY63" fmla="*/ 95871 h 400050"/>
                  <a:gd name="connsiteX64" fmla="*/ 95858 w 533400"/>
                  <a:gd name="connsiteY64" fmla="*/ 67296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533400" h="400050">
                    <a:moveTo>
                      <a:pt x="495908" y="621"/>
                    </a:moveTo>
                    <a:cubicBezTo>
                      <a:pt x="516863" y="621"/>
                      <a:pt x="534008" y="17766"/>
                      <a:pt x="534008" y="38721"/>
                    </a:cubicBezTo>
                    <a:lnTo>
                      <a:pt x="534008" y="38721"/>
                    </a:lnTo>
                    <a:lnTo>
                      <a:pt x="534008" y="362571"/>
                    </a:lnTo>
                    <a:cubicBezTo>
                      <a:pt x="534008" y="383526"/>
                      <a:pt x="516863" y="400671"/>
                      <a:pt x="495908" y="400671"/>
                    </a:cubicBezTo>
                    <a:lnTo>
                      <a:pt x="495908" y="400671"/>
                    </a:lnTo>
                    <a:lnTo>
                      <a:pt x="38708" y="400671"/>
                    </a:lnTo>
                    <a:cubicBezTo>
                      <a:pt x="17753" y="400671"/>
                      <a:pt x="608" y="383526"/>
                      <a:pt x="608" y="362571"/>
                    </a:cubicBezTo>
                    <a:lnTo>
                      <a:pt x="608" y="362571"/>
                    </a:lnTo>
                    <a:lnTo>
                      <a:pt x="608" y="38721"/>
                    </a:lnTo>
                    <a:cubicBezTo>
                      <a:pt x="608" y="17766"/>
                      <a:pt x="17753" y="621"/>
                      <a:pt x="38708" y="621"/>
                    </a:cubicBezTo>
                    <a:lnTo>
                      <a:pt x="38708" y="621"/>
                    </a:lnTo>
                    <a:lnTo>
                      <a:pt x="495908" y="621"/>
                    </a:lnTo>
                    <a:close/>
                    <a:moveTo>
                      <a:pt x="361605" y="172071"/>
                    </a:moveTo>
                    <a:lnTo>
                      <a:pt x="360653" y="173024"/>
                    </a:lnTo>
                    <a:lnTo>
                      <a:pt x="274928" y="284466"/>
                    </a:lnTo>
                    <a:cubicBezTo>
                      <a:pt x="273976" y="285419"/>
                      <a:pt x="273023" y="286371"/>
                      <a:pt x="272071" y="288276"/>
                    </a:cubicBezTo>
                    <a:cubicBezTo>
                      <a:pt x="257783" y="302564"/>
                      <a:pt x="234923" y="303516"/>
                      <a:pt x="219683" y="290181"/>
                    </a:cubicBezTo>
                    <a:lnTo>
                      <a:pt x="217778" y="289229"/>
                    </a:lnTo>
                    <a:lnTo>
                      <a:pt x="154913" y="228269"/>
                    </a:lnTo>
                    <a:cubicBezTo>
                      <a:pt x="154913" y="228269"/>
                      <a:pt x="153961" y="227316"/>
                      <a:pt x="153961" y="227316"/>
                    </a:cubicBezTo>
                    <a:cubicBezTo>
                      <a:pt x="146340" y="220649"/>
                      <a:pt x="134911" y="221601"/>
                      <a:pt x="128243" y="228269"/>
                    </a:cubicBezTo>
                    <a:lnTo>
                      <a:pt x="127290" y="229221"/>
                    </a:lnTo>
                    <a:lnTo>
                      <a:pt x="19658" y="354951"/>
                    </a:lnTo>
                    <a:lnTo>
                      <a:pt x="19658" y="361619"/>
                    </a:lnTo>
                    <a:cubicBezTo>
                      <a:pt x="19658" y="372096"/>
                      <a:pt x="27278" y="379716"/>
                      <a:pt x="37755" y="380669"/>
                    </a:cubicBezTo>
                    <a:lnTo>
                      <a:pt x="38708" y="380669"/>
                    </a:lnTo>
                    <a:lnTo>
                      <a:pt x="495908" y="380669"/>
                    </a:lnTo>
                    <a:cubicBezTo>
                      <a:pt x="506386" y="380669"/>
                      <a:pt x="514958" y="372096"/>
                      <a:pt x="514958" y="361619"/>
                    </a:cubicBezTo>
                    <a:lnTo>
                      <a:pt x="514958" y="361619"/>
                    </a:lnTo>
                    <a:lnTo>
                      <a:pt x="514958" y="337806"/>
                    </a:lnTo>
                    <a:lnTo>
                      <a:pt x="391133" y="173024"/>
                    </a:lnTo>
                    <a:cubicBezTo>
                      <a:pt x="390180" y="172071"/>
                      <a:pt x="389228" y="170166"/>
                      <a:pt x="387323" y="169214"/>
                    </a:cubicBezTo>
                    <a:cubicBezTo>
                      <a:pt x="378751" y="164451"/>
                      <a:pt x="368273" y="165404"/>
                      <a:pt x="361605" y="172071"/>
                    </a:cubicBezTo>
                    <a:close/>
                    <a:moveTo>
                      <a:pt x="495908" y="19671"/>
                    </a:moveTo>
                    <a:lnTo>
                      <a:pt x="38708" y="19671"/>
                    </a:lnTo>
                    <a:cubicBezTo>
                      <a:pt x="28230" y="19671"/>
                      <a:pt x="19658" y="28244"/>
                      <a:pt x="19658" y="38721"/>
                    </a:cubicBezTo>
                    <a:lnTo>
                      <a:pt x="19658" y="38721"/>
                    </a:lnTo>
                    <a:lnTo>
                      <a:pt x="19658" y="327329"/>
                    </a:lnTo>
                    <a:lnTo>
                      <a:pt x="113003" y="217791"/>
                    </a:lnTo>
                    <a:cubicBezTo>
                      <a:pt x="126338" y="201599"/>
                      <a:pt x="151103" y="199694"/>
                      <a:pt x="166343" y="213981"/>
                    </a:cubicBezTo>
                    <a:lnTo>
                      <a:pt x="167296" y="214934"/>
                    </a:lnTo>
                    <a:lnTo>
                      <a:pt x="168248" y="215886"/>
                    </a:lnTo>
                    <a:lnTo>
                      <a:pt x="231113" y="276846"/>
                    </a:lnTo>
                    <a:cubicBezTo>
                      <a:pt x="238733" y="284466"/>
                      <a:pt x="251115" y="284466"/>
                      <a:pt x="257783" y="276846"/>
                    </a:cubicBezTo>
                    <a:lnTo>
                      <a:pt x="258736" y="275894"/>
                    </a:lnTo>
                    <a:lnTo>
                      <a:pt x="259688" y="274941"/>
                    </a:lnTo>
                    <a:lnTo>
                      <a:pt x="345413" y="163499"/>
                    </a:lnTo>
                    <a:cubicBezTo>
                      <a:pt x="357796" y="146354"/>
                      <a:pt x="382561" y="143496"/>
                      <a:pt x="398753" y="156831"/>
                    </a:cubicBezTo>
                    <a:cubicBezTo>
                      <a:pt x="400658" y="158736"/>
                      <a:pt x="402563" y="160641"/>
                      <a:pt x="404468" y="162546"/>
                    </a:cubicBezTo>
                    <a:lnTo>
                      <a:pt x="406373" y="164451"/>
                    </a:lnTo>
                    <a:lnTo>
                      <a:pt x="515911" y="309231"/>
                    </a:lnTo>
                    <a:lnTo>
                      <a:pt x="515911" y="40626"/>
                    </a:lnTo>
                    <a:cubicBezTo>
                      <a:pt x="515911" y="30149"/>
                      <a:pt x="508290" y="22529"/>
                      <a:pt x="497813" y="21576"/>
                    </a:cubicBezTo>
                    <a:lnTo>
                      <a:pt x="495908" y="19671"/>
                    </a:lnTo>
                    <a:close/>
                    <a:moveTo>
                      <a:pt x="95858" y="48246"/>
                    </a:moveTo>
                    <a:cubicBezTo>
                      <a:pt x="122528" y="48246"/>
                      <a:pt x="143483" y="69201"/>
                      <a:pt x="143483" y="95871"/>
                    </a:cubicBezTo>
                    <a:cubicBezTo>
                      <a:pt x="143483" y="122541"/>
                      <a:pt x="122528" y="143496"/>
                      <a:pt x="95858" y="143496"/>
                    </a:cubicBezTo>
                    <a:cubicBezTo>
                      <a:pt x="69188" y="143496"/>
                      <a:pt x="48233" y="122541"/>
                      <a:pt x="48233" y="95871"/>
                    </a:cubicBezTo>
                    <a:cubicBezTo>
                      <a:pt x="48233" y="69201"/>
                      <a:pt x="69188" y="48246"/>
                      <a:pt x="95858" y="48246"/>
                    </a:cubicBezTo>
                    <a:close/>
                    <a:moveTo>
                      <a:pt x="95858" y="67296"/>
                    </a:moveTo>
                    <a:cubicBezTo>
                      <a:pt x="79665" y="67296"/>
                      <a:pt x="67283" y="79679"/>
                      <a:pt x="67283" y="95871"/>
                    </a:cubicBezTo>
                    <a:cubicBezTo>
                      <a:pt x="67283" y="112064"/>
                      <a:pt x="79665" y="124446"/>
                      <a:pt x="95858" y="124446"/>
                    </a:cubicBezTo>
                    <a:cubicBezTo>
                      <a:pt x="112051" y="124446"/>
                      <a:pt x="124433" y="112064"/>
                      <a:pt x="124433" y="95871"/>
                    </a:cubicBezTo>
                    <a:cubicBezTo>
                      <a:pt x="124433" y="79679"/>
                      <a:pt x="112051" y="67296"/>
                      <a:pt x="95858" y="67296"/>
                    </a:cubicBezTo>
                    <a:close/>
                  </a:path>
                </a:pathLst>
              </a:custGeom>
              <a:solidFill>
                <a:schemeClr val="bg2">
                  <a:lumMod val="10000"/>
                </a:schemeClr>
              </a:solidFill>
              <a:ln w="9525" cap="flat">
                <a:noFill/>
                <a:prstDash val="solid"/>
                <a:miter/>
              </a:ln>
            </p:spPr>
            <p:txBody>
              <a:bodyPr rtlCol="0" anchor="ctr"/>
              <a:lstStyle/>
              <a:p>
                <a:endParaRPr lang="zh-CN" altLang="en-US" dirty="0"/>
              </a:p>
            </p:txBody>
          </p:sp>
        </p:grpSp>
        <p:grpSp>
          <p:nvGrpSpPr>
            <p:cNvPr id="66" name="组合 65"/>
            <p:cNvGrpSpPr/>
            <p:nvPr/>
          </p:nvGrpSpPr>
          <p:grpSpPr>
            <a:xfrm>
              <a:off x="7961211" y="2699043"/>
              <a:ext cx="597561" cy="597562"/>
              <a:chOff x="9740054" y="2737233"/>
              <a:chExt cx="834641" cy="834642"/>
            </a:xfrm>
          </p:grpSpPr>
          <p:sp>
            <p:nvSpPr>
              <p:cNvPr id="67" name="椭圆 66"/>
              <p:cNvSpPr/>
              <p:nvPr/>
            </p:nvSpPr>
            <p:spPr>
              <a:xfrm>
                <a:off x="9740054" y="2737233"/>
                <a:ext cx="834641" cy="834642"/>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dirty="0"/>
              </a:p>
            </p:txBody>
          </p:sp>
          <p:sp>
            <p:nvSpPr>
              <p:cNvPr id="68" name="任意多边形: 形状 67"/>
              <p:cNvSpPr/>
              <p:nvPr/>
            </p:nvSpPr>
            <p:spPr>
              <a:xfrm>
                <a:off x="10004294" y="2968195"/>
                <a:ext cx="306160" cy="372717"/>
              </a:xfrm>
              <a:custGeom>
                <a:avLst/>
                <a:gdLst>
                  <a:gd name="connsiteX0" fmla="*/ 284197 w 438150"/>
                  <a:gd name="connsiteY0" fmla="*/ 621 h 533400"/>
                  <a:gd name="connsiteX1" fmla="*/ 310867 w 438150"/>
                  <a:gd name="connsiteY1" fmla="*/ 12051 h 533400"/>
                  <a:gd name="connsiteX2" fmla="*/ 310867 w 438150"/>
                  <a:gd name="connsiteY2" fmla="*/ 12051 h 533400"/>
                  <a:gd name="connsiteX3" fmla="*/ 427072 w 438150"/>
                  <a:gd name="connsiteY3" fmla="*/ 128256 h 533400"/>
                  <a:gd name="connsiteX4" fmla="*/ 438502 w 438150"/>
                  <a:gd name="connsiteY4" fmla="*/ 154926 h 533400"/>
                  <a:gd name="connsiteX5" fmla="*/ 438502 w 438150"/>
                  <a:gd name="connsiteY5" fmla="*/ 154926 h 533400"/>
                  <a:gd name="connsiteX6" fmla="*/ 438502 w 438150"/>
                  <a:gd name="connsiteY6" fmla="*/ 495921 h 533400"/>
                  <a:gd name="connsiteX7" fmla="*/ 400402 w 438150"/>
                  <a:gd name="connsiteY7" fmla="*/ 534021 h 533400"/>
                  <a:gd name="connsiteX8" fmla="*/ 400402 w 438150"/>
                  <a:gd name="connsiteY8" fmla="*/ 534021 h 533400"/>
                  <a:gd name="connsiteX9" fmla="*/ 38452 w 438150"/>
                  <a:gd name="connsiteY9" fmla="*/ 534021 h 533400"/>
                  <a:gd name="connsiteX10" fmla="*/ 352 w 438150"/>
                  <a:gd name="connsiteY10" fmla="*/ 495921 h 533400"/>
                  <a:gd name="connsiteX11" fmla="*/ 352 w 438150"/>
                  <a:gd name="connsiteY11" fmla="*/ 495921 h 533400"/>
                  <a:gd name="connsiteX12" fmla="*/ 352 w 438150"/>
                  <a:gd name="connsiteY12" fmla="*/ 38721 h 533400"/>
                  <a:gd name="connsiteX13" fmla="*/ 38452 w 438150"/>
                  <a:gd name="connsiteY13" fmla="*/ 621 h 533400"/>
                  <a:gd name="connsiteX14" fmla="*/ 38452 w 438150"/>
                  <a:gd name="connsiteY14" fmla="*/ 621 h 533400"/>
                  <a:gd name="connsiteX15" fmla="*/ 284197 w 438150"/>
                  <a:gd name="connsiteY15" fmla="*/ 621 h 533400"/>
                  <a:gd name="connsiteX16" fmla="*/ 284197 w 438150"/>
                  <a:gd name="connsiteY16" fmla="*/ 19671 h 533400"/>
                  <a:gd name="connsiteX17" fmla="*/ 38452 w 438150"/>
                  <a:gd name="connsiteY17" fmla="*/ 19671 h 533400"/>
                  <a:gd name="connsiteX18" fmla="*/ 19402 w 438150"/>
                  <a:gd name="connsiteY18" fmla="*/ 38721 h 533400"/>
                  <a:gd name="connsiteX19" fmla="*/ 19402 w 438150"/>
                  <a:gd name="connsiteY19" fmla="*/ 38721 h 533400"/>
                  <a:gd name="connsiteX20" fmla="*/ 19402 w 438150"/>
                  <a:gd name="connsiteY20" fmla="*/ 495921 h 533400"/>
                  <a:gd name="connsiteX21" fmla="*/ 38452 w 438150"/>
                  <a:gd name="connsiteY21" fmla="*/ 514971 h 533400"/>
                  <a:gd name="connsiteX22" fmla="*/ 38452 w 438150"/>
                  <a:gd name="connsiteY22" fmla="*/ 514971 h 533400"/>
                  <a:gd name="connsiteX23" fmla="*/ 400402 w 438150"/>
                  <a:gd name="connsiteY23" fmla="*/ 514971 h 533400"/>
                  <a:gd name="connsiteX24" fmla="*/ 419452 w 438150"/>
                  <a:gd name="connsiteY24" fmla="*/ 495921 h 533400"/>
                  <a:gd name="connsiteX25" fmla="*/ 419452 w 438150"/>
                  <a:gd name="connsiteY25" fmla="*/ 495921 h 533400"/>
                  <a:gd name="connsiteX26" fmla="*/ 419452 w 438150"/>
                  <a:gd name="connsiteY26" fmla="*/ 154926 h 533400"/>
                  <a:gd name="connsiteX27" fmla="*/ 419452 w 438150"/>
                  <a:gd name="connsiteY27" fmla="*/ 153021 h 533400"/>
                  <a:gd name="connsiteX28" fmla="*/ 314677 w 438150"/>
                  <a:gd name="connsiteY28" fmla="*/ 153021 h 533400"/>
                  <a:gd name="connsiteX29" fmla="*/ 286102 w 438150"/>
                  <a:gd name="connsiteY29" fmla="*/ 126351 h 533400"/>
                  <a:gd name="connsiteX30" fmla="*/ 286102 w 438150"/>
                  <a:gd name="connsiteY30" fmla="*/ 124446 h 533400"/>
                  <a:gd name="connsiteX31" fmla="*/ 286102 w 438150"/>
                  <a:gd name="connsiteY31" fmla="*/ 19671 h 533400"/>
                  <a:gd name="connsiteX32" fmla="*/ 284197 w 438150"/>
                  <a:gd name="connsiteY32" fmla="*/ 19671 h 533400"/>
                  <a:gd name="connsiteX33" fmla="*/ 284197 w 438150"/>
                  <a:gd name="connsiteY33" fmla="*/ 19671 h 533400"/>
                  <a:gd name="connsiteX34" fmla="*/ 248002 w 438150"/>
                  <a:gd name="connsiteY34" fmla="*/ 200646 h 533400"/>
                  <a:gd name="connsiteX35" fmla="*/ 305152 w 438150"/>
                  <a:gd name="connsiteY35" fmla="*/ 257796 h 533400"/>
                  <a:gd name="connsiteX36" fmla="*/ 248002 w 438150"/>
                  <a:gd name="connsiteY36" fmla="*/ 314946 h 533400"/>
                  <a:gd name="connsiteX37" fmla="*/ 248002 w 438150"/>
                  <a:gd name="connsiteY37" fmla="*/ 314946 h 533400"/>
                  <a:gd name="connsiteX38" fmla="*/ 171802 w 438150"/>
                  <a:gd name="connsiteY38" fmla="*/ 314946 h 533400"/>
                  <a:gd name="connsiteX39" fmla="*/ 171802 w 438150"/>
                  <a:gd name="connsiteY39" fmla="*/ 410196 h 533400"/>
                  <a:gd name="connsiteX40" fmla="*/ 152752 w 438150"/>
                  <a:gd name="connsiteY40" fmla="*/ 410196 h 533400"/>
                  <a:gd name="connsiteX41" fmla="*/ 152752 w 438150"/>
                  <a:gd name="connsiteY41" fmla="*/ 200646 h 533400"/>
                  <a:gd name="connsiteX42" fmla="*/ 248002 w 438150"/>
                  <a:gd name="connsiteY42" fmla="*/ 200646 h 533400"/>
                  <a:gd name="connsiteX43" fmla="*/ 248002 w 438150"/>
                  <a:gd name="connsiteY43" fmla="*/ 219696 h 533400"/>
                  <a:gd name="connsiteX44" fmla="*/ 171802 w 438150"/>
                  <a:gd name="connsiteY44" fmla="*/ 219696 h 533400"/>
                  <a:gd name="connsiteX45" fmla="*/ 171802 w 438150"/>
                  <a:gd name="connsiteY45" fmla="*/ 295896 h 533400"/>
                  <a:gd name="connsiteX46" fmla="*/ 248002 w 438150"/>
                  <a:gd name="connsiteY46" fmla="*/ 295896 h 533400"/>
                  <a:gd name="connsiteX47" fmla="*/ 286102 w 438150"/>
                  <a:gd name="connsiteY47" fmla="*/ 257796 h 533400"/>
                  <a:gd name="connsiteX48" fmla="*/ 248002 w 438150"/>
                  <a:gd name="connsiteY48" fmla="*/ 219696 h 533400"/>
                  <a:gd name="connsiteX49" fmla="*/ 248002 w 438150"/>
                  <a:gd name="connsiteY49" fmla="*/ 219696 h 533400"/>
                  <a:gd name="connsiteX50" fmla="*/ 305152 w 438150"/>
                  <a:gd name="connsiteY50" fmla="*/ 33006 h 533400"/>
                  <a:gd name="connsiteX51" fmla="*/ 305152 w 438150"/>
                  <a:gd name="connsiteY51" fmla="*/ 124446 h 533400"/>
                  <a:gd name="connsiteX52" fmla="*/ 313724 w 438150"/>
                  <a:gd name="connsiteY52" fmla="*/ 133971 h 533400"/>
                  <a:gd name="connsiteX53" fmla="*/ 314677 w 438150"/>
                  <a:gd name="connsiteY53" fmla="*/ 133971 h 533400"/>
                  <a:gd name="connsiteX54" fmla="*/ 406117 w 438150"/>
                  <a:gd name="connsiteY54" fmla="*/ 133971 h 533400"/>
                  <a:gd name="connsiteX55" fmla="*/ 305152 w 438150"/>
                  <a:gd name="connsiteY55" fmla="*/ 33006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438150" h="533400">
                    <a:moveTo>
                      <a:pt x="284197" y="621"/>
                    </a:moveTo>
                    <a:cubicBezTo>
                      <a:pt x="294674" y="621"/>
                      <a:pt x="304199" y="4431"/>
                      <a:pt x="310867" y="12051"/>
                    </a:cubicBezTo>
                    <a:lnTo>
                      <a:pt x="310867" y="12051"/>
                    </a:lnTo>
                    <a:lnTo>
                      <a:pt x="427072" y="128256"/>
                    </a:lnTo>
                    <a:cubicBezTo>
                      <a:pt x="434692" y="135876"/>
                      <a:pt x="438502" y="145401"/>
                      <a:pt x="438502" y="154926"/>
                    </a:cubicBezTo>
                    <a:lnTo>
                      <a:pt x="438502" y="154926"/>
                    </a:lnTo>
                    <a:lnTo>
                      <a:pt x="438502" y="495921"/>
                    </a:lnTo>
                    <a:cubicBezTo>
                      <a:pt x="438502" y="516876"/>
                      <a:pt x="421357" y="534021"/>
                      <a:pt x="400402" y="534021"/>
                    </a:cubicBezTo>
                    <a:lnTo>
                      <a:pt x="400402" y="534021"/>
                    </a:lnTo>
                    <a:lnTo>
                      <a:pt x="38452" y="534021"/>
                    </a:lnTo>
                    <a:cubicBezTo>
                      <a:pt x="17497" y="534021"/>
                      <a:pt x="352" y="516876"/>
                      <a:pt x="352" y="495921"/>
                    </a:cubicBezTo>
                    <a:lnTo>
                      <a:pt x="352" y="495921"/>
                    </a:lnTo>
                    <a:lnTo>
                      <a:pt x="352" y="38721"/>
                    </a:lnTo>
                    <a:cubicBezTo>
                      <a:pt x="352" y="17766"/>
                      <a:pt x="17497" y="621"/>
                      <a:pt x="38452" y="621"/>
                    </a:cubicBezTo>
                    <a:lnTo>
                      <a:pt x="38452" y="621"/>
                    </a:lnTo>
                    <a:lnTo>
                      <a:pt x="284197" y="621"/>
                    </a:lnTo>
                    <a:close/>
                    <a:moveTo>
                      <a:pt x="284197" y="19671"/>
                    </a:moveTo>
                    <a:lnTo>
                      <a:pt x="38452" y="19671"/>
                    </a:lnTo>
                    <a:cubicBezTo>
                      <a:pt x="27974" y="19671"/>
                      <a:pt x="19402" y="28244"/>
                      <a:pt x="19402" y="38721"/>
                    </a:cubicBezTo>
                    <a:lnTo>
                      <a:pt x="19402" y="38721"/>
                    </a:lnTo>
                    <a:lnTo>
                      <a:pt x="19402" y="495921"/>
                    </a:lnTo>
                    <a:cubicBezTo>
                      <a:pt x="19402" y="506399"/>
                      <a:pt x="27974" y="514971"/>
                      <a:pt x="38452" y="514971"/>
                    </a:cubicBezTo>
                    <a:lnTo>
                      <a:pt x="38452" y="514971"/>
                    </a:lnTo>
                    <a:lnTo>
                      <a:pt x="400402" y="514971"/>
                    </a:lnTo>
                    <a:cubicBezTo>
                      <a:pt x="410880" y="514971"/>
                      <a:pt x="419452" y="506399"/>
                      <a:pt x="419452" y="495921"/>
                    </a:cubicBezTo>
                    <a:lnTo>
                      <a:pt x="419452" y="495921"/>
                    </a:lnTo>
                    <a:lnTo>
                      <a:pt x="419452" y="154926"/>
                    </a:lnTo>
                    <a:cubicBezTo>
                      <a:pt x="419452" y="153974"/>
                      <a:pt x="419452" y="153021"/>
                      <a:pt x="419452" y="153021"/>
                    </a:cubicBezTo>
                    <a:lnTo>
                      <a:pt x="314677" y="153021"/>
                    </a:lnTo>
                    <a:cubicBezTo>
                      <a:pt x="299437" y="153021"/>
                      <a:pt x="287055" y="141591"/>
                      <a:pt x="286102" y="126351"/>
                    </a:cubicBezTo>
                    <a:lnTo>
                      <a:pt x="286102" y="124446"/>
                    </a:lnTo>
                    <a:lnTo>
                      <a:pt x="286102" y="19671"/>
                    </a:lnTo>
                    <a:cubicBezTo>
                      <a:pt x="285149" y="19671"/>
                      <a:pt x="284197" y="19671"/>
                      <a:pt x="284197" y="19671"/>
                    </a:cubicBezTo>
                    <a:lnTo>
                      <a:pt x="284197" y="19671"/>
                    </a:lnTo>
                    <a:close/>
                    <a:moveTo>
                      <a:pt x="248002" y="200646"/>
                    </a:moveTo>
                    <a:cubicBezTo>
                      <a:pt x="279434" y="200646"/>
                      <a:pt x="305152" y="226364"/>
                      <a:pt x="305152" y="257796"/>
                    </a:cubicBezTo>
                    <a:cubicBezTo>
                      <a:pt x="305152" y="289229"/>
                      <a:pt x="279434" y="314946"/>
                      <a:pt x="248002" y="314946"/>
                    </a:cubicBezTo>
                    <a:lnTo>
                      <a:pt x="248002" y="314946"/>
                    </a:lnTo>
                    <a:lnTo>
                      <a:pt x="171802" y="314946"/>
                    </a:lnTo>
                    <a:lnTo>
                      <a:pt x="171802" y="410196"/>
                    </a:lnTo>
                    <a:lnTo>
                      <a:pt x="152752" y="410196"/>
                    </a:lnTo>
                    <a:lnTo>
                      <a:pt x="152752" y="200646"/>
                    </a:lnTo>
                    <a:lnTo>
                      <a:pt x="248002" y="200646"/>
                    </a:lnTo>
                    <a:close/>
                    <a:moveTo>
                      <a:pt x="248002" y="219696"/>
                    </a:moveTo>
                    <a:lnTo>
                      <a:pt x="171802" y="219696"/>
                    </a:lnTo>
                    <a:lnTo>
                      <a:pt x="171802" y="295896"/>
                    </a:lnTo>
                    <a:lnTo>
                      <a:pt x="248002" y="295896"/>
                    </a:lnTo>
                    <a:cubicBezTo>
                      <a:pt x="268957" y="295896"/>
                      <a:pt x="286102" y="278751"/>
                      <a:pt x="286102" y="257796"/>
                    </a:cubicBezTo>
                    <a:cubicBezTo>
                      <a:pt x="286102" y="236841"/>
                      <a:pt x="268957" y="219696"/>
                      <a:pt x="248002" y="219696"/>
                    </a:cubicBezTo>
                    <a:lnTo>
                      <a:pt x="248002" y="219696"/>
                    </a:lnTo>
                    <a:close/>
                    <a:moveTo>
                      <a:pt x="305152" y="33006"/>
                    </a:moveTo>
                    <a:lnTo>
                      <a:pt x="305152" y="124446"/>
                    </a:lnTo>
                    <a:cubicBezTo>
                      <a:pt x="305152" y="129209"/>
                      <a:pt x="308962" y="133019"/>
                      <a:pt x="313724" y="133971"/>
                    </a:cubicBezTo>
                    <a:lnTo>
                      <a:pt x="314677" y="133971"/>
                    </a:lnTo>
                    <a:lnTo>
                      <a:pt x="406117" y="133971"/>
                    </a:lnTo>
                    <a:lnTo>
                      <a:pt x="305152" y="33006"/>
                    </a:lnTo>
                    <a:close/>
                  </a:path>
                </a:pathLst>
              </a:custGeom>
              <a:solidFill>
                <a:schemeClr val="bg2">
                  <a:lumMod val="10000"/>
                </a:schemeClr>
              </a:solidFill>
              <a:ln w="9525" cap="flat">
                <a:noFill/>
                <a:prstDash val="solid"/>
                <a:miter/>
              </a:ln>
            </p:spPr>
            <p:txBody>
              <a:bodyPr rtlCol="0" anchor="ctr"/>
              <a:lstStyle/>
              <a:p>
                <a:endParaRPr lang="zh-CN" altLang="en-US" dirty="0"/>
              </a:p>
            </p:txBody>
          </p:sp>
        </p:grpSp>
        <p:grpSp>
          <p:nvGrpSpPr>
            <p:cNvPr id="70" name="组合 69"/>
            <p:cNvGrpSpPr/>
            <p:nvPr/>
          </p:nvGrpSpPr>
          <p:grpSpPr>
            <a:xfrm>
              <a:off x="10751088" y="2699043"/>
              <a:ext cx="597561" cy="597562"/>
              <a:chOff x="5329123" y="2737233"/>
              <a:chExt cx="834641" cy="834642"/>
            </a:xfrm>
          </p:grpSpPr>
          <p:sp>
            <p:nvSpPr>
              <p:cNvPr id="71" name="椭圆 70"/>
              <p:cNvSpPr/>
              <p:nvPr/>
            </p:nvSpPr>
            <p:spPr>
              <a:xfrm>
                <a:off x="5329123" y="2737233"/>
                <a:ext cx="834641" cy="83464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72" name="任意多边形: 形状 71"/>
              <p:cNvSpPr/>
              <p:nvPr/>
            </p:nvSpPr>
            <p:spPr>
              <a:xfrm>
                <a:off x="5560084" y="3036325"/>
                <a:ext cx="372717" cy="306160"/>
              </a:xfrm>
              <a:custGeom>
                <a:avLst/>
                <a:gdLst>
                  <a:gd name="connsiteX0" fmla="*/ 496292 w 533400"/>
                  <a:gd name="connsiteY0" fmla="*/ 621 h 438150"/>
                  <a:gd name="connsiteX1" fmla="*/ 534392 w 533400"/>
                  <a:gd name="connsiteY1" fmla="*/ 38721 h 438150"/>
                  <a:gd name="connsiteX2" fmla="*/ 534392 w 533400"/>
                  <a:gd name="connsiteY2" fmla="*/ 38721 h 438150"/>
                  <a:gd name="connsiteX3" fmla="*/ 534392 w 533400"/>
                  <a:gd name="connsiteY3" fmla="*/ 333996 h 438150"/>
                  <a:gd name="connsiteX4" fmla="*/ 496292 w 533400"/>
                  <a:gd name="connsiteY4" fmla="*/ 372096 h 438150"/>
                  <a:gd name="connsiteX5" fmla="*/ 496292 w 533400"/>
                  <a:gd name="connsiteY5" fmla="*/ 372096 h 438150"/>
                  <a:gd name="connsiteX6" fmla="*/ 204827 w 533400"/>
                  <a:gd name="connsiteY6" fmla="*/ 372096 h 438150"/>
                  <a:gd name="connsiteX7" fmla="*/ 115292 w 533400"/>
                  <a:gd name="connsiteY7" fmla="*/ 438771 h 438150"/>
                  <a:gd name="connsiteX8" fmla="*/ 115292 w 533400"/>
                  <a:gd name="connsiteY8" fmla="*/ 372096 h 438150"/>
                  <a:gd name="connsiteX9" fmla="*/ 39092 w 533400"/>
                  <a:gd name="connsiteY9" fmla="*/ 372096 h 438150"/>
                  <a:gd name="connsiteX10" fmla="*/ 992 w 533400"/>
                  <a:gd name="connsiteY10" fmla="*/ 335901 h 438150"/>
                  <a:gd name="connsiteX11" fmla="*/ 992 w 533400"/>
                  <a:gd name="connsiteY11" fmla="*/ 335901 h 438150"/>
                  <a:gd name="connsiteX12" fmla="*/ 992 w 533400"/>
                  <a:gd name="connsiteY12" fmla="*/ 333996 h 438150"/>
                  <a:gd name="connsiteX13" fmla="*/ 992 w 533400"/>
                  <a:gd name="connsiteY13" fmla="*/ 38721 h 438150"/>
                  <a:gd name="connsiteX14" fmla="*/ 39092 w 533400"/>
                  <a:gd name="connsiteY14" fmla="*/ 621 h 438150"/>
                  <a:gd name="connsiteX15" fmla="*/ 39092 w 533400"/>
                  <a:gd name="connsiteY15" fmla="*/ 621 h 438150"/>
                  <a:gd name="connsiteX16" fmla="*/ 496292 w 533400"/>
                  <a:gd name="connsiteY16" fmla="*/ 621 h 438150"/>
                  <a:gd name="connsiteX17" fmla="*/ 496292 w 533400"/>
                  <a:gd name="connsiteY17" fmla="*/ 19671 h 438150"/>
                  <a:gd name="connsiteX18" fmla="*/ 39092 w 533400"/>
                  <a:gd name="connsiteY18" fmla="*/ 19671 h 438150"/>
                  <a:gd name="connsiteX19" fmla="*/ 20042 w 533400"/>
                  <a:gd name="connsiteY19" fmla="*/ 38721 h 438150"/>
                  <a:gd name="connsiteX20" fmla="*/ 20042 w 533400"/>
                  <a:gd name="connsiteY20" fmla="*/ 38721 h 438150"/>
                  <a:gd name="connsiteX21" fmla="*/ 20042 w 533400"/>
                  <a:gd name="connsiteY21" fmla="*/ 333996 h 438150"/>
                  <a:gd name="connsiteX22" fmla="*/ 39092 w 533400"/>
                  <a:gd name="connsiteY22" fmla="*/ 353046 h 438150"/>
                  <a:gd name="connsiteX23" fmla="*/ 39092 w 533400"/>
                  <a:gd name="connsiteY23" fmla="*/ 353046 h 438150"/>
                  <a:gd name="connsiteX24" fmla="*/ 134342 w 533400"/>
                  <a:gd name="connsiteY24" fmla="*/ 353046 h 438150"/>
                  <a:gd name="connsiteX25" fmla="*/ 134342 w 533400"/>
                  <a:gd name="connsiteY25" fmla="*/ 400671 h 438150"/>
                  <a:gd name="connsiteX26" fmla="*/ 198160 w 533400"/>
                  <a:gd name="connsiteY26" fmla="*/ 353046 h 438150"/>
                  <a:gd name="connsiteX27" fmla="*/ 496292 w 533400"/>
                  <a:gd name="connsiteY27" fmla="*/ 353046 h 438150"/>
                  <a:gd name="connsiteX28" fmla="*/ 515342 w 533400"/>
                  <a:gd name="connsiteY28" fmla="*/ 333996 h 438150"/>
                  <a:gd name="connsiteX29" fmla="*/ 515342 w 533400"/>
                  <a:gd name="connsiteY29" fmla="*/ 333996 h 438150"/>
                  <a:gd name="connsiteX30" fmla="*/ 515342 w 533400"/>
                  <a:gd name="connsiteY30" fmla="*/ 38721 h 438150"/>
                  <a:gd name="connsiteX31" fmla="*/ 496292 w 533400"/>
                  <a:gd name="connsiteY31" fmla="*/ 19671 h 438150"/>
                  <a:gd name="connsiteX32" fmla="*/ 496292 w 533400"/>
                  <a:gd name="connsiteY32" fmla="*/ 19671 h 438150"/>
                  <a:gd name="connsiteX33" fmla="*/ 134342 w 533400"/>
                  <a:gd name="connsiteY33" fmla="*/ 143496 h 438150"/>
                  <a:gd name="connsiteX34" fmla="*/ 177205 w 533400"/>
                  <a:gd name="connsiteY34" fmla="*/ 186359 h 438150"/>
                  <a:gd name="connsiteX35" fmla="*/ 134342 w 533400"/>
                  <a:gd name="connsiteY35" fmla="*/ 229221 h 438150"/>
                  <a:gd name="connsiteX36" fmla="*/ 91480 w 533400"/>
                  <a:gd name="connsiteY36" fmla="*/ 186359 h 438150"/>
                  <a:gd name="connsiteX37" fmla="*/ 134342 w 533400"/>
                  <a:gd name="connsiteY37" fmla="*/ 143496 h 438150"/>
                  <a:gd name="connsiteX38" fmla="*/ 267692 w 533400"/>
                  <a:gd name="connsiteY38" fmla="*/ 143496 h 438150"/>
                  <a:gd name="connsiteX39" fmla="*/ 310555 w 533400"/>
                  <a:gd name="connsiteY39" fmla="*/ 186359 h 438150"/>
                  <a:gd name="connsiteX40" fmla="*/ 267692 w 533400"/>
                  <a:gd name="connsiteY40" fmla="*/ 229221 h 438150"/>
                  <a:gd name="connsiteX41" fmla="*/ 224830 w 533400"/>
                  <a:gd name="connsiteY41" fmla="*/ 186359 h 438150"/>
                  <a:gd name="connsiteX42" fmla="*/ 267692 w 533400"/>
                  <a:gd name="connsiteY42" fmla="*/ 143496 h 438150"/>
                  <a:gd name="connsiteX43" fmla="*/ 401042 w 533400"/>
                  <a:gd name="connsiteY43" fmla="*/ 143496 h 438150"/>
                  <a:gd name="connsiteX44" fmla="*/ 443905 w 533400"/>
                  <a:gd name="connsiteY44" fmla="*/ 186359 h 438150"/>
                  <a:gd name="connsiteX45" fmla="*/ 401042 w 533400"/>
                  <a:gd name="connsiteY45" fmla="*/ 229221 h 438150"/>
                  <a:gd name="connsiteX46" fmla="*/ 358180 w 533400"/>
                  <a:gd name="connsiteY46" fmla="*/ 186359 h 438150"/>
                  <a:gd name="connsiteX47" fmla="*/ 401042 w 533400"/>
                  <a:gd name="connsiteY47" fmla="*/ 143496 h 438150"/>
                  <a:gd name="connsiteX48" fmla="*/ 134342 w 533400"/>
                  <a:gd name="connsiteY48" fmla="*/ 162546 h 438150"/>
                  <a:gd name="connsiteX49" fmla="*/ 110530 w 533400"/>
                  <a:gd name="connsiteY49" fmla="*/ 186359 h 438150"/>
                  <a:gd name="connsiteX50" fmla="*/ 134342 w 533400"/>
                  <a:gd name="connsiteY50" fmla="*/ 210171 h 438150"/>
                  <a:gd name="connsiteX51" fmla="*/ 158155 w 533400"/>
                  <a:gd name="connsiteY51" fmla="*/ 186359 h 438150"/>
                  <a:gd name="connsiteX52" fmla="*/ 134342 w 533400"/>
                  <a:gd name="connsiteY52" fmla="*/ 162546 h 438150"/>
                  <a:gd name="connsiteX53" fmla="*/ 267692 w 533400"/>
                  <a:gd name="connsiteY53" fmla="*/ 162546 h 438150"/>
                  <a:gd name="connsiteX54" fmla="*/ 243880 w 533400"/>
                  <a:gd name="connsiteY54" fmla="*/ 186359 h 438150"/>
                  <a:gd name="connsiteX55" fmla="*/ 267692 w 533400"/>
                  <a:gd name="connsiteY55" fmla="*/ 210171 h 438150"/>
                  <a:gd name="connsiteX56" fmla="*/ 291505 w 533400"/>
                  <a:gd name="connsiteY56" fmla="*/ 186359 h 438150"/>
                  <a:gd name="connsiteX57" fmla="*/ 267692 w 533400"/>
                  <a:gd name="connsiteY57" fmla="*/ 162546 h 438150"/>
                  <a:gd name="connsiteX58" fmla="*/ 401042 w 533400"/>
                  <a:gd name="connsiteY58" fmla="*/ 162546 h 438150"/>
                  <a:gd name="connsiteX59" fmla="*/ 377230 w 533400"/>
                  <a:gd name="connsiteY59" fmla="*/ 186359 h 438150"/>
                  <a:gd name="connsiteX60" fmla="*/ 401042 w 533400"/>
                  <a:gd name="connsiteY60" fmla="*/ 210171 h 438150"/>
                  <a:gd name="connsiteX61" fmla="*/ 424855 w 533400"/>
                  <a:gd name="connsiteY61" fmla="*/ 186359 h 438150"/>
                  <a:gd name="connsiteX62" fmla="*/ 401042 w 533400"/>
                  <a:gd name="connsiteY62" fmla="*/ 162546 h 43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533400" h="438150">
                    <a:moveTo>
                      <a:pt x="496292" y="621"/>
                    </a:moveTo>
                    <a:cubicBezTo>
                      <a:pt x="517247" y="621"/>
                      <a:pt x="534392" y="17766"/>
                      <a:pt x="534392" y="38721"/>
                    </a:cubicBezTo>
                    <a:lnTo>
                      <a:pt x="534392" y="38721"/>
                    </a:lnTo>
                    <a:lnTo>
                      <a:pt x="534392" y="333996"/>
                    </a:lnTo>
                    <a:cubicBezTo>
                      <a:pt x="534392" y="354951"/>
                      <a:pt x="517247" y="372096"/>
                      <a:pt x="496292" y="372096"/>
                    </a:cubicBezTo>
                    <a:lnTo>
                      <a:pt x="496292" y="372096"/>
                    </a:lnTo>
                    <a:lnTo>
                      <a:pt x="204827" y="372096"/>
                    </a:lnTo>
                    <a:lnTo>
                      <a:pt x="115292" y="438771"/>
                    </a:lnTo>
                    <a:lnTo>
                      <a:pt x="115292" y="372096"/>
                    </a:lnTo>
                    <a:lnTo>
                      <a:pt x="39092" y="372096"/>
                    </a:lnTo>
                    <a:cubicBezTo>
                      <a:pt x="19089" y="372096"/>
                      <a:pt x="1945" y="355904"/>
                      <a:pt x="992" y="335901"/>
                    </a:cubicBezTo>
                    <a:lnTo>
                      <a:pt x="992" y="335901"/>
                    </a:lnTo>
                    <a:lnTo>
                      <a:pt x="992" y="333996"/>
                    </a:lnTo>
                    <a:lnTo>
                      <a:pt x="992" y="38721"/>
                    </a:lnTo>
                    <a:cubicBezTo>
                      <a:pt x="992" y="17766"/>
                      <a:pt x="18137" y="621"/>
                      <a:pt x="39092" y="621"/>
                    </a:cubicBezTo>
                    <a:lnTo>
                      <a:pt x="39092" y="621"/>
                    </a:lnTo>
                    <a:lnTo>
                      <a:pt x="496292" y="621"/>
                    </a:lnTo>
                    <a:close/>
                    <a:moveTo>
                      <a:pt x="496292" y="19671"/>
                    </a:moveTo>
                    <a:lnTo>
                      <a:pt x="39092" y="19671"/>
                    </a:lnTo>
                    <a:cubicBezTo>
                      <a:pt x="28614" y="19671"/>
                      <a:pt x="20042" y="28244"/>
                      <a:pt x="20042" y="38721"/>
                    </a:cubicBezTo>
                    <a:lnTo>
                      <a:pt x="20042" y="38721"/>
                    </a:lnTo>
                    <a:lnTo>
                      <a:pt x="20042" y="333996"/>
                    </a:lnTo>
                    <a:cubicBezTo>
                      <a:pt x="20042" y="344474"/>
                      <a:pt x="28614" y="353046"/>
                      <a:pt x="39092" y="353046"/>
                    </a:cubicBezTo>
                    <a:lnTo>
                      <a:pt x="39092" y="353046"/>
                    </a:lnTo>
                    <a:lnTo>
                      <a:pt x="134342" y="353046"/>
                    </a:lnTo>
                    <a:lnTo>
                      <a:pt x="134342" y="400671"/>
                    </a:lnTo>
                    <a:lnTo>
                      <a:pt x="198160" y="353046"/>
                    </a:lnTo>
                    <a:lnTo>
                      <a:pt x="496292" y="353046"/>
                    </a:lnTo>
                    <a:cubicBezTo>
                      <a:pt x="506770" y="353046"/>
                      <a:pt x="515342" y="344474"/>
                      <a:pt x="515342" y="333996"/>
                    </a:cubicBezTo>
                    <a:lnTo>
                      <a:pt x="515342" y="333996"/>
                    </a:lnTo>
                    <a:lnTo>
                      <a:pt x="515342" y="38721"/>
                    </a:lnTo>
                    <a:cubicBezTo>
                      <a:pt x="515342" y="28244"/>
                      <a:pt x="506770" y="19671"/>
                      <a:pt x="496292" y="19671"/>
                    </a:cubicBezTo>
                    <a:lnTo>
                      <a:pt x="496292" y="19671"/>
                    </a:lnTo>
                    <a:close/>
                    <a:moveTo>
                      <a:pt x="134342" y="143496"/>
                    </a:moveTo>
                    <a:cubicBezTo>
                      <a:pt x="158155" y="143496"/>
                      <a:pt x="177205" y="162546"/>
                      <a:pt x="177205" y="186359"/>
                    </a:cubicBezTo>
                    <a:cubicBezTo>
                      <a:pt x="177205" y="210171"/>
                      <a:pt x="158155" y="229221"/>
                      <a:pt x="134342" y="229221"/>
                    </a:cubicBezTo>
                    <a:cubicBezTo>
                      <a:pt x="110530" y="229221"/>
                      <a:pt x="91480" y="210171"/>
                      <a:pt x="91480" y="186359"/>
                    </a:cubicBezTo>
                    <a:cubicBezTo>
                      <a:pt x="91480" y="162546"/>
                      <a:pt x="110530" y="143496"/>
                      <a:pt x="134342" y="143496"/>
                    </a:cubicBezTo>
                    <a:close/>
                    <a:moveTo>
                      <a:pt x="267692" y="143496"/>
                    </a:moveTo>
                    <a:cubicBezTo>
                      <a:pt x="291505" y="143496"/>
                      <a:pt x="310555" y="162546"/>
                      <a:pt x="310555" y="186359"/>
                    </a:cubicBezTo>
                    <a:cubicBezTo>
                      <a:pt x="310555" y="210171"/>
                      <a:pt x="291505" y="229221"/>
                      <a:pt x="267692" y="229221"/>
                    </a:cubicBezTo>
                    <a:cubicBezTo>
                      <a:pt x="243880" y="229221"/>
                      <a:pt x="224830" y="210171"/>
                      <a:pt x="224830" y="186359"/>
                    </a:cubicBezTo>
                    <a:cubicBezTo>
                      <a:pt x="224830" y="162546"/>
                      <a:pt x="243880" y="143496"/>
                      <a:pt x="267692" y="143496"/>
                    </a:cubicBezTo>
                    <a:close/>
                    <a:moveTo>
                      <a:pt x="401042" y="143496"/>
                    </a:moveTo>
                    <a:cubicBezTo>
                      <a:pt x="424855" y="143496"/>
                      <a:pt x="443905" y="162546"/>
                      <a:pt x="443905" y="186359"/>
                    </a:cubicBezTo>
                    <a:cubicBezTo>
                      <a:pt x="443905" y="210171"/>
                      <a:pt x="424855" y="229221"/>
                      <a:pt x="401042" y="229221"/>
                    </a:cubicBezTo>
                    <a:cubicBezTo>
                      <a:pt x="377230" y="229221"/>
                      <a:pt x="358180" y="210171"/>
                      <a:pt x="358180" y="186359"/>
                    </a:cubicBezTo>
                    <a:cubicBezTo>
                      <a:pt x="358180" y="162546"/>
                      <a:pt x="377230" y="143496"/>
                      <a:pt x="401042" y="143496"/>
                    </a:cubicBezTo>
                    <a:close/>
                    <a:moveTo>
                      <a:pt x="134342" y="162546"/>
                    </a:moveTo>
                    <a:cubicBezTo>
                      <a:pt x="121007" y="162546"/>
                      <a:pt x="110530" y="173024"/>
                      <a:pt x="110530" y="186359"/>
                    </a:cubicBezTo>
                    <a:cubicBezTo>
                      <a:pt x="110530" y="199694"/>
                      <a:pt x="121007" y="210171"/>
                      <a:pt x="134342" y="210171"/>
                    </a:cubicBezTo>
                    <a:cubicBezTo>
                      <a:pt x="147677" y="210171"/>
                      <a:pt x="158155" y="199694"/>
                      <a:pt x="158155" y="186359"/>
                    </a:cubicBezTo>
                    <a:cubicBezTo>
                      <a:pt x="158155" y="173024"/>
                      <a:pt x="147677" y="162546"/>
                      <a:pt x="134342" y="162546"/>
                    </a:cubicBezTo>
                    <a:close/>
                    <a:moveTo>
                      <a:pt x="267692" y="162546"/>
                    </a:moveTo>
                    <a:cubicBezTo>
                      <a:pt x="254357" y="162546"/>
                      <a:pt x="243880" y="173024"/>
                      <a:pt x="243880" y="186359"/>
                    </a:cubicBezTo>
                    <a:cubicBezTo>
                      <a:pt x="243880" y="199694"/>
                      <a:pt x="254357" y="210171"/>
                      <a:pt x="267692" y="210171"/>
                    </a:cubicBezTo>
                    <a:cubicBezTo>
                      <a:pt x="281027" y="210171"/>
                      <a:pt x="291505" y="199694"/>
                      <a:pt x="291505" y="186359"/>
                    </a:cubicBezTo>
                    <a:cubicBezTo>
                      <a:pt x="291505" y="173024"/>
                      <a:pt x="281027" y="162546"/>
                      <a:pt x="267692" y="162546"/>
                    </a:cubicBezTo>
                    <a:close/>
                    <a:moveTo>
                      <a:pt x="401042" y="162546"/>
                    </a:moveTo>
                    <a:cubicBezTo>
                      <a:pt x="387707" y="162546"/>
                      <a:pt x="377230" y="173024"/>
                      <a:pt x="377230" y="186359"/>
                    </a:cubicBezTo>
                    <a:cubicBezTo>
                      <a:pt x="377230" y="199694"/>
                      <a:pt x="387707" y="210171"/>
                      <a:pt x="401042" y="210171"/>
                    </a:cubicBezTo>
                    <a:cubicBezTo>
                      <a:pt x="414377" y="210171"/>
                      <a:pt x="424855" y="199694"/>
                      <a:pt x="424855" y="186359"/>
                    </a:cubicBezTo>
                    <a:cubicBezTo>
                      <a:pt x="424855" y="173024"/>
                      <a:pt x="414377" y="162546"/>
                      <a:pt x="401042" y="162546"/>
                    </a:cubicBezTo>
                    <a:close/>
                  </a:path>
                </a:pathLst>
              </a:custGeom>
              <a:solidFill>
                <a:srgbClr val="FFFFFF"/>
              </a:solidFill>
              <a:ln w="9525" cap="flat">
                <a:noFill/>
                <a:prstDash val="solid"/>
                <a:miter/>
              </a:ln>
            </p:spPr>
            <p:txBody>
              <a:bodyPr rtlCol="0" anchor="ctr"/>
              <a:lstStyle/>
              <a:p>
                <a:endParaRPr lang="zh-CN" altLang="en-US" dirty="0"/>
              </a:p>
            </p:txBody>
          </p:sp>
        </p:grpSp>
      </p:grpSp>
    </p:spTree>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2"/>
          </p:nvPr>
        </p:nvSpPr>
        <p:spPr/>
        <p:txBody>
          <a:bodyPr/>
          <a:lstStyle/>
          <a:p>
            <a:fld id="{7F65B630-C7FF-41C0-9923-C5E5E29EED81}" type="slidenum">
              <a:rPr lang="zh-CN" altLang="en-US" smtClean="0">
                <a:latin typeface="Arial" panose="020B0604020202090204" pitchFamily="34" charset="0"/>
                <a:ea typeface="华文楷体" panose="02010600040101010101" pitchFamily="2" charset="-122"/>
              </a:rPr>
            </a:fld>
            <a:endParaRPr lang="zh-CN" altLang="en-US">
              <a:latin typeface="Arial" panose="020B0604020202090204" pitchFamily="34" charset="0"/>
              <a:ea typeface="华文楷体" panose="02010600040101010101" pitchFamily="2" charset="-122"/>
            </a:endParaRPr>
          </a:p>
        </p:txBody>
      </p:sp>
      <p:grpSp>
        <p:nvGrpSpPr>
          <p:cNvPr id="46" name="组合 45"/>
          <p:cNvGrpSpPr/>
          <p:nvPr/>
        </p:nvGrpSpPr>
        <p:grpSpPr>
          <a:xfrm>
            <a:off x="377511" y="1228274"/>
            <a:ext cx="11052073" cy="4436362"/>
            <a:chOff x="377511" y="1228274"/>
            <a:chExt cx="11052073" cy="4436362"/>
          </a:xfrm>
        </p:grpSpPr>
        <p:sp>
          <p:nvSpPr>
            <p:cNvPr id="41" name="任意多边形: 形状 40"/>
            <p:cNvSpPr/>
            <p:nvPr/>
          </p:nvSpPr>
          <p:spPr>
            <a:xfrm>
              <a:off x="8313279" y="1736206"/>
              <a:ext cx="1419820" cy="1292326"/>
            </a:xfrm>
            <a:custGeom>
              <a:avLst/>
              <a:gdLst>
                <a:gd name="connsiteX0" fmla="*/ 709910 w 1419820"/>
                <a:gd name="connsiteY0" fmla="*/ 0 h 1292326"/>
                <a:gd name="connsiteX1" fmla="*/ 1419820 w 1419820"/>
                <a:gd name="connsiteY1" fmla="*/ 1292326 h 1292326"/>
                <a:gd name="connsiteX2" fmla="*/ 0 w 1419820"/>
                <a:gd name="connsiteY2" fmla="*/ 1292326 h 1292326"/>
              </a:gdLst>
              <a:ahLst/>
              <a:cxnLst>
                <a:cxn ang="0">
                  <a:pos x="connsiteX0" y="connsiteY0"/>
                </a:cxn>
                <a:cxn ang="0">
                  <a:pos x="connsiteX1" y="connsiteY1"/>
                </a:cxn>
                <a:cxn ang="0">
                  <a:pos x="connsiteX2" y="connsiteY2"/>
                </a:cxn>
              </a:cxnLst>
              <a:rect l="l" t="t" r="r" b="b"/>
              <a:pathLst>
                <a:path w="1419820" h="1292326">
                  <a:moveTo>
                    <a:pt x="709910" y="0"/>
                  </a:moveTo>
                  <a:lnTo>
                    <a:pt x="1419820" y="1292326"/>
                  </a:lnTo>
                  <a:lnTo>
                    <a:pt x="0" y="12923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43" name="任意多边形: 形状 42"/>
            <p:cNvSpPr/>
            <p:nvPr/>
          </p:nvSpPr>
          <p:spPr>
            <a:xfrm>
              <a:off x="7634235" y="3107855"/>
              <a:ext cx="2777911" cy="1156817"/>
            </a:xfrm>
            <a:custGeom>
              <a:avLst/>
              <a:gdLst>
                <a:gd name="connsiteX0" fmla="*/ 635471 w 2777911"/>
                <a:gd name="connsiteY0" fmla="*/ 0 h 1156817"/>
                <a:gd name="connsiteX1" fmla="*/ 2142440 w 2777911"/>
                <a:gd name="connsiteY1" fmla="*/ 0 h 1156817"/>
                <a:gd name="connsiteX2" fmla="*/ 2777911 w 2777911"/>
                <a:gd name="connsiteY2" fmla="*/ 1156817 h 1156817"/>
                <a:gd name="connsiteX3" fmla="*/ 0 w 2777911"/>
                <a:gd name="connsiteY3" fmla="*/ 1156817 h 1156817"/>
              </a:gdLst>
              <a:ahLst/>
              <a:cxnLst>
                <a:cxn ang="0">
                  <a:pos x="connsiteX0" y="connsiteY0"/>
                </a:cxn>
                <a:cxn ang="0">
                  <a:pos x="connsiteX1" y="connsiteY1"/>
                </a:cxn>
                <a:cxn ang="0">
                  <a:pos x="connsiteX2" y="connsiteY2"/>
                </a:cxn>
                <a:cxn ang="0">
                  <a:pos x="connsiteX3" y="connsiteY3"/>
                </a:cxn>
              </a:cxnLst>
              <a:rect l="l" t="t" r="r" b="b"/>
              <a:pathLst>
                <a:path w="2777911" h="1156817">
                  <a:moveTo>
                    <a:pt x="635471" y="0"/>
                  </a:moveTo>
                  <a:lnTo>
                    <a:pt x="2142440" y="0"/>
                  </a:lnTo>
                  <a:lnTo>
                    <a:pt x="2777911" y="1156817"/>
                  </a:lnTo>
                  <a:lnTo>
                    <a:pt x="0" y="1156817"/>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45" name="任意多边形: 形状 44"/>
            <p:cNvSpPr/>
            <p:nvPr/>
          </p:nvSpPr>
          <p:spPr>
            <a:xfrm>
              <a:off x="6982424" y="4343994"/>
              <a:ext cx="4081530" cy="1107237"/>
            </a:xfrm>
            <a:custGeom>
              <a:avLst/>
              <a:gdLst>
                <a:gd name="connsiteX0" fmla="*/ 608236 w 4081530"/>
                <a:gd name="connsiteY0" fmla="*/ 0 h 1107237"/>
                <a:gd name="connsiteX1" fmla="*/ 3473295 w 4081530"/>
                <a:gd name="connsiteY1" fmla="*/ 0 h 1107237"/>
                <a:gd name="connsiteX2" fmla="*/ 4081530 w 4081530"/>
                <a:gd name="connsiteY2" fmla="*/ 1107237 h 1107237"/>
                <a:gd name="connsiteX3" fmla="*/ 0 w 4081530"/>
                <a:gd name="connsiteY3" fmla="*/ 1107237 h 1107237"/>
              </a:gdLst>
              <a:ahLst/>
              <a:cxnLst>
                <a:cxn ang="0">
                  <a:pos x="connsiteX0" y="connsiteY0"/>
                </a:cxn>
                <a:cxn ang="0">
                  <a:pos x="connsiteX1" y="connsiteY1"/>
                </a:cxn>
                <a:cxn ang="0">
                  <a:pos x="connsiteX2" y="connsiteY2"/>
                </a:cxn>
                <a:cxn ang="0">
                  <a:pos x="connsiteX3" y="connsiteY3"/>
                </a:cxn>
              </a:cxnLst>
              <a:rect l="l" t="t" r="r" b="b"/>
              <a:pathLst>
                <a:path w="4081530" h="1107237">
                  <a:moveTo>
                    <a:pt x="608236" y="0"/>
                  </a:moveTo>
                  <a:lnTo>
                    <a:pt x="3473295" y="0"/>
                  </a:lnTo>
                  <a:lnTo>
                    <a:pt x="4081530" y="1107237"/>
                  </a:lnTo>
                  <a:lnTo>
                    <a:pt x="0" y="1107237"/>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3" name="任意多边形: 形状 2"/>
            <p:cNvSpPr/>
            <p:nvPr/>
          </p:nvSpPr>
          <p:spPr>
            <a:xfrm>
              <a:off x="6616794" y="1324867"/>
              <a:ext cx="4812790" cy="4339769"/>
            </a:xfrm>
            <a:custGeom>
              <a:avLst/>
              <a:gdLst>
                <a:gd name="connsiteX0" fmla="*/ 2789355 w 5578711"/>
                <a:gd name="connsiteY0" fmla="*/ 0 h 4809233"/>
                <a:gd name="connsiteX1" fmla="*/ 5578711 w 5578711"/>
                <a:gd name="connsiteY1" fmla="*/ 4809233 h 4809233"/>
                <a:gd name="connsiteX2" fmla="*/ 0 w 5578711"/>
                <a:gd name="connsiteY2" fmla="*/ 4809233 h 4809233"/>
              </a:gdLst>
              <a:ahLst/>
              <a:cxnLst>
                <a:cxn ang="0">
                  <a:pos x="connsiteX0" y="connsiteY0"/>
                </a:cxn>
                <a:cxn ang="0">
                  <a:pos x="connsiteX1" y="connsiteY1"/>
                </a:cxn>
                <a:cxn ang="0">
                  <a:pos x="connsiteX2" y="connsiteY2"/>
                </a:cxn>
              </a:cxnLst>
              <a:rect l="l" t="t" r="r" b="b"/>
              <a:pathLst>
                <a:path w="5578711" h="4809233">
                  <a:moveTo>
                    <a:pt x="2789355" y="0"/>
                  </a:moveTo>
                  <a:lnTo>
                    <a:pt x="5578711" y="4809233"/>
                  </a:lnTo>
                  <a:lnTo>
                    <a:pt x="0" y="4809233"/>
                  </a:lnTo>
                  <a:close/>
                </a:path>
              </a:pathLst>
            </a:custGeom>
            <a:noFill/>
            <a:ln>
              <a:solidFill>
                <a:schemeClr val="tx2">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5" name="文本框 4"/>
            <p:cNvSpPr txBox="1"/>
            <p:nvPr/>
          </p:nvSpPr>
          <p:spPr>
            <a:xfrm>
              <a:off x="8730481" y="2320006"/>
              <a:ext cx="585417" cy="523220"/>
            </a:xfrm>
            <a:prstGeom prst="rect">
              <a:avLst/>
            </a:prstGeom>
            <a:noFill/>
          </p:spPr>
          <p:txBody>
            <a:bodyPr wrap="none" lIns="91440" tIns="45720" rIns="91440" bIns="45720" rtlCol="0" anchor="ctr" anchorCtr="0">
              <a:spAutoFit/>
            </a:bodyPr>
            <a:lstStyle/>
            <a:p>
              <a:pPr algn="r"/>
              <a:r>
                <a:rPr kumimoji="1" lang="en-US" altLang="zh-CN" sz="2800" b="1" dirty="0">
                  <a:solidFill>
                    <a:srgbClr val="FFFFFF"/>
                  </a:solidFill>
                  <a:latin typeface="Arial" panose="020B0604020202090204" pitchFamily="34" charset="0"/>
                  <a:ea typeface="华文楷体" panose="02010600040101010101" pitchFamily="2" charset="-122"/>
                </a:rPr>
                <a:t>01</a:t>
              </a:r>
              <a:endParaRPr kumimoji="1" lang="zh-CN" altLang="en-US" sz="2800" b="1" dirty="0">
                <a:solidFill>
                  <a:srgbClr val="FFFFFF"/>
                </a:solidFill>
                <a:latin typeface="Arial" panose="020B0604020202090204" pitchFamily="34" charset="0"/>
                <a:ea typeface="华文楷体" panose="02010600040101010101" pitchFamily="2" charset="-122"/>
              </a:endParaRPr>
            </a:p>
          </p:txBody>
        </p:sp>
        <p:sp>
          <p:nvSpPr>
            <p:cNvPr id="6" name="文本框 5"/>
            <p:cNvSpPr txBox="1"/>
            <p:nvPr/>
          </p:nvSpPr>
          <p:spPr>
            <a:xfrm>
              <a:off x="8730481" y="3490082"/>
              <a:ext cx="585417" cy="523220"/>
            </a:xfrm>
            <a:prstGeom prst="rect">
              <a:avLst/>
            </a:prstGeom>
            <a:noFill/>
          </p:spPr>
          <p:txBody>
            <a:bodyPr wrap="none" lIns="91440" tIns="45720" rIns="91440" bIns="45720" rtlCol="0" anchor="ctr" anchorCtr="0">
              <a:spAutoFit/>
            </a:bodyPr>
            <a:lstStyle/>
            <a:p>
              <a:pPr algn="r"/>
              <a:r>
                <a:rPr kumimoji="1" lang="en-US" altLang="zh-CN" sz="2800" b="1">
                  <a:solidFill>
                    <a:schemeClr val="bg1"/>
                  </a:solidFill>
                  <a:latin typeface="Arial" panose="020B0604020202090204" pitchFamily="34" charset="0"/>
                  <a:ea typeface="华文楷体" panose="02010600040101010101" pitchFamily="2" charset="-122"/>
                </a:rPr>
                <a:t>02</a:t>
              </a:r>
              <a:endParaRPr kumimoji="1" lang="zh-CN" altLang="en-US" sz="2800" b="1" dirty="0">
                <a:solidFill>
                  <a:schemeClr val="bg1"/>
                </a:solidFill>
                <a:latin typeface="Arial" panose="020B0604020202090204" pitchFamily="34" charset="0"/>
                <a:ea typeface="华文楷体" panose="02010600040101010101" pitchFamily="2" charset="-122"/>
              </a:endParaRPr>
            </a:p>
          </p:txBody>
        </p:sp>
        <p:sp>
          <p:nvSpPr>
            <p:cNvPr id="7" name="文本框 6"/>
            <p:cNvSpPr txBox="1"/>
            <p:nvPr/>
          </p:nvSpPr>
          <p:spPr>
            <a:xfrm>
              <a:off x="8730481" y="4660158"/>
              <a:ext cx="585417" cy="523220"/>
            </a:xfrm>
            <a:prstGeom prst="rect">
              <a:avLst/>
            </a:prstGeom>
            <a:noFill/>
          </p:spPr>
          <p:txBody>
            <a:bodyPr wrap="none" lIns="91440" tIns="45720" rIns="91440" bIns="45720" rtlCol="0" anchor="ctr" anchorCtr="0">
              <a:spAutoFit/>
            </a:bodyPr>
            <a:lstStyle/>
            <a:p>
              <a:pPr algn="r"/>
              <a:r>
                <a:rPr kumimoji="1" lang="en-US" altLang="zh-CN" sz="2800" b="1">
                  <a:solidFill>
                    <a:srgbClr val="FFFFFF"/>
                  </a:solidFill>
                  <a:latin typeface="Arial" panose="020B0604020202090204" pitchFamily="34" charset="0"/>
                  <a:ea typeface="华文楷体" panose="02010600040101010101" pitchFamily="2" charset="-122"/>
                </a:rPr>
                <a:t>03</a:t>
              </a:r>
              <a:endParaRPr kumimoji="1" lang="zh-CN" altLang="en-US" sz="2800" b="1" dirty="0">
                <a:solidFill>
                  <a:srgbClr val="FFFFFF"/>
                </a:solidFill>
                <a:latin typeface="Arial" panose="020B0604020202090204" pitchFamily="34" charset="0"/>
                <a:ea typeface="华文楷体" panose="02010600040101010101" pitchFamily="2" charset="-122"/>
              </a:endParaRPr>
            </a:p>
          </p:txBody>
        </p:sp>
        <p:sp>
          <p:nvSpPr>
            <p:cNvPr id="8" name="文本框 7"/>
            <p:cNvSpPr txBox="1"/>
            <p:nvPr/>
          </p:nvSpPr>
          <p:spPr>
            <a:xfrm>
              <a:off x="660400" y="1228274"/>
              <a:ext cx="5356825" cy="1077218"/>
            </a:xfrm>
            <a:prstGeom prst="rect">
              <a:avLst/>
            </a:prstGeom>
            <a:noFill/>
          </p:spPr>
          <p:txBody>
            <a:bodyPr wrap="square">
              <a:spAutoFit/>
            </a:bodyPr>
            <a:lstStyle/>
            <a:p>
              <a:pPr marL="0" marR="0" lvl="0" indent="0" defTabSz="913765" rtl="0" eaLnBrk="1" fontAlgn="auto" latinLnBrk="0" hangingPunct="1">
                <a:lnSpc>
                  <a:spcPct val="100000"/>
                </a:lnSpc>
                <a:spcBef>
                  <a:spcPts val="0"/>
                </a:spcBef>
                <a:spcAft>
                  <a:spcPts val="0"/>
                </a:spcAft>
                <a:buClrTx/>
                <a:buSzPct val="25000"/>
                <a:buFontTx/>
                <a:buNone/>
                <a:defRPr/>
              </a:pPr>
              <a:r>
                <a:rPr kumimoji="0" lang="en-US" altLang="zh-CN" sz="3200" b="1" i="0" u="none" strike="noStrike" kern="1200" cap="none" spc="0" normalizeH="0" baseline="0" noProof="0" dirty="0">
                  <a:ln>
                    <a:noFill/>
                  </a:ln>
                  <a:effectLst/>
                  <a:uLnTx/>
                  <a:uFillTx/>
                  <a:latin typeface="Arial" panose="020B0604020202090204" pitchFamily="34" charset="0"/>
                  <a:ea typeface="华文楷体" panose="02010600040101010101" pitchFamily="2" charset="-122"/>
                </a:rPr>
                <a:t>Unified fonts </a:t>
              </a:r>
              <a:r>
                <a:rPr kumimoji="0" lang="en-US" altLang="zh-CN" sz="3200" b="1" i="0" u="none" strike="noStrike" kern="1200" cap="none" spc="0" normalizeH="0" baseline="0" noProof="0" dirty="0" err="1">
                  <a:ln>
                    <a:noFill/>
                  </a:ln>
                  <a:effectLst/>
                  <a:uLnTx/>
                  <a:uFillTx/>
                  <a:latin typeface="Arial" panose="020B0604020202090204" pitchFamily="34" charset="0"/>
                  <a:ea typeface="华文楷体" panose="02010600040101010101" pitchFamily="2" charset="-122"/>
                </a:rPr>
                <a:t>makereading</a:t>
              </a:r>
              <a:endParaRPr kumimoji="0" lang="en-US" altLang="zh-CN" sz="3200" b="1" i="0" u="none" strike="noStrike" kern="1200" cap="none" spc="0" normalizeH="0" baseline="0" noProof="0" dirty="0" err="1">
                <a:ln>
                  <a:noFill/>
                </a:ln>
                <a:effectLst/>
                <a:uLnTx/>
                <a:uFillTx/>
                <a:latin typeface="Arial" panose="020B0604020202090204" pitchFamily="34" charset="0"/>
                <a:ea typeface="华文楷体" panose="02010600040101010101" pitchFamily="2" charset="-122"/>
              </a:endParaRPr>
            </a:p>
            <a:p>
              <a:pPr marL="0" marR="0" lvl="0" indent="0" defTabSz="913765" rtl="0" eaLnBrk="1" fontAlgn="auto" latinLnBrk="0" hangingPunct="1">
                <a:lnSpc>
                  <a:spcPct val="100000"/>
                </a:lnSpc>
                <a:spcBef>
                  <a:spcPts val="0"/>
                </a:spcBef>
                <a:spcAft>
                  <a:spcPts val="0"/>
                </a:spcAft>
                <a:buClrTx/>
                <a:buSzPct val="25000"/>
                <a:buFontTx/>
                <a:buNone/>
                <a:defRPr/>
              </a:pPr>
              <a:r>
                <a:rPr kumimoji="0" lang="en-US" altLang="zh-CN" sz="3200" b="1" i="0" u="none" strike="noStrike" kern="1200" cap="none" spc="0" normalizeH="0" baseline="0" noProof="0" dirty="0">
                  <a:ln>
                    <a:noFill/>
                  </a:ln>
                  <a:solidFill>
                    <a:schemeClr val="accent1"/>
                  </a:solidFill>
                  <a:effectLst/>
                  <a:uLnTx/>
                  <a:uFillTx/>
                  <a:latin typeface="Arial" panose="020B0604020202090204" pitchFamily="34" charset="0"/>
                  <a:ea typeface="华文楷体" panose="02010600040101010101" pitchFamily="2" charset="-122"/>
                </a:rPr>
                <a:t>more fluent. </a:t>
              </a:r>
              <a:endParaRPr kumimoji="0" lang="en-US" altLang="zh-CN" sz="3200" b="1" i="0" u="none" strike="noStrike" kern="1200" cap="none" spc="0" normalizeH="0" baseline="0" noProof="0" dirty="0">
                <a:ln>
                  <a:noFill/>
                </a:ln>
                <a:solidFill>
                  <a:schemeClr val="accent1"/>
                </a:solidFill>
                <a:effectLst/>
                <a:uLnTx/>
                <a:uFillTx/>
                <a:latin typeface="Arial" panose="020B0604020202090204" pitchFamily="34" charset="0"/>
                <a:ea typeface="华文楷体" panose="02010600040101010101" pitchFamily="2" charset="-122"/>
              </a:endParaRPr>
            </a:p>
          </p:txBody>
        </p:sp>
        <p:sp>
          <p:nvSpPr>
            <p:cNvPr id="9" name="文本框 8"/>
            <p:cNvSpPr txBox="1"/>
            <p:nvPr/>
          </p:nvSpPr>
          <p:spPr>
            <a:xfrm>
              <a:off x="660400" y="2281904"/>
              <a:ext cx="5328778" cy="647550"/>
            </a:xfrm>
            <a:prstGeom prst="rect">
              <a:avLst/>
            </a:prstGeom>
            <a:noFill/>
          </p:spPr>
          <p:txBody>
            <a:bodyPr wrap="square" rtlCol="0">
              <a:spAutoFit/>
            </a:bodyPr>
            <a:lstStyle>
              <a:defPPr>
                <a:defRPr lang="zh-CN"/>
              </a:defPPr>
              <a:lvl1pPr>
                <a:lnSpc>
                  <a:spcPts val="1500"/>
                </a:lnSpc>
                <a:defRPr sz="900"/>
              </a:lvl1pPr>
            </a:lstStyle>
            <a:p>
              <a:r>
                <a:rPr lang="en-US" dirty="0">
                  <a:latin typeface="Arial" panose="020B0604020202090204" pitchFamily="34" charset="0"/>
                  <a:ea typeface="华文楷体" panose="02010600040101010101" pitchFamily="2" charset="-122"/>
                </a:rPr>
                <a:t>Lorem ipsum dolor sit amet, consectetuer adipiscing elit. Maecenas porttitor congue massa. Fusce posuere, magna sed pulvinar ultricies</a:t>
              </a:r>
              <a:r>
                <a:rPr lang="en-US">
                  <a:latin typeface="Arial" panose="020B0604020202090204" pitchFamily="34" charset="0"/>
                  <a:ea typeface="华文楷体" panose="02010600040101010101" pitchFamily="2" charset="-122"/>
                </a:rPr>
                <a:t>, purus lectus malesuada libero,.</a:t>
              </a:r>
              <a:r>
                <a:rPr lang="en-US" altLang="zh-CN">
                  <a:latin typeface="Arial" panose="020B0604020202090204" pitchFamily="34" charset="0"/>
                  <a:ea typeface="华文楷体" panose="02010600040101010101" pitchFamily="2" charset="-122"/>
                </a:rPr>
                <a:t> sit amet commodo magna eros quis urna.Nunc viverra imperdiet enim. Fusce est. </a:t>
              </a:r>
              <a:endParaRPr lang="en-US">
                <a:latin typeface="Arial" panose="020B0604020202090204" pitchFamily="34" charset="0"/>
                <a:ea typeface="华文楷体" panose="02010600040101010101" pitchFamily="2" charset="-122"/>
              </a:endParaRPr>
            </a:p>
          </p:txBody>
        </p:sp>
        <p:grpSp>
          <p:nvGrpSpPr>
            <p:cNvPr id="10" name="组合 9"/>
            <p:cNvGrpSpPr/>
            <p:nvPr/>
          </p:nvGrpSpPr>
          <p:grpSpPr>
            <a:xfrm>
              <a:off x="377511" y="4133999"/>
              <a:ext cx="2177715" cy="1530637"/>
              <a:chOff x="1491917" y="2283883"/>
              <a:chExt cx="2177715" cy="1530637"/>
            </a:xfrm>
          </p:grpSpPr>
          <p:sp>
            <p:nvSpPr>
              <p:cNvPr id="11" name="文本框 10"/>
              <p:cNvSpPr txBox="1"/>
              <p:nvPr/>
            </p:nvSpPr>
            <p:spPr>
              <a:xfrm>
                <a:off x="2174253" y="2283883"/>
                <a:ext cx="813043" cy="769441"/>
              </a:xfrm>
              <a:prstGeom prst="rect">
                <a:avLst/>
              </a:prstGeom>
              <a:noFill/>
            </p:spPr>
            <p:txBody>
              <a:bodyPr wrap="none" lIns="91440" tIns="45720" rIns="91440" bIns="45720" rtlCol="0" anchor="ctr" anchorCtr="0">
                <a:spAutoFit/>
              </a:bodyPr>
              <a:lstStyle/>
              <a:p>
                <a:pPr algn="ctr"/>
                <a:r>
                  <a:rPr kumimoji="1" lang="en-US" altLang="zh-CN" sz="4400" b="1" dirty="0">
                    <a:solidFill>
                      <a:schemeClr val="accent1"/>
                    </a:solidFill>
                    <a:latin typeface="Arial" panose="020B0604020202090204" pitchFamily="34" charset="0"/>
                    <a:ea typeface="华文楷体" panose="02010600040101010101" pitchFamily="2" charset="-122"/>
                  </a:rPr>
                  <a:t>01</a:t>
                </a:r>
                <a:endParaRPr kumimoji="1" lang="zh-CN" altLang="en-US" sz="4400" b="1" dirty="0">
                  <a:solidFill>
                    <a:schemeClr val="accent1"/>
                  </a:solidFill>
                  <a:latin typeface="Arial" panose="020B0604020202090204" pitchFamily="34" charset="0"/>
                  <a:ea typeface="华文楷体" panose="02010600040101010101" pitchFamily="2" charset="-122"/>
                </a:endParaRPr>
              </a:p>
            </p:txBody>
          </p:sp>
          <p:sp>
            <p:nvSpPr>
              <p:cNvPr id="12" name="矩形 11"/>
              <p:cNvSpPr/>
              <p:nvPr/>
            </p:nvSpPr>
            <p:spPr>
              <a:xfrm>
                <a:off x="1843621" y="3037139"/>
                <a:ext cx="1474307"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kumimoji="1" lang="en-US" altLang="zh-CN" sz="1400" b="1" dirty="0">
                    <a:solidFill>
                      <a:schemeClr val="tx1"/>
                    </a:solidFill>
                    <a:latin typeface="Arial" panose="020B0604020202090204" pitchFamily="34" charset="0"/>
                    <a:ea typeface="华文楷体" panose="02010600040101010101" pitchFamily="2" charset="-122"/>
                  </a:rPr>
                  <a:t>Texthere</a:t>
                </a:r>
                <a:endParaRPr kumimoji="1" lang="en-US" altLang="zh-CN" sz="1400" b="1" dirty="0">
                  <a:solidFill>
                    <a:schemeClr val="tx1"/>
                  </a:solidFill>
                  <a:latin typeface="Arial" panose="020B0604020202090204" pitchFamily="34" charset="0"/>
                  <a:ea typeface="华文楷体" panose="02010600040101010101" pitchFamily="2" charset="-122"/>
                </a:endParaRPr>
              </a:p>
            </p:txBody>
          </p:sp>
          <p:sp>
            <p:nvSpPr>
              <p:cNvPr id="13" name="矩形 12"/>
              <p:cNvSpPr/>
              <p:nvPr/>
            </p:nvSpPr>
            <p:spPr>
              <a:xfrm>
                <a:off x="1491917" y="3380875"/>
                <a:ext cx="2177715" cy="4336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lnSpc>
                    <a:spcPct val="130000"/>
                  </a:lnSpc>
                </a:pPr>
                <a:r>
                  <a:rPr kumimoji="1" lang="en-US" altLang="zh-CN" sz="900" dirty="0">
                    <a:solidFill>
                      <a:schemeClr val="tx1"/>
                    </a:solidFill>
                    <a:latin typeface="Arial" panose="020B0604020202090204" pitchFamily="34" charset="0"/>
                    <a:ea typeface="华文楷体" panose="02010600040101010101" pitchFamily="2" charset="-122"/>
                  </a:rPr>
                  <a:t>Lorem ipsum dolor sit amet, consectetuer </a:t>
                </a:r>
                <a:r>
                  <a:rPr kumimoji="1" lang="en-US" altLang="zh-CN" sz="900">
                    <a:solidFill>
                      <a:schemeClr val="tx1"/>
                    </a:solidFill>
                    <a:latin typeface="Arial" panose="020B0604020202090204" pitchFamily="34" charset="0"/>
                    <a:ea typeface="华文楷体" panose="02010600040101010101" pitchFamily="2" charset="-122"/>
                  </a:rPr>
                  <a:t>adipiscing elit</a:t>
                </a:r>
                <a:endParaRPr kumimoji="1" lang="en-US" altLang="zh-CN" sz="900" dirty="0">
                  <a:solidFill>
                    <a:schemeClr val="tx1"/>
                  </a:solidFill>
                  <a:latin typeface="Arial" panose="020B0604020202090204" pitchFamily="34" charset="0"/>
                  <a:ea typeface="华文楷体" panose="02010600040101010101" pitchFamily="2" charset="-122"/>
                </a:endParaRPr>
              </a:p>
            </p:txBody>
          </p:sp>
        </p:grpSp>
        <p:grpSp>
          <p:nvGrpSpPr>
            <p:cNvPr id="14" name="组合 13"/>
            <p:cNvGrpSpPr/>
            <p:nvPr/>
          </p:nvGrpSpPr>
          <p:grpSpPr>
            <a:xfrm>
              <a:off x="2261423" y="4133999"/>
              <a:ext cx="2177715" cy="1530637"/>
              <a:chOff x="1491917" y="2283883"/>
              <a:chExt cx="2177715" cy="1530637"/>
            </a:xfrm>
          </p:grpSpPr>
          <p:sp>
            <p:nvSpPr>
              <p:cNvPr id="15" name="文本框 14"/>
              <p:cNvSpPr txBox="1"/>
              <p:nvPr/>
            </p:nvSpPr>
            <p:spPr>
              <a:xfrm>
                <a:off x="2174253" y="2283883"/>
                <a:ext cx="813043" cy="769441"/>
              </a:xfrm>
              <a:prstGeom prst="rect">
                <a:avLst/>
              </a:prstGeom>
              <a:noFill/>
            </p:spPr>
            <p:txBody>
              <a:bodyPr wrap="none" lIns="91440" tIns="45720" rIns="91440" bIns="45720" rtlCol="0" anchor="ctr" anchorCtr="0">
                <a:spAutoFit/>
              </a:bodyPr>
              <a:lstStyle/>
              <a:p>
                <a:pPr algn="ctr"/>
                <a:r>
                  <a:rPr kumimoji="1" lang="en-US" altLang="zh-CN" sz="4400" b="1" dirty="0">
                    <a:solidFill>
                      <a:schemeClr val="tx2"/>
                    </a:solidFill>
                    <a:latin typeface="Arial" panose="020B0604020202090204" pitchFamily="34" charset="0"/>
                    <a:ea typeface="华文楷体" panose="02010600040101010101" pitchFamily="2" charset="-122"/>
                  </a:rPr>
                  <a:t>02</a:t>
                </a:r>
                <a:endParaRPr kumimoji="1" lang="zh-CN" altLang="en-US" sz="4400" b="1" dirty="0">
                  <a:solidFill>
                    <a:schemeClr val="tx2"/>
                  </a:solidFill>
                  <a:latin typeface="Arial" panose="020B0604020202090204" pitchFamily="34" charset="0"/>
                  <a:ea typeface="华文楷体" panose="02010600040101010101" pitchFamily="2" charset="-122"/>
                </a:endParaRPr>
              </a:p>
            </p:txBody>
          </p:sp>
          <p:sp>
            <p:nvSpPr>
              <p:cNvPr id="16" name="矩形 15"/>
              <p:cNvSpPr/>
              <p:nvPr/>
            </p:nvSpPr>
            <p:spPr>
              <a:xfrm>
                <a:off x="1843621" y="3037139"/>
                <a:ext cx="1474307"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kumimoji="1" lang="en-US" altLang="zh-CN" sz="1400" b="1" dirty="0">
                    <a:solidFill>
                      <a:schemeClr val="tx1"/>
                    </a:solidFill>
                    <a:latin typeface="Arial" panose="020B0604020202090204" pitchFamily="34" charset="0"/>
                    <a:ea typeface="华文楷体" panose="02010600040101010101" pitchFamily="2" charset="-122"/>
                  </a:rPr>
                  <a:t>Texthere</a:t>
                </a:r>
                <a:endParaRPr kumimoji="1" lang="en-US" altLang="zh-CN" sz="1400" b="1" dirty="0">
                  <a:solidFill>
                    <a:schemeClr val="tx1"/>
                  </a:solidFill>
                  <a:latin typeface="Arial" panose="020B0604020202090204" pitchFamily="34" charset="0"/>
                  <a:ea typeface="华文楷体" panose="02010600040101010101" pitchFamily="2" charset="-122"/>
                </a:endParaRPr>
              </a:p>
            </p:txBody>
          </p:sp>
          <p:sp>
            <p:nvSpPr>
              <p:cNvPr id="17" name="矩形 16"/>
              <p:cNvSpPr/>
              <p:nvPr/>
            </p:nvSpPr>
            <p:spPr>
              <a:xfrm>
                <a:off x="1491917" y="3380875"/>
                <a:ext cx="2177715" cy="4336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lnSpc>
                    <a:spcPct val="130000"/>
                  </a:lnSpc>
                </a:pPr>
                <a:r>
                  <a:rPr kumimoji="1" lang="en-US" altLang="zh-CN" sz="900" dirty="0">
                    <a:solidFill>
                      <a:schemeClr val="tx1"/>
                    </a:solidFill>
                    <a:latin typeface="Arial" panose="020B0604020202090204" pitchFamily="34" charset="0"/>
                    <a:ea typeface="华文楷体" panose="02010600040101010101" pitchFamily="2" charset="-122"/>
                  </a:rPr>
                  <a:t>Lorem ipsum dolor sit amet, consectetuer </a:t>
                </a:r>
                <a:r>
                  <a:rPr kumimoji="1" lang="en-US" altLang="zh-CN" sz="900">
                    <a:solidFill>
                      <a:schemeClr val="tx1"/>
                    </a:solidFill>
                    <a:latin typeface="Arial" panose="020B0604020202090204" pitchFamily="34" charset="0"/>
                    <a:ea typeface="华文楷体" panose="02010600040101010101" pitchFamily="2" charset="-122"/>
                  </a:rPr>
                  <a:t>adipiscing elit</a:t>
                </a:r>
                <a:endParaRPr kumimoji="1" lang="en-US" altLang="zh-CN" sz="900" dirty="0">
                  <a:solidFill>
                    <a:schemeClr val="tx1"/>
                  </a:solidFill>
                  <a:latin typeface="Arial" panose="020B0604020202090204" pitchFamily="34" charset="0"/>
                  <a:ea typeface="华文楷体" panose="02010600040101010101" pitchFamily="2" charset="-122"/>
                </a:endParaRPr>
              </a:p>
            </p:txBody>
          </p:sp>
        </p:grpSp>
        <p:grpSp>
          <p:nvGrpSpPr>
            <p:cNvPr id="18" name="组合 17"/>
            <p:cNvGrpSpPr/>
            <p:nvPr/>
          </p:nvGrpSpPr>
          <p:grpSpPr>
            <a:xfrm>
              <a:off x="4145336" y="4133999"/>
              <a:ext cx="2177715" cy="1530637"/>
              <a:chOff x="1491917" y="2283883"/>
              <a:chExt cx="2177715" cy="1530637"/>
            </a:xfrm>
          </p:grpSpPr>
          <p:sp>
            <p:nvSpPr>
              <p:cNvPr id="19" name="文本框 18"/>
              <p:cNvSpPr txBox="1"/>
              <p:nvPr/>
            </p:nvSpPr>
            <p:spPr>
              <a:xfrm>
                <a:off x="2174253" y="2283883"/>
                <a:ext cx="813043" cy="769441"/>
              </a:xfrm>
              <a:prstGeom prst="rect">
                <a:avLst/>
              </a:prstGeom>
              <a:noFill/>
            </p:spPr>
            <p:txBody>
              <a:bodyPr wrap="none" lIns="91440" tIns="45720" rIns="91440" bIns="45720" rtlCol="0" anchor="ctr" anchorCtr="0">
                <a:spAutoFit/>
              </a:bodyPr>
              <a:lstStyle/>
              <a:p>
                <a:pPr algn="ctr"/>
                <a:r>
                  <a:rPr kumimoji="1" lang="en-US" altLang="zh-CN" sz="4400" b="1" dirty="0">
                    <a:solidFill>
                      <a:schemeClr val="accent1"/>
                    </a:solidFill>
                    <a:latin typeface="Arial" panose="020B0604020202090204" pitchFamily="34" charset="0"/>
                    <a:ea typeface="华文楷体" panose="02010600040101010101" pitchFamily="2" charset="-122"/>
                  </a:rPr>
                  <a:t>03</a:t>
                </a:r>
                <a:endParaRPr kumimoji="1" lang="zh-CN" altLang="en-US" sz="4400" b="1" dirty="0">
                  <a:solidFill>
                    <a:schemeClr val="accent1"/>
                  </a:solidFill>
                  <a:latin typeface="Arial" panose="020B0604020202090204" pitchFamily="34" charset="0"/>
                  <a:ea typeface="华文楷体" panose="02010600040101010101" pitchFamily="2" charset="-122"/>
                </a:endParaRPr>
              </a:p>
            </p:txBody>
          </p:sp>
          <p:sp>
            <p:nvSpPr>
              <p:cNvPr id="20" name="矩形 19"/>
              <p:cNvSpPr/>
              <p:nvPr/>
            </p:nvSpPr>
            <p:spPr>
              <a:xfrm>
                <a:off x="1843621" y="3037139"/>
                <a:ext cx="1474307"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kumimoji="1" lang="en-US" altLang="zh-CN" sz="1400" b="1" dirty="0">
                    <a:solidFill>
                      <a:schemeClr val="tx1"/>
                    </a:solidFill>
                    <a:latin typeface="Arial" panose="020B0604020202090204" pitchFamily="34" charset="0"/>
                    <a:ea typeface="华文楷体" panose="02010600040101010101" pitchFamily="2" charset="-122"/>
                  </a:rPr>
                  <a:t>Texthere</a:t>
                </a:r>
                <a:endParaRPr kumimoji="1" lang="en-US" altLang="zh-CN" sz="1400" b="1" dirty="0">
                  <a:solidFill>
                    <a:schemeClr val="tx1"/>
                  </a:solidFill>
                  <a:latin typeface="Arial" panose="020B0604020202090204" pitchFamily="34" charset="0"/>
                  <a:ea typeface="华文楷体" panose="02010600040101010101" pitchFamily="2" charset="-122"/>
                </a:endParaRPr>
              </a:p>
            </p:txBody>
          </p:sp>
          <p:sp>
            <p:nvSpPr>
              <p:cNvPr id="21" name="矩形 20"/>
              <p:cNvSpPr/>
              <p:nvPr/>
            </p:nvSpPr>
            <p:spPr>
              <a:xfrm>
                <a:off x="1491917" y="3380875"/>
                <a:ext cx="2177715" cy="4336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lnSpc>
                    <a:spcPct val="130000"/>
                  </a:lnSpc>
                </a:pPr>
                <a:r>
                  <a:rPr kumimoji="1" lang="en-US" altLang="zh-CN" sz="900" dirty="0">
                    <a:solidFill>
                      <a:schemeClr val="tx1"/>
                    </a:solidFill>
                    <a:latin typeface="Arial" panose="020B0604020202090204" pitchFamily="34" charset="0"/>
                    <a:ea typeface="华文楷体" panose="02010600040101010101" pitchFamily="2" charset="-122"/>
                  </a:rPr>
                  <a:t>Lorem ipsum dolor sit amet, consectetuer </a:t>
                </a:r>
                <a:r>
                  <a:rPr kumimoji="1" lang="en-US" altLang="zh-CN" sz="900">
                    <a:solidFill>
                      <a:schemeClr val="tx1"/>
                    </a:solidFill>
                    <a:latin typeface="Arial" panose="020B0604020202090204" pitchFamily="34" charset="0"/>
                    <a:ea typeface="华文楷体" panose="02010600040101010101" pitchFamily="2" charset="-122"/>
                  </a:rPr>
                  <a:t>adipiscing elit</a:t>
                </a:r>
                <a:endParaRPr kumimoji="1" lang="en-US" altLang="zh-CN" sz="900" dirty="0">
                  <a:solidFill>
                    <a:schemeClr val="tx1"/>
                  </a:solidFill>
                  <a:latin typeface="Arial" panose="020B0604020202090204" pitchFamily="34" charset="0"/>
                  <a:ea typeface="华文楷体" panose="02010600040101010101" pitchFamily="2" charset="-122"/>
                </a:endParaRPr>
              </a:p>
            </p:txBody>
          </p:sp>
        </p:grpSp>
      </p:grpSp>
    </p:spTree>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660400" y="1130300"/>
            <a:ext cx="11166974" cy="5892954"/>
            <a:chOff x="660400" y="1130300"/>
            <a:chExt cx="11166974" cy="5892954"/>
          </a:xfrm>
        </p:grpSpPr>
        <p:grpSp>
          <p:nvGrpSpPr>
            <p:cNvPr id="48" name="组合 47"/>
            <p:cNvGrpSpPr/>
            <p:nvPr/>
          </p:nvGrpSpPr>
          <p:grpSpPr>
            <a:xfrm>
              <a:off x="1245570" y="1552464"/>
              <a:ext cx="10581804" cy="5470790"/>
              <a:chOff x="730443" y="1397900"/>
              <a:chExt cx="10581804" cy="5470790"/>
            </a:xfrm>
          </p:grpSpPr>
          <p:sp>
            <p:nvSpPr>
              <p:cNvPr id="46" name="矩形: 圆角 45"/>
              <p:cNvSpPr/>
              <p:nvPr/>
            </p:nvSpPr>
            <p:spPr>
              <a:xfrm>
                <a:off x="8170674" y="4059751"/>
                <a:ext cx="1277956" cy="373033"/>
              </a:xfrm>
              <a:prstGeom prst="roundRect">
                <a:avLst/>
              </a:prstGeom>
              <a:gradFill>
                <a:gsLst>
                  <a:gs pos="0">
                    <a:schemeClr val="accent2">
                      <a:lumMod val="60000"/>
                      <a:lumOff val="40000"/>
                    </a:schemeClr>
                  </a:gs>
                  <a:gs pos="47000">
                    <a:schemeClr val="accent2"/>
                  </a:gs>
                </a:gsLst>
                <a:lin ang="2700000" scaled="0"/>
              </a:gradFill>
              <a:ln>
                <a:noFill/>
              </a:ln>
              <a:effectLst>
                <a:outerShdw blurRad="76200" dist="50800" dir="5400000" algn="tl" rotWithShape="0">
                  <a:schemeClr val="accent2">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a:latin typeface="Arial" panose="020B0604020202090204" pitchFamily="34" charset="0"/>
                    <a:ea typeface="华文楷体" panose="02010600040101010101" pitchFamily="2" charset="-122"/>
                  </a:rPr>
                  <a:t>Text here</a:t>
                </a:r>
                <a:endParaRPr lang="zh-CN" altLang="en-US" b="1" dirty="0">
                  <a:latin typeface="Arial" panose="020B0604020202090204" pitchFamily="34" charset="0"/>
                  <a:ea typeface="华文楷体" panose="02010600040101010101" pitchFamily="2" charset="-122"/>
                </a:endParaRPr>
              </a:p>
            </p:txBody>
          </p:sp>
          <p:sp>
            <p:nvSpPr>
              <p:cNvPr id="45" name="矩形: 圆角 44"/>
              <p:cNvSpPr/>
              <p:nvPr/>
            </p:nvSpPr>
            <p:spPr>
              <a:xfrm>
                <a:off x="2710418" y="3165517"/>
                <a:ext cx="1277956" cy="373033"/>
              </a:xfrm>
              <a:prstGeom prst="roundRect">
                <a:avLst/>
              </a:prstGeom>
              <a:gradFill>
                <a:gsLst>
                  <a:gs pos="0">
                    <a:schemeClr val="accent3">
                      <a:lumMod val="60000"/>
                      <a:lumOff val="40000"/>
                    </a:schemeClr>
                  </a:gs>
                  <a:gs pos="47000">
                    <a:schemeClr val="accent3"/>
                  </a:gs>
                </a:gsLst>
                <a:lin ang="2700000" scaled="0"/>
              </a:gradFill>
              <a:ln>
                <a:noFill/>
              </a:ln>
              <a:effectLst>
                <a:outerShdw blurRad="76200" dist="50800" dir="5400000" algn="tl" rotWithShape="0">
                  <a:schemeClr val="accent3">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a:latin typeface="Arial" panose="020B0604020202090204" pitchFamily="34" charset="0"/>
                    <a:ea typeface="华文楷体" panose="02010600040101010101" pitchFamily="2" charset="-122"/>
                  </a:rPr>
                  <a:t>Text here</a:t>
                </a:r>
                <a:endParaRPr lang="zh-CN" altLang="en-US" b="1" dirty="0">
                  <a:latin typeface="Arial" panose="020B0604020202090204" pitchFamily="34" charset="0"/>
                  <a:ea typeface="华文楷体" panose="02010600040101010101" pitchFamily="2" charset="-122"/>
                </a:endParaRPr>
              </a:p>
            </p:txBody>
          </p:sp>
          <p:sp>
            <p:nvSpPr>
              <p:cNvPr id="43" name="矩形: 圆角 42"/>
              <p:cNvSpPr/>
              <p:nvPr/>
            </p:nvSpPr>
            <p:spPr>
              <a:xfrm>
                <a:off x="5061923" y="1397900"/>
                <a:ext cx="1277956" cy="373033"/>
              </a:xfrm>
              <a:prstGeom prst="roundRect">
                <a:avLst/>
              </a:prstGeom>
              <a:gradFill>
                <a:gsLst>
                  <a:gs pos="0">
                    <a:schemeClr val="accent1">
                      <a:lumMod val="60000"/>
                      <a:lumOff val="40000"/>
                    </a:schemeClr>
                  </a:gs>
                  <a:gs pos="47000">
                    <a:schemeClr val="accent1"/>
                  </a:gs>
                </a:gsLst>
                <a:lin ang="2700000" scaled="0"/>
              </a:gradFill>
              <a:ln>
                <a:noFill/>
              </a:ln>
              <a:effectLst>
                <a:outerShdw blurRad="76200" dist="50800" dir="5400000" algn="tl" rotWithShape="0">
                  <a:schemeClr val="accent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a:latin typeface="Arial" panose="020B0604020202090204" pitchFamily="34" charset="0"/>
                    <a:ea typeface="华文楷体" panose="02010600040101010101" pitchFamily="2" charset="-122"/>
                  </a:rPr>
                  <a:t>Text here</a:t>
                </a:r>
                <a:endParaRPr lang="zh-CN" altLang="en-US" b="1" dirty="0">
                  <a:latin typeface="Arial" panose="020B0604020202090204" pitchFamily="34" charset="0"/>
                  <a:ea typeface="华文楷体" panose="02010600040101010101" pitchFamily="2" charset="-122"/>
                </a:endParaRPr>
              </a:p>
            </p:txBody>
          </p:sp>
          <p:grpSp>
            <p:nvGrpSpPr>
              <p:cNvPr id="41" name="组合 40"/>
              <p:cNvGrpSpPr/>
              <p:nvPr/>
            </p:nvGrpSpPr>
            <p:grpSpPr>
              <a:xfrm>
                <a:off x="730443" y="1830046"/>
                <a:ext cx="10581804" cy="5038644"/>
                <a:chOff x="1125541" y="1830046"/>
                <a:chExt cx="10581804" cy="5038644"/>
              </a:xfrm>
            </p:grpSpPr>
            <p:sp>
              <p:nvSpPr>
                <p:cNvPr id="12" name="文本框 11"/>
                <p:cNvSpPr txBox="1"/>
                <p:nvPr/>
              </p:nvSpPr>
              <p:spPr>
                <a:xfrm>
                  <a:off x="4674765" y="1830046"/>
                  <a:ext cx="2891102" cy="693304"/>
                </a:xfrm>
                <a:prstGeom prst="rect">
                  <a:avLst/>
                </a:prstGeom>
                <a:noFill/>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20000"/>
                    </a:lnSpc>
                  </a:pPr>
                  <a:r>
                    <a:rPr lang="en-US" altLang="zh-CN" sz="1100" dirty="0">
                      <a:latin typeface="Arial" panose="020B0604020202090204" pitchFamily="34" charset="0"/>
                      <a:ea typeface="华文楷体" panose="02010600040101010101" pitchFamily="2" charset="-122"/>
                    </a:rPr>
                    <a:t>Nunc </a:t>
                  </a:r>
                  <a:r>
                    <a:rPr lang="en-US" altLang="zh-CN" sz="1100" dirty="0" err="1">
                      <a:latin typeface="Arial" panose="020B0604020202090204" pitchFamily="34" charset="0"/>
                      <a:ea typeface="华文楷体" panose="02010600040101010101" pitchFamily="2" charset="-122"/>
                    </a:rPr>
                    <a:t>viverraimperdietenim</a:t>
                  </a:r>
                  <a:r>
                    <a:rPr lang="en-US" altLang="zh-CN" sz="1100" dirty="0">
                      <a:latin typeface="Arial" panose="020B0604020202090204" pitchFamily="34" charset="0"/>
                      <a:ea typeface="华文楷体" panose="02010600040101010101" pitchFamily="2" charset="-122"/>
                    </a:rPr>
                    <a:t>. </a:t>
                  </a:r>
                  <a:r>
                    <a:rPr lang="en-US" altLang="zh-CN" sz="1100" dirty="0" err="1">
                      <a:latin typeface="Arial" panose="020B0604020202090204" pitchFamily="34" charset="0"/>
                      <a:ea typeface="华文楷体" panose="02010600040101010101" pitchFamily="2" charset="-122"/>
                    </a:rPr>
                    <a:t>Fusce</a:t>
                  </a:r>
                  <a:r>
                    <a:rPr lang="en-US" altLang="zh-CN" sz="1100" dirty="0">
                      <a:latin typeface="Arial" panose="020B0604020202090204" pitchFamily="34" charset="0"/>
                      <a:ea typeface="华文楷体" panose="02010600040101010101" pitchFamily="2" charset="-122"/>
                    </a:rPr>
                    <a:t> est. </a:t>
                  </a:r>
                  <a:r>
                    <a:rPr lang="en-US" altLang="zh-CN" sz="1100" dirty="0" err="1">
                      <a:latin typeface="Arial" panose="020B0604020202090204" pitchFamily="34" charset="0"/>
                      <a:ea typeface="华文楷体" panose="02010600040101010101" pitchFamily="2" charset="-122"/>
                    </a:rPr>
                    <a:t>Vivamus</a:t>
                  </a:r>
                  <a:r>
                    <a:rPr lang="en-US" altLang="zh-CN" sz="1100" dirty="0">
                      <a:latin typeface="Arial" panose="020B0604020202090204" pitchFamily="34" charset="0"/>
                      <a:ea typeface="华文楷体" panose="02010600040101010101" pitchFamily="2" charset="-122"/>
                    </a:rPr>
                    <a:t> a </a:t>
                  </a:r>
                  <a:r>
                    <a:rPr lang="en-US" altLang="zh-CN" sz="1100" dirty="0" err="1">
                      <a:latin typeface="Arial" panose="020B0604020202090204" pitchFamily="34" charset="0"/>
                      <a:ea typeface="华文楷体" panose="02010600040101010101" pitchFamily="2" charset="-122"/>
                    </a:rPr>
                    <a:t>tellus</a:t>
                  </a:r>
                  <a:r>
                    <a:rPr lang="en-US" altLang="zh-CN" sz="1100" dirty="0">
                      <a:latin typeface="Arial" panose="020B0604020202090204" pitchFamily="34" charset="0"/>
                      <a:ea typeface="华文楷体" panose="02010600040101010101" pitchFamily="2" charset="-122"/>
                    </a:rPr>
                    <a:t>.</a:t>
                  </a:r>
                  <a:endParaRPr lang="en-US" altLang="zh-CN" sz="1100" dirty="0">
                    <a:latin typeface="Arial" panose="020B0604020202090204" pitchFamily="34" charset="0"/>
                    <a:ea typeface="华文楷体" panose="02010600040101010101" pitchFamily="2" charset="-122"/>
                  </a:endParaRPr>
                </a:p>
              </p:txBody>
            </p:sp>
            <p:sp>
              <p:nvSpPr>
                <p:cNvPr id="14" name="文本框 13"/>
                <p:cNvSpPr txBox="1"/>
                <p:nvPr/>
              </p:nvSpPr>
              <p:spPr>
                <a:xfrm>
                  <a:off x="8565772" y="4448322"/>
                  <a:ext cx="3141573" cy="693304"/>
                </a:xfrm>
                <a:prstGeom prst="rect">
                  <a:avLst/>
                </a:prstGeom>
                <a:noFill/>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20000"/>
                    </a:lnSpc>
                  </a:pPr>
                  <a:r>
                    <a:rPr lang="en-US" altLang="zh-CN" sz="1100" dirty="0">
                      <a:latin typeface="Arial" panose="020B0604020202090204" pitchFamily="34" charset="0"/>
                      <a:ea typeface="华文楷体" panose="02010600040101010101" pitchFamily="2" charset="-122"/>
                    </a:rPr>
                    <a:t>Nunc </a:t>
                  </a:r>
                  <a:r>
                    <a:rPr lang="en-US" altLang="zh-CN" sz="1100" dirty="0" err="1">
                      <a:latin typeface="Arial" panose="020B0604020202090204" pitchFamily="34" charset="0"/>
                      <a:ea typeface="华文楷体" panose="02010600040101010101" pitchFamily="2" charset="-122"/>
                    </a:rPr>
                    <a:t>viverraimperdietenim</a:t>
                  </a:r>
                  <a:r>
                    <a:rPr lang="en-US" altLang="zh-CN" sz="1100" dirty="0">
                      <a:latin typeface="Arial" panose="020B0604020202090204" pitchFamily="34" charset="0"/>
                      <a:ea typeface="华文楷体" panose="02010600040101010101" pitchFamily="2" charset="-122"/>
                    </a:rPr>
                    <a:t>. </a:t>
                  </a:r>
                  <a:r>
                    <a:rPr lang="en-US" altLang="zh-CN" sz="1100" dirty="0" err="1">
                      <a:latin typeface="Arial" panose="020B0604020202090204" pitchFamily="34" charset="0"/>
                      <a:ea typeface="华文楷体" panose="02010600040101010101" pitchFamily="2" charset="-122"/>
                    </a:rPr>
                    <a:t>Fusce</a:t>
                  </a:r>
                  <a:r>
                    <a:rPr lang="en-US" altLang="zh-CN" sz="1100" dirty="0">
                      <a:latin typeface="Arial" panose="020B0604020202090204" pitchFamily="34" charset="0"/>
                      <a:ea typeface="华文楷体" panose="02010600040101010101" pitchFamily="2" charset="-122"/>
                    </a:rPr>
                    <a:t> est. </a:t>
                  </a:r>
                  <a:r>
                    <a:rPr lang="en-US" altLang="zh-CN" sz="1100" dirty="0" err="1">
                      <a:latin typeface="Arial" panose="020B0604020202090204" pitchFamily="34" charset="0"/>
                      <a:ea typeface="华文楷体" panose="02010600040101010101" pitchFamily="2" charset="-122"/>
                    </a:rPr>
                    <a:t>Vivamus</a:t>
                  </a:r>
                  <a:r>
                    <a:rPr lang="en-US" altLang="zh-CN" sz="1100" dirty="0">
                      <a:latin typeface="Arial" panose="020B0604020202090204" pitchFamily="34" charset="0"/>
                      <a:ea typeface="华文楷体" panose="02010600040101010101" pitchFamily="2" charset="-122"/>
                    </a:rPr>
                    <a:t> a </a:t>
                  </a:r>
                  <a:r>
                    <a:rPr lang="en-US" altLang="zh-CN" sz="1100" dirty="0" err="1">
                      <a:latin typeface="Arial" panose="020B0604020202090204" pitchFamily="34" charset="0"/>
                      <a:ea typeface="华文楷体" panose="02010600040101010101" pitchFamily="2" charset="-122"/>
                    </a:rPr>
                    <a:t>tellus</a:t>
                  </a:r>
                  <a:r>
                    <a:rPr lang="en-US" altLang="zh-CN" sz="1100" dirty="0">
                      <a:latin typeface="Arial" panose="020B0604020202090204" pitchFamily="34" charset="0"/>
                      <a:ea typeface="华文楷体" panose="02010600040101010101" pitchFamily="2" charset="-122"/>
                    </a:rPr>
                    <a:t>.</a:t>
                  </a:r>
                  <a:endParaRPr lang="en-US" altLang="zh-CN" sz="1100" dirty="0">
                    <a:latin typeface="Arial" panose="020B0604020202090204" pitchFamily="34" charset="0"/>
                    <a:ea typeface="华文楷体" panose="02010600040101010101" pitchFamily="2" charset="-122"/>
                  </a:endParaRPr>
                </a:p>
              </p:txBody>
            </p:sp>
            <p:sp>
              <p:nvSpPr>
                <p:cNvPr id="16" name="文本框 15"/>
                <p:cNvSpPr txBox="1"/>
                <p:nvPr/>
              </p:nvSpPr>
              <p:spPr>
                <a:xfrm>
                  <a:off x="1125541" y="3579959"/>
                  <a:ext cx="3257931" cy="479792"/>
                </a:xfrm>
                <a:prstGeom prst="rect">
                  <a:avLst/>
                </a:prstGeom>
                <a:noFill/>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r">
                    <a:lnSpc>
                      <a:spcPct val="120000"/>
                    </a:lnSpc>
                  </a:pPr>
                  <a:r>
                    <a:rPr lang="en-US" altLang="zh-CN" sz="1100" dirty="0">
                      <a:latin typeface="Arial" panose="020B0604020202090204" pitchFamily="34" charset="0"/>
                      <a:ea typeface="华文楷体" panose="02010600040101010101" pitchFamily="2" charset="-122"/>
                    </a:rPr>
                    <a:t>Nunc </a:t>
                  </a:r>
                  <a:r>
                    <a:rPr lang="en-US" altLang="zh-CN" sz="1100" dirty="0" err="1">
                      <a:latin typeface="Arial" panose="020B0604020202090204" pitchFamily="34" charset="0"/>
                      <a:ea typeface="华文楷体" panose="02010600040101010101" pitchFamily="2" charset="-122"/>
                    </a:rPr>
                    <a:t>viverraimperdietenim</a:t>
                  </a:r>
                  <a:r>
                    <a:rPr lang="en-US" altLang="zh-CN" sz="1100" dirty="0">
                      <a:latin typeface="Arial" panose="020B0604020202090204" pitchFamily="34" charset="0"/>
                      <a:ea typeface="华文楷体" panose="02010600040101010101" pitchFamily="2" charset="-122"/>
                    </a:rPr>
                    <a:t>. </a:t>
                  </a:r>
                  <a:r>
                    <a:rPr lang="en-US" altLang="zh-CN" sz="1100" dirty="0" err="1">
                      <a:latin typeface="Arial" panose="020B0604020202090204" pitchFamily="34" charset="0"/>
                      <a:ea typeface="华文楷体" panose="02010600040101010101" pitchFamily="2" charset="-122"/>
                    </a:rPr>
                    <a:t>Fusce</a:t>
                  </a:r>
                  <a:r>
                    <a:rPr lang="en-US" altLang="zh-CN" sz="1100" dirty="0">
                      <a:latin typeface="Arial" panose="020B0604020202090204" pitchFamily="34" charset="0"/>
                      <a:ea typeface="华文楷体" panose="02010600040101010101" pitchFamily="2" charset="-122"/>
                    </a:rPr>
                    <a:t> est. </a:t>
                  </a:r>
                  <a:r>
                    <a:rPr lang="en-US" altLang="zh-CN" sz="1100" dirty="0" err="1">
                      <a:latin typeface="Arial" panose="020B0604020202090204" pitchFamily="34" charset="0"/>
                      <a:ea typeface="华文楷体" panose="02010600040101010101" pitchFamily="2" charset="-122"/>
                    </a:rPr>
                    <a:t>Vivamus</a:t>
                  </a:r>
                  <a:r>
                    <a:rPr lang="en-US" altLang="zh-CN" sz="1100" dirty="0">
                      <a:latin typeface="Arial" panose="020B0604020202090204" pitchFamily="34" charset="0"/>
                      <a:ea typeface="华文楷体" panose="02010600040101010101" pitchFamily="2" charset="-122"/>
                    </a:rPr>
                    <a:t> a </a:t>
                  </a:r>
                  <a:r>
                    <a:rPr lang="en-US" altLang="zh-CN" sz="1100" dirty="0" err="1">
                      <a:latin typeface="Arial" panose="020B0604020202090204" pitchFamily="34" charset="0"/>
                      <a:ea typeface="华文楷体" panose="02010600040101010101" pitchFamily="2" charset="-122"/>
                    </a:rPr>
                    <a:t>tellus</a:t>
                  </a:r>
                  <a:r>
                    <a:rPr lang="en-US" altLang="zh-CN" sz="1100" dirty="0">
                      <a:latin typeface="Arial" panose="020B0604020202090204" pitchFamily="34" charset="0"/>
                      <a:ea typeface="华文楷体" panose="02010600040101010101" pitchFamily="2" charset="-122"/>
                    </a:rPr>
                    <a:t>.</a:t>
                  </a:r>
                  <a:endParaRPr lang="en-US" altLang="zh-CN" sz="1100" dirty="0">
                    <a:latin typeface="Arial" panose="020B0604020202090204" pitchFamily="34" charset="0"/>
                    <a:ea typeface="华文楷体" panose="02010600040101010101" pitchFamily="2" charset="-122"/>
                  </a:endParaRPr>
                </a:p>
              </p:txBody>
            </p:sp>
            <p:grpSp>
              <p:nvGrpSpPr>
                <p:cNvPr id="40" name="组合 39"/>
                <p:cNvGrpSpPr/>
                <p:nvPr/>
              </p:nvGrpSpPr>
              <p:grpSpPr>
                <a:xfrm>
                  <a:off x="4274201" y="2716974"/>
                  <a:ext cx="3643600" cy="4151716"/>
                  <a:chOff x="4088084" y="2939684"/>
                  <a:chExt cx="3643600" cy="4151716"/>
                </a:xfrm>
              </p:grpSpPr>
              <p:grpSp>
                <p:nvGrpSpPr>
                  <p:cNvPr id="8" name="组合 7"/>
                  <p:cNvGrpSpPr/>
                  <p:nvPr/>
                </p:nvGrpSpPr>
                <p:grpSpPr>
                  <a:xfrm flipV="1">
                    <a:off x="4088084" y="2939684"/>
                    <a:ext cx="3643600" cy="4151716"/>
                    <a:chOff x="4706743" y="1193305"/>
                    <a:chExt cx="2768315" cy="3154371"/>
                  </a:xfrm>
                </p:grpSpPr>
                <p:sp>
                  <p:nvSpPr>
                    <p:cNvPr id="17" name="任意多边形: 形状 16"/>
                    <p:cNvSpPr/>
                    <p:nvPr/>
                  </p:nvSpPr>
                  <p:spPr>
                    <a:xfrm rot="18900000">
                      <a:off x="4706743" y="1193305"/>
                      <a:ext cx="2768315" cy="2778719"/>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11929" y="0"/>
                            <a:pt x="21600" y="9633"/>
                            <a:pt x="21600" y="21517"/>
                          </a:cubicBezTo>
                          <a:cubicBezTo>
                            <a:pt x="21600" y="21544"/>
                            <a:pt x="21599" y="21572"/>
                            <a:pt x="21599" y="21600"/>
                          </a:cubicBezTo>
                          <a:lnTo>
                            <a:pt x="1" y="21517"/>
                          </a:lnTo>
                          <a:close/>
                        </a:path>
                      </a:pathLst>
                    </a:custGeom>
                    <a:solidFill>
                      <a:schemeClr val="tx2">
                        <a:alpha val="15000"/>
                      </a:schemeClr>
                    </a:solidFill>
                    <a:ln w="57150">
                      <a:solidFill>
                        <a:schemeClr val="bg1"/>
                      </a:solidFill>
                      <a:miter lim="400000"/>
                    </a:ln>
                  </p:spPr>
                  <p:txBody>
                    <a:bodyPr anchor="ctr"/>
                    <a:lstStyle/>
                    <a:p>
                      <a:pPr algn="ctr"/>
                      <a:endParaRPr sz="2400"/>
                    </a:p>
                  </p:txBody>
                </p:sp>
                <p:sp>
                  <p:nvSpPr>
                    <p:cNvPr id="18" name="任意多边形: 形状 17"/>
                    <p:cNvSpPr/>
                    <p:nvPr/>
                  </p:nvSpPr>
                  <p:spPr>
                    <a:xfrm rot="18900000">
                      <a:off x="5145021" y="2251545"/>
                      <a:ext cx="1898845" cy="1899163"/>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11929" y="0"/>
                            <a:pt x="21600" y="9633"/>
                            <a:pt x="21600" y="21517"/>
                          </a:cubicBezTo>
                          <a:cubicBezTo>
                            <a:pt x="21600" y="21544"/>
                            <a:pt x="21599" y="21572"/>
                            <a:pt x="21599" y="21600"/>
                          </a:cubicBezTo>
                          <a:lnTo>
                            <a:pt x="1" y="21517"/>
                          </a:lnTo>
                          <a:close/>
                        </a:path>
                      </a:pathLst>
                    </a:custGeom>
                    <a:solidFill>
                      <a:schemeClr val="tx2">
                        <a:alpha val="15000"/>
                      </a:schemeClr>
                    </a:solidFill>
                    <a:ln w="57150">
                      <a:solidFill>
                        <a:schemeClr val="bg1"/>
                      </a:solidFill>
                      <a:miter lim="400000"/>
                    </a:ln>
                  </p:spPr>
                  <p:txBody>
                    <a:bodyPr anchor="ctr"/>
                    <a:lstStyle/>
                    <a:p>
                      <a:pPr algn="ctr"/>
                      <a:endParaRPr sz="2400"/>
                    </a:p>
                  </p:txBody>
                </p:sp>
                <p:sp>
                  <p:nvSpPr>
                    <p:cNvPr id="19" name="任意多边形: 形状 18"/>
                    <p:cNvSpPr/>
                    <p:nvPr/>
                  </p:nvSpPr>
                  <p:spPr>
                    <a:xfrm rot="18900000">
                      <a:off x="5620423" y="3399414"/>
                      <a:ext cx="948104" cy="948262"/>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11929" y="0"/>
                            <a:pt x="21600" y="9633"/>
                            <a:pt x="21600" y="21517"/>
                          </a:cubicBezTo>
                          <a:cubicBezTo>
                            <a:pt x="21600" y="21544"/>
                            <a:pt x="21599" y="21572"/>
                            <a:pt x="21599" y="21600"/>
                          </a:cubicBezTo>
                          <a:lnTo>
                            <a:pt x="1" y="21517"/>
                          </a:lnTo>
                          <a:close/>
                        </a:path>
                      </a:pathLst>
                    </a:custGeom>
                    <a:solidFill>
                      <a:schemeClr val="accent1"/>
                    </a:solidFill>
                    <a:ln w="57150">
                      <a:solidFill>
                        <a:schemeClr val="bg1"/>
                      </a:solidFill>
                      <a:miter lim="400000"/>
                    </a:ln>
                  </p:spPr>
                  <p:txBody>
                    <a:bodyPr anchor="ctr"/>
                    <a:lstStyle/>
                    <a:p>
                      <a:pPr algn="ctr"/>
                      <a:endParaRPr sz="2400"/>
                    </a:p>
                  </p:txBody>
                </p:sp>
              </p:grpSp>
              <p:sp>
                <p:nvSpPr>
                  <p:cNvPr id="26" name="文本框 25"/>
                  <p:cNvSpPr txBox="1"/>
                  <p:nvPr/>
                </p:nvSpPr>
                <p:spPr>
                  <a:xfrm>
                    <a:off x="5285046" y="3178206"/>
                    <a:ext cx="1223240" cy="449700"/>
                  </a:xfrm>
                  <a:prstGeom prst="rect">
                    <a:avLst/>
                  </a:prstGeom>
                  <a:noFill/>
                </p:spPr>
                <p:txBody>
                  <a:bodyPr wrap="none" lIns="91440" tIns="45720" rIns="91440" bIns="45720" anchor="ctr"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r>
                      <a:rPr lang="en-US" altLang="zh-CN" sz="1600" b="1" dirty="0">
                        <a:latin typeface="Arial" panose="020B0604020202090204" pitchFamily="34" charset="0"/>
                        <a:ea typeface="华文楷体" panose="02010600040101010101" pitchFamily="2" charset="-122"/>
                      </a:rPr>
                      <a:t>Text</a:t>
                    </a:r>
                    <a:endParaRPr lang="zh-CN" altLang="en-US" sz="1600" b="1" dirty="0">
                      <a:latin typeface="Arial" panose="020B0604020202090204" pitchFamily="34" charset="0"/>
                      <a:ea typeface="华文楷体" panose="02010600040101010101" pitchFamily="2" charset="-122"/>
                    </a:endParaRPr>
                  </a:p>
                </p:txBody>
              </p:sp>
              <p:sp>
                <p:nvSpPr>
                  <p:cNvPr id="33" name="文本框 32"/>
                  <p:cNvSpPr txBox="1"/>
                  <p:nvPr/>
                </p:nvSpPr>
                <p:spPr>
                  <a:xfrm>
                    <a:off x="5302924" y="4282461"/>
                    <a:ext cx="1223240" cy="449700"/>
                  </a:xfrm>
                  <a:prstGeom prst="rect">
                    <a:avLst/>
                  </a:prstGeom>
                  <a:noFill/>
                </p:spPr>
                <p:txBody>
                  <a:bodyPr wrap="none" lIns="91440" tIns="45720" rIns="91440" bIns="45720" anchor="ctr"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r>
                      <a:rPr lang="en-US" altLang="zh-CN" sz="1600" b="1" dirty="0">
                        <a:latin typeface="Arial" panose="020B0604020202090204" pitchFamily="34" charset="0"/>
                        <a:ea typeface="华文楷体" panose="02010600040101010101" pitchFamily="2" charset="-122"/>
                      </a:rPr>
                      <a:t>Text</a:t>
                    </a:r>
                    <a:endParaRPr lang="zh-CN" altLang="en-US" sz="1600" b="1" dirty="0">
                      <a:latin typeface="Arial" panose="020B0604020202090204" pitchFamily="34" charset="0"/>
                      <a:ea typeface="华文楷体" panose="02010600040101010101" pitchFamily="2" charset="-122"/>
                    </a:endParaRPr>
                  </a:p>
                </p:txBody>
              </p:sp>
              <p:sp>
                <p:nvSpPr>
                  <p:cNvPr id="39" name="文本框 38"/>
                  <p:cNvSpPr txBox="1"/>
                  <p:nvPr/>
                </p:nvSpPr>
                <p:spPr>
                  <a:xfrm>
                    <a:off x="5281214" y="5469313"/>
                    <a:ext cx="1223240" cy="449700"/>
                  </a:xfrm>
                  <a:prstGeom prst="rect">
                    <a:avLst/>
                  </a:prstGeom>
                  <a:noFill/>
                </p:spPr>
                <p:txBody>
                  <a:bodyPr wrap="none" lIns="91440" tIns="45720" rIns="91440" bIns="45720" anchor="ctr"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r>
                      <a:rPr lang="en-US" altLang="zh-CN" sz="1600" b="1" dirty="0">
                        <a:latin typeface="Arial" panose="020B0604020202090204" pitchFamily="34" charset="0"/>
                        <a:ea typeface="华文楷体" panose="02010600040101010101" pitchFamily="2" charset="-122"/>
                      </a:rPr>
                      <a:t>Text</a:t>
                    </a:r>
                    <a:endParaRPr lang="zh-CN" altLang="en-US" sz="1600" b="1" dirty="0">
                      <a:latin typeface="Arial" panose="020B0604020202090204" pitchFamily="34" charset="0"/>
                      <a:ea typeface="华文楷体" panose="02010600040101010101" pitchFamily="2" charset="-122"/>
                    </a:endParaRPr>
                  </a:p>
                </p:txBody>
              </p:sp>
            </p:grpSp>
          </p:grpSp>
        </p:grpSp>
        <p:sp>
          <p:nvSpPr>
            <p:cNvPr id="49" name="文本框 48"/>
            <p:cNvSpPr txBox="1"/>
            <p:nvPr/>
          </p:nvSpPr>
          <p:spPr>
            <a:xfrm>
              <a:off x="660400" y="1130300"/>
              <a:ext cx="3842887" cy="1569660"/>
            </a:xfrm>
            <a:prstGeom prst="rect">
              <a:avLst/>
            </a:prstGeom>
            <a:noFill/>
            <a:ln>
              <a:noFill/>
            </a:ln>
          </p:spPr>
          <p:txBody>
            <a:bodyPr wrap="square" lIns="91440" tIns="45720" rIns="91440" bIns="45720" anchor="ctr" anchorCtr="0">
              <a:spAutoFit/>
            </a:bodyPr>
            <a:lstStyle/>
            <a:p>
              <a:pPr marL="0" marR="0" lvl="0" indent="0" defTabSz="913765" rtl="0" eaLnBrk="1" fontAlgn="auto" latinLnBrk="0" hangingPunct="1">
                <a:lnSpc>
                  <a:spcPct val="100000"/>
                </a:lnSpc>
                <a:spcBef>
                  <a:spcPts val="0"/>
                </a:spcBef>
                <a:spcAft>
                  <a:spcPts val="0"/>
                </a:spcAft>
                <a:buClrTx/>
                <a:buSzPct val="25000"/>
                <a:buFontTx/>
                <a:buNone/>
                <a:defRPr/>
              </a:pPr>
              <a:r>
                <a:rPr kumimoji="0" lang="en-US" sz="3200" b="1" i="0" u="none" strike="noStrike" kern="1200" cap="none" spc="0" normalizeH="0" baseline="0" noProof="0" dirty="0">
                  <a:ln>
                    <a:noFill/>
                  </a:ln>
                  <a:solidFill>
                    <a:schemeClr val="accent1"/>
                  </a:solidFill>
                  <a:effectLst/>
                  <a:uLnTx/>
                  <a:uFillTx/>
                  <a:latin typeface="Arial" panose="020B0604020202090204" pitchFamily="34" charset="0"/>
                  <a:ea typeface="华文楷体" panose="02010600040101010101" pitchFamily="2" charset="-122"/>
                </a:rPr>
                <a:t>Unified fonts make </a:t>
              </a:r>
              <a:r>
                <a:rPr kumimoji="0" lang="en-US" sz="3200" b="1" i="0" u="none" strike="noStrike" kern="1200" cap="none" spc="0" normalizeH="0" baseline="0" noProof="0" dirty="0">
                  <a:ln>
                    <a:noFill/>
                  </a:ln>
                  <a:effectLst/>
                  <a:uLnTx/>
                  <a:uFillTx/>
                  <a:latin typeface="Arial" panose="020B0604020202090204" pitchFamily="34" charset="0"/>
                  <a:ea typeface="华文楷体" panose="02010600040101010101" pitchFamily="2" charset="-122"/>
                </a:rPr>
                <a:t>reading </a:t>
              </a:r>
              <a:endParaRPr kumimoji="0" lang="en-US" sz="3200" b="1" i="0" u="none" strike="noStrike" kern="1200" cap="none" spc="0" normalizeH="0" baseline="0" noProof="0" dirty="0">
                <a:ln>
                  <a:noFill/>
                </a:ln>
                <a:effectLst/>
                <a:uLnTx/>
                <a:uFillTx/>
                <a:latin typeface="Arial" panose="020B0604020202090204" pitchFamily="34" charset="0"/>
                <a:ea typeface="华文楷体" panose="02010600040101010101" pitchFamily="2" charset="-122"/>
              </a:endParaRPr>
            </a:p>
            <a:p>
              <a:pPr marL="0" marR="0" lvl="0" indent="0" defTabSz="913765" rtl="0" eaLnBrk="1" fontAlgn="auto" latinLnBrk="0" hangingPunct="1">
                <a:lnSpc>
                  <a:spcPct val="100000"/>
                </a:lnSpc>
                <a:spcBef>
                  <a:spcPts val="0"/>
                </a:spcBef>
                <a:spcAft>
                  <a:spcPts val="0"/>
                </a:spcAft>
                <a:buClrTx/>
                <a:buSzPct val="25000"/>
                <a:buFontTx/>
                <a:buNone/>
                <a:defRPr/>
              </a:pPr>
              <a:r>
                <a:rPr kumimoji="0" lang="en-US" sz="3200" b="1" i="0" u="none" strike="noStrike" kern="1200" cap="none" spc="0" normalizeH="0" baseline="0" noProof="0" dirty="0">
                  <a:ln>
                    <a:noFill/>
                  </a:ln>
                  <a:effectLst/>
                  <a:uLnTx/>
                  <a:uFillTx/>
                  <a:latin typeface="Arial" panose="020B0604020202090204" pitchFamily="34" charset="0"/>
                  <a:ea typeface="华文楷体" panose="02010600040101010101" pitchFamily="2" charset="-122"/>
                </a:rPr>
                <a:t>more fluent.  </a:t>
              </a:r>
              <a:endParaRPr kumimoji="0" lang="en-US" sz="3200" b="1" i="0" u="none" strike="noStrike" kern="1200" cap="none" spc="0" normalizeH="0" baseline="0" noProof="0" dirty="0">
                <a:ln>
                  <a:noFill/>
                </a:ln>
                <a:effectLst/>
                <a:uLnTx/>
                <a:uFillTx/>
                <a:latin typeface="Arial" panose="020B0604020202090204" pitchFamily="34" charset="0"/>
                <a:ea typeface="华文楷体" panose="02010600040101010101" pitchFamily="2" charset="-122"/>
              </a:endParaRPr>
            </a:p>
          </p:txBody>
        </p:sp>
      </p:grpSp>
    </p:spTree>
    <p:custDataLst>
      <p:tags r:id="rId1"/>
    </p:custData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368300" y="1028700"/>
            <a:ext cx="9932303" cy="5105400"/>
            <a:chOff x="368300" y="1028700"/>
            <a:chExt cx="9932303" cy="5105400"/>
          </a:xfrm>
        </p:grpSpPr>
        <p:sp>
          <p:nvSpPr>
            <p:cNvPr id="3" name="文本框 2"/>
            <p:cNvSpPr txBox="1"/>
            <p:nvPr/>
          </p:nvSpPr>
          <p:spPr>
            <a:xfrm>
              <a:off x="660400" y="1028700"/>
              <a:ext cx="7901522" cy="1077218"/>
            </a:xfrm>
            <a:prstGeom prst="rect">
              <a:avLst/>
            </a:prstGeom>
            <a:noFill/>
            <a:ln>
              <a:noFill/>
            </a:ln>
          </p:spPr>
          <p:txBody>
            <a:bodyPr wrap="square" lIns="91440" tIns="45720" rIns="91440" bIns="45720" anchor="ctr" anchorCtr="0">
              <a:spAutoFit/>
            </a:bodyPr>
            <a:lstStyle/>
            <a:p>
              <a:pPr marL="0" marR="0" lvl="0" indent="0" defTabSz="913765" rtl="0" eaLnBrk="1" fontAlgn="auto" latinLnBrk="0" hangingPunct="1">
                <a:lnSpc>
                  <a:spcPct val="100000"/>
                </a:lnSpc>
                <a:spcBef>
                  <a:spcPts val="0"/>
                </a:spcBef>
                <a:spcAft>
                  <a:spcPts val="0"/>
                </a:spcAft>
                <a:buClrTx/>
                <a:buSzPct val="25000"/>
                <a:buFontTx/>
                <a:buNone/>
                <a:defRPr/>
              </a:pPr>
              <a:r>
                <a:rPr kumimoji="0" lang="en-US" sz="3200" b="1" i="0" u="none" strike="noStrike" kern="1200" cap="none" spc="0" normalizeH="0" baseline="0" noProof="0" dirty="0">
                  <a:ln>
                    <a:noFill/>
                  </a:ln>
                  <a:effectLst/>
                  <a:uLnTx/>
                  <a:uFillTx/>
                  <a:latin typeface="Arial" panose="020B0604020202090204" pitchFamily="34" charset="0"/>
                  <a:ea typeface="华文楷体" panose="02010600040101010101" pitchFamily="2" charset="-122"/>
                </a:rPr>
                <a:t>Unified fonts make reading </a:t>
              </a:r>
              <a:endParaRPr kumimoji="0" lang="en-US" sz="3200" b="1" i="0" u="none" strike="noStrike" kern="1200" cap="none" spc="0" normalizeH="0" baseline="0" noProof="0" dirty="0">
                <a:ln>
                  <a:noFill/>
                </a:ln>
                <a:effectLst/>
                <a:uLnTx/>
                <a:uFillTx/>
                <a:latin typeface="Arial" panose="020B0604020202090204" pitchFamily="34" charset="0"/>
                <a:ea typeface="华文楷体" panose="02010600040101010101" pitchFamily="2" charset="-122"/>
              </a:endParaRPr>
            </a:p>
            <a:p>
              <a:pPr marL="0" marR="0" lvl="0" indent="0" defTabSz="913765" rtl="0" eaLnBrk="1" fontAlgn="auto" latinLnBrk="0" hangingPunct="1">
                <a:lnSpc>
                  <a:spcPct val="100000"/>
                </a:lnSpc>
                <a:spcBef>
                  <a:spcPts val="0"/>
                </a:spcBef>
                <a:spcAft>
                  <a:spcPts val="0"/>
                </a:spcAft>
                <a:buClrTx/>
                <a:buSzPct val="25000"/>
                <a:buFontTx/>
                <a:buNone/>
                <a:defRPr/>
              </a:pPr>
              <a:r>
                <a:rPr kumimoji="0" lang="en-US" sz="3200" b="1" i="0" u="none" strike="noStrike" kern="1200" cap="none" spc="0" normalizeH="0" baseline="0" noProof="0" dirty="0">
                  <a:ln>
                    <a:noFill/>
                  </a:ln>
                  <a:solidFill>
                    <a:schemeClr val="accent1"/>
                  </a:solidFill>
                  <a:effectLst/>
                  <a:uLnTx/>
                  <a:uFillTx/>
                  <a:latin typeface="Arial" panose="020B0604020202090204" pitchFamily="34" charset="0"/>
                  <a:ea typeface="华文楷体" panose="02010600040101010101" pitchFamily="2" charset="-122"/>
                </a:rPr>
                <a:t>more fluent.  </a:t>
              </a:r>
              <a:endParaRPr kumimoji="0" lang="en-US" sz="3200" b="1" i="0" u="none" strike="noStrike" kern="1200" cap="none" spc="0" normalizeH="0" baseline="0" noProof="0" dirty="0">
                <a:ln>
                  <a:noFill/>
                </a:ln>
                <a:solidFill>
                  <a:schemeClr val="accent1"/>
                </a:solidFill>
                <a:effectLst/>
                <a:uLnTx/>
                <a:uFillTx/>
                <a:latin typeface="Arial" panose="020B0604020202090204" pitchFamily="34" charset="0"/>
                <a:ea typeface="华文楷体" panose="02010600040101010101" pitchFamily="2" charset="-122"/>
              </a:endParaRPr>
            </a:p>
          </p:txBody>
        </p:sp>
        <p:grpSp>
          <p:nvGrpSpPr>
            <p:cNvPr id="26" name="组合 25"/>
            <p:cNvGrpSpPr/>
            <p:nvPr/>
          </p:nvGrpSpPr>
          <p:grpSpPr>
            <a:xfrm>
              <a:off x="368300" y="2069223"/>
              <a:ext cx="9932303" cy="4064877"/>
              <a:chOff x="368300" y="2069223"/>
              <a:chExt cx="9932303" cy="4064877"/>
            </a:xfrm>
          </p:grpSpPr>
          <p:grpSp>
            <p:nvGrpSpPr>
              <p:cNvPr id="4" name="组合 3"/>
              <p:cNvGrpSpPr/>
              <p:nvPr/>
            </p:nvGrpSpPr>
            <p:grpSpPr>
              <a:xfrm>
                <a:off x="5233556" y="2069223"/>
                <a:ext cx="5067047" cy="4064877"/>
                <a:chOff x="2561060" y="2146300"/>
                <a:chExt cx="4040934" cy="3987800"/>
              </a:xfrm>
            </p:grpSpPr>
            <p:sp>
              <p:nvSpPr>
                <p:cNvPr id="17" name="任意多边形: 形状 16"/>
                <p:cNvSpPr/>
                <p:nvPr/>
              </p:nvSpPr>
              <p:spPr>
                <a:xfrm>
                  <a:off x="2561060" y="4941982"/>
                  <a:ext cx="4040934" cy="1192118"/>
                </a:xfrm>
                <a:custGeom>
                  <a:avLst/>
                  <a:gdLst>
                    <a:gd name="connsiteX0" fmla="*/ 783638 w 5155893"/>
                    <a:gd name="connsiteY0" fmla="*/ 3482757 h 5003799"/>
                    <a:gd name="connsiteX1" fmla="*/ 4372256 w 5155893"/>
                    <a:gd name="connsiteY1" fmla="*/ 3482757 h 5003799"/>
                    <a:gd name="connsiteX2" fmla="*/ 5155893 w 5155893"/>
                    <a:gd name="connsiteY2" fmla="*/ 5003799 h 5003799"/>
                    <a:gd name="connsiteX3" fmla="*/ 0 w 5155893"/>
                    <a:gd name="connsiteY3" fmla="*/ 5003799 h 5003799"/>
                    <a:gd name="connsiteX4" fmla="*/ 1680793 w 5155893"/>
                    <a:gd name="connsiteY4" fmla="*/ 1741378 h 5003799"/>
                    <a:gd name="connsiteX5" fmla="*/ 3475101 w 5155893"/>
                    <a:gd name="connsiteY5" fmla="*/ 1741378 h 5003799"/>
                    <a:gd name="connsiteX6" fmla="*/ 4258739 w 5155893"/>
                    <a:gd name="connsiteY6" fmla="*/ 3262420 h 5003799"/>
                    <a:gd name="connsiteX7" fmla="*/ 897155 w 5155893"/>
                    <a:gd name="connsiteY7" fmla="*/ 3262420 h 5003799"/>
                    <a:gd name="connsiteX8" fmla="*/ 2577947 w 5155893"/>
                    <a:gd name="connsiteY8" fmla="*/ 0 h 5003799"/>
                    <a:gd name="connsiteX9" fmla="*/ 3361584 w 5155893"/>
                    <a:gd name="connsiteY9" fmla="*/ 1521041 h 5003799"/>
                    <a:gd name="connsiteX10" fmla="*/ 1794310 w 5155893"/>
                    <a:gd name="connsiteY10" fmla="*/ 1521041 h 500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55893" h="1521042">
                      <a:moveTo>
                        <a:pt x="783638" y="0"/>
                      </a:moveTo>
                      <a:lnTo>
                        <a:pt x="4372256" y="0"/>
                      </a:lnTo>
                      <a:lnTo>
                        <a:pt x="5155893" y="1521042"/>
                      </a:lnTo>
                      <a:lnTo>
                        <a:pt x="0" y="1521042"/>
                      </a:lnTo>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zh-CN" altLang="en-US" dirty="0"/>
                </a:p>
              </p:txBody>
            </p:sp>
            <p:sp>
              <p:nvSpPr>
                <p:cNvPr id="18" name="任意多边形: 形状 17"/>
                <p:cNvSpPr/>
                <p:nvPr/>
              </p:nvSpPr>
              <p:spPr>
                <a:xfrm>
                  <a:off x="3264205" y="3526929"/>
                  <a:ext cx="2634644" cy="1192118"/>
                </a:xfrm>
                <a:custGeom>
                  <a:avLst/>
                  <a:gdLst>
                    <a:gd name="connsiteX0" fmla="*/ 783638 w 5155893"/>
                    <a:gd name="connsiteY0" fmla="*/ 3482757 h 5003799"/>
                    <a:gd name="connsiteX1" fmla="*/ 4372256 w 5155893"/>
                    <a:gd name="connsiteY1" fmla="*/ 3482757 h 5003799"/>
                    <a:gd name="connsiteX2" fmla="*/ 5155893 w 5155893"/>
                    <a:gd name="connsiteY2" fmla="*/ 5003799 h 5003799"/>
                    <a:gd name="connsiteX3" fmla="*/ 0 w 5155893"/>
                    <a:gd name="connsiteY3" fmla="*/ 5003799 h 5003799"/>
                    <a:gd name="connsiteX4" fmla="*/ 1680793 w 5155893"/>
                    <a:gd name="connsiteY4" fmla="*/ 1741378 h 5003799"/>
                    <a:gd name="connsiteX5" fmla="*/ 3475101 w 5155893"/>
                    <a:gd name="connsiteY5" fmla="*/ 1741378 h 5003799"/>
                    <a:gd name="connsiteX6" fmla="*/ 4258739 w 5155893"/>
                    <a:gd name="connsiteY6" fmla="*/ 3262420 h 5003799"/>
                    <a:gd name="connsiteX7" fmla="*/ 897155 w 5155893"/>
                    <a:gd name="connsiteY7" fmla="*/ 3262420 h 5003799"/>
                    <a:gd name="connsiteX8" fmla="*/ 2577947 w 5155893"/>
                    <a:gd name="connsiteY8" fmla="*/ 0 h 5003799"/>
                    <a:gd name="connsiteX9" fmla="*/ 3361584 w 5155893"/>
                    <a:gd name="connsiteY9" fmla="*/ 1521041 h 5003799"/>
                    <a:gd name="connsiteX10" fmla="*/ 1794310 w 5155893"/>
                    <a:gd name="connsiteY10" fmla="*/ 1521041 h 500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61584" h="1521042">
                      <a:moveTo>
                        <a:pt x="783638" y="0"/>
                      </a:moveTo>
                      <a:lnTo>
                        <a:pt x="2577946" y="0"/>
                      </a:lnTo>
                      <a:lnTo>
                        <a:pt x="3361584" y="1521042"/>
                      </a:lnTo>
                      <a:lnTo>
                        <a:pt x="0" y="1521042"/>
                      </a:lnTo>
                    </a:path>
                  </a:pathLst>
                </a:custGeom>
                <a:solidFill>
                  <a:schemeClr val="tx2">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zh-CN" altLang="en-US" dirty="0"/>
                </a:p>
              </p:txBody>
            </p:sp>
            <p:sp>
              <p:nvSpPr>
                <p:cNvPr id="19" name="任意多边形: 形状 18"/>
                <p:cNvSpPr/>
                <p:nvPr/>
              </p:nvSpPr>
              <p:spPr>
                <a:xfrm>
                  <a:off x="3967351" y="2146300"/>
                  <a:ext cx="1228352" cy="1192117"/>
                </a:xfrm>
                <a:custGeom>
                  <a:avLst/>
                  <a:gdLst>
                    <a:gd name="connsiteX0" fmla="*/ 783638 w 5155893"/>
                    <a:gd name="connsiteY0" fmla="*/ 3482757 h 5003799"/>
                    <a:gd name="connsiteX1" fmla="*/ 4372256 w 5155893"/>
                    <a:gd name="connsiteY1" fmla="*/ 3482757 h 5003799"/>
                    <a:gd name="connsiteX2" fmla="*/ 5155893 w 5155893"/>
                    <a:gd name="connsiteY2" fmla="*/ 5003799 h 5003799"/>
                    <a:gd name="connsiteX3" fmla="*/ 0 w 5155893"/>
                    <a:gd name="connsiteY3" fmla="*/ 5003799 h 5003799"/>
                    <a:gd name="connsiteX4" fmla="*/ 1680793 w 5155893"/>
                    <a:gd name="connsiteY4" fmla="*/ 1741378 h 5003799"/>
                    <a:gd name="connsiteX5" fmla="*/ 3475101 w 5155893"/>
                    <a:gd name="connsiteY5" fmla="*/ 1741378 h 5003799"/>
                    <a:gd name="connsiteX6" fmla="*/ 4258739 w 5155893"/>
                    <a:gd name="connsiteY6" fmla="*/ 3262420 h 5003799"/>
                    <a:gd name="connsiteX7" fmla="*/ 897155 w 5155893"/>
                    <a:gd name="connsiteY7" fmla="*/ 3262420 h 5003799"/>
                    <a:gd name="connsiteX8" fmla="*/ 2577947 w 5155893"/>
                    <a:gd name="connsiteY8" fmla="*/ 0 h 5003799"/>
                    <a:gd name="connsiteX9" fmla="*/ 3361584 w 5155893"/>
                    <a:gd name="connsiteY9" fmla="*/ 1521041 h 5003799"/>
                    <a:gd name="connsiteX10" fmla="*/ 1794310 w 5155893"/>
                    <a:gd name="connsiteY10" fmla="*/ 1521041 h 500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67274" h="1521041">
                      <a:moveTo>
                        <a:pt x="783637" y="0"/>
                      </a:moveTo>
                      <a:lnTo>
                        <a:pt x="1567274" y="1521041"/>
                      </a:lnTo>
                      <a:lnTo>
                        <a:pt x="0" y="1521041"/>
                      </a:lnTo>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zh-CN" altLang="en-US" dirty="0"/>
                </a:p>
              </p:txBody>
            </p:sp>
            <p:sp>
              <p:nvSpPr>
                <p:cNvPr id="20" name="文本框 19"/>
                <p:cNvSpPr txBox="1"/>
                <p:nvPr/>
              </p:nvSpPr>
              <p:spPr>
                <a:xfrm>
                  <a:off x="4098318" y="2750079"/>
                  <a:ext cx="966418" cy="276999"/>
                </a:xfrm>
                <a:prstGeom prst="rect">
                  <a:avLst/>
                </a:prstGeom>
                <a:noFill/>
              </p:spPr>
              <p:txBody>
                <a:bodyPr wrap="square" rtlCol="0">
                  <a:spAutoFit/>
                </a:bodyPr>
                <a:lstStyle/>
                <a:p>
                  <a:pPr algn="ctr"/>
                  <a:r>
                    <a:rPr lang="en-US" altLang="zh-CN" sz="1200" b="1" dirty="0">
                      <a:solidFill>
                        <a:schemeClr val="bg1"/>
                      </a:solidFill>
                      <a:latin typeface="Arial" panose="020B0604020202090204" pitchFamily="34" charset="0"/>
                      <a:ea typeface="华文楷体" panose="02010600040101010101" pitchFamily="2" charset="-122"/>
                    </a:rPr>
                    <a:t>Text here</a:t>
                  </a:r>
                  <a:endParaRPr lang="zh-CN" altLang="en-US" sz="1200" b="1" dirty="0">
                    <a:solidFill>
                      <a:schemeClr val="bg1"/>
                    </a:solidFill>
                    <a:latin typeface="Arial" panose="020B0604020202090204" pitchFamily="34" charset="0"/>
                    <a:ea typeface="华文楷体" panose="02010600040101010101" pitchFamily="2" charset="-122"/>
                  </a:endParaRPr>
                </a:p>
              </p:txBody>
            </p:sp>
            <p:sp>
              <p:nvSpPr>
                <p:cNvPr id="21" name="文本框 20"/>
                <p:cNvSpPr txBox="1"/>
                <p:nvPr/>
              </p:nvSpPr>
              <p:spPr>
                <a:xfrm>
                  <a:off x="4098318" y="3931574"/>
                  <a:ext cx="966418" cy="307777"/>
                </a:xfrm>
                <a:prstGeom prst="rect">
                  <a:avLst/>
                </a:prstGeom>
                <a:noFill/>
              </p:spPr>
              <p:txBody>
                <a:bodyPr wrap="square" rtlCol="0">
                  <a:spAutoFit/>
                </a:bodyPr>
                <a:lstStyle/>
                <a:p>
                  <a:pPr algn="ctr"/>
                  <a:r>
                    <a:rPr lang="en-US" altLang="zh-CN" sz="1400" b="1" dirty="0">
                      <a:latin typeface="Arial" panose="020B0604020202090204" pitchFamily="34" charset="0"/>
                      <a:ea typeface="华文楷体" panose="02010600040101010101" pitchFamily="2" charset="-122"/>
                    </a:rPr>
                    <a:t>Text here</a:t>
                  </a:r>
                  <a:endParaRPr lang="zh-CN" altLang="en-US" sz="1400" b="1" dirty="0">
                    <a:latin typeface="Arial" panose="020B0604020202090204" pitchFamily="34" charset="0"/>
                    <a:ea typeface="华文楷体" panose="02010600040101010101" pitchFamily="2" charset="-122"/>
                  </a:endParaRPr>
                </a:p>
              </p:txBody>
            </p:sp>
            <p:sp>
              <p:nvSpPr>
                <p:cNvPr id="22" name="文本框 21"/>
                <p:cNvSpPr txBox="1"/>
                <p:nvPr/>
              </p:nvSpPr>
              <p:spPr>
                <a:xfrm>
                  <a:off x="4141942" y="5354969"/>
                  <a:ext cx="879171" cy="338554"/>
                </a:xfrm>
                <a:prstGeom prst="rect">
                  <a:avLst/>
                </a:prstGeom>
                <a:noFill/>
              </p:spPr>
              <p:txBody>
                <a:bodyPr wrap="none" rtlCol="0">
                  <a:spAutoFit/>
                </a:bodyPr>
                <a:lstStyle/>
                <a:p>
                  <a:pPr algn="ctr"/>
                  <a:r>
                    <a:rPr lang="en-US" altLang="zh-CN" sz="1600" b="1" dirty="0">
                      <a:solidFill>
                        <a:schemeClr val="bg1"/>
                      </a:solidFill>
                      <a:latin typeface="Arial" panose="020B0604020202090204" pitchFamily="34" charset="0"/>
                      <a:ea typeface="华文楷体" panose="02010600040101010101" pitchFamily="2" charset="-122"/>
                    </a:rPr>
                    <a:t>Text here</a:t>
                  </a:r>
                  <a:endParaRPr lang="zh-CN" altLang="en-US" sz="1600" b="1" dirty="0">
                    <a:solidFill>
                      <a:schemeClr val="bg1"/>
                    </a:solidFill>
                    <a:latin typeface="Arial" panose="020B0604020202090204" pitchFamily="34" charset="0"/>
                    <a:ea typeface="华文楷体" panose="02010600040101010101" pitchFamily="2" charset="-122"/>
                  </a:endParaRPr>
                </a:p>
              </p:txBody>
            </p:sp>
          </p:grpSp>
          <p:grpSp>
            <p:nvGrpSpPr>
              <p:cNvPr id="25" name="组合 24"/>
              <p:cNvGrpSpPr/>
              <p:nvPr/>
            </p:nvGrpSpPr>
            <p:grpSpPr>
              <a:xfrm>
                <a:off x="368300" y="2416050"/>
                <a:ext cx="6186885" cy="3640230"/>
                <a:chOff x="368300" y="2416050"/>
                <a:chExt cx="6186885" cy="3640230"/>
              </a:xfrm>
            </p:grpSpPr>
            <p:grpSp>
              <p:nvGrpSpPr>
                <p:cNvPr id="5" name="组合 4"/>
                <p:cNvGrpSpPr/>
                <p:nvPr/>
              </p:nvGrpSpPr>
              <p:grpSpPr>
                <a:xfrm>
                  <a:off x="1325991" y="3815402"/>
                  <a:ext cx="4381547" cy="822780"/>
                  <a:chOff x="-994460" y="3738056"/>
                  <a:chExt cx="4381547" cy="822780"/>
                </a:xfrm>
              </p:grpSpPr>
              <p:sp>
                <p:nvSpPr>
                  <p:cNvPr id="14" name="文本框 13"/>
                  <p:cNvSpPr txBox="1"/>
                  <p:nvPr/>
                </p:nvSpPr>
                <p:spPr>
                  <a:xfrm>
                    <a:off x="1944500" y="3738056"/>
                    <a:ext cx="968605" cy="307777"/>
                  </a:xfrm>
                  <a:prstGeom prst="rect">
                    <a:avLst/>
                  </a:prstGeom>
                  <a:noFill/>
                </p:spPr>
                <p:txBody>
                  <a:bodyPr wrap="square" rtlCol="0">
                    <a:spAutoFit/>
                  </a:bodyPr>
                  <a:lstStyle/>
                  <a:p>
                    <a:pPr algn="r"/>
                    <a:r>
                      <a:rPr lang="en-US" altLang="zh-CN" sz="1400" b="1" dirty="0">
                        <a:latin typeface="Arial" panose="020B0604020202090204" pitchFamily="34" charset="0"/>
                        <a:ea typeface="华文楷体" panose="02010600040101010101" pitchFamily="2" charset="-122"/>
                      </a:rPr>
                      <a:t>Text here</a:t>
                    </a:r>
                    <a:endParaRPr lang="zh-CN" altLang="en-US" sz="1400" b="1" dirty="0">
                      <a:latin typeface="Arial" panose="020B0604020202090204" pitchFamily="34" charset="0"/>
                      <a:ea typeface="华文楷体" panose="02010600040101010101" pitchFamily="2" charset="-122"/>
                    </a:endParaRPr>
                  </a:p>
                </p:txBody>
              </p:sp>
              <p:sp>
                <p:nvSpPr>
                  <p:cNvPr id="15" name="文本框 14"/>
                  <p:cNvSpPr txBox="1"/>
                  <p:nvPr/>
                </p:nvSpPr>
                <p:spPr>
                  <a:xfrm>
                    <a:off x="-994460" y="4035371"/>
                    <a:ext cx="3907566" cy="525465"/>
                  </a:xfrm>
                  <a:prstGeom prst="rect">
                    <a:avLst/>
                  </a:prstGeom>
                  <a:noFill/>
                </p:spPr>
                <p:txBody>
                  <a:bodyPr wrap="square" rtlCol="0">
                    <a:spAutoFit/>
                  </a:bodyPr>
                  <a:lstStyle/>
                  <a:p>
                    <a:pPr algn="r">
                      <a:lnSpc>
                        <a:spcPct val="150000"/>
                      </a:lnSpc>
                    </a:pPr>
                    <a:r>
                      <a:rPr kumimoji="1" lang="en-US" altLang="zh-CN" sz="1000" dirty="0">
                        <a:solidFill>
                          <a:schemeClr val="tx1"/>
                        </a:solidFill>
                        <a:latin typeface="Arial" panose="020B0604020202090204" pitchFamily="34" charset="0"/>
                        <a:ea typeface="华文楷体" panose="02010600040101010101" pitchFamily="2" charset="-122"/>
                      </a:rPr>
                      <a:t>Lorem ipsum dolor sit </a:t>
                    </a:r>
                    <a:r>
                      <a:rPr kumimoji="1" lang="en-US" altLang="zh-CN" sz="1000" dirty="0" err="1">
                        <a:solidFill>
                          <a:schemeClr val="tx1"/>
                        </a:solidFill>
                        <a:latin typeface="Arial" panose="020B0604020202090204" pitchFamily="34" charset="0"/>
                        <a:ea typeface="华文楷体" panose="02010600040101010101" pitchFamily="2" charset="-122"/>
                      </a:rPr>
                      <a:t>amet</a:t>
                    </a:r>
                    <a:r>
                      <a:rPr kumimoji="1" lang="en-US" altLang="zh-CN" sz="1000" dirty="0">
                        <a:solidFill>
                          <a:schemeClr val="tx1"/>
                        </a:solidFill>
                        <a:latin typeface="Arial" panose="020B0604020202090204" pitchFamily="34" charset="0"/>
                        <a:ea typeface="华文楷体" panose="02010600040101010101" pitchFamily="2" charset="-122"/>
                      </a:rPr>
                      <a:t>, </a:t>
                    </a:r>
                    <a:r>
                      <a:rPr kumimoji="1" lang="en-US" altLang="zh-CN" sz="1000" dirty="0" err="1">
                        <a:solidFill>
                          <a:schemeClr val="tx1"/>
                        </a:solidFill>
                        <a:latin typeface="Arial" panose="020B0604020202090204" pitchFamily="34" charset="0"/>
                        <a:ea typeface="华文楷体" panose="02010600040101010101" pitchFamily="2" charset="-122"/>
                      </a:rPr>
                      <a:t>consectetueradipiscingelit</a:t>
                    </a:r>
                    <a:r>
                      <a:rPr kumimoji="1" lang="en-US" altLang="zh-CN" sz="1000" dirty="0">
                        <a:solidFill>
                          <a:schemeClr val="tx1"/>
                        </a:solidFill>
                        <a:latin typeface="Arial" panose="020B0604020202090204" pitchFamily="34" charset="0"/>
                        <a:ea typeface="华文楷体" panose="02010600040101010101" pitchFamily="2" charset="-122"/>
                      </a:rPr>
                      <a:t>. Maecenas </a:t>
                    </a:r>
                    <a:r>
                      <a:rPr kumimoji="1" lang="en-US" altLang="zh-CN" sz="1000" dirty="0" err="1">
                        <a:solidFill>
                          <a:schemeClr val="tx1"/>
                        </a:solidFill>
                        <a:latin typeface="Arial" panose="020B0604020202090204" pitchFamily="34" charset="0"/>
                        <a:ea typeface="华文楷体" panose="02010600040101010101" pitchFamily="2" charset="-122"/>
                      </a:rPr>
                      <a:t>porttitorconguemassa</a:t>
                    </a:r>
                    <a:r>
                      <a:rPr kumimoji="1" lang="en-US" altLang="zh-CN" sz="1000" dirty="0">
                        <a:solidFill>
                          <a:schemeClr val="tx1"/>
                        </a:solidFill>
                        <a:latin typeface="Arial" panose="020B0604020202090204" pitchFamily="34" charset="0"/>
                        <a:ea typeface="华文楷体" panose="02010600040101010101" pitchFamily="2" charset="-122"/>
                      </a:rPr>
                      <a:t>. </a:t>
                    </a:r>
                    <a:r>
                      <a:rPr kumimoji="1" lang="en-US" altLang="zh-CN" sz="1000" dirty="0" err="1">
                        <a:solidFill>
                          <a:schemeClr val="tx1"/>
                        </a:solidFill>
                        <a:latin typeface="Arial" panose="020B0604020202090204" pitchFamily="34" charset="0"/>
                        <a:ea typeface="华文楷体" panose="02010600040101010101" pitchFamily="2" charset="-122"/>
                      </a:rPr>
                      <a:t>Fusceposuere</a:t>
                    </a:r>
                    <a:r>
                      <a:rPr kumimoji="1" lang="en-US" altLang="zh-CN" sz="1000" dirty="0">
                        <a:solidFill>
                          <a:schemeClr val="tx1"/>
                        </a:solidFill>
                        <a:latin typeface="Arial" panose="020B0604020202090204" pitchFamily="34" charset="0"/>
                        <a:ea typeface="华文楷体" panose="02010600040101010101" pitchFamily="2" charset="-122"/>
                      </a:rPr>
                      <a:t>, </a:t>
                    </a:r>
                    <a:endParaRPr kumimoji="1" lang="en-US" altLang="zh-CN" sz="1000" dirty="0">
                      <a:solidFill>
                        <a:schemeClr val="tx1"/>
                      </a:solidFill>
                      <a:latin typeface="Arial" panose="020B0604020202090204" pitchFamily="34" charset="0"/>
                      <a:ea typeface="华文楷体" panose="02010600040101010101" pitchFamily="2" charset="-122"/>
                    </a:endParaRPr>
                  </a:p>
                </p:txBody>
              </p:sp>
              <p:sp>
                <p:nvSpPr>
                  <p:cNvPr id="16" name="椭圆 15"/>
                  <p:cNvSpPr/>
                  <p:nvPr/>
                </p:nvSpPr>
                <p:spPr>
                  <a:xfrm>
                    <a:off x="2960645" y="3822150"/>
                    <a:ext cx="426442" cy="42644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r>
                      <a:rPr lang="en-US" altLang="zh-CN" dirty="0">
                        <a:latin typeface="Arial" panose="020B0604020202090204" pitchFamily="34" charset="0"/>
                        <a:ea typeface="华文楷体" panose="02010600040101010101" pitchFamily="2" charset="-122"/>
                      </a:rPr>
                      <a:t>02</a:t>
                    </a:r>
                    <a:endParaRPr lang="zh-CN" altLang="en-US" sz="1200" dirty="0">
                      <a:latin typeface="Arial" panose="020B0604020202090204" pitchFamily="34" charset="0"/>
                      <a:ea typeface="华文楷体" panose="02010600040101010101" pitchFamily="2" charset="-122"/>
                    </a:endParaRPr>
                  </a:p>
                </p:txBody>
              </p:sp>
            </p:grpSp>
            <p:grpSp>
              <p:nvGrpSpPr>
                <p:cNvPr id="6" name="组合 5"/>
                <p:cNvGrpSpPr/>
                <p:nvPr/>
              </p:nvGrpSpPr>
              <p:grpSpPr>
                <a:xfrm flipH="1">
                  <a:off x="2173934" y="2416050"/>
                  <a:ext cx="4381251" cy="833242"/>
                  <a:chOff x="8845182" y="2479514"/>
                  <a:chExt cx="4381251" cy="833242"/>
                </a:xfrm>
              </p:grpSpPr>
              <p:sp>
                <p:nvSpPr>
                  <p:cNvPr id="11" name="文本框 10"/>
                  <p:cNvSpPr txBox="1"/>
                  <p:nvPr/>
                </p:nvSpPr>
                <p:spPr>
                  <a:xfrm>
                    <a:off x="9318569" y="2479514"/>
                    <a:ext cx="1018087" cy="307777"/>
                  </a:xfrm>
                  <a:prstGeom prst="rect">
                    <a:avLst/>
                  </a:prstGeom>
                  <a:noFill/>
                </p:spPr>
                <p:txBody>
                  <a:bodyPr wrap="square" rtlCol="0">
                    <a:spAutoFit/>
                  </a:bodyPr>
                  <a:lstStyle/>
                  <a:p>
                    <a:r>
                      <a:rPr lang="en-US" altLang="zh-CN" sz="1400" b="1" dirty="0">
                        <a:latin typeface="Arial" panose="020B0604020202090204" pitchFamily="34" charset="0"/>
                        <a:ea typeface="华文楷体" panose="02010600040101010101" pitchFamily="2" charset="-122"/>
                      </a:rPr>
                      <a:t>Text here</a:t>
                    </a:r>
                    <a:endParaRPr lang="zh-CN" altLang="en-US" sz="1400" b="1" dirty="0">
                      <a:latin typeface="Arial" panose="020B0604020202090204" pitchFamily="34" charset="0"/>
                      <a:ea typeface="华文楷体" panose="02010600040101010101" pitchFamily="2" charset="-122"/>
                    </a:endParaRPr>
                  </a:p>
                </p:txBody>
              </p:sp>
              <p:sp>
                <p:nvSpPr>
                  <p:cNvPr id="12" name="椭圆 11"/>
                  <p:cNvSpPr/>
                  <p:nvPr/>
                </p:nvSpPr>
                <p:spPr>
                  <a:xfrm>
                    <a:off x="8845182" y="2548193"/>
                    <a:ext cx="426442" cy="426442"/>
                  </a:xfrm>
                  <a:prstGeom prst="ellipse">
                    <a:avLst/>
                  </a:prstGeom>
                  <a:solidFill>
                    <a:schemeClr val="tx1">
                      <a:lumMod val="50000"/>
                      <a:lumOff val="50000"/>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altLang="zh-CN" dirty="0">
                        <a:solidFill>
                          <a:schemeClr val="tx1"/>
                        </a:solidFill>
                        <a:latin typeface="Arial" panose="020B0604020202090204" pitchFamily="34" charset="0"/>
                        <a:ea typeface="华文楷体" panose="02010600040101010101" pitchFamily="2" charset="-122"/>
                      </a:rPr>
                      <a:t>01</a:t>
                    </a:r>
                    <a:endParaRPr lang="zh-CN" altLang="en-US" sz="1050" dirty="0">
                      <a:solidFill>
                        <a:schemeClr val="tx1"/>
                      </a:solidFill>
                      <a:latin typeface="Arial" panose="020B0604020202090204" pitchFamily="34" charset="0"/>
                      <a:ea typeface="华文楷体" panose="02010600040101010101" pitchFamily="2" charset="-122"/>
                    </a:endParaRPr>
                  </a:p>
                </p:txBody>
              </p:sp>
              <p:sp>
                <p:nvSpPr>
                  <p:cNvPr id="13" name="文本框 12"/>
                  <p:cNvSpPr txBox="1"/>
                  <p:nvPr/>
                </p:nvSpPr>
                <p:spPr>
                  <a:xfrm>
                    <a:off x="9318569" y="2787291"/>
                    <a:ext cx="3907864" cy="525465"/>
                  </a:xfrm>
                  <a:prstGeom prst="rect">
                    <a:avLst/>
                  </a:prstGeom>
                  <a:noFill/>
                </p:spPr>
                <p:txBody>
                  <a:bodyPr wrap="square" rtlCol="0">
                    <a:spAutoFit/>
                  </a:bodyPr>
                  <a:lstStyle/>
                  <a:p>
                    <a:pPr algn="r">
                      <a:lnSpc>
                        <a:spcPct val="150000"/>
                      </a:lnSpc>
                    </a:pPr>
                    <a:r>
                      <a:rPr kumimoji="1" lang="en-US" altLang="zh-CN" sz="1000" dirty="0">
                        <a:solidFill>
                          <a:schemeClr val="tx1"/>
                        </a:solidFill>
                        <a:latin typeface="Arial" panose="020B0604020202090204" pitchFamily="34" charset="0"/>
                        <a:ea typeface="华文楷体" panose="02010600040101010101" pitchFamily="2" charset="-122"/>
                      </a:rPr>
                      <a:t>Lorem ipsum dolor sit </a:t>
                    </a:r>
                    <a:r>
                      <a:rPr kumimoji="1" lang="en-US" altLang="zh-CN" sz="1000" dirty="0" err="1">
                        <a:solidFill>
                          <a:schemeClr val="tx1"/>
                        </a:solidFill>
                        <a:latin typeface="Arial" panose="020B0604020202090204" pitchFamily="34" charset="0"/>
                        <a:ea typeface="华文楷体" panose="02010600040101010101" pitchFamily="2" charset="-122"/>
                      </a:rPr>
                      <a:t>amet</a:t>
                    </a:r>
                    <a:r>
                      <a:rPr kumimoji="1" lang="en-US" altLang="zh-CN" sz="1000" dirty="0">
                        <a:solidFill>
                          <a:schemeClr val="tx1"/>
                        </a:solidFill>
                        <a:latin typeface="Arial" panose="020B0604020202090204" pitchFamily="34" charset="0"/>
                        <a:ea typeface="华文楷体" panose="02010600040101010101" pitchFamily="2" charset="-122"/>
                      </a:rPr>
                      <a:t>, </a:t>
                    </a:r>
                    <a:r>
                      <a:rPr kumimoji="1" lang="en-US" altLang="zh-CN" sz="1000" dirty="0" err="1">
                        <a:solidFill>
                          <a:schemeClr val="tx1"/>
                        </a:solidFill>
                        <a:latin typeface="Arial" panose="020B0604020202090204" pitchFamily="34" charset="0"/>
                        <a:ea typeface="华文楷体" panose="02010600040101010101" pitchFamily="2" charset="-122"/>
                      </a:rPr>
                      <a:t>consectetueradipiscingelit</a:t>
                    </a:r>
                    <a:r>
                      <a:rPr kumimoji="1" lang="en-US" altLang="zh-CN" sz="1000" dirty="0">
                        <a:solidFill>
                          <a:schemeClr val="tx1"/>
                        </a:solidFill>
                        <a:latin typeface="Arial" panose="020B0604020202090204" pitchFamily="34" charset="0"/>
                        <a:ea typeface="华文楷体" panose="02010600040101010101" pitchFamily="2" charset="-122"/>
                      </a:rPr>
                      <a:t>. Maecenas </a:t>
                    </a:r>
                    <a:r>
                      <a:rPr kumimoji="1" lang="en-US" altLang="zh-CN" sz="1000" dirty="0" err="1">
                        <a:solidFill>
                          <a:schemeClr val="tx1"/>
                        </a:solidFill>
                        <a:latin typeface="Arial" panose="020B0604020202090204" pitchFamily="34" charset="0"/>
                        <a:ea typeface="华文楷体" panose="02010600040101010101" pitchFamily="2" charset="-122"/>
                      </a:rPr>
                      <a:t>porttitorconguemassa</a:t>
                    </a:r>
                    <a:r>
                      <a:rPr kumimoji="1" lang="en-US" altLang="zh-CN" sz="1000" dirty="0">
                        <a:solidFill>
                          <a:schemeClr val="tx1"/>
                        </a:solidFill>
                        <a:latin typeface="Arial" panose="020B0604020202090204" pitchFamily="34" charset="0"/>
                        <a:ea typeface="华文楷体" panose="02010600040101010101" pitchFamily="2" charset="-122"/>
                      </a:rPr>
                      <a:t>. </a:t>
                    </a:r>
                    <a:r>
                      <a:rPr kumimoji="1" lang="en-US" altLang="zh-CN" sz="1000" dirty="0" err="1">
                        <a:solidFill>
                          <a:schemeClr val="tx1"/>
                        </a:solidFill>
                        <a:latin typeface="Arial" panose="020B0604020202090204" pitchFamily="34" charset="0"/>
                        <a:ea typeface="华文楷体" panose="02010600040101010101" pitchFamily="2" charset="-122"/>
                      </a:rPr>
                      <a:t>Fusceposuere</a:t>
                    </a:r>
                    <a:r>
                      <a:rPr kumimoji="1" lang="en-US" altLang="zh-CN" sz="1000" dirty="0">
                        <a:solidFill>
                          <a:schemeClr val="tx1"/>
                        </a:solidFill>
                        <a:latin typeface="Arial" panose="020B0604020202090204" pitchFamily="34" charset="0"/>
                        <a:ea typeface="华文楷体" panose="02010600040101010101" pitchFamily="2" charset="-122"/>
                      </a:rPr>
                      <a:t>, </a:t>
                    </a:r>
                    <a:endParaRPr kumimoji="1" lang="en-US" altLang="zh-CN" sz="1000" dirty="0">
                      <a:solidFill>
                        <a:schemeClr val="tx1"/>
                      </a:solidFill>
                      <a:latin typeface="Arial" panose="020B0604020202090204" pitchFamily="34" charset="0"/>
                      <a:ea typeface="华文楷体" panose="02010600040101010101" pitchFamily="2" charset="-122"/>
                    </a:endParaRPr>
                  </a:p>
                </p:txBody>
              </p:sp>
            </p:grpSp>
            <p:grpSp>
              <p:nvGrpSpPr>
                <p:cNvPr id="7" name="组合 6"/>
                <p:cNvGrpSpPr/>
                <p:nvPr/>
              </p:nvGrpSpPr>
              <p:grpSpPr>
                <a:xfrm flipH="1">
                  <a:off x="368300" y="5204291"/>
                  <a:ext cx="4380953" cy="851989"/>
                  <a:chOff x="8892127" y="5226085"/>
                  <a:chExt cx="4380953" cy="851989"/>
                </a:xfrm>
              </p:grpSpPr>
              <p:sp>
                <p:nvSpPr>
                  <p:cNvPr id="8" name="文本框 7"/>
                  <p:cNvSpPr txBox="1"/>
                  <p:nvPr/>
                </p:nvSpPr>
                <p:spPr>
                  <a:xfrm>
                    <a:off x="9365514" y="5226085"/>
                    <a:ext cx="971142" cy="307777"/>
                  </a:xfrm>
                  <a:prstGeom prst="rect">
                    <a:avLst/>
                  </a:prstGeom>
                  <a:noFill/>
                </p:spPr>
                <p:txBody>
                  <a:bodyPr wrap="square" rtlCol="0">
                    <a:spAutoFit/>
                  </a:bodyPr>
                  <a:lstStyle/>
                  <a:p>
                    <a:r>
                      <a:rPr lang="en-US" altLang="zh-CN" sz="1400" b="1" dirty="0">
                        <a:latin typeface="Arial" panose="020B0604020202090204" pitchFamily="34" charset="0"/>
                        <a:ea typeface="华文楷体" panose="02010600040101010101" pitchFamily="2" charset="-122"/>
                      </a:rPr>
                      <a:t>Text here</a:t>
                    </a:r>
                    <a:endParaRPr lang="zh-CN" altLang="en-US" sz="1400" b="1" dirty="0">
                      <a:latin typeface="Arial" panose="020B0604020202090204" pitchFamily="34" charset="0"/>
                      <a:ea typeface="华文楷体" panose="02010600040101010101" pitchFamily="2" charset="-122"/>
                    </a:endParaRPr>
                  </a:p>
                </p:txBody>
              </p:sp>
              <p:sp>
                <p:nvSpPr>
                  <p:cNvPr id="9" name="椭圆 8"/>
                  <p:cNvSpPr/>
                  <p:nvPr/>
                </p:nvSpPr>
                <p:spPr>
                  <a:xfrm>
                    <a:off x="8892127" y="5295637"/>
                    <a:ext cx="426442" cy="426442"/>
                  </a:xfrm>
                  <a:prstGeom prst="ellipse">
                    <a:avLst/>
                  </a:prstGeom>
                  <a:solidFill>
                    <a:schemeClr val="tx1">
                      <a:lumMod val="50000"/>
                      <a:lumOff val="50000"/>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altLang="zh-CN" dirty="0">
                        <a:solidFill>
                          <a:schemeClr val="tx1"/>
                        </a:solidFill>
                        <a:latin typeface="Arial" panose="020B0604020202090204" pitchFamily="34" charset="0"/>
                        <a:ea typeface="华文楷体" panose="02010600040101010101" pitchFamily="2" charset="-122"/>
                      </a:rPr>
                      <a:t>03</a:t>
                    </a:r>
                    <a:endParaRPr lang="zh-CN" altLang="en-US" dirty="0">
                      <a:solidFill>
                        <a:schemeClr val="tx1"/>
                      </a:solidFill>
                      <a:latin typeface="Arial" panose="020B0604020202090204" pitchFamily="34" charset="0"/>
                      <a:ea typeface="华文楷体" panose="02010600040101010101" pitchFamily="2" charset="-122"/>
                    </a:endParaRPr>
                  </a:p>
                </p:txBody>
              </p:sp>
              <p:sp>
                <p:nvSpPr>
                  <p:cNvPr id="10" name="文本框 9"/>
                  <p:cNvSpPr txBox="1"/>
                  <p:nvPr/>
                </p:nvSpPr>
                <p:spPr>
                  <a:xfrm flipH="1">
                    <a:off x="9365514" y="5552609"/>
                    <a:ext cx="3907566" cy="525465"/>
                  </a:xfrm>
                  <a:prstGeom prst="rect">
                    <a:avLst/>
                  </a:prstGeom>
                  <a:noFill/>
                </p:spPr>
                <p:txBody>
                  <a:bodyPr wrap="square" rtlCol="0">
                    <a:spAutoFit/>
                  </a:bodyPr>
                  <a:lstStyle/>
                  <a:p>
                    <a:pPr algn="r">
                      <a:lnSpc>
                        <a:spcPct val="150000"/>
                      </a:lnSpc>
                    </a:pPr>
                    <a:r>
                      <a:rPr kumimoji="1" lang="en-US" altLang="zh-CN" sz="1000" dirty="0">
                        <a:solidFill>
                          <a:schemeClr val="tx1"/>
                        </a:solidFill>
                        <a:latin typeface="Arial" panose="020B0604020202090204" pitchFamily="34" charset="0"/>
                        <a:ea typeface="华文楷体" panose="02010600040101010101" pitchFamily="2" charset="-122"/>
                      </a:rPr>
                      <a:t>Lorem ipsum dolor sit </a:t>
                    </a:r>
                    <a:r>
                      <a:rPr kumimoji="1" lang="en-US" altLang="zh-CN" sz="1000" dirty="0" err="1">
                        <a:solidFill>
                          <a:schemeClr val="tx1"/>
                        </a:solidFill>
                        <a:latin typeface="Arial" panose="020B0604020202090204" pitchFamily="34" charset="0"/>
                        <a:ea typeface="华文楷体" panose="02010600040101010101" pitchFamily="2" charset="-122"/>
                      </a:rPr>
                      <a:t>amet</a:t>
                    </a:r>
                    <a:r>
                      <a:rPr kumimoji="1" lang="en-US" altLang="zh-CN" sz="1000" dirty="0">
                        <a:solidFill>
                          <a:schemeClr val="tx1"/>
                        </a:solidFill>
                        <a:latin typeface="Arial" panose="020B0604020202090204" pitchFamily="34" charset="0"/>
                        <a:ea typeface="华文楷体" panose="02010600040101010101" pitchFamily="2" charset="-122"/>
                      </a:rPr>
                      <a:t>, </a:t>
                    </a:r>
                    <a:r>
                      <a:rPr kumimoji="1" lang="en-US" altLang="zh-CN" sz="1000" dirty="0" err="1">
                        <a:solidFill>
                          <a:schemeClr val="tx1"/>
                        </a:solidFill>
                        <a:latin typeface="Arial" panose="020B0604020202090204" pitchFamily="34" charset="0"/>
                        <a:ea typeface="华文楷体" panose="02010600040101010101" pitchFamily="2" charset="-122"/>
                      </a:rPr>
                      <a:t>consectetueradipiscingelit</a:t>
                    </a:r>
                    <a:r>
                      <a:rPr kumimoji="1" lang="en-US" altLang="zh-CN" sz="1000" dirty="0">
                        <a:solidFill>
                          <a:schemeClr val="tx1"/>
                        </a:solidFill>
                        <a:latin typeface="Arial" panose="020B0604020202090204" pitchFamily="34" charset="0"/>
                        <a:ea typeface="华文楷体" panose="02010600040101010101" pitchFamily="2" charset="-122"/>
                      </a:rPr>
                      <a:t>. Maecenas </a:t>
                    </a:r>
                    <a:r>
                      <a:rPr kumimoji="1" lang="en-US" altLang="zh-CN" sz="1000" dirty="0" err="1">
                        <a:solidFill>
                          <a:schemeClr val="tx1"/>
                        </a:solidFill>
                        <a:latin typeface="Arial" panose="020B0604020202090204" pitchFamily="34" charset="0"/>
                        <a:ea typeface="华文楷体" panose="02010600040101010101" pitchFamily="2" charset="-122"/>
                      </a:rPr>
                      <a:t>porttitorconguemassa</a:t>
                    </a:r>
                    <a:r>
                      <a:rPr kumimoji="1" lang="en-US" altLang="zh-CN" sz="1000" dirty="0">
                        <a:solidFill>
                          <a:schemeClr val="tx1"/>
                        </a:solidFill>
                        <a:latin typeface="Arial" panose="020B0604020202090204" pitchFamily="34" charset="0"/>
                        <a:ea typeface="华文楷体" panose="02010600040101010101" pitchFamily="2" charset="-122"/>
                      </a:rPr>
                      <a:t>. </a:t>
                    </a:r>
                    <a:r>
                      <a:rPr kumimoji="1" lang="en-US" altLang="zh-CN" sz="1000" dirty="0" err="1">
                        <a:solidFill>
                          <a:schemeClr val="tx1"/>
                        </a:solidFill>
                        <a:latin typeface="Arial" panose="020B0604020202090204" pitchFamily="34" charset="0"/>
                        <a:ea typeface="华文楷体" panose="02010600040101010101" pitchFamily="2" charset="-122"/>
                      </a:rPr>
                      <a:t>Fusceposuere</a:t>
                    </a:r>
                    <a:r>
                      <a:rPr kumimoji="1" lang="en-US" altLang="zh-CN" sz="1000" dirty="0">
                        <a:solidFill>
                          <a:schemeClr val="tx1"/>
                        </a:solidFill>
                        <a:latin typeface="Arial" panose="020B0604020202090204" pitchFamily="34" charset="0"/>
                        <a:ea typeface="华文楷体" panose="02010600040101010101" pitchFamily="2" charset="-122"/>
                      </a:rPr>
                      <a:t>, </a:t>
                    </a:r>
                    <a:endParaRPr kumimoji="1" lang="en-US" altLang="zh-CN" sz="1000" dirty="0">
                      <a:solidFill>
                        <a:schemeClr val="tx1"/>
                      </a:solidFill>
                      <a:latin typeface="Arial" panose="020B0604020202090204" pitchFamily="34" charset="0"/>
                      <a:ea typeface="华文楷体" panose="02010600040101010101" pitchFamily="2" charset="-122"/>
                    </a:endParaRPr>
                  </a:p>
                </p:txBody>
              </p:sp>
            </p:grpSp>
          </p:grpSp>
        </p:grpSp>
      </p:grpSp>
    </p:spTree>
    <p:custDataLst>
      <p:tags r:id="rId1"/>
    </p:custData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919765" y="1723988"/>
            <a:ext cx="10339770" cy="3924762"/>
            <a:chOff x="919765" y="1723988"/>
            <a:chExt cx="10339770" cy="3924762"/>
          </a:xfrm>
        </p:grpSpPr>
        <p:grpSp>
          <p:nvGrpSpPr>
            <p:cNvPr id="90" name="组合 89"/>
            <p:cNvGrpSpPr/>
            <p:nvPr/>
          </p:nvGrpSpPr>
          <p:grpSpPr>
            <a:xfrm>
              <a:off x="7692577" y="1814378"/>
              <a:ext cx="3566958" cy="1307645"/>
              <a:chOff x="7757382" y="3739570"/>
              <a:chExt cx="3566958" cy="1307645"/>
            </a:xfrm>
          </p:grpSpPr>
          <p:sp>
            <p:nvSpPr>
              <p:cNvPr id="25" name="矩形: 圆角 24"/>
              <p:cNvSpPr/>
              <p:nvPr/>
            </p:nvSpPr>
            <p:spPr>
              <a:xfrm>
                <a:off x="7757382" y="3739570"/>
                <a:ext cx="3566958" cy="1307645"/>
              </a:xfrm>
              <a:prstGeom prst="roundRect">
                <a:avLst>
                  <a:gd name="adj" fmla="val 13637"/>
                </a:avLst>
              </a:prstGeom>
              <a:solidFill>
                <a:schemeClr val="accent5">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83" name="组合 82"/>
              <p:cNvGrpSpPr/>
              <p:nvPr/>
            </p:nvGrpSpPr>
            <p:grpSpPr>
              <a:xfrm>
                <a:off x="8119993" y="3940084"/>
                <a:ext cx="2841736" cy="906616"/>
                <a:chOff x="7975258" y="3906303"/>
                <a:chExt cx="2841736" cy="906616"/>
              </a:xfrm>
            </p:grpSpPr>
            <p:sp>
              <p:nvSpPr>
                <p:cNvPr id="27" name="矩形 26"/>
                <p:cNvSpPr/>
                <p:nvPr/>
              </p:nvSpPr>
              <p:spPr>
                <a:xfrm flipH="1">
                  <a:off x="8387597" y="4189415"/>
                  <a:ext cx="2429397" cy="623504"/>
                </a:xfrm>
                <a:prstGeom prst="rect">
                  <a:avLst/>
                </a:prstGeom>
                <a:ln>
                  <a:noFill/>
                </a:ln>
              </p:spPr>
              <p:txBody>
                <a:bodyPr wrap="square" lIns="91440" tIns="45720" rIns="91440" bIns="45720" anchor="t">
                  <a:spAutoFit/>
                </a:bodyPr>
                <a:lstStyle/>
                <a:p>
                  <a:pPr>
                    <a:lnSpc>
                      <a:spcPct val="150000"/>
                    </a:lnSpc>
                  </a:pPr>
                  <a:r>
                    <a:rPr lang="en-US" altLang="zh-CN" sz="800" dirty="0">
                      <a:latin typeface="Arial" panose="020B0604020202090204" pitchFamily="34" charset="0"/>
                      <a:ea typeface="华文楷体" panose="02010600040101010101" pitchFamily="2" charset="-122"/>
                    </a:rPr>
                    <a:t>Choose the only option to retain text Adjust the spacing to adapt to Chinese typesetting</a:t>
                  </a:r>
                  <a:r>
                    <a:rPr lang="zh-CN" altLang="en-US" sz="800" dirty="0">
                      <a:latin typeface="Arial" panose="020B0604020202090204" pitchFamily="34" charset="0"/>
                      <a:ea typeface="华文楷体" panose="02010600040101010101" pitchFamily="2" charset="-122"/>
                    </a:rPr>
                    <a:t> </a:t>
                  </a:r>
                  <a:r>
                    <a:rPr lang="en-US" altLang="zh-CN" sz="800" dirty="0">
                      <a:latin typeface="Arial" panose="020B0604020202090204" pitchFamily="34" charset="0"/>
                      <a:ea typeface="华文楷体" panose="02010600040101010101" pitchFamily="2" charset="-122"/>
                    </a:rPr>
                    <a:t>Adjust the spacing to adapt to Chinese typesetting, </a:t>
                  </a:r>
                  <a:endParaRPr kumimoji="0" lang="en-US" altLang="zh-CN" sz="800" b="0" i="0" u="none" strike="noStrike" kern="1200" cap="none" spc="0" normalizeH="0" baseline="0" noProof="0" dirty="0">
                    <a:ln>
                      <a:noFill/>
                    </a:ln>
                    <a:effectLst/>
                    <a:uLnTx/>
                    <a:uFillTx/>
                    <a:latin typeface="Arial" panose="020B0604020202090204" pitchFamily="34" charset="0"/>
                    <a:ea typeface="华文楷体" panose="02010600040101010101" pitchFamily="2" charset="-122"/>
                  </a:endParaRPr>
                </a:p>
              </p:txBody>
            </p:sp>
            <p:sp>
              <p:nvSpPr>
                <p:cNvPr id="28" name="文本框 27"/>
                <p:cNvSpPr txBox="1"/>
                <p:nvPr/>
              </p:nvSpPr>
              <p:spPr>
                <a:xfrm>
                  <a:off x="8387597" y="3938267"/>
                  <a:ext cx="2429397" cy="369332"/>
                </a:xfrm>
                <a:prstGeom prst="rect">
                  <a:avLst/>
                </a:prstGeom>
                <a:noFill/>
                <a:ln>
                  <a:noFill/>
                </a:ln>
              </p:spPr>
              <p:txBody>
                <a:bodyPr wrap="square" lIns="91440" tIns="45720" rIns="91440" bIns="45720" anchor="ctr" anchorCtr="0">
                  <a:spAutoFit/>
                </a:bodyPr>
                <a:lstStyle/>
                <a:p>
                  <a:pPr>
                    <a:buSzPct val="25000"/>
                  </a:pPr>
                  <a:r>
                    <a:rPr lang="en-US" altLang="zh-CN" b="1" dirty="0">
                      <a:latin typeface="Arial" panose="020B0604020202090204" pitchFamily="34" charset="0"/>
                      <a:ea typeface="华文楷体" panose="02010600040101010101" pitchFamily="2" charset="-122"/>
                    </a:rPr>
                    <a:t>Text here</a:t>
                  </a:r>
                  <a:endParaRPr lang="en-US" altLang="zh-CN" b="1" dirty="0">
                    <a:latin typeface="Arial" panose="020B0604020202090204" pitchFamily="34" charset="0"/>
                    <a:ea typeface="华文楷体" panose="02010600040101010101" pitchFamily="2" charset="-122"/>
                  </a:endParaRPr>
                </a:p>
              </p:txBody>
            </p:sp>
            <p:grpSp>
              <p:nvGrpSpPr>
                <p:cNvPr id="29" name="组合 28"/>
                <p:cNvGrpSpPr/>
                <p:nvPr/>
              </p:nvGrpSpPr>
              <p:grpSpPr>
                <a:xfrm>
                  <a:off x="7975258" y="3906303"/>
                  <a:ext cx="412337" cy="410198"/>
                  <a:chOff x="6269788" y="247125"/>
                  <a:chExt cx="410200" cy="410198"/>
                </a:xfrm>
              </p:grpSpPr>
              <p:sp>
                <p:nvSpPr>
                  <p:cNvPr id="30" name="矩形: 圆角 29"/>
                  <p:cNvSpPr/>
                  <p:nvPr/>
                </p:nvSpPr>
                <p:spPr>
                  <a:xfrm>
                    <a:off x="6269788" y="247125"/>
                    <a:ext cx="410200" cy="410198"/>
                  </a:xfrm>
                  <a:prstGeom prst="roundRect">
                    <a:avLst/>
                  </a:prstGeom>
                  <a:gradFill>
                    <a:gsLst>
                      <a:gs pos="0">
                        <a:schemeClr val="accent5">
                          <a:lumMod val="60000"/>
                          <a:lumOff val="40000"/>
                        </a:schemeClr>
                      </a:gs>
                      <a:gs pos="60000">
                        <a:schemeClr val="accent5"/>
                      </a:gs>
                    </a:gsLst>
                    <a:lin ang="2700000" scaled="0"/>
                  </a:gradFill>
                  <a:ln w="57150" cap="rnd">
                    <a:noFill/>
                    <a:prstDash val="solid"/>
                    <a:round/>
                  </a:ln>
                  <a:effectLst>
                    <a:outerShdw blurRad="76200" dist="50800" dir="5400000" algn="ctr" rotWithShape="0">
                      <a:schemeClr val="accent5">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92500" lnSpcReduction="1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3765"/>
                    <a:endParaRPr lang="zh-CN" altLang="en-US" sz="2000" b="1" dirty="0">
                      <a:solidFill>
                        <a:schemeClr val="bg1"/>
                      </a:solidFill>
                    </a:endParaRPr>
                  </a:p>
                </p:txBody>
              </p:sp>
              <p:sp>
                <p:nvSpPr>
                  <p:cNvPr id="31" name="任意多边形: 形状 30"/>
                  <p:cNvSpPr/>
                  <p:nvPr/>
                </p:nvSpPr>
                <p:spPr>
                  <a:xfrm>
                    <a:off x="6385888" y="387703"/>
                    <a:ext cx="178001" cy="141741"/>
                  </a:xfrm>
                  <a:custGeom>
                    <a:avLst/>
                    <a:gdLst>
                      <a:gd name="connsiteX0" fmla="*/ 486767 w 514350"/>
                      <a:gd name="connsiteY0" fmla="*/ 621 h 409575"/>
                      <a:gd name="connsiteX1" fmla="*/ 515342 w 514350"/>
                      <a:gd name="connsiteY1" fmla="*/ 29196 h 409575"/>
                      <a:gd name="connsiteX2" fmla="*/ 515342 w 514350"/>
                      <a:gd name="connsiteY2" fmla="*/ 324471 h 409575"/>
                      <a:gd name="connsiteX3" fmla="*/ 486767 w 514350"/>
                      <a:gd name="connsiteY3" fmla="*/ 353046 h 409575"/>
                      <a:gd name="connsiteX4" fmla="*/ 192159 w 514350"/>
                      <a:gd name="connsiteY4" fmla="*/ 353046 h 409575"/>
                      <a:gd name="connsiteX5" fmla="*/ 115387 w 514350"/>
                      <a:gd name="connsiteY5" fmla="*/ 410196 h 409575"/>
                      <a:gd name="connsiteX6" fmla="*/ 115387 w 514350"/>
                      <a:gd name="connsiteY6" fmla="*/ 353046 h 409575"/>
                      <a:gd name="connsiteX7" fmla="*/ 29567 w 514350"/>
                      <a:gd name="connsiteY7" fmla="*/ 353046 h 409575"/>
                      <a:gd name="connsiteX8" fmla="*/ 992 w 514350"/>
                      <a:gd name="connsiteY8" fmla="*/ 324471 h 409575"/>
                      <a:gd name="connsiteX9" fmla="*/ 992 w 514350"/>
                      <a:gd name="connsiteY9" fmla="*/ 29196 h 409575"/>
                      <a:gd name="connsiteX10" fmla="*/ 29567 w 514350"/>
                      <a:gd name="connsiteY10" fmla="*/ 621 h 409575"/>
                      <a:gd name="connsiteX11" fmla="*/ 486767 w 514350"/>
                      <a:gd name="connsiteY11" fmla="*/ 621 h 409575"/>
                      <a:gd name="connsiteX12" fmla="*/ 124817 w 514350"/>
                      <a:gd name="connsiteY12" fmla="*/ 143496 h 409575"/>
                      <a:gd name="connsiteX13" fmla="*/ 91480 w 514350"/>
                      <a:gd name="connsiteY13" fmla="*/ 176834 h 409575"/>
                      <a:gd name="connsiteX14" fmla="*/ 124817 w 514350"/>
                      <a:gd name="connsiteY14" fmla="*/ 210171 h 409575"/>
                      <a:gd name="connsiteX15" fmla="*/ 158155 w 514350"/>
                      <a:gd name="connsiteY15" fmla="*/ 176834 h 409575"/>
                      <a:gd name="connsiteX16" fmla="*/ 124817 w 514350"/>
                      <a:gd name="connsiteY16" fmla="*/ 143496 h 409575"/>
                      <a:gd name="connsiteX17" fmla="*/ 258167 w 514350"/>
                      <a:gd name="connsiteY17" fmla="*/ 143496 h 409575"/>
                      <a:gd name="connsiteX18" fmla="*/ 224830 w 514350"/>
                      <a:gd name="connsiteY18" fmla="*/ 176834 h 409575"/>
                      <a:gd name="connsiteX19" fmla="*/ 258167 w 514350"/>
                      <a:gd name="connsiteY19" fmla="*/ 210171 h 409575"/>
                      <a:gd name="connsiteX20" fmla="*/ 291505 w 514350"/>
                      <a:gd name="connsiteY20" fmla="*/ 176834 h 409575"/>
                      <a:gd name="connsiteX21" fmla="*/ 258167 w 514350"/>
                      <a:gd name="connsiteY21" fmla="*/ 143496 h 409575"/>
                      <a:gd name="connsiteX22" fmla="*/ 391517 w 514350"/>
                      <a:gd name="connsiteY22" fmla="*/ 143496 h 409575"/>
                      <a:gd name="connsiteX23" fmla="*/ 358180 w 514350"/>
                      <a:gd name="connsiteY23" fmla="*/ 176834 h 409575"/>
                      <a:gd name="connsiteX24" fmla="*/ 391517 w 514350"/>
                      <a:gd name="connsiteY24" fmla="*/ 210171 h 409575"/>
                      <a:gd name="connsiteX25" fmla="*/ 424855 w 514350"/>
                      <a:gd name="connsiteY25" fmla="*/ 176834 h 409575"/>
                      <a:gd name="connsiteX26" fmla="*/ 391517 w 514350"/>
                      <a:gd name="connsiteY26" fmla="*/ 143496 h 409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14350" h="409575">
                        <a:moveTo>
                          <a:pt x="486767" y="621"/>
                        </a:moveTo>
                        <a:cubicBezTo>
                          <a:pt x="502579" y="621"/>
                          <a:pt x="515342" y="13385"/>
                          <a:pt x="515342" y="29196"/>
                        </a:cubicBezTo>
                        <a:lnTo>
                          <a:pt x="515342" y="324471"/>
                        </a:lnTo>
                        <a:cubicBezTo>
                          <a:pt x="515342" y="340282"/>
                          <a:pt x="502579" y="353046"/>
                          <a:pt x="486767" y="353046"/>
                        </a:cubicBezTo>
                        <a:lnTo>
                          <a:pt x="192159" y="353046"/>
                        </a:lnTo>
                        <a:lnTo>
                          <a:pt x="115387" y="410196"/>
                        </a:lnTo>
                        <a:lnTo>
                          <a:pt x="115387" y="353046"/>
                        </a:lnTo>
                        <a:lnTo>
                          <a:pt x="29567" y="353046"/>
                        </a:lnTo>
                        <a:cubicBezTo>
                          <a:pt x="13755" y="353046"/>
                          <a:pt x="992" y="340282"/>
                          <a:pt x="992" y="324471"/>
                        </a:cubicBezTo>
                        <a:lnTo>
                          <a:pt x="992" y="29196"/>
                        </a:lnTo>
                        <a:cubicBezTo>
                          <a:pt x="992" y="13385"/>
                          <a:pt x="13755" y="621"/>
                          <a:pt x="29567" y="621"/>
                        </a:cubicBezTo>
                        <a:lnTo>
                          <a:pt x="486767" y="621"/>
                        </a:lnTo>
                        <a:close/>
                        <a:moveTo>
                          <a:pt x="124817" y="143496"/>
                        </a:moveTo>
                        <a:cubicBezTo>
                          <a:pt x="106434" y="143496"/>
                          <a:pt x="91480" y="158450"/>
                          <a:pt x="91480" y="176834"/>
                        </a:cubicBezTo>
                        <a:cubicBezTo>
                          <a:pt x="91480" y="195217"/>
                          <a:pt x="106434" y="210171"/>
                          <a:pt x="124817" y="210171"/>
                        </a:cubicBezTo>
                        <a:cubicBezTo>
                          <a:pt x="143200" y="210171"/>
                          <a:pt x="158155" y="195217"/>
                          <a:pt x="158155" y="176834"/>
                        </a:cubicBezTo>
                        <a:cubicBezTo>
                          <a:pt x="158155" y="158450"/>
                          <a:pt x="143200" y="143496"/>
                          <a:pt x="124817" y="143496"/>
                        </a:cubicBezTo>
                        <a:close/>
                        <a:moveTo>
                          <a:pt x="258167" y="143496"/>
                        </a:moveTo>
                        <a:cubicBezTo>
                          <a:pt x="239784" y="143496"/>
                          <a:pt x="224830" y="158450"/>
                          <a:pt x="224830" y="176834"/>
                        </a:cubicBezTo>
                        <a:cubicBezTo>
                          <a:pt x="224830" y="195217"/>
                          <a:pt x="239784" y="210171"/>
                          <a:pt x="258167" y="210171"/>
                        </a:cubicBezTo>
                        <a:cubicBezTo>
                          <a:pt x="276550" y="210171"/>
                          <a:pt x="291505" y="195217"/>
                          <a:pt x="291505" y="176834"/>
                        </a:cubicBezTo>
                        <a:cubicBezTo>
                          <a:pt x="291505" y="158450"/>
                          <a:pt x="276550" y="143496"/>
                          <a:pt x="258167" y="143496"/>
                        </a:cubicBezTo>
                        <a:close/>
                        <a:moveTo>
                          <a:pt x="391517" y="143496"/>
                        </a:moveTo>
                        <a:cubicBezTo>
                          <a:pt x="373134" y="143496"/>
                          <a:pt x="358180" y="158450"/>
                          <a:pt x="358180" y="176834"/>
                        </a:cubicBezTo>
                        <a:cubicBezTo>
                          <a:pt x="358180" y="195217"/>
                          <a:pt x="373134" y="210171"/>
                          <a:pt x="391517" y="210171"/>
                        </a:cubicBezTo>
                        <a:cubicBezTo>
                          <a:pt x="409900" y="210171"/>
                          <a:pt x="424855" y="195217"/>
                          <a:pt x="424855" y="176834"/>
                        </a:cubicBezTo>
                        <a:cubicBezTo>
                          <a:pt x="424855" y="158450"/>
                          <a:pt x="409900" y="143496"/>
                          <a:pt x="391517" y="143496"/>
                        </a:cubicBezTo>
                        <a:close/>
                      </a:path>
                    </a:pathLst>
                  </a:custGeom>
                  <a:solidFill>
                    <a:srgbClr val="FFFFFF"/>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2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endParaRPr>
                  </a:p>
                </p:txBody>
              </p:sp>
            </p:grpSp>
          </p:grpSp>
        </p:grpSp>
        <p:grpSp>
          <p:nvGrpSpPr>
            <p:cNvPr id="87" name="组合 86"/>
            <p:cNvGrpSpPr/>
            <p:nvPr/>
          </p:nvGrpSpPr>
          <p:grpSpPr>
            <a:xfrm>
              <a:off x="919765" y="1814378"/>
              <a:ext cx="3566958" cy="1307645"/>
              <a:chOff x="663284" y="2068074"/>
              <a:chExt cx="3566958" cy="1307645"/>
            </a:xfrm>
          </p:grpSpPr>
          <p:sp>
            <p:nvSpPr>
              <p:cNvPr id="48" name="矩形: 圆角 47"/>
              <p:cNvSpPr/>
              <p:nvPr/>
            </p:nvSpPr>
            <p:spPr>
              <a:xfrm>
                <a:off x="663284" y="2068074"/>
                <a:ext cx="3566958" cy="1307645"/>
              </a:xfrm>
              <a:prstGeom prst="roundRect">
                <a:avLst>
                  <a:gd name="adj" fmla="val 13637"/>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85" name="组合 84"/>
              <p:cNvGrpSpPr/>
              <p:nvPr/>
            </p:nvGrpSpPr>
            <p:grpSpPr>
              <a:xfrm>
                <a:off x="1012298" y="2268588"/>
                <a:ext cx="2868930" cy="906616"/>
                <a:chOff x="881160" y="2234807"/>
                <a:chExt cx="2868930" cy="906616"/>
              </a:xfrm>
            </p:grpSpPr>
            <p:sp>
              <p:nvSpPr>
                <p:cNvPr id="54" name="矩形 53"/>
                <p:cNvSpPr/>
                <p:nvPr/>
              </p:nvSpPr>
              <p:spPr>
                <a:xfrm flipH="1">
                  <a:off x="1320693" y="2517919"/>
                  <a:ext cx="2429397" cy="623504"/>
                </a:xfrm>
                <a:prstGeom prst="rect">
                  <a:avLst/>
                </a:prstGeom>
                <a:ln>
                  <a:noFill/>
                </a:ln>
              </p:spPr>
              <p:txBody>
                <a:bodyPr wrap="square" lIns="91440" tIns="45720" rIns="91440" bIns="45720" anchor="t">
                  <a:spAutoFit/>
                </a:bodyPr>
                <a:lstStyle/>
                <a:p>
                  <a:pPr>
                    <a:lnSpc>
                      <a:spcPct val="150000"/>
                    </a:lnSpc>
                  </a:pPr>
                  <a:r>
                    <a:rPr lang="en-US" altLang="zh-CN" sz="800" dirty="0">
                      <a:latin typeface="Arial" panose="020B0604020202090204" pitchFamily="34" charset="0"/>
                      <a:ea typeface="华文楷体" panose="02010600040101010101" pitchFamily="2" charset="-122"/>
                    </a:rPr>
                    <a:t>Choose the only option to retain text Adjust the spacing to adapt to Chinese typesetting</a:t>
                  </a:r>
                  <a:r>
                    <a:rPr lang="zh-CN" altLang="en-US" sz="800" dirty="0">
                      <a:latin typeface="Arial" panose="020B0604020202090204" pitchFamily="34" charset="0"/>
                      <a:ea typeface="华文楷体" panose="02010600040101010101" pitchFamily="2" charset="-122"/>
                    </a:rPr>
                    <a:t> </a:t>
                  </a:r>
                  <a:r>
                    <a:rPr lang="en-US" altLang="zh-CN" sz="800" dirty="0">
                      <a:latin typeface="Arial" panose="020B0604020202090204" pitchFamily="34" charset="0"/>
                      <a:ea typeface="华文楷体" panose="02010600040101010101" pitchFamily="2" charset="-122"/>
                    </a:rPr>
                    <a:t>Adjust the spacing to adapt to Chinese typesetting, </a:t>
                  </a:r>
                  <a:endParaRPr kumimoji="0" lang="en-US" altLang="zh-CN" sz="800" b="0" i="0" u="none" strike="noStrike" kern="1200" cap="none" spc="0" normalizeH="0" baseline="0" noProof="0" dirty="0">
                    <a:ln>
                      <a:noFill/>
                    </a:ln>
                    <a:effectLst/>
                    <a:uLnTx/>
                    <a:uFillTx/>
                    <a:latin typeface="Arial" panose="020B0604020202090204" pitchFamily="34" charset="0"/>
                    <a:ea typeface="华文楷体" panose="02010600040101010101" pitchFamily="2" charset="-122"/>
                  </a:endParaRPr>
                </a:p>
              </p:txBody>
            </p:sp>
            <p:sp>
              <p:nvSpPr>
                <p:cNvPr id="55" name="文本框 54"/>
                <p:cNvSpPr txBox="1"/>
                <p:nvPr/>
              </p:nvSpPr>
              <p:spPr>
                <a:xfrm>
                  <a:off x="1320693" y="2266771"/>
                  <a:ext cx="2429397" cy="369332"/>
                </a:xfrm>
                <a:prstGeom prst="rect">
                  <a:avLst/>
                </a:prstGeom>
                <a:noFill/>
                <a:ln>
                  <a:noFill/>
                </a:ln>
              </p:spPr>
              <p:txBody>
                <a:bodyPr wrap="square" lIns="91440" tIns="45720" rIns="91440" bIns="45720" anchor="ctr" anchorCtr="0">
                  <a:spAutoFit/>
                </a:bodyPr>
                <a:lstStyle/>
                <a:p>
                  <a:pPr>
                    <a:buSzPct val="25000"/>
                  </a:pPr>
                  <a:r>
                    <a:rPr lang="en-US" altLang="zh-CN" b="1" dirty="0">
                      <a:latin typeface="Arial" panose="020B0604020202090204" pitchFamily="34" charset="0"/>
                      <a:ea typeface="华文楷体" panose="02010600040101010101" pitchFamily="2" charset="-122"/>
                    </a:rPr>
                    <a:t>Text here</a:t>
                  </a:r>
                  <a:endParaRPr lang="en-US" altLang="zh-CN" b="1" dirty="0">
                    <a:latin typeface="Arial" panose="020B0604020202090204" pitchFamily="34" charset="0"/>
                    <a:ea typeface="华文楷体" panose="02010600040101010101" pitchFamily="2" charset="-122"/>
                  </a:endParaRPr>
                </a:p>
              </p:txBody>
            </p:sp>
            <p:grpSp>
              <p:nvGrpSpPr>
                <p:cNvPr id="77" name="组合 76"/>
                <p:cNvGrpSpPr/>
                <p:nvPr/>
              </p:nvGrpSpPr>
              <p:grpSpPr>
                <a:xfrm>
                  <a:off x="881160" y="2234807"/>
                  <a:ext cx="412337" cy="410198"/>
                  <a:chOff x="881160" y="2234807"/>
                  <a:chExt cx="412337" cy="410198"/>
                </a:xfrm>
              </p:grpSpPr>
              <p:sp>
                <p:nvSpPr>
                  <p:cNvPr id="58" name="矩形: 圆角 57"/>
                  <p:cNvSpPr/>
                  <p:nvPr/>
                </p:nvSpPr>
                <p:spPr>
                  <a:xfrm>
                    <a:off x="881160" y="2234807"/>
                    <a:ext cx="412337" cy="410198"/>
                  </a:xfrm>
                  <a:prstGeom prst="roundRect">
                    <a:avLst/>
                  </a:prstGeom>
                  <a:gradFill>
                    <a:gsLst>
                      <a:gs pos="0">
                        <a:schemeClr val="accent2">
                          <a:lumMod val="60000"/>
                          <a:lumOff val="40000"/>
                        </a:schemeClr>
                      </a:gs>
                      <a:gs pos="60000">
                        <a:schemeClr val="accent2"/>
                      </a:gs>
                    </a:gsLst>
                    <a:lin ang="2700000" scaled="0"/>
                  </a:gradFill>
                  <a:ln w="57150" cap="rnd">
                    <a:noFill/>
                    <a:prstDash val="solid"/>
                    <a:round/>
                  </a:ln>
                  <a:effectLst>
                    <a:outerShdw blurRad="76200" dist="50800" dir="5400000" algn="ctr" rotWithShape="0">
                      <a:schemeClr val="accent2">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92500" lnSpcReduction="1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3765"/>
                    <a:endParaRPr lang="zh-CN" altLang="en-US" sz="2000" b="1" dirty="0">
                      <a:solidFill>
                        <a:schemeClr val="bg1"/>
                      </a:solidFill>
                    </a:endParaRPr>
                  </a:p>
                </p:txBody>
              </p:sp>
              <p:sp>
                <p:nvSpPr>
                  <p:cNvPr id="59" name="任意多边形: 形状 58"/>
                  <p:cNvSpPr/>
                  <p:nvPr/>
                </p:nvSpPr>
                <p:spPr>
                  <a:xfrm>
                    <a:off x="1005713" y="2357255"/>
                    <a:ext cx="163232" cy="178001"/>
                  </a:xfrm>
                  <a:custGeom>
                    <a:avLst/>
                    <a:gdLst>
                      <a:gd name="connsiteX0" fmla="*/ 248770 w 495300"/>
                      <a:gd name="connsiteY0" fmla="*/ 621 h 542925"/>
                      <a:gd name="connsiteX1" fmla="*/ 496420 w 495300"/>
                      <a:gd name="connsiteY1" fmla="*/ 248271 h 542925"/>
                      <a:gd name="connsiteX2" fmla="*/ 323827 w 495300"/>
                      <a:gd name="connsiteY2" fmla="*/ 484396 h 542925"/>
                      <a:gd name="connsiteX3" fmla="*/ 346973 w 495300"/>
                      <a:gd name="connsiteY3" fmla="*/ 524496 h 542925"/>
                      <a:gd name="connsiteX4" fmla="*/ 420220 w 495300"/>
                      <a:gd name="connsiteY4" fmla="*/ 524496 h 542925"/>
                      <a:gd name="connsiteX5" fmla="*/ 420220 w 495300"/>
                      <a:gd name="connsiteY5" fmla="*/ 543546 h 542925"/>
                      <a:gd name="connsiteX6" fmla="*/ 77320 w 495300"/>
                      <a:gd name="connsiteY6" fmla="*/ 543546 h 542925"/>
                      <a:gd name="connsiteX7" fmla="*/ 77320 w 495300"/>
                      <a:gd name="connsiteY7" fmla="*/ 524496 h 542925"/>
                      <a:gd name="connsiteX8" fmla="*/ 150567 w 495300"/>
                      <a:gd name="connsiteY8" fmla="*/ 524496 h 542925"/>
                      <a:gd name="connsiteX9" fmla="*/ 173713 w 495300"/>
                      <a:gd name="connsiteY9" fmla="*/ 484396 h 542925"/>
                      <a:gd name="connsiteX10" fmla="*/ 1120 w 495300"/>
                      <a:gd name="connsiteY10" fmla="*/ 248271 h 542925"/>
                      <a:gd name="connsiteX11" fmla="*/ 248770 w 495300"/>
                      <a:gd name="connsiteY11" fmla="*/ 621 h 542925"/>
                      <a:gd name="connsiteX12" fmla="*/ 192763 w 495300"/>
                      <a:gd name="connsiteY12" fmla="*/ 489539 h 542925"/>
                      <a:gd name="connsiteX13" fmla="*/ 172570 w 495300"/>
                      <a:gd name="connsiteY13" fmla="*/ 524496 h 542925"/>
                      <a:gd name="connsiteX14" fmla="*/ 324970 w 495300"/>
                      <a:gd name="connsiteY14" fmla="*/ 524496 h 542925"/>
                      <a:gd name="connsiteX15" fmla="*/ 304777 w 495300"/>
                      <a:gd name="connsiteY15" fmla="*/ 489539 h 542925"/>
                      <a:gd name="connsiteX16" fmla="*/ 248770 w 495300"/>
                      <a:gd name="connsiteY16" fmla="*/ 495921 h 542925"/>
                      <a:gd name="connsiteX17" fmla="*/ 192763 w 495300"/>
                      <a:gd name="connsiteY17" fmla="*/ 489539 h 542925"/>
                      <a:gd name="connsiteX18" fmla="*/ 248770 w 495300"/>
                      <a:gd name="connsiteY18" fmla="*/ 143496 h 542925"/>
                      <a:gd name="connsiteX19" fmla="*/ 143995 w 495300"/>
                      <a:gd name="connsiteY19" fmla="*/ 248271 h 542925"/>
                      <a:gd name="connsiteX20" fmla="*/ 248770 w 495300"/>
                      <a:gd name="connsiteY20" fmla="*/ 353046 h 542925"/>
                      <a:gd name="connsiteX21" fmla="*/ 353545 w 495300"/>
                      <a:gd name="connsiteY21" fmla="*/ 248271 h 542925"/>
                      <a:gd name="connsiteX22" fmla="*/ 248770 w 495300"/>
                      <a:gd name="connsiteY22" fmla="*/ 143496 h 542925"/>
                      <a:gd name="connsiteX23" fmla="*/ 367833 w 495300"/>
                      <a:gd name="connsiteY23" fmla="*/ 114921 h 542925"/>
                      <a:gd name="connsiteX24" fmla="*/ 353545 w 495300"/>
                      <a:gd name="connsiteY24" fmla="*/ 129209 h 542925"/>
                      <a:gd name="connsiteX25" fmla="*/ 367833 w 495300"/>
                      <a:gd name="connsiteY25" fmla="*/ 143496 h 542925"/>
                      <a:gd name="connsiteX26" fmla="*/ 382120 w 495300"/>
                      <a:gd name="connsiteY26" fmla="*/ 129209 h 542925"/>
                      <a:gd name="connsiteX27" fmla="*/ 367833 w 495300"/>
                      <a:gd name="connsiteY27" fmla="*/ 114921 h 54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95300" h="542925">
                        <a:moveTo>
                          <a:pt x="248770" y="621"/>
                        </a:moveTo>
                        <a:cubicBezTo>
                          <a:pt x="385549" y="621"/>
                          <a:pt x="496420" y="111492"/>
                          <a:pt x="496420" y="248271"/>
                        </a:cubicBezTo>
                        <a:cubicBezTo>
                          <a:pt x="496420" y="358856"/>
                          <a:pt x="423935" y="452582"/>
                          <a:pt x="323827" y="484396"/>
                        </a:cubicBezTo>
                        <a:lnTo>
                          <a:pt x="346973" y="524496"/>
                        </a:lnTo>
                        <a:lnTo>
                          <a:pt x="420220" y="524496"/>
                        </a:lnTo>
                        <a:lnTo>
                          <a:pt x="420220" y="543546"/>
                        </a:lnTo>
                        <a:lnTo>
                          <a:pt x="77320" y="543546"/>
                        </a:lnTo>
                        <a:lnTo>
                          <a:pt x="77320" y="524496"/>
                        </a:lnTo>
                        <a:lnTo>
                          <a:pt x="150567" y="524496"/>
                        </a:lnTo>
                        <a:lnTo>
                          <a:pt x="173713" y="484396"/>
                        </a:lnTo>
                        <a:cubicBezTo>
                          <a:pt x="73605" y="452582"/>
                          <a:pt x="1120" y="358856"/>
                          <a:pt x="1120" y="248271"/>
                        </a:cubicBezTo>
                        <a:cubicBezTo>
                          <a:pt x="1120" y="111492"/>
                          <a:pt x="111991" y="621"/>
                          <a:pt x="248770" y="621"/>
                        </a:cubicBezTo>
                        <a:close/>
                        <a:moveTo>
                          <a:pt x="192763" y="489539"/>
                        </a:moveTo>
                        <a:lnTo>
                          <a:pt x="172570" y="524496"/>
                        </a:lnTo>
                        <a:lnTo>
                          <a:pt x="324970" y="524496"/>
                        </a:lnTo>
                        <a:lnTo>
                          <a:pt x="304777" y="489539"/>
                        </a:lnTo>
                        <a:cubicBezTo>
                          <a:pt x="286775" y="493730"/>
                          <a:pt x="268010" y="495921"/>
                          <a:pt x="248770" y="495921"/>
                        </a:cubicBezTo>
                        <a:cubicBezTo>
                          <a:pt x="229530" y="495921"/>
                          <a:pt x="210765" y="493730"/>
                          <a:pt x="192763" y="489539"/>
                        </a:cubicBezTo>
                        <a:close/>
                        <a:moveTo>
                          <a:pt x="248770" y="143496"/>
                        </a:moveTo>
                        <a:cubicBezTo>
                          <a:pt x="190858" y="143496"/>
                          <a:pt x="143995" y="190359"/>
                          <a:pt x="143995" y="248271"/>
                        </a:cubicBezTo>
                        <a:cubicBezTo>
                          <a:pt x="143995" y="306183"/>
                          <a:pt x="190858" y="353046"/>
                          <a:pt x="248770" y="353046"/>
                        </a:cubicBezTo>
                        <a:cubicBezTo>
                          <a:pt x="306682" y="353046"/>
                          <a:pt x="353545" y="306183"/>
                          <a:pt x="353545" y="248271"/>
                        </a:cubicBezTo>
                        <a:cubicBezTo>
                          <a:pt x="353545" y="190359"/>
                          <a:pt x="306682" y="143496"/>
                          <a:pt x="248770" y="143496"/>
                        </a:cubicBezTo>
                        <a:close/>
                        <a:moveTo>
                          <a:pt x="367833" y="114921"/>
                        </a:moveTo>
                        <a:cubicBezTo>
                          <a:pt x="359927" y="114921"/>
                          <a:pt x="353545" y="121303"/>
                          <a:pt x="353545" y="129209"/>
                        </a:cubicBezTo>
                        <a:cubicBezTo>
                          <a:pt x="353545" y="137114"/>
                          <a:pt x="359927" y="143496"/>
                          <a:pt x="367833" y="143496"/>
                        </a:cubicBezTo>
                        <a:cubicBezTo>
                          <a:pt x="375738" y="143496"/>
                          <a:pt x="382120" y="137114"/>
                          <a:pt x="382120" y="129209"/>
                        </a:cubicBezTo>
                        <a:cubicBezTo>
                          <a:pt x="382120" y="121303"/>
                          <a:pt x="375738" y="114921"/>
                          <a:pt x="367833" y="114921"/>
                        </a:cubicBezTo>
                        <a:close/>
                      </a:path>
                    </a:pathLst>
                  </a:custGeom>
                  <a:solidFill>
                    <a:srgbClr val="FFFFFF"/>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325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endParaRPr>
                  </a:p>
                </p:txBody>
              </p:sp>
            </p:grpSp>
          </p:grpSp>
        </p:grpSp>
        <p:grpSp>
          <p:nvGrpSpPr>
            <p:cNvPr id="89" name="组合 88"/>
            <p:cNvGrpSpPr/>
            <p:nvPr/>
          </p:nvGrpSpPr>
          <p:grpSpPr>
            <a:xfrm>
              <a:off x="7692577" y="4142377"/>
              <a:ext cx="3566958" cy="1307645"/>
              <a:chOff x="7757382" y="2482718"/>
              <a:chExt cx="3566958" cy="1307645"/>
            </a:xfrm>
          </p:grpSpPr>
          <p:sp>
            <p:nvSpPr>
              <p:cNvPr id="39" name="矩形: 圆角 38"/>
              <p:cNvSpPr/>
              <p:nvPr/>
            </p:nvSpPr>
            <p:spPr>
              <a:xfrm>
                <a:off x="7757382" y="2482718"/>
                <a:ext cx="3566958" cy="1307645"/>
              </a:xfrm>
              <a:prstGeom prst="roundRect">
                <a:avLst>
                  <a:gd name="adj" fmla="val 13637"/>
                </a:avLst>
              </a:prstGeom>
              <a:solidFill>
                <a:schemeClr val="accent6">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86" name="组合 85"/>
              <p:cNvGrpSpPr/>
              <p:nvPr/>
            </p:nvGrpSpPr>
            <p:grpSpPr>
              <a:xfrm>
                <a:off x="8119994" y="2683232"/>
                <a:ext cx="2841735" cy="906616"/>
                <a:chOff x="7975259" y="2649451"/>
                <a:chExt cx="2841735" cy="906616"/>
              </a:xfrm>
            </p:grpSpPr>
            <p:sp>
              <p:nvSpPr>
                <p:cNvPr id="45" name="矩形 44"/>
                <p:cNvSpPr/>
                <p:nvPr/>
              </p:nvSpPr>
              <p:spPr>
                <a:xfrm flipH="1">
                  <a:off x="8387597" y="2932563"/>
                  <a:ext cx="2429397" cy="623504"/>
                </a:xfrm>
                <a:prstGeom prst="rect">
                  <a:avLst/>
                </a:prstGeom>
                <a:ln>
                  <a:noFill/>
                </a:ln>
              </p:spPr>
              <p:txBody>
                <a:bodyPr wrap="square" lIns="91440" tIns="45720" rIns="91440" bIns="45720" anchor="t">
                  <a:spAutoFit/>
                </a:bodyPr>
                <a:lstStyle/>
                <a:p>
                  <a:pPr>
                    <a:lnSpc>
                      <a:spcPct val="150000"/>
                    </a:lnSpc>
                  </a:pPr>
                  <a:r>
                    <a:rPr lang="en-US" altLang="zh-CN" sz="800" dirty="0">
                      <a:latin typeface="Arial" panose="020B0604020202090204" pitchFamily="34" charset="0"/>
                      <a:ea typeface="华文楷体" panose="02010600040101010101" pitchFamily="2" charset="-122"/>
                    </a:rPr>
                    <a:t>Choose the only option to retain text Adjust the spacing to adapt to Chinese typesetting</a:t>
                  </a:r>
                  <a:r>
                    <a:rPr lang="zh-CN" altLang="en-US" sz="800" dirty="0">
                      <a:latin typeface="Arial" panose="020B0604020202090204" pitchFamily="34" charset="0"/>
                      <a:ea typeface="华文楷体" panose="02010600040101010101" pitchFamily="2" charset="-122"/>
                    </a:rPr>
                    <a:t> </a:t>
                  </a:r>
                  <a:r>
                    <a:rPr lang="en-US" altLang="zh-CN" sz="800" dirty="0">
                      <a:latin typeface="Arial" panose="020B0604020202090204" pitchFamily="34" charset="0"/>
                      <a:ea typeface="华文楷体" panose="02010600040101010101" pitchFamily="2" charset="-122"/>
                    </a:rPr>
                    <a:t>Adjust the spacing to adapt to Chinese typesetting, </a:t>
                  </a:r>
                  <a:endParaRPr kumimoji="0" lang="en-US" altLang="zh-CN" sz="800" b="0" i="0" u="none" strike="noStrike" kern="1200" cap="none" spc="0" normalizeH="0" baseline="0" noProof="0" dirty="0">
                    <a:ln>
                      <a:noFill/>
                    </a:ln>
                    <a:effectLst/>
                    <a:uLnTx/>
                    <a:uFillTx/>
                    <a:latin typeface="Arial" panose="020B0604020202090204" pitchFamily="34" charset="0"/>
                    <a:ea typeface="华文楷体" panose="02010600040101010101" pitchFamily="2" charset="-122"/>
                  </a:endParaRPr>
                </a:p>
              </p:txBody>
            </p:sp>
            <p:sp>
              <p:nvSpPr>
                <p:cNvPr id="46" name="文本框 45"/>
                <p:cNvSpPr txBox="1"/>
                <p:nvPr/>
              </p:nvSpPr>
              <p:spPr>
                <a:xfrm>
                  <a:off x="8387597" y="2681415"/>
                  <a:ext cx="2429397" cy="369332"/>
                </a:xfrm>
                <a:prstGeom prst="rect">
                  <a:avLst/>
                </a:prstGeom>
                <a:noFill/>
                <a:ln>
                  <a:noFill/>
                </a:ln>
              </p:spPr>
              <p:txBody>
                <a:bodyPr wrap="square" lIns="91440" tIns="45720" rIns="91440" bIns="45720" anchor="ctr" anchorCtr="0">
                  <a:spAutoFit/>
                </a:bodyPr>
                <a:lstStyle/>
                <a:p>
                  <a:pPr>
                    <a:buSzPct val="25000"/>
                  </a:pPr>
                  <a:r>
                    <a:rPr lang="en-US" altLang="zh-CN" b="1" dirty="0">
                      <a:latin typeface="Arial" panose="020B0604020202090204" pitchFamily="34" charset="0"/>
                      <a:ea typeface="华文楷体" panose="02010600040101010101" pitchFamily="2" charset="-122"/>
                    </a:rPr>
                    <a:t>Text here</a:t>
                  </a:r>
                  <a:endParaRPr lang="en-US" altLang="zh-CN" b="1" dirty="0">
                    <a:latin typeface="Arial" panose="020B0604020202090204" pitchFamily="34" charset="0"/>
                    <a:ea typeface="华文楷体" panose="02010600040101010101" pitchFamily="2" charset="-122"/>
                  </a:endParaRPr>
                </a:p>
              </p:txBody>
            </p:sp>
            <p:grpSp>
              <p:nvGrpSpPr>
                <p:cNvPr id="76" name="组合 75"/>
                <p:cNvGrpSpPr/>
                <p:nvPr/>
              </p:nvGrpSpPr>
              <p:grpSpPr>
                <a:xfrm>
                  <a:off x="7975259" y="2649451"/>
                  <a:ext cx="412337" cy="410198"/>
                  <a:chOff x="7975259" y="2649451"/>
                  <a:chExt cx="412337" cy="410198"/>
                </a:xfrm>
              </p:grpSpPr>
              <p:sp>
                <p:nvSpPr>
                  <p:cNvPr id="66" name="矩形: 圆角 65"/>
                  <p:cNvSpPr/>
                  <p:nvPr/>
                </p:nvSpPr>
                <p:spPr>
                  <a:xfrm>
                    <a:off x="7975259" y="2649451"/>
                    <a:ext cx="412337" cy="410198"/>
                  </a:xfrm>
                  <a:prstGeom prst="roundRect">
                    <a:avLst/>
                  </a:prstGeom>
                  <a:gradFill>
                    <a:gsLst>
                      <a:gs pos="0">
                        <a:schemeClr val="accent6">
                          <a:lumMod val="60000"/>
                          <a:lumOff val="40000"/>
                        </a:schemeClr>
                      </a:gs>
                      <a:gs pos="60000">
                        <a:schemeClr val="accent6"/>
                      </a:gs>
                    </a:gsLst>
                    <a:lin ang="2700000" scaled="0"/>
                  </a:gradFill>
                  <a:ln w="57150" cap="rnd">
                    <a:noFill/>
                    <a:prstDash val="solid"/>
                    <a:round/>
                  </a:ln>
                  <a:effectLst>
                    <a:outerShdw blurRad="76200" dist="50800" dir="5400000" algn="ctr" rotWithShape="0">
                      <a:schemeClr val="accent6">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92500" lnSpcReduction="1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3765"/>
                    <a:endParaRPr lang="zh-CN" altLang="en-US" sz="2000" b="1" dirty="0">
                      <a:solidFill>
                        <a:schemeClr val="bg1"/>
                      </a:solidFill>
                    </a:endParaRPr>
                  </a:p>
                </p:txBody>
              </p:sp>
              <p:sp>
                <p:nvSpPr>
                  <p:cNvPr id="67" name="任意多边形: 形状 66"/>
                  <p:cNvSpPr/>
                  <p:nvPr/>
                </p:nvSpPr>
                <p:spPr>
                  <a:xfrm>
                    <a:off x="8090711" y="2770320"/>
                    <a:ext cx="177008" cy="162108"/>
                  </a:xfrm>
                  <a:custGeom>
                    <a:avLst/>
                    <a:gdLst>
                      <a:gd name="connsiteX0" fmla="*/ 125329 w 533400"/>
                      <a:gd name="connsiteY0" fmla="*/ 229221 h 485775"/>
                      <a:gd name="connsiteX1" fmla="*/ 125329 w 533400"/>
                      <a:gd name="connsiteY1" fmla="*/ 276846 h 485775"/>
                      <a:gd name="connsiteX2" fmla="*/ 144379 w 533400"/>
                      <a:gd name="connsiteY2" fmla="*/ 276846 h 485775"/>
                      <a:gd name="connsiteX3" fmla="*/ 144379 w 533400"/>
                      <a:gd name="connsiteY3" fmla="*/ 229221 h 485775"/>
                      <a:gd name="connsiteX4" fmla="*/ 392029 w 533400"/>
                      <a:gd name="connsiteY4" fmla="*/ 229221 h 485775"/>
                      <a:gd name="connsiteX5" fmla="*/ 392029 w 533400"/>
                      <a:gd name="connsiteY5" fmla="*/ 276846 h 485775"/>
                      <a:gd name="connsiteX6" fmla="*/ 411079 w 533400"/>
                      <a:gd name="connsiteY6" fmla="*/ 276846 h 485775"/>
                      <a:gd name="connsiteX7" fmla="*/ 411079 w 533400"/>
                      <a:gd name="connsiteY7" fmla="*/ 229221 h 485775"/>
                      <a:gd name="connsiteX8" fmla="*/ 534904 w 533400"/>
                      <a:gd name="connsiteY8" fmla="*/ 229221 h 485775"/>
                      <a:gd name="connsiteX9" fmla="*/ 534904 w 533400"/>
                      <a:gd name="connsiteY9" fmla="*/ 457821 h 485775"/>
                      <a:gd name="connsiteX10" fmla="*/ 506329 w 533400"/>
                      <a:gd name="connsiteY10" fmla="*/ 486396 h 485775"/>
                      <a:gd name="connsiteX11" fmla="*/ 30079 w 533400"/>
                      <a:gd name="connsiteY11" fmla="*/ 486396 h 485775"/>
                      <a:gd name="connsiteX12" fmla="*/ 1504 w 533400"/>
                      <a:gd name="connsiteY12" fmla="*/ 457821 h 485775"/>
                      <a:gd name="connsiteX13" fmla="*/ 1504 w 533400"/>
                      <a:gd name="connsiteY13" fmla="*/ 229221 h 485775"/>
                      <a:gd name="connsiteX14" fmla="*/ 125329 w 533400"/>
                      <a:gd name="connsiteY14" fmla="*/ 229221 h 485775"/>
                      <a:gd name="connsiteX15" fmla="*/ 372979 w 533400"/>
                      <a:gd name="connsiteY15" fmla="*/ 621 h 485775"/>
                      <a:gd name="connsiteX16" fmla="*/ 411079 w 533400"/>
                      <a:gd name="connsiteY16" fmla="*/ 36816 h 485775"/>
                      <a:gd name="connsiteX17" fmla="*/ 411079 w 533400"/>
                      <a:gd name="connsiteY17" fmla="*/ 38721 h 485775"/>
                      <a:gd name="connsiteX18" fmla="*/ 411079 w 533400"/>
                      <a:gd name="connsiteY18" fmla="*/ 114921 h 485775"/>
                      <a:gd name="connsiteX19" fmla="*/ 506329 w 533400"/>
                      <a:gd name="connsiteY19" fmla="*/ 114921 h 485775"/>
                      <a:gd name="connsiteX20" fmla="*/ 534904 w 533400"/>
                      <a:gd name="connsiteY20" fmla="*/ 143496 h 485775"/>
                      <a:gd name="connsiteX21" fmla="*/ 534904 w 533400"/>
                      <a:gd name="connsiteY21" fmla="*/ 210171 h 485775"/>
                      <a:gd name="connsiteX22" fmla="*/ 1504 w 533400"/>
                      <a:gd name="connsiteY22" fmla="*/ 210171 h 485775"/>
                      <a:gd name="connsiteX23" fmla="*/ 1504 w 533400"/>
                      <a:gd name="connsiteY23" fmla="*/ 143496 h 485775"/>
                      <a:gd name="connsiteX24" fmla="*/ 30079 w 533400"/>
                      <a:gd name="connsiteY24" fmla="*/ 114921 h 485775"/>
                      <a:gd name="connsiteX25" fmla="*/ 125329 w 533400"/>
                      <a:gd name="connsiteY25" fmla="*/ 114921 h 485775"/>
                      <a:gd name="connsiteX26" fmla="*/ 125329 w 533400"/>
                      <a:gd name="connsiteY26" fmla="*/ 38721 h 485775"/>
                      <a:gd name="connsiteX27" fmla="*/ 161524 w 533400"/>
                      <a:gd name="connsiteY27" fmla="*/ 621 h 485775"/>
                      <a:gd name="connsiteX28" fmla="*/ 163429 w 533400"/>
                      <a:gd name="connsiteY28" fmla="*/ 621 h 485775"/>
                      <a:gd name="connsiteX29" fmla="*/ 372979 w 533400"/>
                      <a:gd name="connsiteY29" fmla="*/ 621 h 485775"/>
                      <a:gd name="connsiteX30" fmla="*/ 372979 w 533400"/>
                      <a:gd name="connsiteY30" fmla="*/ 19671 h 485775"/>
                      <a:gd name="connsiteX31" fmla="*/ 163429 w 533400"/>
                      <a:gd name="connsiteY31" fmla="*/ 19671 h 485775"/>
                      <a:gd name="connsiteX32" fmla="*/ 144474 w 533400"/>
                      <a:gd name="connsiteY32" fmla="*/ 37292 h 485775"/>
                      <a:gd name="connsiteX33" fmla="*/ 144379 w 533400"/>
                      <a:gd name="connsiteY33" fmla="*/ 38721 h 485775"/>
                      <a:gd name="connsiteX34" fmla="*/ 144379 w 533400"/>
                      <a:gd name="connsiteY34" fmla="*/ 114921 h 485775"/>
                      <a:gd name="connsiteX35" fmla="*/ 392029 w 533400"/>
                      <a:gd name="connsiteY35" fmla="*/ 114921 h 485775"/>
                      <a:gd name="connsiteX36" fmla="*/ 392029 w 533400"/>
                      <a:gd name="connsiteY36" fmla="*/ 38721 h 485775"/>
                      <a:gd name="connsiteX37" fmla="*/ 375836 w 533400"/>
                      <a:gd name="connsiteY37" fmla="*/ 19862 h 485775"/>
                      <a:gd name="connsiteX38" fmla="*/ 374408 w 533400"/>
                      <a:gd name="connsiteY38" fmla="*/ 19671 h 485775"/>
                      <a:gd name="connsiteX39" fmla="*/ 372979 w 533400"/>
                      <a:gd name="connsiteY39" fmla="*/ 19671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533400" h="485775">
                        <a:moveTo>
                          <a:pt x="125329" y="229221"/>
                        </a:moveTo>
                        <a:lnTo>
                          <a:pt x="125329" y="276846"/>
                        </a:lnTo>
                        <a:lnTo>
                          <a:pt x="144379" y="276846"/>
                        </a:lnTo>
                        <a:lnTo>
                          <a:pt x="144379" y="229221"/>
                        </a:lnTo>
                        <a:lnTo>
                          <a:pt x="392029" y="229221"/>
                        </a:lnTo>
                        <a:lnTo>
                          <a:pt x="392029" y="276846"/>
                        </a:lnTo>
                        <a:lnTo>
                          <a:pt x="411079" y="276846"/>
                        </a:lnTo>
                        <a:lnTo>
                          <a:pt x="411079" y="229221"/>
                        </a:lnTo>
                        <a:lnTo>
                          <a:pt x="534904" y="229221"/>
                        </a:lnTo>
                        <a:lnTo>
                          <a:pt x="534904" y="457821"/>
                        </a:lnTo>
                        <a:cubicBezTo>
                          <a:pt x="534904" y="473632"/>
                          <a:pt x="522141" y="486396"/>
                          <a:pt x="506329" y="486396"/>
                        </a:cubicBezTo>
                        <a:lnTo>
                          <a:pt x="30079" y="486396"/>
                        </a:lnTo>
                        <a:cubicBezTo>
                          <a:pt x="14267" y="486396"/>
                          <a:pt x="1504" y="473632"/>
                          <a:pt x="1504" y="457821"/>
                        </a:cubicBezTo>
                        <a:lnTo>
                          <a:pt x="1504" y="229221"/>
                        </a:lnTo>
                        <a:lnTo>
                          <a:pt x="125329" y="229221"/>
                        </a:lnTo>
                        <a:close/>
                        <a:moveTo>
                          <a:pt x="372979" y="621"/>
                        </a:moveTo>
                        <a:cubicBezTo>
                          <a:pt x="393363" y="621"/>
                          <a:pt x="410031" y="16623"/>
                          <a:pt x="411079" y="36816"/>
                        </a:cubicBezTo>
                        <a:lnTo>
                          <a:pt x="411079" y="38721"/>
                        </a:lnTo>
                        <a:lnTo>
                          <a:pt x="411079" y="114921"/>
                        </a:lnTo>
                        <a:lnTo>
                          <a:pt x="506329" y="114921"/>
                        </a:lnTo>
                        <a:cubicBezTo>
                          <a:pt x="522141" y="114921"/>
                          <a:pt x="534904" y="127685"/>
                          <a:pt x="534904" y="143496"/>
                        </a:cubicBezTo>
                        <a:lnTo>
                          <a:pt x="534904" y="210171"/>
                        </a:lnTo>
                        <a:lnTo>
                          <a:pt x="1504" y="210171"/>
                        </a:lnTo>
                        <a:lnTo>
                          <a:pt x="1504" y="143496"/>
                        </a:lnTo>
                        <a:cubicBezTo>
                          <a:pt x="1504" y="127685"/>
                          <a:pt x="14267" y="114921"/>
                          <a:pt x="30079" y="114921"/>
                        </a:cubicBezTo>
                        <a:lnTo>
                          <a:pt x="125329" y="114921"/>
                        </a:lnTo>
                        <a:lnTo>
                          <a:pt x="125329" y="38721"/>
                        </a:lnTo>
                        <a:cubicBezTo>
                          <a:pt x="125329" y="18337"/>
                          <a:pt x="141331" y="1669"/>
                          <a:pt x="161524" y="621"/>
                        </a:cubicBezTo>
                        <a:lnTo>
                          <a:pt x="163429" y="621"/>
                        </a:lnTo>
                        <a:lnTo>
                          <a:pt x="372979" y="621"/>
                        </a:lnTo>
                        <a:close/>
                        <a:moveTo>
                          <a:pt x="372979" y="19671"/>
                        </a:moveTo>
                        <a:lnTo>
                          <a:pt x="163429" y="19671"/>
                        </a:lnTo>
                        <a:cubicBezTo>
                          <a:pt x="153428" y="19671"/>
                          <a:pt x="145141" y="27482"/>
                          <a:pt x="144474" y="37292"/>
                        </a:cubicBezTo>
                        <a:lnTo>
                          <a:pt x="144379" y="38721"/>
                        </a:lnTo>
                        <a:lnTo>
                          <a:pt x="144379" y="114921"/>
                        </a:lnTo>
                        <a:lnTo>
                          <a:pt x="392029" y="114921"/>
                        </a:lnTo>
                        <a:lnTo>
                          <a:pt x="392029" y="38721"/>
                        </a:lnTo>
                        <a:cubicBezTo>
                          <a:pt x="392029" y="29196"/>
                          <a:pt x="384981" y="21290"/>
                          <a:pt x="375836" y="19862"/>
                        </a:cubicBezTo>
                        <a:lnTo>
                          <a:pt x="374408" y="19671"/>
                        </a:lnTo>
                        <a:lnTo>
                          <a:pt x="372979" y="19671"/>
                        </a:lnTo>
                        <a:close/>
                      </a:path>
                    </a:pathLst>
                  </a:custGeom>
                  <a:solidFill>
                    <a:srgbClr val="FFFFFF"/>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2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endParaRPr>
                  </a:p>
                </p:txBody>
              </p:sp>
            </p:grpSp>
          </p:grpSp>
        </p:grpSp>
        <p:grpSp>
          <p:nvGrpSpPr>
            <p:cNvPr id="121" name="组合 120"/>
            <p:cNvGrpSpPr/>
            <p:nvPr/>
          </p:nvGrpSpPr>
          <p:grpSpPr>
            <a:xfrm>
              <a:off x="919765" y="4142377"/>
              <a:ext cx="3566958" cy="1307645"/>
              <a:chOff x="663284" y="2601238"/>
              <a:chExt cx="3566958" cy="1307645"/>
            </a:xfrm>
          </p:grpSpPr>
          <p:sp>
            <p:nvSpPr>
              <p:cNvPr id="100" name="矩形: 圆角 99"/>
              <p:cNvSpPr/>
              <p:nvPr/>
            </p:nvSpPr>
            <p:spPr>
              <a:xfrm>
                <a:off x="663284" y="2601238"/>
                <a:ext cx="3566958" cy="1307645"/>
              </a:xfrm>
              <a:prstGeom prst="roundRect">
                <a:avLst>
                  <a:gd name="adj" fmla="val 13637"/>
                </a:avLst>
              </a:prstGeom>
              <a:solidFill>
                <a:schemeClr val="accent3">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2" name="矩形 101"/>
              <p:cNvSpPr/>
              <p:nvPr/>
            </p:nvSpPr>
            <p:spPr>
              <a:xfrm flipH="1">
                <a:off x="1451831" y="3084864"/>
                <a:ext cx="2429397" cy="623504"/>
              </a:xfrm>
              <a:prstGeom prst="rect">
                <a:avLst/>
              </a:prstGeom>
              <a:ln>
                <a:noFill/>
              </a:ln>
            </p:spPr>
            <p:txBody>
              <a:bodyPr wrap="square" lIns="91440" tIns="45720" rIns="91440" bIns="45720" anchor="t">
                <a:spAutoFit/>
              </a:bodyPr>
              <a:lstStyle/>
              <a:p>
                <a:pPr>
                  <a:lnSpc>
                    <a:spcPct val="150000"/>
                  </a:lnSpc>
                </a:pPr>
                <a:r>
                  <a:rPr lang="en-US" altLang="zh-CN" sz="800" dirty="0">
                    <a:latin typeface="Arial" panose="020B0604020202090204" pitchFamily="34" charset="0"/>
                    <a:ea typeface="华文楷体" panose="02010600040101010101" pitchFamily="2" charset="-122"/>
                  </a:rPr>
                  <a:t>Choose the only option to retain text Adjust the spacing to adapt to Chinese typesetting</a:t>
                </a:r>
                <a:r>
                  <a:rPr lang="zh-CN" altLang="en-US" sz="800" dirty="0">
                    <a:latin typeface="Arial" panose="020B0604020202090204" pitchFamily="34" charset="0"/>
                    <a:ea typeface="华文楷体" panose="02010600040101010101" pitchFamily="2" charset="-122"/>
                  </a:rPr>
                  <a:t> </a:t>
                </a:r>
                <a:r>
                  <a:rPr lang="en-US" altLang="zh-CN" sz="800" dirty="0">
                    <a:latin typeface="Arial" panose="020B0604020202090204" pitchFamily="34" charset="0"/>
                    <a:ea typeface="华文楷体" panose="02010600040101010101" pitchFamily="2" charset="-122"/>
                  </a:rPr>
                  <a:t>Adjust the spacing to adapt to Chinese typesetting, </a:t>
                </a:r>
                <a:endParaRPr kumimoji="0" lang="en-US" altLang="zh-CN" sz="800" b="0" i="0" u="none" strike="noStrike" kern="1200" cap="none" spc="0" normalizeH="0" baseline="0" noProof="0" dirty="0">
                  <a:ln>
                    <a:noFill/>
                  </a:ln>
                  <a:effectLst/>
                  <a:uLnTx/>
                  <a:uFillTx/>
                  <a:latin typeface="Arial" panose="020B0604020202090204" pitchFamily="34" charset="0"/>
                  <a:ea typeface="华文楷体" panose="02010600040101010101" pitchFamily="2" charset="-122"/>
                </a:endParaRPr>
              </a:p>
            </p:txBody>
          </p:sp>
          <p:sp>
            <p:nvSpPr>
              <p:cNvPr id="103" name="文本框 102"/>
              <p:cNvSpPr txBox="1"/>
              <p:nvPr/>
            </p:nvSpPr>
            <p:spPr>
              <a:xfrm>
                <a:off x="1451831" y="2833716"/>
                <a:ext cx="2429397" cy="369332"/>
              </a:xfrm>
              <a:prstGeom prst="rect">
                <a:avLst/>
              </a:prstGeom>
              <a:noFill/>
              <a:ln>
                <a:noFill/>
              </a:ln>
            </p:spPr>
            <p:txBody>
              <a:bodyPr wrap="square" lIns="91440" tIns="45720" rIns="91440" bIns="45720" anchor="ctr" anchorCtr="0">
                <a:spAutoFit/>
              </a:bodyPr>
              <a:lstStyle/>
              <a:p>
                <a:pPr>
                  <a:buSzPct val="25000"/>
                </a:pPr>
                <a:r>
                  <a:rPr lang="en-US" altLang="zh-CN" b="1" dirty="0">
                    <a:latin typeface="Arial" panose="020B0604020202090204" pitchFamily="34" charset="0"/>
                    <a:ea typeface="华文楷体" panose="02010600040101010101" pitchFamily="2" charset="-122"/>
                  </a:rPr>
                  <a:t>Text here</a:t>
                </a:r>
                <a:endParaRPr lang="en-US" altLang="zh-CN" b="1" dirty="0">
                  <a:latin typeface="Arial" panose="020B0604020202090204" pitchFamily="34" charset="0"/>
                  <a:ea typeface="华文楷体" panose="02010600040101010101" pitchFamily="2" charset="-122"/>
                </a:endParaRPr>
              </a:p>
            </p:txBody>
          </p:sp>
          <p:grpSp>
            <p:nvGrpSpPr>
              <p:cNvPr id="120" name="组合 119"/>
              <p:cNvGrpSpPr/>
              <p:nvPr/>
            </p:nvGrpSpPr>
            <p:grpSpPr>
              <a:xfrm>
                <a:off x="1012298" y="2801752"/>
                <a:ext cx="412337" cy="410198"/>
                <a:chOff x="4808321" y="411032"/>
                <a:chExt cx="410200" cy="410198"/>
              </a:xfrm>
            </p:grpSpPr>
            <p:sp>
              <p:nvSpPr>
                <p:cNvPr id="111" name="矩形: 圆角 110"/>
                <p:cNvSpPr/>
                <p:nvPr/>
              </p:nvSpPr>
              <p:spPr>
                <a:xfrm>
                  <a:off x="4808321" y="411032"/>
                  <a:ext cx="410200" cy="410198"/>
                </a:xfrm>
                <a:prstGeom prst="roundRect">
                  <a:avLst/>
                </a:prstGeom>
                <a:gradFill>
                  <a:gsLst>
                    <a:gs pos="0">
                      <a:schemeClr val="accent3">
                        <a:lumMod val="60000"/>
                        <a:lumOff val="40000"/>
                      </a:schemeClr>
                    </a:gs>
                    <a:gs pos="60000">
                      <a:schemeClr val="accent3"/>
                    </a:gs>
                  </a:gsLst>
                  <a:lin ang="2700000" scaled="0"/>
                </a:gradFill>
                <a:ln w="57150" cap="rnd">
                  <a:noFill/>
                  <a:prstDash val="solid"/>
                  <a:round/>
                </a:ln>
                <a:effectLst>
                  <a:outerShdw blurRad="76200" dist="50800" dir="5400000" algn="ctr" rotWithShape="0">
                    <a:schemeClr val="accent3">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92500" lnSpcReduction="1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3765"/>
                  <a:endParaRPr lang="zh-CN" altLang="en-US" sz="2000" b="1" dirty="0">
                    <a:solidFill>
                      <a:schemeClr val="bg1"/>
                    </a:solidFill>
                  </a:endParaRPr>
                </a:p>
              </p:txBody>
            </p:sp>
            <p:sp>
              <p:nvSpPr>
                <p:cNvPr id="112" name="任意多边形: 形状 111"/>
                <p:cNvSpPr/>
                <p:nvPr/>
              </p:nvSpPr>
              <p:spPr>
                <a:xfrm>
                  <a:off x="4924421" y="545211"/>
                  <a:ext cx="178001" cy="148188"/>
                </a:xfrm>
                <a:custGeom>
                  <a:avLst/>
                  <a:gdLst>
                    <a:gd name="connsiteX0" fmla="*/ 483573 w 526297"/>
                    <a:gd name="connsiteY0" fmla="*/ 133971 h 438150"/>
                    <a:gd name="connsiteX1" fmla="*/ 527674 w 526297"/>
                    <a:gd name="connsiteY1" fmla="*/ 178072 h 438150"/>
                    <a:gd name="connsiteX2" fmla="*/ 527579 w 526297"/>
                    <a:gd name="connsiteY2" fmla="*/ 181501 h 438150"/>
                    <a:gd name="connsiteX3" fmla="*/ 514244 w 526297"/>
                    <a:gd name="connsiteY3" fmla="*/ 355237 h 438150"/>
                    <a:gd name="connsiteX4" fmla="*/ 485764 w 526297"/>
                    <a:gd name="connsiteY4" fmla="*/ 381621 h 438150"/>
                    <a:gd name="connsiteX5" fmla="*/ 454998 w 526297"/>
                    <a:gd name="connsiteY5" fmla="*/ 381621 h 438150"/>
                    <a:gd name="connsiteX6" fmla="*/ 454998 w 526297"/>
                    <a:gd name="connsiteY6" fmla="*/ 438771 h 438150"/>
                    <a:gd name="connsiteX7" fmla="*/ 435948 w 526297"/>
                    <a:gd name="connsiteY7" fmla="*/ 438771 h 438150"/>
                    <a:gd name="connsiteX8" fmla="*/ 435948 w 526297"/>
                    <a:gd name="connsiteY8" fmla="*/ 381621 h 438150"/>
                    <a:gd name="connsiteX9" fmla="*/ 93048 w 526297"/>
                    <a:gd name="connsiteY9" fmla="*/ 381621 h 438150"/>
                    <a:gd name="connsiteX10" fmla="*/ 93048 w 526297"/>
                    <a:gd name="connsiteY10" fmla="*/ 438771 h 438150"/>
                    <a:gd name="connsiteX11" fmla="*/ 73998 w 526297"/>
                    <a:gd name="connsiteY11" fmla="*/ 438771 h 438150"/>
                    <a:gd name="connsiteX12" fmla="*/ 73998 w 526297"/>
                    <a:gd name="connsiteY12" fmla="*/ 381621 h 438150"/>
                    <a:gd name="connsiteX13" fmla="*/ 43328 w 526297"/>
                    <a:gd name="connsiteY13" fmla="*/ 381621 h 438150"/>
                    <a:gd name="connsiteX14" fmla="*/ 14848 w 526297"/>
                    <a:gd name="connsiteY14" fmla="*/ 355237 h 438150"/>
                    <a:gd name="connsiteX15" fmla="*/ 1513 w 526297"/>
                    <a:gd name="connsiteY15" fmla="*/ 181501 h 438150"/>
                    <a:gd name="connsiteX16" fmla="*/ 42089 w 526297"/>
                    <a:gd name="connsiteY16" fmla="*/ 134162 h 438150"/>
                    <a:gd name="connsiteX17" fmla="*/ 45518 w 526297"/>
                    <a:gd name="connsiteY17" fmla="*/ 134066 h 438150"/>
                    <a:gd name="connsiteX18" fmla="*/ 101906 w 526297"/>
                    <a:gd name="connsiteY18" fmla="*/ 180834 h 438150"/>
                    <a:gd name="connsiteX19" fmla="*/ 121623 w 526297"/>
                    <a:gd name="connsiteY19" fmla="*/ 286371 h 438150"/>
                    <a:gd name="connsiteX20" fmla="*/ 407373 w 526297"/>
                    <a:gd name="connsiteY20" fmla="*/ 286371 h 438150"/>
                    <a:gd name="connsiteX21" fmla="*/ 427185 w 526297"/>
                    <a:gd name="connsiteY21" fmla="*/ 180739 h 438150"/>
                    <a:gd name="connsiteX22" fmla="*/ 483573 w 526297"/>
                    <a:gd name="connsiteY22" fmla="*/ 133971 h 438150"/>
                    <a:gd name="connsiteX23" fmla="*/ 416898 w 526297"/>
                    <a:gd name="connsiteY23" fmla="*/ 621 h 438150"/>
                    <a:gd name="connsiteX24" fmla="*/ 483573 w 526297"/>
                    <a:gd name="connsiteY24" fmla="*/ 67296 h 438150"/>
                    <a:gd name="connsiteX25" fmla="*/ 483573 w 526297"/>
                    <a:gd name="connsiteY25" fmla="*/ 115397 h 438150"/>
                    <a:gd name="connsiteX26" fmla="*/ 476429 w 526297"/>
                    <a:gd name="connsiteY26" fmla="*/ 114921 h 438150"/>
                    <a:gd name="connsiteX27" fmla="*/ 412040 w 526297"/>
                    <a:gd name="connsiteY27" fmla="*/ 166451 h 438150"/>
                    <a:gd name="connsiteX28" fmla="*/ 411564 w 526297"/>
                    <a:gd name="connsiteY28" fmla="*/ 168737 h 438150"/>
                    <a:gd name="connsiteX29" fmla="*/ 393086 w 526297"/>
                    <a:gd name="connsiteY29" fmla="*/ 267321 h 438150"/>
                    <a:gd name="connsiteX30" fmla="*/ 135911 w 526297"/>
                    <a:gd name="connsiteY30" fmla="*/ 267321 h 438150"/>
                    <a:gd name="connsiteX31" fmla="*/ 117432 w 526297"/>
                    <a:gd name="connsiteY31" fmla="*/ 168737 h 438150"/>
                    <a:gd name="connsiteX32" fmla="*/ 52567 w 526297"/>
                    <a:gd name="connsiteY32" fmla="*/ 114921 h 438150"/>
                    <a:gd name="connsiteX33" fmla="*/ 54948 w 526297"/>
                    <a:gd name="connsiteY33" fmla="*/ 67296 h 438150"/>
                    <a:gd name="connsiteX34" fmla="*/ 121623 w 526297"/>
                    <a:gd name="connsiteY34" fmla="*/ 621 h 438150"/>
                    <a:gd name="connsiteX35" fmla="*/ 416898 w 526297"/>
                    <a:gd name="connsiteY35" fmla="*/ 621 h 43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526297" h="438150">
                      <a:moveTo>
                        <a:pt x="483573" y="133971"/>
                      </a:moveTo>
                      <a:cubicBezTo>
                        <a:pt x="507957" y="133971"/>
                        <a:pt x="527674" y="153688"/>
                        <a:pt x="527674" y="178072"/>
                      </a:cubicBezTo>
                      <a:cubicBezTo>
                        <a:pt x="527674" y="179215"/>
                        <a:pt x="527674" y="180358"/>
                        <a:pt x="527579" y="181501"/>
                      </a:cubicBezTo>
                      <a:lnTo>
                        <a:pt x="514244" y="355237"/>
                      </a:lnTo>
                      <a:cubicBezTo>
                        <a:pt x="513101" y="370096"/>
                        <a:pt x="500718" y="381621"/>
                        <a:pt x="485764" y="381621"/>
                      </a:cubicBezTo>
                      <a:lnTo>
                        <a:pt x="454998" y="381621"/>
                      </a:lnTo>
                      <a:lnTo>
                        <a:pt x="454998" y="438771"/>
                      </a:lnTo>
                      <a:lnTo>
                        <a:pt x="435948" y="438771"/>
                      </a:lnTo>
                      <a:lnTo>
                        <a:pt x="435948" y="381621"/>
                      </a:lnTo>
                      <a:lnTo>
                        <a:pt x="93048" y="381621"/>
                      </a:lnTo>
                      <a:lnTo>
                        <a:pt x="93048" y="438771"/>
                      </a:lnTo>
                      <a:lnTo>
                        <a:pt x="73998" y="438771"/>
                      </a:lnTo>
                      <a:lnTo>
                        <a:pt x="73998" y="381621"/>
                      </a:lnTo>
                      <a:lnTo>
                        <a:pt x="43328" y="381621"/>
                      </a:lnTo>
                      <a:cubicBezTo>
                        <a:pt x="28373" y="381621"/>
                        <a:pt x="15991" y="370096"/>
                        <a:pt x="14848" y="355237"/>
                      </a:cubicBezTo>
                      <a:lnTo>
                        <a:pt x="1513" y="181501"/>
                      </a:lnTo>
                      <a:cubicBezTo>
                        <a:pt x="-392" y="157212"/>
                        <a:pt x="17801" y="135971"/>
                        <a:pt x="42089" y="134162"/>
                      </a:cubicBezTo>
                      <a:cubicBezTo>
                        <a:pt x="43232" y="134066"/>
                        <a:pt x="44375" y="134066"/>
                        <a:pt x="45518" y="134066"/>
                      </a:cubicBezTo>
                      <a:cubicBezTo>
                        <a:pt x="73141" y="134066"/>
                        <a:pt x="96858" y="153688"/>
                        <a:pt x="101906" y="180834"/>
                      </a:cubicBezTo>
                      <a:lnTo>
                        <a:pt x="121623" y="286371"/>
                      </a:lnTo>
                      <a:lnTo>
                        <a:pt x="407373" y="286371"/>
                      </a:lnTo>
                      <a:lnTo>
                        <a:pt x="427185" y="180739"/>
                      </a:lnTo>
                      <a:cubicBezTo>
                        <a:pt x="432233" y="153592"/>
                        <a:pt x="455951" y="133971"/>
                        <a:pt x="483573" y="133971"/>
                      </a:cubicBezTo>
                      <a:close/>
                      <a:moveTo>
                        <a:pt x="416898" y="621"/>
                      </a:moveTo>
                      <a:cubicBezTo>
                        <a:pt x="453760" y="621"/>
                        <a:pt x="483573" y="30434"/>
                        <a:pt x="483573" y="67296"/>
                      </a:cubicBezTo>
                      <a:lnTo>
                        <a:pt x="483573" y="115397"/>
                      </a:lnTo>
                      <a:cubicBezTo>
                        <a:pt x="481192" y="115112"/>
                        <a:pt x="478811" y="114921"/>
                        <a:pt x="476429" y="114921"/>
                      </a:cubicBezTo>
                      <a:cubicBezTo>
                        <a:pt x="445473" y="114921"/>
                        <a:pt x="418803" y="136448"/>
                        <a:pt x="412040" y="166451"/>
                      </a:cubicBezTo>
                      <a:lnTo>
                        <a:pt x="411564" y="168737"/>
                      </a:lnTo>
                      <a:lnTo>
                        <a:pt x="393086" y="267321"/>
                      </a:lnTo>
                      <a:lnTo>
                        <a:pt x="135911" y="267321"/>
                      </a:lnTo>
                      <a:lnTo>
                        <a:pt x="117432" y="168737"/>
                      </a:lnTo>
                      <a:cubicBezTo>
                        <a:pt x="111622" y="137495"/>
                        <a:pt x="84285" y="114921"/>
                        <a:pt x="52567" y="114921"/>
                      </a:cubicBezTo>
                      <a:lnTo>
                        <a:pt x="54948" y="67296"/>
                      </a:lnTo>
                      <a:cubicBezTo>
                        <a:pt x="54948" y="30434"/>
                        <a:pt x="84761" y="621"/>
                        <a:pt x="121623" y="621"/>
                      </a:cubicBezTo>
                      <a:lnTo>
                        <a:pt x="416898" y="621"/>
                      </a:lnTo>
                      <a:close/>
                    </a:path>
                  </a:pathLst>
                </a:custGeom>
                <a:solidFill>
                  <a:srgbClr val="FFFFFF"/>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2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endParaRPr>
                </a:p>
              </p:txBody>
            </p:sp>
          </p:grpSp>
        </p:grpSp>
        <p:sp>
          <p:nvSpPr>
            <p:cNvPr id="156" name="弧形 155"/>
            <p:cNvSpPr/>
            <p:nvPr/>
          </p:nvSpPr>
          <p:spPr>
            <a:xfrm>
              <a:off x="5196736" y="1723988"/>
              <a:ext cx="1637704" cy="963390"/>
            </a:xfrm>
            <a:prstGeom prst="arc">
              <a:avLst>
                <a:gd name="adj1" fmla="val 12858654"/>
                <a:gd name="adj2" fmla="val 19780532"/>
              </a:avLst>
            </a:prstGeom>
            <a:ln w="57150" cap="rnd">
              <a:gradFill>
                <a:gsLst>
                  <a:gs pos="100000">
                    <a:schemeClr val="tx1">
                      <a:lumMod val="50000"/>
                      <a:lumOff val="50000"/>
                      <a:alpha val="0"/>
                    </a:schemeClr>
                  </a:gs>
                  <a:gs pos="20000">
                    <a:schemeClr val="tx1">
                      <a:lumMod val="50000"/>
                      <a:lumOff val="50000"/>
                      <a:alpha val="20000"/>
                    </a:schemeClr>
                  </a:gs>
                </a:gsLst>
                <a:lin ang="12000000" scaled="0"/>
              </a:gradFill>
              <a:round/>
              <a:headEnd w="sm" len="sm"/>
              <a:tailEnd type="triangle"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dirty="0"/>
            </a:p>
          </p:txBody>
        </p:sp>
        <p:sp>
          <p:nvSpPr>
            <p:cNvPr id="157" name="弧形 156"/>
            <p:cNvSpPr/>
            <p:nvPr/>
          </p:nvSpPr>
          <p:spPr>
            <a:xfrm flipH="1" flipV="1">
              <a:off x="5196736" y="4685360"/>
              <a:ext cx="1637704" cy="963390"/>
            </a:xfrm>
            <a:prstGeom prst="arc">
              <a:avLst>
                <a:gd name="adj1" fmla="val 12858654"/>
                <a:gd name="adj2" fmla="val 19780532"/>
              </a:avLst>
            </a:prstGeom>
            <a:ln w="57150" cap="rnd">
              <a:gradFill>
                <a:gsLst>
                  <a:gs pos="100000">
                    <a:schemeClr val="tx1">
                      <a:lumMod val="50000"/>
                      <a:lumOff val="50000"/>
                      <a:alpha val="0"/>
                    </a:schemeClr>
                  </a:gs>
                  <a:gs pos="20000">
                    <a:schemeClr val="tx1">
                      <a:lumMod val="50000"/>
                      <a:lumOff val="50000"/>
                      <a:alpha val="20000"/>
                    </a:schemeClr>
                  </a:gs>
                </a:gsLst>
                <a:lin ang="12000000" scaled="0"/>
              </a:gradFill>
              <a:round/>
              <a:headEnd w="sm" len="sm"/>
              <a:tailEnd type="triangle"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dirty="0"/>
            </a:p>
          </p:txBody>
        </p:sp>
        <p:sp>
          <p:nvSpPr>
            <p:cNvPr id="158" name="弧形 157"/>
            <p:cNvSpPr/>
            <p:nvPr/>
          </p:nvSpPr>
          <p:spPr>
            <a:xfrm rot="5559409" flipH="1" flipV="1">
              <a:off x="3403987" y="3269457"/>
              <a:ext cx="650368" cy="703827"/>
            </a:xfrm>
            <a:prstGeom prst="arc">
              <a:avLst>
                <a:gd name="adj1" fmla="val 12849189"/>
                <a:gd name="adj2" fmla="val 20453268"/>
              </a:avLst>
            </a:prstGeom>
            <a:ln w="57150" cap="rnd">
              <a:gradFill>
                <a:gsLst>
                  <a:gs pos="100000">
                    <a:schemeClr val="tx1">
                      <a:lumMod val="50000"/>
                      <a:lumOff val="50000"/>
                      <a:alpha val="0"/>
                    </a:schemeClr>
                  </a:gs>
                  <a:gs pos="20000">
                    <a:schemeClr val="tx1">
                      <a:lumMod val="50000"/>
                      <a:lumOff val="50000"/>
                      <a:alpha val="20000"/>
                    </a:schemeClr>
                  </a:gs>
                </a:gsLst>
                <a:lin ang="12000000" scaled="0"/>
              </a:gradFill>
              <a:round/>
              <a:headEnd w="sm" len="sm"/>
              <a:tailEnd type="triangle"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dirty="0"/>
            </a:p>
          </p:txBody>
        </p:sp>
        <p:sp>
          <p:nvSpPr>
            <p:cNvPr id="159" name="弧形 158"/>
            <p:cNvSpPr/>
            <p:nvPr/>
          </p:nvSpPr>
          <p:spPr>
            <a:xfrm rot="5559409">
              <a:off x="7929783" y="3269456"/>
              <a:ext cx="650368" cy="703829"/>
            </a:xfrm>
            <a:prstGeom prst="arc">
              <a:avLst>
                <a:gd name="adj1" fmla="val 12849189"/>
                <a:gd name="adj2" fmla="val 20453268"/>
              </a:avLst>
            </a:prstGeom>
            <a:ln w="57150" cap="rnd">
              <a:gradFill>
                <a:gsLst>
                  <a:gs pos="100000">
                    <a:schemeClr val="tx1">
                      <a:lumMod val="50000"/>
                      <a:lumOff val="50000"/>
                      <a:alpha val="0"/>
                    </a:schemeClr>
                  </a:gs>
                  <a:gs pos="20000">
                    <a:schemeClr val="tx1">
                      <a:lumMod val="50000"/>
                      <a:lumOff val="50000"/>
                      <a:alpha val="20000"/>
                    </a:schemeClr>
                  </a:gs>
                </a:gsLst>
                <a:lin ang="12000000" scaled="0"/>
              </a:gradFill>
              <a:round/>
              <a:headEnd w="sm" len="sm"/>
              <a:tailEnd type="triangle"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dirty="0"/>
            </a:p>
          </p:txBody>
        </p:sp>
        <p:grpSp>
          <p:nvGrpSpPr>
            <p:cNvPr id="160" name="组合 159"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nvGrpSpPr>
          <p:grpSpPr>
            <a:xfrm>
              <a:off x="5067316" y="2200406"/>
              <a:ext cx="2432560" cy="3049035"/>
              <a:chOff x="3941636" y="728663"/>
              <a:chExt cx="4308728" cy="5400675"/>
            </a:xfrm>
          </p:grpSpPr>
          <p:grpSp>
            <p:nvGrpSpPr>
              <p:cNvPr id="161" name="组合 160"/>
              <p:cNvGrpSpPr/>
              <p:nvPr/>
            </p:nvGrpSpPr>
            <p:grpSpPr>
              <a:xfrm rot="4066030" flipH="1">
                <a:off x="2350961" y="2319338"/>
                <a:ext cx="5400675" cy="2219325"/>
                <a:chOff x="2514600" y="4654550"/>
                <a:chExt cx="5400675" cy="2219325"/>
              </a:xfrm>
            </p:grpSpPr>
            <p:sp>
              <p:nvSpPr>
                <p:cNvPr id="170" name="任意多边形: 形状 169"/>
                <p:cNvSpPr/>
                <p:nvPr/>
              </p:nvSpPr>
              <p:spPr bwMode="auto">
                <a:xfrm>
                  <a:off x="3570288" y="4902200"/>
                  <a:ext cx="3176588" cy="1265238"/>
                </a:xfrm>
                <a:custGeom>
                  <a:avLst/>
                  <a:gdLst>
                    <a:gd name="T0" fmla="*/ 606 w 1213"/>
                    <a:gd name="T1" fmla="*/ 0 h 483"/>
                    <a:gd name="T2" fmla="*/ 0 w 1213"/>
                    <a:gd name="T3" fmla="*/ 241 h 483"/>
                    <a:gd name="T4" fmla="*/ 606 w 1213"/>
                    <a:gd name="T5" fmla="*/ 483 h 483"/>
                    <a:gd name="T6" fmla="*/ 1213 w 1213"/>
                    <a:gd name="T7" fmla="*/ 241 h 483"/>
                    <a:gd name="T8" fmla="*/ 606 w 1213"/>
                    <a:gd name="T9" fmla="*/ 0 h 483"/>
                    <a:gd name="T10" fmla="*/ 604 w 1213"/>
                    <a:gd name="T11" fmla="*/ 383 h 483"/>
                    <a:gd name="T12" fmla="*/ 148 w 1213"/>
                    <a:gd name="T13" fmla="*/ 216 h 483"/>
                    <a:gd name="T14" fmla="*/ 604 w 1213"/>
                    <a:gd name="T15" fmla="*/ 49 h 483"/>
                    <a:gd name="T16" fmla="*/ 1060 w 1213"/>
                    <a:gd name="T17" fmla="*/ 216 h 483"/>
                    <a:gd name="T18" fmla="*/ 604 w 1213"/>
                    <a:gd name="T19" fmla="*/ 383 h 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3" h="483">
                      <a:moveTo>
                        <a:pt x="606" y="0"/>
                      </a:moveTo>
                      <a:cubicBezTo>
                        <a:pt x="271" y="0"/>
                        <a:pt x="0" y="108"/>
                        <a:pt x="0" y="241"/>
                      </a:cubicBezTo>
                      <a:cubicBezTo>
                        <a:pt x="0" y="375"/>
                        <a:pt x="271" y="483"/>
                        <a:pt x="606" y="483"/>
                      </a:cubicBezTo>
                      <a:cubicBezTo>
                        <a:pt x="941" y="483"/>
                        <a:pt x="1213" y="375"/>
                        <a:pt x="1213" y="241"/>
                      </a:cubicBezTo>
                      <a:cubicBezTo>
                        <a:pt x="1213" y="108"/>
                        <a:pt x="941" y="0"/>
                        <a:pt x="606" y="0"/>
                      </a:cubicBezTo>
                      <a:close/>
                      <a:moveTo>
                        <a:pt x="604" y="383"/>
                      </a:moveTo>
                      <a:cubicBezTo>
                        <a:pt x="353" y="383"/>
                        <a:pt x="148" y="308"/>
                        <a:pt x="148" y="216"/>
                      </a:cubicBezTo>
                      <a:cubicBezTo>
                        <a:pt x="148" y="124"/>
                        <a:pt x="353" y="49"/>
                        <a:pt x="604" y="49"/>
                      </a:cubicBezTo>
                      <a:cubicBezTo>
                        <a:pt x="856" y="49"/>
                        <a:pt x="1060" y="124"/>
                        <a:pt x="1060" y="216"/>
                      </a:cubicBezTo>
                      <a:cubicBezTo>
                        <a:pt x="1060" y="308"/>
                        <a:pt x="856" y="383"/>
                        <a:pt x="604" y="383"/>
                      </a:cubicBezTo>
                      <a:close/>
                    </a:path>
                  </a:pathLst>
                </a:custGeom>
                <a:solidFill>
                  <a:schemeClr val="accent5"/>
                </a:solidFill>
                <a:ln>
                  <a:noFill/>
                </a:ln>
              </p:spPr>
              <p:txBody>
                <a:bodyPr anchor="ctr"/>
                <a:lstStyle/>
                <a:p>
                  <a:pPr algn="ctr"/>
                </a:p>
              </p:txBody>
            </p:sp>
            <p:sp>
              <p:nvSpPr>
                <p:cNvPr id="171" name="任意多边形: 形状 170"/>
                <p:cNvSpPr/>
                <p:nvPr/>
              </p:nvSpPr>
              <p:spPr bwMode="auto">
                <a:xfrm>
                  <a:off x="2514600" y="4654550"/>
                  <a:ext cx="5400675" cy="2219325"/>
                </a:xfrm>
                <a:custGeom>
                  <a:avLst/>
                  <a:gdLst>
                    <a:gd name="T0" fmla="*/ 1031 w 2062"/>
                    <a:gd name="T1" fmla="*/ 0 h 848"/>
                    <a:gd name="T2" fmla="*/ 0 w 2062"/>
                    <a:gd name="T3" fmla="*/ 401 h 848"/>
                    <a:gd name="T4" fmla="*/ 1031 w 2062"/>
                    <a:gd name="T5" fmla="*/ 848 h 848"/>
                    <a:gd name="T6" fmla="*/ 2062 w 2062"/>
                    <a:gd name="T7" fmla="*/ 401 h 848"/>
                    <a:gd name="T8" fmla="*/ 1031 w 2062"/>
                    <a:gd name="T9" fmla="*/ 0 h 848"/>
                    <a:gd name="T10" fmla="*/ 1027 w 2062"/>
                    <a:gd name="T11" fmla="*/ 663 h 848"/>
                    <a:gd name="T12" fmla="*/ 253 w 2062"/>
                    <a:gd name="T13" fmla="*/ 355 h 848"/>
                    <a:gd name="T14" fmla="*/ 1027 w 2062"/>
                    <a:gd name="T15" fmla="*/ 47 h 848"/>
                    <a:gd name="T16" fmla="*/ 1802 w 2062"/>
                    <a:gd name="T17" fmla="*/ 355 h 848"/>
                    <a:gd name="T18" fmla="*/ 1027 w 2062"/>
                    <a:gd name="T19" fmla="*/ 663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62" h="848">
                      <a:moveTo>
                        <a:pt x="1031" y="0"/>
                      </a:moveTo>
                      <a:cubicBezTo>
                        <a:pt x="461" y="0"/>
                        <a:pt x="0" y="182"/>
                        <a:pt x="0" y="401"/>
                      </a:cubicBezTo>
                      <a:cubicBezTo>
                        <a:pt x="0" y="648"/>
                        <a:pt x="461" y="848"/>
                        <a:pt x="1031" y="848"/>
                      </a:cubicBezTo>
                      <a:cubicBezTo>
                        <a:pt x="1600" y="848"/>
                        <a:pt x="2062" y="648"/>
                        <a:pt x="2062" y="401"/>
                      </a:cubicBezTo>
                      <a:cubicBezTo>
                        <a:pt x="2062" y="184"/>
                        <a:pt x="1600" y="0"/>
                        <a:pt x="1031" y="0"/>
                      </a:cubicBezTo>
                      <a:moveTo>
                        <a:pt x="1027" y="663"/>
                      </a:moveTo>
                      <a:cubicBezTo>
                        <a:pt x="600" y="663"/>
                        <a:pt x="253" y="511"/>
                        <a:pt x="253" y="355"/>
                      </a:cubicBezTo>
                      <a:cubicBezTo>
                        <a:pt x="253" y="185"/>
                        <a:pt x="600" y="47"/>
                        <a:pt x="1027" y="47"/>
                      </a:cubicBezTo>
                      <a:cubicBezTo>
                        <a:pt x="1455" y="47"/>
                        <a:pt x="1802" y="185"/>
                        <a:pt x="1802" y="355"/>
                      </a:cubicBezTo>
                      <a:cubicBezTo>
                        <a:pt x="1802" y="525"/>
                        <a:pt x="1455" y="663"/>
                        <a:pt x="1027" y="663"/>
                      </a:cubicBezTo>
                    </a:path>
                  </a:pathLst>
                </a:custGeom>
                <a:solidFill>
                  <a:srgbClr val="EAECED"/>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72" name="椭圆 171"/>
                <p:cNvSpPr/>
                <p:nvPr/>
              </p:nvSpPr>
              <p:spPr bwMode="auto">
                <a:xfrm>
                  <a:off x="4381500" y="5168900"/>
                  <a:ext cx="1603375" cy="538163"/>
                </a:xfrm>
                <a:prstGeom prst="ellipse">
                  <a:avLst/>
                </a:prstGeom>
                <a:solidFill>
                  <a:schemeClr val="bg2">
                    <a:lumMod val="90000"/>
                  </a:schemeClr>
                </a:solidFill>
                <a:ln>
                  <a:noFill/>
                </a:ln>
              </p:spPr>
              <p:txBody>
                <a:bodyPr anchor="ctr"/>
                <a:lstStyle/>
                <a:p>
                  <a:pPr algn="ctr"/>
                </a:p>
              </p:txBody>
            </p:sp>
            <p:sp>
              <p:nvSpPr>
                <p:cNvPr id="173" name="椭圆 172"/>
                <p:cNvSpPr/>
                <p:nvPr/>
              </p:nvSpPr>
              <p:spPr bwMode="auto">
                <a:xfrm>
                  <a:off x="4751388" y="5272088"/>
                  <a:ext cx="862013" cy="279400"/>
                </a:xfrm>
                <a:prstGeom prst="ellipse">
                  <a:avLst/>
                </a:prstGeom>
                <a:solidFill>
                  <a:schemeClr val="tx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grpSp>
          <p:grpSp>
            <p:nvGrpSpPr>
              <p:cNvPr id="162" name="组合 161"/>
              <p:cNvGrpSpPr>
                <a:grpSpLocks noChangeAspect="1"/>
              </p:cNvGrpSpPr>
              <p:nvPr/>
            </p:nvGrpSpPr>
            <p:grpSpPr bwMode="auto">
              <a:xfrm rot="751896">
                <a:off x="5548438" y="1096436"/>
                <a:ext cx="2701926" cy="2789245"/>
                <a:chOff x="6253" y="-20"/>
                <a:chExt cx="1702" cy="1757"/>
              </a:xfrm>
            </p:grpSpPr>
            <p:sp>
              <p:nvSpPr>
                <p:cNvPr id="163" name="任意多边形: 形状 162"/>
                <p:cNvSpPr/>
                <p:nvPr/>
              </p:nvSpPr>
              <p:spPr bwMode="auto">
                <a:xfrm>
                  <a:off x="6258" y="1576"/>
                  <a:ext cx="102" cy="97"/>
                </a:xfrm>
                <a:custGeom>
                  <a:avLst/>
                  <a:gdLst>
                    <a:gd name="T0" fmla="*/ 43 w 43"/>
                    <a:gd name="T1" fmla="*/ 14 h 41"/>
                    <a:gd name="T2" fmla="*/ 6 w 43"/>
                    <a:gd name="T3" fmla="*/ 41 h 41"/>
                    <a:gd name="T4" fmla="*/ 0 w 43"/>
                    <a:gd name="T5" fmla="*/ 35 h 41"/>
                    <a:gd name="T6" fmla="*/ 30 w 43"/>
                    <a:gd name="T7" fmla="*/ 0 h 41"/>
                    <a:gd name="T8" fmla="*/ 43 w 43"/>
                    <a:gd name="T9" fmla="*/ 14 h 41"/>
                  </a:gdLst>
                  <a:ahLst/>
                  <a:cxnLst>
                    <a:cxn ang="0">
                      <a:pos x="T0" y="T1"/>
                    </a:cxn>
                    <a:cxn ang="0">
                      <a:pos x="T2" y="T3"/>
                    </a:cxn>
                    <a:cxn ang="0">
                      <a:pos x="T4" y="T5"/>
                    </a:cxn>
                    <a:cxn ang="0">
                      <a:pos x="T6" y="T7"/>
                    </a:cxn>
                    <a:cxn ang="0">
                      <a:pos x="T8" y="T9"/>
                    </a:cxn>
                  </a:cxnLst>
                  <a:rect l="0" t="0" r="r" b="b"/>
                  <a:pathLst>
                    <a:path w="43" h="41">
                      <a:moveTo>
                        <a:pt x="43" y="14"/>
                      </a:moveTo>
                      <a:cubicBezTo>
                        <a:pt x="6" y="41"/>
                        <a:pt x="6" y="41"/>
                        <a:pt x="6" y="41"/>
                      </a:cubicBezTo>
                      <a:cubicBezTo>
                        <a:pt x="2" y="41"/>
                        <a:pt x="0" y="39"/>
                        <a:pt x="0" y="35"/>
                      </a:cubicBezTo>
                      <a:cubicBezTo>
                        <a:pt x="30" y="0"/>
                        <a:pt x="30" y="0"/>
                        <a:pt x="30" y="0"/>
                      </a:cubicBezTo>
                      <a:lnTo>
                        <a:pt x="43" y="14"/>
                      </a:lnTo>
                      <a:close/>
                    </a:path>
                  </a:pathLst>
                </a:custGeom>
                <a:solidFill>
                  <a:schemeClr val="tx2">
                    <a:lumMod val="50000"/>
                  </a:schemeClr>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64" name="任意多边形: 形状 163"/>
                <p:cNvSpPr/>
                <p:nvPr/>
              </p:nvSpPr>
              <p:spPr bwMode="auto">
                <a:xfrm>
                  <a:off x="6393" y="631"/>
                  <a:ext cx="992" cy="928"/>
                </a:xfrm>
                <a:custGeom>
                  <a:avLst/>
                  <a:gdLst>
                    <a:gd name="T0" fmla="*/ 48 w 418"/>
                    <a:gd name="T1" fmla="*/ 391 h 391"/>
                    <a:gd name="T2" fmla="*/ 0 w 418"/>
                    <a:gd name="T3" fmla="*/ 335 h 391"/>
                    <a:gd name="T4" fmla="*/ 418 w 418"/>
                    <a:gd name="T5" fmla="*/ 0 h 391"/>
                    <a:gd name="T6" fmla="*/ 48 w 418"/>
                    <a:gd name="T7" fmla="*/ 391 h 391"/>
                  </a:gdLst>
                  <a:ahLst/>
                  <a:cxnLst>
                    <a:cxn ang="0">
                      <a:pos x="T0" y="T1"/>
                    </a:cxn>
                    <a:cxn ang="0">
                      <a:pos x="T2" y="T3"/>
                    </a:cxn>
                    <a:cxn ang="0">
                      <a:pos x="T4" y="T5"/>
                    </a:cxn>
                    <a:cxn ang="0">
                      <a:pos x="T6" y="T7"/>
                    </a:cxn>
                  </a:cxnLst>
                  <a:rect l="0" t="0" r="r" b="b"/>
                  <a:pathLst>
                    <a:path w="418" h="391">
                      <a:moveTo>
                        <a:pt x="48" y="391"/>
                      </a:moveTo>
                      <a:cubicBezTo>
                        <a:pt x="23" y="377"/>
                        <a:pt x="11" y="356"/>
                        <a:pt x="0" y="335"/>
                      </a:cubicBezTo>
                      <a:cubicBezTo>
                        <a:pt x="418" y="0"/>
                        <a:pt x="418" y="0"/>
                        <a:pt x="418" y="0"/>
                      </a:cubicBezTo>
                      <a:lnTo>
                        <a:pt x="48" y="391"/>
                      </a:lnTo>
                      <a:close/>
                    </a:path>
                  </a:pathLst>
                </a:custGeom>
                <a:solidFill>
                  <a:schemeClr val="tx2">
                    <a:lumMod val="60000"/>
                    <a:lumOff val="40000"/>
                  </a:schemeClr>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65" name="任意多边形: 形状 164"/>
                <p:cNvSpPr/>
                <p:nvPr/>
              </p:nvSpPr>
              <p:spPr bwMode="auto">
                <a:xfrm>
                  <a:off x="6979" y="631"/>
                  <a:ext cx="582" cy="776"/>
                </a:xfrm>
                <a:custGeom>
                  <a:avLst/>
                  <a:gdLst>
                    <a:gd name="T0" fmla="*/ 0 w 245"/>
                    <a:gd name="T1" fmla="*/ 175 h 327"/>
                    <a:gd name="T2" fmla="*/ 171 w 245"/>
                    <a:gd name="T3" fmla="*/ 0 h 327"/>
                    <a:gd name="T4" fmla="*/ 0 w 245"/>
                    <a:gd name="T5" fmla="*/ 175 h 327"/>
                  </a:gdLst>
                  <a:ahLst/>
                  <a:cxnLst>
                    <a:cxn ang="0">
                      <a:pos x="T0" y="T1"/>
                    </a:cxn>
                    <a:cxn ang="0">
                      <a:pos x="T2" y="T3"/>
                    </a:cxn>
                    <a:cxn ang="0">
                      <a:pos x="T4" y="T5"/>
                    </a:cxn>
                  </a:cxnLst>
                  <a:rect l="0" t="0" r="r" b="b"/>
                  <a:pathLst>
                    <a:path w="245" h="327">
                      <a:moveTo>
                        <a:pt x="0" y="175"/>
                      </a:moveTo>
                      <a:cubicBezTo>
                        <a:pt x="95" y="327"/>
                        <a:pt x="245" y="215"/>
                        <a:pt x="171" y="0"/>
                      </a:cubicBezTo>
                      <a:lnTo>
                        <a:pt x="0" y="175"/>
                      </a:lnTo>
                      <a:close/>
                    </a:path>
                  </a:pathLst>
                </a:cu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66" name="任意多边形: 形状 165"/>
                <p:cNvSpPr/>
                <p:nvPr/>
              </p:nvSpPr>
              <p:spPr bwMode="auto">
                <a:xfrm>
                  <a:off x="6548" y="329"/>
                  <a:ext cx="837" cy="677"/>
                </a:xfrm>
                <a:custGeom>
                  <a:avLst/>
                  <a:gdLst>
                    <a:gd name="T0" fmla="*/ 162 w 353"/>
                    <a:gd name="T1" fmla="*/ 285 h 285"/>
                    <a:gd name="T2" fmla="*/ 353 w 353"/>
                    <a:gd name="T3" fmla="*/ 127 h 285"/>
                    <a:gd name="T4" fmla="*/ 162 w 353"/>
                    <a:gd name="T5" fmla="*/ 285 h 285"/>
                  </a:gdLst>
                  <a:ahLst/>
                  <a:cxnLst>
                    <a:cxn ang="0">
                      <a:pos x="T0" y="T1"/>
                    </a:cxn>
                    <a:cxn ang="0">
                      <a:pos x="T2" y="T3"/>
                    </a:cxn>
                    <a:cxn ang="0">
                      <a:pos x="T4" y="T5"/>
                    </a:cxn>
                  </a:cxnLst>
                  <a:rect l="0" t="0" r="r" b="b"/>
                  <a:pathLst>
                    <a:path w="353" h="285">
                      <a:moveTo>
                        <a:pt x="162" y="285"/>
                      </a:moveTo>
                      <a:cubicBezTo>
                        <a:pt x="353" y="127"/>
                        <a:pt x="353" y="127"/>
                        <a:pt x="353" y="127"/>
                      </a:cubicBezTo>
                      <a:cubicBezTo>
                        <a:pt x="182" y="29"/>
                        <a:pt x="0" y="0"/>
                        <a:pt x="162" y="285"/>
                      </a:cubicBezTo>
                      <a:close/>
                    </a:path>
                  </a:pathLst>
                </a:cu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67" name="任意多边形: 形状 166"/>
                <p:cNvSpPr/>
                <p:nvPr/>
              </p:nvSpPr>
              <p:spPr bwMode="auto">
                <a:xfrm>
                  <a:off x="7167" y="-20"/>
                  <a:ext cx="370" cy="651"/>
                </a:xfrm>
                <a:custGeom>
                  <a:avLst/>
                  <a:gdLst>
                    <a:gd name="T0" fmla="*/ 92 w 156"/>
                    <a:gd name="T1" fmla="*/ 274 h 274"/>
                    <a:gd name="T2" fmla="*/ 0 w 156"/>
                    <a:gd name="T3" fmla="*/ 229 h 274"/>
                    <a:gd name="T4" fmla="*/ 92 w 156"/>
                    <a:gd name="T5" fmla="*/ 274 h 274"/>
                  </a:gdLst>
                  <a:ahLst/>
                  <a:cxnLst>
                    <a:cxn ang="0">
                      <a:pos x="T0" y="T1"/>
                    </a:cxn>
                    <a:cxn ang="0">
                      <a:pos x="T2" y="T3"/>
                    </a:cxn>
                    <a:cxn ang="0">
                      <a:pos x="T4" y="T5"/>
                    </a:cxn>
                  </a:cxnLst>
                  <a:rect l="0" t="0" r="r" b="b"/>
                  <a:pathLst>
                    <a:path w="156" h="274">
                      <a:moveTo>
                        <a:pt x="92" y="274"/>
                      </a:moveTo>
                      <a:cubicBezTo>
                        <a:pt x="156" y="0"/>
                        <a:pt x="71" y="104"/>
                        <a:pt x="0" y="229"/>
                      </a:cubicBezTo>
                      <a:cubicBezTo>
                        <a:pt x="27" y="241"/>
                        <a:pt x="55" y="254"/>
                        <a:pt x="92" y="274"/>
                      </a:cubicBez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68" name="任意多边形: 形状 167"/>
                <p:cNvSpPr/>
                <p:nvPr/>
              </p:nvSpPr>
              <p:spPr bwMode="auto">
                <a:xfrm>
                  <a:off x="7385" y="628"/>
                  <a:ext cx="570" cy="304"/>
                </a:xfrm>
                <a:custGeom>
                  <a:avLst/>
                  <a:gdLst>
                    <a:gd name="T0" fmla="*/ 0 w 240"/>
                    <a:gd name="T1" fmla="*/ 1 h 128"/>
                    <a:gd name="T2" fmla="*/ 19 w 240"/>
                    <a:gd name="T3" fmla="*/ 128 h 128"/>
                    <a:gd name="T4" fmla="*/ 0 w 240"/>
                    <a:gd name="T5" fmla="*/ 1 h 128"/>
                  </a:gdLst>
                  <a:ahLst/>
                  <a:cxnLst>
                    <a:cxn ang="0">
                      <a:pos x="T0" y="T1"/>
                    </a:cxn>
                    <a:cxn ang="0">
                      <a:pos x="T2" y="T3"/>
                    </a:cxn>
                    <a:cxn ang="0">
                      <a:pos x="T4" y="T5"/>
                    </a:cxn>
                  </a:cxnLst>
                  <a:rect l="0" t="0" r="r" b="b"/>
                  <a:pathLst>
                    <a:path w="240" h="128">
                      <a:moveTo>
                        <a:pt x="0" y="1"/>
                      </a:moveTo>
                      <a:cubicBezTo>
                        <a:pt x="240" y="0"/>
                        <a:pt x="239" y="86"/>
                        <a:pt x="19" y="128"/>
                      </a:cubicBezTo>
                      <a:cubicBezTo>
                        <a:pt x="21" y="86"/>
                        <a:pt x="13" y="43"/>
                        <a:pt x="0" y="1"/>
                      </a:cubicBez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69" name="任意多边形: 形状 168"/>
                <p:cNvSpPr/>
                <p:nvPr/>
              </p:nvSpPr>
              <p:spPr bwMode="auto">
                <a:xfrm>
                  <a:off x="6253" y="1426"/>
                  <a:ext cx="264" cy="311"/>
                </a:xfrm>
                <a:custGeom>
                  <a:avLst/>
                  <a:gdLst>
                    <a:gd name="T0" fmla="*/ 111 w 111"/>
                    <a:gd name="T1" fmla="*/ 52 h 131"/>
                    <a:gd name="T2" fmla="*/ 59 w 111"/>
                    <a:gd name="T3" fmla="*/ 0 h 131"/>
                    <a:gd name="T4" fmla="*/ 111 w 111"/>
                    <a:gd name="T5" fmla="*/ 52 h 131"/>
                  </a:gdLst>
                  <a:ahLst/>
                  <a:cxnLst>
                    <a:cxn ang="0">
                      <a:pos x="T0" y="T1"/>
                    </a:cxn>
                    <a:cxn ang="0">
                      <a:pos x="T2" y="T3"/>
                    </a:cxn>
                    <a:cxn ang="0">
                      <a:pos x="T4" y="T5"/>
                    </a:cxn>
                  </a:cxnLst>
                  <a:rect l="0" t="0" r="r" b="b"/>
                  <a:pathLst>
                    <a:path w="111" h="131">
                      <a:moveTo>
                        <a:pt x="111" y="52"/>
                      </a:moveTo>
                      <a:cubicBezTo>
                        <a:pt x="30" y="131"/>
                        <a:pt x="0" y="41"/>
                        <a:pt x="59" y="0"/>
                      </a:cubicBezTo>
                      <a:cubicBezTo>
                        <a:pt x="70" y="23"/>
                        <a:pt x="85" y="39"/>
                        <a:pt x="111" y="52"/>
                      </a:cubicBezTo>
                      <a:close/>
                    </a:path>
                  </a:pathLst>
                </a:custGeom>
                <a:solidFill>
                  <a:schemeClr val="tx2">
                    <a:lumMod val="75000"/>
                  </a:schemeClr>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grpSp>
        </p:grpSp>
      </p:grpSp>
    </p:spTree>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1406399" y="1282438"/>
            <a:ext cx="9202656" cy="4308854"/>
            <a:chOff x="1406399" y="1282438"/>
            <a:chExt cx="9202656" cy="4308854"/>
          </a:xfrm>
        </p:grpSpPr>
        <p:sp>
          <p:nvSpPr>
            <p:cNvPr id="6" name="任意多边形: 形状 5"/>
            <p:cNvSpPr/>
            <p:nvPr/>
          </p:nvSpPr>
          <p:spPr bwMode="auto">
            <a:xfrm>
              <a:off x="5969780" y="3789630"/>
              <a:ext cx="1538134" cy="1716909"/>
            </a:xfrm>
            <a:custGeom>
              <a:avLst/>
              <a:gdLst>
                <a:gd name="T0" fmla="*/ 760 w 768"/>
                <a:gd name="T1" fmla="*/ 4 h 857"/>
                <a:gd name="T2" fmla="*/ 604 w 768"/>
                <a:gd name="T3" fmla="*/ 124 h 857"/>
                <a:gd name="T4" fmla="*/ 597 w 768"/>
                <a:gd name="T5" fmla="*/ 127 h 857"/>
                <a:gd name="T6" fmla="*/ 590 w 768"/>
                <a:gd name="T7" fmla="*/ 124 h 857"/>
                <a:gd name="T8" fmla="*/ 429 w 768"/>
                <a:gd name="T9" fmla="*/ 0 h 857"/>
                <a:gd name="T10" fmla="*/ 445 w 768"/>
                <a:gd name="T11" fmla="*/ 116 h 857"/>
                <a:gd name="T12" fmla="*/ 129 w 768"/>
                <a:gd name="T13" fmla="*/ 527 h 857"/>
                <a:gd name="T14" fmla="*/ 0 w 768"/>
                <a:gd name="T15" fmla="*/ 694 h 857"/>
                <a:gd name="T16" fmla="*/ 127 w 768"/>
                <a:gd name="T17" fmla="*/ 857 h 857"/>
                <a:gd name="T18" fmla="*/ 768 w 768"/>
                <a:gd name="T19" fmla="*/ 116 h 857"/>
                <a:gd name="T20" fmla="*/ 760 w 768"/>
                <a:gd name="T21" fmla="*/ 4 h 8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68" h="857">
                  <a:moveTo>
                    <a:pt x="760" y="4"/>
                  </a:moveTo>
                  <a:cubicBezTo>
                    <a:pt x="604" y="124"/>
                    <a:pt x="604" y="124"/>
                    <a:pt x="604" y="124"/>
                  </a:cubicBezTo>
                  <a:cubicBezTo>
                    <a:pt x="602" y="126"/>
                    <a:pt x="599" y="127"/>
                    <a:pt x="597" y="127"/>
                  </a:cubicBezTo>
                  <a:cubicBezTo>
                    <a:pt x="594" y="127"/>
                    <a:pt x="592" y="126"/>
                    <a:pt x="590" y="124"/>
                  </a:cubicBezTo>
                  <a:cubicBezTo>
                    <a:pt x="429" y="0"/>
                    <a:pt x="429" y="0"/>
                    <a:pt x="429" y="0"/>
                  </a:cubicBezTo>
                  <a:cubicBezTo>
                    <a:pt x="439" y="37"/>
                    <a:pt x="445" y="76"/>
                    <a:pt x="445" y="116"/>
                  </a:cubicBezTo>
                  <a:cubicBezTo>
                    <a:pt x="445" y="313"/>
                    <a:pt x="311" y="478"/>
                    <a:pt x="129" y="527"/>
                  </a:cubicBezTo>
                  <a:cubicBezTo>
                    <a:pt x="0" y="694"/>
                    <a:pt x="0" y="694"/>
                    <a:pt x="0" y="694"/>
                  </a:cubicBezTo>
                  <a:cubicBezTo>
                    <a:pt x="127" y="857"/>
                    <a:pt x="127" y="857"/>
                    <a:pt x="127" y="857"/>
                  </a:cubicBezTo>
                  <a:cubicBezTo>
                    <a:pt x="489" y="805"/>
                    <a:pt x="768" y="493"/>
                    <a:pt x="768" y="116"/>
                  </a:cubicBezTo>
                  <a:cubicBezTo>
                    <a:pt x="768" y="78"/>
                    <a:pt x="765" y="41"/>
                    <a:pt x="760" y="4"/>
                  </a:cubicBezTo>
                  <a:close/>
                </a:path>
              </a:pathLst>
            </a:custGeom>
            <a:solidFill>
              <a:schemeClr val="accent1">
                <a:lumMod val="40000"/>
                <a:lumOff val="60000"/>
              </a:schemeClr>
            </a:solidFill>
            <a:ln>
              <a:noFill/>
            </a:ln>
          </p:spPr>
          <p:txBody>
            <a:bodyPr vert="horz" wrap="square" lIns="91440" tIns="45720" rIns="91440" bIns="45720" numCol="1" anchor="t" anchorCtr="0" compatLnSpc="1"/>
            <a:lstStyle/>
            <a:p>
              <a:endParaRPr lang="zh-CN" altLang="en-US"/>
            </a:p>
          </p:txBody>
        </p:sp>
        <p:sp>
          <p:nvSpPr>
            <p:cNvPr id="7" name="任意多边形: 形状 6"/>
            <p:cNvSpPr/>
            <p:nvPr/>
          </p:nvSpPr>
          <p:spPr bwMode="auto">
            <a:xfrm>
              <a:off x="5853408" y="2522187"/>
              <a:ext cx="1628365" cy="1468143"/>
            </a:xfrm>
            <a:custGeom>
              <a:avLst/>
              <a:gdLst>
                <a:gd name="T0" fmla="*/ 124 w 813"/>
                <a:gd name="T1" fmla="*/ 179 h 733"/>
                <a:gd name="T2" fmla="*/ 7 w 813"/>
                <a:gd name="T3" fmla="*/ 329 h 733"/>
                <a:gd name="T4" fmla="*/ 77 w 813"/>
                <a:gd name="T5" fmla="*/ 324 h 733"/>
                <a:gd name="T6" fmla="*/ 473 w 813"/>
                <a:gd name="T7" fmla="*/ 592 h 733"/>
                <a:gd name="T8" fmla="*/ 655 w 813"/>
                <a:gd name="T9" fmla="*/ 733 h 733"/>
                <a:gd name="T10" fmla="*/ 813 w 813"/>
                <a:gd name="T11" fmla="*/ 610 h 733"/>
                <a:gd name="T12" fmla="*/ 77 w 813"/>
                <a:gd name="T13" fmla="*/ 0 h 733"/>
                <a:gd name="T14" fmla="*/ 0 w 813"/>
                <a:gd name="T15" fmla="*/ 4 h 733"/>
                <a:gd name="T16" fmla="*/ 124 w 813"/>
                <a:gd name="T17" fmla="*/ 164 h 733"/>
                <a:gd name="T18" fmla="*/ 124 w 813"/>
                <a:gd name="T19" fmla="*/ 179 h 7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3" h="733">
                  <a:moveTo>
                    <a:pt x="124" y="179"/>
                  </a:moveTo>
                  <a:cubicBezTo>
                    <a:pt x="7" y="329"/>
                    <a:pt x="7" y="329"/>
                    <a:pt x="7" y="329"/>
                  </a:cubicBezTo>
                  <a:cubicBezTo>
                    <a:pt x="30" y="326"/>
                    <a:pt x="53" y="324"/>
                    <a:pt x="77" y="324"/>
                  </a:cubicBezTo>
                  <a:cubicBezTo>
                    <a:pt x="257" y="324"/>
                    <a:pt x="410" y="435"/>
                    <a:pt x="473" y="592"/>
                  </a:cubicBezTo>
                  <a:cubicBezTo>
                    <a:pt x="655" y="733"/>
                    <a:pt x="655" y="733"/>
                    <a:pt x="655" y="733"/>
                  </a:cubicBezTo>
                  <a:cubicBezTo>
                    <a:pt x="813" y="610"/>
                    <a:pt x="813" y="610"/>
                    <a:pt x="813" y="610"/>
                  </a:cubicBezTo>
                  <a:cubicBezTo>
                    <a:pt x="748" y="263"/>
                    <a:pt x="444" y="0"/>
                    <a:pt x="77" y="0"/>
                  </a:cubicBezTo>
                  <a:cubicBezTo>
                    <a:pt x="51" y="0"/>
                    <a:pt x="25" y="1"/>
                    <a:pt x="0" y="4"/>
                  </a:cubicBezTo>
                  <a:cubicBezTo>
                    <a:pt x="124" y="164"/>
                    <a:pt x="124" y="164"/>
                    <a:pt x="124" y="164"/>
                  </a:cubicBezTo>
                  <a:cubicBezTo>
                    <a:pt x="127" y="168"/>
                    <a:pt x="127" y="174"/>
                    <a:pt x="124" y="179"/>
                  </a:cubicBezTo>
                  <a:close/>
                </a:path>
              </a:pathLst>
            </a:custGeom>
            <a:solidFill>
              <a:schemeClr val="accent1">
                <a:lumMod val="20000"/>
                <a:lumOff val="80000"/>
              </a:schemeClr>
            </a:solidFill>
            <a:ln>
              <a:noFill/>
            </a:ln>
          </p:spPr>
          <p:txBody>
            <a:bodyPr vert="horz" wrap="square" lIns="91440" tIns="45720" rIns="91440" bIns="45720" numCol="1" anchor="t" anchorCtr="0" compatLnSpc="1"/>
            <a:lstStyle/>
            <a:p>
              <a:endParaRPr lang="zh-CN" altLang="en-US"/>
            </a:p>
          </p:txBody>
        </p:sp>
        <p:sp>
          <p:nvSpPr>
            <p:cNvPr id="8" name="任意多边形: 形状 7"/>
            <p:cNvSpPr/>
            <p:nvPr/>
          </p:nvSpPr>
          <p:spPr bwMode="auto">
            <a:xfrm>
              <a:off x="4507540" y="2535679"/>
              <a:ext cx="1544038" cy="1571023"/>
            </a:xfrm>
            <a:custGeom>
              <a:avLst/>
              <a:gdLst>
                <a:gd name="T0" fmla="*/ 158 w 771"/>
                <a:gd name="T1" fmla="*/ 664 h 784"/>
                <a:gd name="T2" fmla="*/ 172 w 771"/>
                <a:gd name="T3" fmla="*/ 664 h 784"/>
                <a:gd name="T4" fmla="*/ 326 w 771"/>
                <a:gd name="T5" fmla="*/ 782 h 784"/>
                <a:gd name="T6" fmla="*/ 324 w 771"/>
                <a:gd name="T7" fmla="*/ 742 h 784"/>
                <a:gd name="T8" fmla="*/ 643 w 771"/>
                <a:gd name="T9" fmla="*/ 330 h 784"/>
                <a:gd name="T10" fmla="*/ 771 w 771"/>
                <a:gd name="T11" fmla="*/ 164 h 784"/>
                <a:gd name="T12" fmla="*/ 644 w 771"/>
                <a:gd name="T13" fmla="*/ 0 h 784"/>
                <a:gd name="T14" fmla="*/ 0 w 771"/>
                <a:gd name="T15" fmla="*/ 742 h 784"/>
                <a:gd name="T16" fmla="*/ 1 w 771"/>
                <a:gd name="T17" fmla="*/ 784 h 784"/>
                <a:gd name="T18" fmla="*/ 158 w 771"/>
                <a:gd name="T19" fmla="*/ 664 h 7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1" h="784">
                  <a:moveTo>
                    <a:pt x="158" y="664"/>
                  </a:moveTo>
                  <a:cubicBezTo>
                    <a:pt x="162" y="660"/>
                    <a:pt x="168" y="660"/>
                    <a:pt x="172" y="664"/>
                  </a:cubicBezTo>
                  <a:cubicBezTo>
                    <a:pt x="326" y="782"/>
                    <a:pt x="326" y="782"/>
                    <a:pt x="326" y="782"/>
                  </a:cubicBezTo>
                  <a:cubicBezTo>
                    <a:pt x="324" y="769"/>
                    <a:pt x="324" y="755"/>
                    <a:pt x="324" y="742"/>
                  </a:cubicBezTo>
                  <a:cubicBezTo>
                    <a:pt x="324" y="544"/>
                    <a:pt x="460" y="377"/>
                    <a:pt x="643" y="330"/>
                  </a:cubicBezTo>
                  <a:cubicBezTo>
                    <a:pt x="771" y="164"/>
                    <a:pt x="771" y="164"/>
                    <a:pt x="771" y="164"/>
                  </a:cubicBezTo>
                  <a:cubicBezTo>
                    <a:pt x="644" y="0"/>
                    <a:pt x="644" y="0"/>
                    <a:pt x="644" y="0"/>
                  </a:cubicBezTo>
                  <a:cubicBezTo>
                    <a:pt x="280" y="51"/>
                    <a:pt x="0" y="364"/>
                    <a:pt x="0" y="742"/>
                  </a:cubicBezTo>
                  <a:cubicBezTo>
                    <a:pt x="0" y="756"/>
                    <a:pt x="1" y="770"/>
                    <a:pt x="1" y="784"/>
                  </a:cubicBezTo>
                  <a:lnTo>
                    <a:pt x="158" y="664"/>
                  </a:lnTo>
                  <a:close/>
                </a:path>
              </a:pathLst>
            </a:custGeom>
            <a:solidFill>
              <a:schemeClr val="accent1"/>
            </a:solidFill>
            <a:ln>
              <a:noFill/>
            </a:ln>
          </p:spPr>
          <p:txBody>
            <a:bodyPr vert="horz" wrap="square" lIns="91440" tIns="45720" rIns="91440" bIns="45720" numCol="1" anchor="t" anchorCtr="0" compatLnSpc="1"/>
            <a:lstStyle/>
            <a:p>
              <a:endParaRPr lang="zh-CN" altLang="en-US"/>
            </a:p>
          </p:txBody>
        </p:sp>
        <p:sp>
          <p:nvSpPr>
            <p:cNvPr id="9" name="任意多边形: 形状 8"/>
            <p:cNvSpPr/>
            <p:nvPr/>
          </p:nvSpPr>
          <p:spPr bwMode="auto">
            <a:xfrm>
              <a:off x="4513443" y="3914435"/>
              <a:ext cx="1654506" cy="1608127"/>
            </a:xfrm>
            <a:custGeom>
              <a:avLst/>
              <a:gdLst>
                <a:gd name="T0" fmla="*/ 703 w 826"/>
                <a:gd name="T1" fmla="*/ 639 h 803"/>
                <a:gd name="T2" fmla="*/ 703 w 826"/>
                <a:gd name="T3" fmla="*/ 624 h 803"/>
                <a:gd name="T4" fmla="*/ 820 w 826"/>
                <a:gd name="T5" fmla="*/ 473 h 803"/>
                <a:gd name="T6" fmla="*/ 746 w 826"/>
                <a:gd name="T7" fmla="*/ 479 h 803"/>
                <a:gd name="T8" fmla="*/ 327 w 826"/>
                <a:gd name="T9" fmla="*/ 128 h 803"/>
                <a:gd name="T10" fmla="*/ 162 w 826"/>
                <a:gd name="T11" fmla="*/ 0 h 803"/>
                <a:gd name="T12" fmla="*/ 0 w 826"/>
                <a:gd name="T13" fmla="*/ 125 h 803"/>
                <a:gd name="T14" fmla="*/ 746 w 826"/>
                <a:gd name="T15" fmla="*/ 803 h 803"/>
                <a:gd name="T16" fmla="*/ 826 w 826"/>
                <a:gd name="T17" fmla="*/ 799 h 803"/>
                <a:gd name="T18" fmla="*/ 703 w 826"/>
                <a:gd name="T19" fmla="*/ 639 h 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6" h="803">
                  <a:moveTo>
                    <a:pt x="703" y="639"/>
                  </a:moveTo>
                  <a:cubicBezTo>
                    <a:pt x="699" y="635"/>
                    <a:pt x="699" y="629"/>
                    <a:pt x="703" y="624"/>
                  </a:cubicBezTo>
                  <a:cubicBezTo>
                    <a:pt x="820" y="473"/>
                    <a:pt x="820" y="473"/>
                    <a:pt x="820" y="473"/>
                  </a:cubicBezTo>
                  <a:cubicBezTo>
                    <a:pt x="796" y="477"/>
                    <a:pt x="771" y="479"/>
                    <a:pt x="746" y="479"/>
                  </a:cubicBezTo>
                  <a:cubicBezTo>
                    <a:pt x="536" y="479"/>
                    <a:pt x="362" y="328"/>
                    <a:pt x="327" y="128"/>
                  </a:cubicBezTo>
                  <a:cubicBezTo>
                    <a:pt x="162" y="0"/>
                    <a:pt x="162" y="0"/>
                    <a:pt x="162" y="0"/>
                  </a:cubicBezTo>
                  <a:cubicBezTo>
                    <a:pt x="0" y="125"/>
                    <a:pt x="0" y="125"/>
                    <a:pt x="0" y="125"/>
                  </a:cubicBezTo>
                  <a:cubicBezTo>
                    <a:pt x="36" y="505"/>
                    <a:pt x="356" y="803"/>
                    <a:pt x="746" y="803"/>
                  </a:cubicBezTo>
                  <a:cubicBezTo>
                    <a:pt x="773" y="803"/>
                    <a:pt x="800" y="802"/>
                    <a:pt x="826" y="799"/>
                  </a:cubicBezTo>
                  <a:lnTo>
                    <a:pt x="703" y="639"/>
                  </a:lnTo>
                  <a:close/>
                </a:path>
              </a:pathLst>
            </a:custGeom>
            <a:solidFill>
              <a:schemeClr val="accent1">
                <a:lumMod val="60000"/>
                <a:lumOff val="40000"/>
              </a:schemeClr>
            </a:solidFill>
            <a:ln>
              <a:noFill/>
            </a:ln>
          </p:spPr>
          <p:txBody>
            <a:bodyPr vert="horz" wrap="square" lIns="91440" tIns="45720" rIns="91440" bIns="45720" numCol="1" anchor="t" anchorCtr="0" compatLnSpc="1"/>
            <a:lstStyle/>
            <a:p>
              <a:endParaRPr lang="zh-CN" altLang="en-US"/>
            </a:p>
          </p:txBody>
        </p:sp>
        <p:sp>
          <p:nvSpPr>
            <p:cNvPr id="11" name="任意多边形: 形状 10"/>
            <p:cNvSpPr/>
            <p:nvPr/>
          </p:nvSpPr>
          <p:spPr>
            <a:xfrm>
              <a:off x="4936689" y="3122493"/>
              <a:ext cx="372717" cy="306160"/>
            </a:xfrm>
            <a:custGeom>
              <a:avLst/>
              <a:gdLst>
                <a:gd name="connsiteX0" fmla="*/ 496292 w 533400"/>
                <a:gd name="connsiteY0" fmla="*/ 621 h 438150"/>
                <a:gd name="connsiteX1" fmla="*/ 534392 w 533400"/>
                <a:gd name="connsiteY1" fmla="*/ 38721 h 438150"/>
                <a:gd name="connsiteX2" fmla="*/ 534392 w 533400"/>
                <a:gd name="connsiteY2" fmla="*/ 38721 h 438150"/>
                <a:gd name="connsiteX3" fmla="*/ 534392 w 533400"/>
                <a:gd name="connsiteY3" fmla="*/ 333996 h 438150"/>
                <a:gd name="connsiteX4" fmla="*/ 496292 w 533400"/>
                <a:gd name="connsiteY4" fmla="*/ 372096 h 438150"/>
                <a:gd name="connsiteX5" fmla="*/ 496292 w 533400"/>
                <a:gd name="connsiteY5" fmla="*/ 372096 h 438150"/>
                <a:gd name="connsiteX6" fmla="*/ 204827 w 533400"/>
                <a:gd name="connsiteY6" fmla="*/ 372096 h 438150"/>
                <a:gd name="connsiteX7" fmla="*/ 115292 w 533400"/>
                <a:gd name="connsiteY7" fmla="*/ 438771 h 438150"/>
                <a:gd name="connsiteX8" fmla="*/ 115292 w 533400"/>
                <a:gd name="connsiteY8" fmla="*/ 372096 h 438150"/>
                <a:gd name="connsiteX9" fmla="*/ 39092 w 533400"/>
                <a:gd name="connsiteY9" fmla="*/ 372096 h 438150"/>
                <a:gd name="connsiteX10" fmla="*/ 992 w 533400"/>
                <a:gd name="connsiteY10" fmla="*/ 335901 h 438150"/>
                <a:gd name="connsiteX11" fmla="*/ 992 w 533400"/>
                <a:gd name="connsiteY11" fmla="*/ 335901 h 438150"/>
                <a:gd name="connsiteX12" fmla="*/ 992 w 533400"/>
                <a:gd name="connsiteY12" fmla="*/ 333996 h 438150"/>
                <a:gd name="connsiteX13" fmla="*/ 992 w 533400"/>
                <a:gd name="connsiteY13" fmla="*/ 38721 h 438150"/>
                <a:gd name="connsiteX14" fmla="*/ 39092 w 533400"/>
                <a:gd name="connsiteY14" fmla="*/ 621 h 438150"/>
                <a:gd name="connsiteX15" fmla="*/ 39092 w 533400"/>
                <a:gd name="connsiteY15" fmla="*/ 621 h 438150"/>
                <a:gd name="connsiteX16" fmla="*/ 496292 w 533400"/>
                <a:gd name="connsiteY16" fmla="*/ 621 h 438150"/>
                <a:gd name="connsiteX17" fmla="*/ 496292 w 533400"/>
                <a:gd name="connsiteY17" fmla="*/ 19671 h 438150"/>
                <a:gd name="connsiteX18" fmla="*/ 39092 w 533400"/>
                <a:gd name="connsiteY18" fmla="*/ 19671 h 438150"/>
                <a:gd name="connsiteX19" fmla="*/ 20042 w 533400"/>
                <a:gd name="connsiteY19" fmla="*/ 38721 h 438150"/>
                <a:gd name="connsiteX20" fmla="*/ 20042 w 533400"/>
                <a:gd name="connsiteY20" fmla="*/ 38721 h 438150"/>
                <a:gd name="connsiteX21" fmla="*/ 20042 w 533400"/>
                <a:gd name="connsiteY21" fmla="*/ 333996 h 438150"/>
                <a:gd name="connsiteX22" fmla="*/ 39092 w 533400"/>
                <a:gd name="connsiteY22" fmla="*/ 353046 h 438150"/>
                <a:gd name="connsiteX23" fmla="*/ 39092 w 533400"/>
                <a:gd name="connsiteY23" fmla="*/ 353046 h 438150"/>
                <a:gd name="connsiteX24" fmla="*/ 134342 w 533400"/>
                <a:gd name="connsiteY24" fmla="*/ 353046 h 438150"/>
                <a:gd name="connsiteX25" fmla="*/ 134342 w 533400"/>
                <a:gd name="connsiteY25" fmla="*/ 400671 h 438150"/>
                <a:gd name="connsiteX26" fmla="*/ 198160 w 533400"/>
                <a:gd name="connsiteY26" fmla="*/ 353046 h 438150"/>
                <a:gd name="connsiteX27" fmla="*/ 496292 w 533400"/>
                <a:gd name="connsiteY27" fmla="*/ 353046 h 438150"/>
                <a:gd name="connsiteX28" fmla="*/ 515342 w 533400"/>
                <a:gd name="connsiteY28" fmla="*/ 333996 h 438150"/>
                <a:gd name="connsiteX29" fmla="*/ 515342 w 533400"/>
                <a:gd name="connsiteY29" fmla="*/ 333996 h 438150"/>
                <a:gd name="connsiteX30" fmla="*/ 515342 w 533400"/>
                <a:gd name="connsiteY30" fmla="*/ 38721 h 438150"/>
                <a:gd name="connsiteX31" fmla="*/ 496292 w 533400"/>
                <a:gd name="connsiteY31" fmla="*/ 19671 h 438150"/>
                <a:gd name="connsiteX32" fmla="*/ 496292 w 533400"/>
                <a:gd name="connsiteY32" fmla="*/ 19671 h 438150"/>
                <a:gd name="connsiteX33" fmla="*/ 134342 w 533400"/>
                <a:gd name="connsiteY33" fmla="*/ 143496 h 438150"/>
                <a:gd name="connsiteX34" fmla="*/ 177205 w 533400"/>
                <a:gd name="connsiteY34" fmla="*/ 186359 h 438150"/>
                <a:gd name="connsiteX35" fmla="*/ 134342 w 533400"/>
                <a:gd name="connsiteY35" fmla="*/ 229221 h 438150"/>
                <a:gd name="connsiteX36" fmla="*/ 91480 w 533400"/>
                <a:gd name="connsiteY36" fmla="*/ 186359 h 438150"/>
                <a:gd name="connsiteX37" fmla="*/ 134342 w 533400"/>
                <a:gd name="connsiteY37" fmla="*/ 143496 h 438150"/>
                <a:gd name="connsiteX38" fmla="*/ 267692 w 533400"/>
                <a:gd name="connsiteY38" fmla="*/ 143496 h 438150"/>
                <a:gd name="connsiteX39" fmla="*/ 310555 w 533400"/>
                <a:gd name="connsiteY39" fmla="*/ 186359 h 438150"/>
                <a:gd name="connsiteX40" fmla="*/ 267692 w 533400"/>
                <a:gd name="connsiteY40" fmla="*/ 229221 h 438150"/>
                <a:gd name="connsiteX41" fmla="*/ 224830 w 533400"/>
                <a:gd name="connsiteY41" fmla="*/ 186359 h 438150"/>
                <a:gd name="connsiteX42" fmla="*/ 267692 w 533400"/>
                <a:gd name="connsiteY42" fmla="*/ 143496 h 438150"/>
                <a:gd name="connsiteX43" fmla="*/ 401042 w 533400"/>
                <a:gd name="connsiteY43" fmla="*/ 143496 h 438150"/>
                <a:gd name="connsiteX44" fmla="*/ 443905 w 533400"/>
                <a:gd name="connsiteY44" fmla="*/ 186359 h 438150"/>
                <a:gd name="connsiteX45" fmla="*/ 401042 w 533400"/>
                <a:gd name="connsiteY45" fmla="*/ 229221 h 438150"/>
                <a:gd name="connsiteX46" fmla="*/ 358180 w 533400"/>
                <a:gd name="connsiteY46" fmla="*/ 186359 h 438150"/>
                <a:gd name="connsiteX47" fmla="*/ 401042 w 533400"/>
                <a:gd name="connsiteY47" fmla="*/ 143496 h 438150"/>
                <a:gd name="connsiteX48" fmla="*/ 134342 w 533400"/>
                <a:gd name="connsiteY48" fmla="*/ 162546 h 438150"/>
                <a:gd name="connsiteX49" fmla="*/ 110530 w 533400"/>
                <a:gd name="connsiteY49" fmla="*/ 186359 h 438150"/>
                <a:gd name="connsiteX50" fmla="*/ 134342 w 533400"/>
                <a:gd name="connsiteY50" fmla="*/ 210171 h 438150"/>
                <a:gd name="connsiteX51" fmla="*/ 158155 w 533400"/>
                <a:gd name="connsiteY51" fmla="*/ 186359 h 438150"/>
                <a:gd name="connsiteX52" fmla="*/ 134342 w 533400"/>
                <a:gd name="connsiteY52" fmla="*/ 162546 h 438150"/>
                <a:gd name="connsiteX53" fmla="*/ 267692 w 533400"/>
                <a:gd name="connsiteY53" fmla="*/ 162546 h 438150"/>
                <a:gd name="connsiteX54" fmla="*/ 243880 w 533400"/>
                <a:gd name="connsiteY54" fmla="*/ 186359 h 438150"/>
                <a:gd name="connsiteX55" fmla="*/ 267692 w 533400"/>
                <a:gd name="connsiteY55" fmla="*/ 210171 h 438150"/>
                <a:gd name="connsiteX56" fmla="*/ 291505 w 533400"/>
                <a:gd name="connsiteY56" fmla="*/ 186359 h 438150"/>
                <a:gd name="connsiteX57" fmla="*/ 267692 w 533400"/>
                <a:gd name="connsiteY57" fmla="*/ 162546 h 438150"/>
                <a:gd name="connsiteX58" fmla="*/ 401042 w 533400"/>
                <a:gd name="connsiteY58" fmla="*/ 162546 h 438150"/>
                <a:gd name="connsiteX59" fmla="*/ 377230 w 533400"/>
                <a:gd name="connsiteY59" fmla="*/ 186359 h 438150"/>
                <a:gd name="connsiteX60" fmla="*/ 401042 w 533400"/>
                <a:gd name="connsiteY60" fmla="*/ 210171 h 438150"/>
                <a:gd name="connsiteX61" fmla="*/ 424855 w 533400"/>
                <a:gd name="connsiteY61" fmla="*/ 186359 h 438150"/>
                <a:gd name="connsiteX62" fmla="*/ 401042 w 533400"/>
                <a:gd name="connsiteY62" fmla="*/ 162546 h 43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533400" h="438150">
                  <a:moveTo>
                    <a:pt x="496292" y="621"/>
                  </a:moveTo>
                  <a:cubicBezTo>
                    <a:pt x="517247" y="621"/>
                    <a:pt x="534392" y="17766"/>
                    <a:pt x="534392" y="38721"/>
                  </a:cubicBezTo>
                  <a:lnTo>
                    <a:pt x="534392" y="38721"/>
                  </a:lnTo>
                  <a:lnTo>
                    <a:pt x="534392" y="333996"/>
                  </a:lnTo>
                  <a:cubicBezTo>
                    <a:pt x="534392" y="354951"/>
                    <a:pt x="517247" y="372096"/>
                    <a:pt x="496292" y="372096"/>
                  </a:cubicBezTo>
                  <a:lnTo>
                    <a:pt x="496292" y="372096"/>
                  </a:lnTo>
                  <a:lnTo>
                    <a:pt x="204827" y="372096"/>
                  </a:lnTo>
                  <a:lnTo>
                    <a:pt x="115292" y="438771"/>
                  </a:lnTo>
                  <a:lnTo>
                    <a:pt x="115292" y="372096"/>
                  </a:lnTo>
                  <a:lnTo>
                    <a:pt x="39092" y="372096"/>
                  </a:lnTo>
                  <a:cubicBezTo>
                    <a:pt x="19089" y="372096"/>
                    <a:pt x="1945" y="355904"/>
                    <a:pt x="992" y="335901"/>
                  </a:cubicBezTo>
                  <a:lnTo>
                    <a:pt x="992" y="335901"/>
                  </a:lnTo>
                  <a:lnTo>
                    <a:pt x="992" y="333996"/>
                  </a:lnTo>
                  <a:lnTo>
                    <a:pt x="992" y="38721"/>
                  </a:lnTo>
                  <a:cubicBezTo>
                    <a:pt x="992" y="17766"/>
                    <a:pt x="18137" y="621"/>
                    <a:pt x="39092" y="621"/>
                  </a:cubicBezTo>
                  <a:lnTo>
                    <a:pt x="39092" y="621"/>
                  </a:lnTo>
                  <a:lnTo>
                    <a:pt x="496292" y="621"/>
                  </a:lnTo>
                  <a:close/>
                  <a:moveTo>
                    <a:pt x="496292" y="19671"/>
                  </a:moveTo>
                  <a:lnTo>
                    <a:pt x="39092" y="19671"/>
                  </a:lnTo>
                  <a:cubicBezTo>
                    <a:pt x="28614" y="19671"/>
                    <a:pt x="20042" y="28244"/>
                    <a:pt x="20042" y="38721"/>
                  </a:cubicBezTo>
                  <a:lnTo>
                    <a:pt x="20042" y="38721"/>
                  </a:lnTo>
                  <a:lnTo>
                    <a:pt x="20042" y="333996"/>
                  </a:lnTo>
                  <a:cubicBezTo>
                    <a:pt x="20042" y="344474"/>
                    <a:pt x="28614" y="353046"/>
                    <a:pt x="39092" y="353046"/>
                  </a:cubicBezTo>
                  <a:lnTo>
                    <a:pt x="39092" y="353046"/>
                  </a:lnTo>
                  <a:lnTo>
                    <a:pt x="134342" y="353046"/>
                  </a:lnTo>
                  <a:lnTo>
                    <a:pt x="134342" y="400671"/>
                  </a:lnTo>
                  <a:lnTo>
                    <a:pt x="198160" y="353046"/>
                  </a:lnTo>
                  <a:lnTo>
                    <a:pt x="496292" y="353046"/>
                  </a:lnTo>
                  <a:cubicBezTo>
                    <a:pt x="506770" y="353046"/>
                    <a:pt x="515342" y="344474"/>
                    <a:pt x="515342" y="333996"/>
                  </a:cubicBezTo>
                  <a:lnTo>
                    <a:pt x="515342" y="333996"/>
                  </a:lnTo>
                  <a:lnTo>
                    <a:pt x="515342" y="38721"/>
                  </a:lnTo>
                  <a:cubicBezTo>
                    <a:pt x="515342" y="28244"/>
                    <a:pt x="506770" y="19671"/>
                    <a:pt x="496292" y="19671"/>
                  </a:cubicBezTo>
                  <a:lnTo>
                    <a:pt x="496292" y="19671"/>
                  </a:lnTo>
                  <a:close/>
                  <a:moveTo>
                    <a:pt x="134342" y="143496"/>
                  </a:moveTo>
                  <a:cubicBezTo>
                    <a:pt x="158155" y="143496"/>
                    <a:pt x="177205" y="162546"/>
                    <a:pt x="177205" y="186359"/>
                  </a:cubicBezTo>
                  <a:cubicBezTo>
                    <a:pt x="177205" y="210171"/>
                    <a:pt x="158155" y="229221"/>
                    <a:pt x="134342" y="229221"/>
                  </a:cubicBezTo>
                  <a:cubicBezTo>
                    <a:pt x="110530" y="229221"/>
                    <a:pt x="91480" y="210171"/>
                    <a:pt x="91480" y="186359"/>
                  </a:cubicBezTo>
                  <a:cubicBezTo>
                    <a:pt x="91480" y="162546"/>
                    <a:pt x="110530" y="143496"/>
                    <a:pt x="134342" y="143496"/>
                  </a:cubicBezTo>
                  <a:close/>
                  <a:moveTo>
                    <a:pt x="267692" y="143496"/>
                  </a:moveTo>
                  <a:cubicBezTo>
                    <a:pt x="291505" y="143496"/>
                    <a:pt x="310555" y="162546"/>
                    <a:pt x="310555" y="186359"/>
                  </a:cubicBezTo>
                  <a:cubicBezTo>
                    <a:pt x="310555" y="210171"/>
                    <a:pt x="291505" y="229221"/>
                    <a:pt x="267692" y="229221"/>
                  </a:cubicBezTo>
                  <a:cubicBezTo>
                    <a:pt x="243880" y="229221"/>
                    <a:pt x="224830" y="210171"/>
                    <a:pt x="224830" y="186359"/>
                  </a:cubicBezTo>
                  <a:cubicBezTo>
                    <a:pt x="224830" y="162546"/>
                    <a:pt x="243880" y="143496"/>
                    <a:pt x="267692" y="143496"/>
                  </a:cubicBezTo>
                  <a:close/>
                  <a:moveTo>
                    <a:pt x="401042" y="143496"/>
                  </a:moveTo>
                  <a:cubicBezTo>
                    <a:pt x="424855" y="143496"/>
                    <a:pt x="443905" y="162546"/>
                    <a:pt x="443905" y="186359"/>
                  </a:cubicBezTo>
                  <a:cubicBezTo>
                    <a:pt x="443905" y="210171"/>
                    <a:pt x="424855" y="229221"/>
                    <a:pt x="401042" y="229221"/>
                  </a:cubicBezTo>
                  <a:cubicBezTo>
                    <a:pt x="377230" y="229221"/>
                    <a:pt x="358180" y="210171"/>
                    <a:pt x="358180" y="186359"/>
                  </a:cubicBezTo>
                  <a:cubicBezTo>
                    <a:pt x="358180" y="162546"/>
                    <a:pt x="377230" y="143496"/>
                    <a:pt x="401042" y="143496"/>
                  </a:cubicBezTo>
                  <a:close/>
                  <a:moveTo>
                    <a:pt x="134342" y="162546"/>
                  </a:moveTo>
                  <a:cubicBezTo>
                    <a:pt x="121007" y="162546"/>
                    <a:pt x="110530" y="173024"/>
                    <a:pt x="110530" y="186359"/>
                  </a:cubicBezTo>
                  <a:cubicBezTo>
                    <a:pt x="110530" y="199694"/>
                    <a:pt x="121007" y="210171"/>
                    <a:pt x="134342" y="210171"/>
                  </a:cubicBezTo>
                  <a:cubicBezTo>
                    <a:pt x="147677" y="210171"/>
                    <a:pt x="158155" y="199694"/>
                    <a:pt x="158155" y="186359"/>
                  </a:cubicBezTo>
                  <a:cubicBezTo>
                    <a:pt x="158155" y="173024"/>
                    <a:pt x="147677" y="162546"/>
                    <a:pt x="134342" y="162546"/>
                  </a:cubicBezTo>
                  <a:close/>
                  <a:moveTo>
                    <a:pt x="267692" y="162546"/>
                  </a:moveTo>
                  <a:cubicBezTo>
                    <a:pt x="254357" y="162546"/>
                    <a:pt x="243880" y="173024"/>
                    <a:pt x="243880" y="186359"/>
                  </a:cubicBezTo>
                  <a:cubicBezTo>
                    <a:pt x="243880" y="199694"/>
                    <a:pt x="254357" y="210171"/>
                    <a:pt x="267692" y="210171"/>
                  </a:cubicBezTo>
                  <a:cubicBezTo>
                    <a:pt x="281027" y="210171"/>
                    <a:pt x="291505" y="199694"/>
                    <a:pt x="291505" y="186359"/>
                  </a:cubicBezTo>
                  <a:cubicBezTo>
                    <a:pt x="291505" y="173024"/>
                    <a:pt x="281027" y="162546"/>
                    <a:pt x="267692" y="162546"/>
                  </a:cubicBezTo>
                  <a:close/>
                  <a:moveTo>
                    <a:pt x="401042" y="162546"/>
                  </a:moveTo>
                  <a:cubicBezTo>
                    <a:pt x="387707" y="162546"/>
                    <a:pt x="377230" y="173024"/>
                    <a:pt x="377230" y="186359"/>
                  </a:cubicBezTo>
                  <a:cubicBezTo>
                    <a:pt x="377230" y="199694"/>
                    <a:pt x="387707" y="210171"/>
                    <a:pt x="401042" y="210171"/>
                  </a:cubicBezTo>
                  <a:cubicBezTo>
                    <a:pt x="414377" y="210171"/>
                    <a:pt x="424855" y="199694"/>
                    <a:pt x="424855" y="186359"/>
                  </a:cubicBezTo>
                  <a:cubicBezTo>
                    <a:pt x="424855" y="173024"/>
                    <a:pt x="414377" y="162546"/>
                    <a:pt x="401042" y="162546"/>
                  </a:cubicBezTo>
                  <a:close/>
                </a:path>
              </a:pathLst>
            </a:custGeom>
            <a:solidFill>
              <a:srgbClr val="FFFFFF"/>
            </a:solidFill>
            <a:ln w="9525" cap="flat">
              <a:noFill/>
              <a:prstDash val="solid"/>
              <a:miter/>
            </a:ln>
          </p:spPr>
          <p:txBody>
            <a:bodyPr rtlCol="0" anchor="ctr"/>
            <a:lstStyle/>
            <a:p>
              <a:endParaRPr lang="zh-CN" altLang="en-US" dirty="0"/>
            </a:p>
          </p:txBody>
        </p:sp>
        <p:sp>
          <p:nvSpPr>
            <p:cNvPr id="12" name="任意多边形: 形状 11"/>
            <p:cNvSpPr/>
            <p:nvPr/>
          </p:nvSpPr>
          <p:spPr>
            <a:xfrm>
              <a:off x="4991349" y="4705568"/>
              <a:ext cx="372717" cy="279537"/>
            </a:xfrm>
            <a:custGeom>
              <a:avLst/>
              <a:gdLst>
                <a:gd name="connsiteX0" fmla="*/ 495908 w 533400"/>
                <a:gd name="connsiteY0" fmla="*/ 621 h 400050"/>
                <a:gd name="connsiteX1" fmla="*/ 534008 w 533400"/>
                <a:gd name="connsiteY1" fmla="*/ 38721 h 400050"/>
                <a:gd name="connsiteX2" fmla="*/ 534008 w 533400"/>
                <a:gd name="connsiteY2" fmla="*/ 38721 h 400050"/>
                <a:gd name="connsiteX3" fmla="*/ 534008 w 533400"/>
                <a:gd name="connsiteY3" fmla="*/ 362571 h 400050"/>
                <a:gd name="connsiteX4" fmla="*/ 495908 w 533400"/>
                <a:gd name="connsiteY4" fmla="*/ 400671 h 400050"/>
                <a:gd name="connsiteX5" fmla="*/ 495908 w 533400"/>
                <a:gd name="connsiteY5" fmla="*/ 400671 h 400050"/>
                <a:gd name="connsiteX6" fmla="*/ 38708 w 533400"/>
                <a:gd name="connsiteY6" fmla="*/ 400671 h 400050"/>
                <a:gd name="connsiteX7" fmla="*/ 608 w 533400"/>
                <a:gd name="connsiteY7" fmla="*/ 362571 h 400050"/>
                <a:gd name="connsiteX8" fmla="*/ 608 w 533400"/>
                <a:gd name="connsiteY8" fmla="*/ 362571 h 400050"/>
                <a:gd name="connsiteX9" fmla="*/ 608 w 533400"/>
                <a:gd name="connsiteY9" fmla="*/ 38721 h 400050"/>
                <a:gd name="connsiteX10" fmla="*/ 38708 w 533400"/>
                <a:gd name="connsiteY10" fmla="*/ 621 h 400050"/>
                <a:gd name="connsiteX11" fmla="*/ 38708 w 533400"/>
                <a:gd name="connsiteY11" fmla="*/ 621 h 400050"/>
                <a:gd name="connsiteX12" fmla="*/ 495908 w 533400"/>
                <a:gd name="connsiteY12" fmla="*/ 621 h 400050"/>
                <a:gd name="connsiteX13" fmla="*/ 361605 w 533400"/>
                <a:gd name="connsiteY13" fmla="*/ 172071 h 400050"/>
                <a:gd name="connsiteX14" fmla="*/ 360653 w 533400"/>
                <a:gd name="connsiteY14" fmla="*/ 173024 h 400050"/>
                <a:gd name="connsiteX15" fmla="*/ 274928 w 533400"/>
                <a:gd name="connsiteY15" fmla="*/ 284466 h 400050"/>
                <a:gd name="connsiteX16" fmla="*/ 272071 w 533400"/>
                <a:gd name="connsiteY16" fmla="*/ 288276 h 400050"/>
                <a:gd name="connsiteX17" fmla="*/ 219683 w 533400"/>
                <a:gd name="connsiteY17" fmla="*/ 290181 h 400050"/>
                <a:gd name="connsiteX18" fmla="*/ 217778 w 533400"/>
                <a:gd name="connsiteY18" fmla="*/ 289229 h 400050"/>
                <a:gd name="connsiteX19" fmla="*/ 154913 w 533400"/>
                <a:gd name="connsiteY19" fmla="*/ 228269 h 400050"/>
                <a:gd name="connsiteX20" fmla="*/ 153961 w 533400"/>
                <a:gd name="connsiteY20" fmla="*/ 227316 h 400050"/>
                <a:gd name="connsiteX21" fmla="*/ 128243 w 533400"/>
                <a:gd name="connsiteY21" fmla="*/ 228269 h 400050"/>
                <a:gd name="connsiteX22" fmla="*/ 127290 w 533400"/>
                <a:gd name="connsiteY22" fmla="*/ 229221 h 400050"/>
                <a:gd name="connsiteX23" fmla="*/ 19658 w 533400"/>
                <a:gd name="connsiteY23" fmla="*/ 354951 h 400050"/>
                <a:gd name="connsiteX24" fmla="*/ 19658 w 533400"/>
                <a:gd name="connsiteY24" fmla="*/ 361619 h 400050"/>
                <a:gd name="connsiteX25" fmla="*/ 37755 w 533400"/>
                <a:gd name="connsiteY25" fmla="*/ 380669 h 400050"/>
                <a:gd name="connsiteX26" fmla="*/ 38708 w 533400"/>
                <a:gd name="connsiteY26" fmla="*/ 380669 h 400050"/>
                <a:gd name="connsiteX27" fmla="*/ 495908 w 533400"/>
                <a:gd name="connsiteY27" fmla="*/ 380669 h 400050"/>
                <a:gd name="connsiteX28" fmla="*/ 514958 w 533400"/>
                <a:gd name="connsiteY28" fmla="*/ 361619 h 400050"/>
                <a:gd name="connsiteX29" fmla="*/ 514958 w 533400"/>
                <a:gd name="connsiteY29" fmla="*/ 361619 h 400050"/>
                <a:gd name="connsiteX30" fmla="*/ 514958 w 533400"/>
                <a:gd name="connsiteY30" fmla="*/ 337806 h 400050"/>
                <a:gd name="connsiteX31" fmla="*/ 391133 w 533400"/>
                <a:gd name="connsiteY31" fmla="*/ 173024 h 400050"/>
                <a:gd name="connsiteX32" fmla="*/ 387323 w 533400"/>
                <a:gd name="connsiteY32" fmla="*/ 169214 h 400050"/>
                <a:gd name="connsiteX33" fmla="*/ 361605 w 533400"/>
                <a:gd name="connsiteY33" fmla="*/ 172071 h 400050"/>
                <a:gd name="connsiteX34" fmla="*/ 495908 w 533400"/>
                <a:gd name="connsiteY34" fmla="*/ 19671 h 400050"/>
                <a:gd name="connsiteX35" fmla="*/ 38708 w 533400"/>
                <a:gd name="connsiteY35" fmla="*/ 19671 h 400050"/>
                <a:gd name="connsiteX36" fmla="*/ 19658 w 533400"/>
                <a:gd name="connsiteY36" fmla="*/ 38721 h 400050"/>
                <a:gd name="connsiteX37" fmla="*/ 19658 w 533400"/>
                <a:gd name="connsiteY37" fmla="*/ 38721 h 400050"/>
                <a:gd name="connsiteX38" fmla="*/ 19658 w 533400"/>
                <a:gd name="connsiteY38" fmla="*/ 327329 h 400050"/>
                <a:gd name="connsiteX39" fmla="*/ 113003 w 533400"/>
                <a:gd name="connsiteY39" fmla="*/ 217791 h 400050"/>
                <a:gd name="connsiteX40" fmla="*/ 166343 w 533400"/>
                <a:gd name="connsiteY40" fmla="*/ 213981 h 400050"/>
                <a:gd name="connsiteX41" fmla="*/ 167296 w 533400"/>
                <a:gd name="connsiteY41" fmla="*/ 214934 h 400050"/>
                <a:gd name="connsiteX42" fmla="*/ 168248 w 533400"/>
                <a:gd name="connsiteY42" fmla="*/ 215886 h 400050"/>
                <a:gd name="connsiteX43" fmla="*/ 231113 w 533400"/>
                <a:gd name="connsiteY43" fmla="*/ 276846 h 400050"/>
                <a:gd name="connsiteX44" fmla="*/ 257783 w 533400"/>
                <a:gd name="connsiteY44" fmla="*/ 276846 h 400050"/>
                <a:gd name="connsiteX45" fmla="*/ 258736 w 533400"/>
                <a:gd name="connsiteY45" fmla="*/ 275894 h 400050"/>
                <a:gd name="connsiteX46" fmla="*/ 259688 w 533400"/>
                <a:gd name="connsiteY46" fmla="*/ 274941 h 400050"/>
                <a:gd name="connsiteX47" fmla="*/ 345413 w 533400"/>
                <a:gd name="connsiteY47" fmla="*/ 163499 h 400050"/>
                <a:gd name="connsiteX48" fmla="*/ 398753 w 533400"/>
                <a:gd name="connsiteY48" fmla="*/ 156831 h 400050"/>
                <a:gd name="connsiteX49" fmla="*/ 404468 w 533400"/>
                <a:gd name="connsiteY49" fmla="*/ 162546 h 400050"/>
                <a:gd name="connsiteX50" fmla="*/ 406373 w 533400"/>
                <a:gd name="connsiteY50" fmla="*/ 164451 h 400050"/>
                <a:gd name="connsiteX51" fmla="*/ 515911 w 533400"/>
                <a:gd name="connsiteY51" fmla="*/ 309231 h 400050"/>
                <a:gd name="connsiteX52" fmla="*/ 515911 w 533400"/>
                <a:gd name="connsiteY52" fmla="*/ 40626 h 400050"/>
                <a:gd name="connsiteX53" fmla="*/ 497813 w 533400"/>
                <a:gd name="connsiteY53" fmla="*/ 21576 h 400050"/>
                <a:gd name="connsiteX54" fmla="*/ 495908 w 533400"/>
                <a:gd name="connsiteY54" fmla="*/ 19671 h 400050"/>
                <a:gd name="connsiteX55" fmla="*/ 95858 w 533400"/>
                <a:gd name="connsiteY55" fmla="*/ 48246 h 400050"/>
                <a:gd name="connsiteX56" fmla="*/ 143483 w 533400"/>
                <a:gd name="connsiteY56" fmla="*/ 95871 h 400050"/>
                <a:gd name="connsiteX57" fmla="*/ 95858 w 533400"/>
                <a:gd name="connsiteY57" fmla="*/ 143496 h 400050"/>
                <a:gd name="connsiteX58" fmla="*/ 48233 w 533400"/>
                <a:gd name="connsiteY58" fmla="*/ 95871 h 400050"/>
                <a:gd name="connsiteX59" fmla="*/ 95858 w 533400"/>
                <a:gd name="connsiteY59" fmla="*/ 48246 h 400050"/>
                <a:gd name="connsiteX60" fmla="*/ 95858 w 533400"/>
                <a:gd name="connsiteY60" fmla="*/ 67296 h 400050"/>
                <a:gd name="connsiteX61" fmla="*/ 67283 w 533400"/>
                <a:gd name="connsiteY61" fmla="*/ 95871 h 400050"/>
                <a:gd name="connsiteX62" fmla="*/ 95858 w 533400"/>
                <a:gd name="connsiteY62" fmla="*/ 124446 h 400050"/>
                <a:gd name="connsiteX63" fmla="*/ 124433 w 533400"/>
                <a:gd name="connsiteY63" fmla="*/ 95871 h 400050"/>
                <a:gd name="connsiteX64" fmla="*/ 95858 w 533400"/>
                <a:gd name="connsiteY64" fmla="*/ 67296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533400" h="400050">
                  <a:moveTo>
                    <a:pt x="495908" y="621"/>
                  </a:moveTo>
                  <a:cubicBezTo>
                    <a:pt x="516863" y="621"/>
                    <a:pt x="534008" y="17766"/>
                    <a:pt x="534008" y="38721"/>
                  </a:cubicBezTo>
                  <a:lnTo>
                    <a:pt x="534008" y="38721"/>
                  </a:lnTo>
                  <a:lnTo>
                    <a:pt x="534008" y="362571"/>
                  </a:lnTo>
                  <a:cubicBezTo>
                    <a:pt x="534008" y="383526"/>
                    <a:pt x="516863" y="400671"/>
                    <a:pt x="495908" y="400671"/>
                  </a:cubicBezTo>
                  <a:lnTo>
                    <a:pt x="495908" y="400671"/>
                  </a:lnTo>
                  <a:lnTo>
                    <a:pt x="38708" y="400671"/>
                  </a:lnTo>
                  <a:cubicBezTo>
                    <a:pt x="17753" y="400671"/>
                    <a:pt x="608" y="383526"/>
                    <a:pt x="608" y="362571"/>
                  </a:cubicBezTo>
                  <a:lnTo>
                    <a:pt x="608" y="362571"/>
                  </a:lnTo>
                  <a:lnTo>
                    <a:pt x="608" y="38721"/>
                  </a:lnTo>
                  <a:cubicBezTo>
                    <a:pt x="608" y="17766"/>
                    <a:pt x="17753" y="621"/>
                    <a:pt x="38708" y="621"/>
                  </a:cubicBezTo>
                  <a:lnTo>
                    <a:pt x="38708" y="621"/>
                  </a:lnTo>
                  <a:lnTo>
                    <a:pt x="495908" y="621"/>
                  </a:lnTo>
                  <a:close/>
                  <a:moveTo>
                    <a:pt x="361605" y="172071"/>
                  </a:moveTo>
                  <a:lnTo>
                    <a:pt x="360653" y="173024"/>
                  </a:lnTo>
                  <a:lnTo>
                    <a:pt x="274928" y="284466"/>
                  </a:lnTo>
                  <a:cubicBezTo>
                    <a:pt x="273976" y="285419"/>
                    <a:pt x="273023" y="286371"/>
                    <a:pt x="272071" y="288276"/>
                  </a:cubicBezTo>
                  <a:cubicBezTo>
                    <a:pt x="257783" y="302564"/>
                    <a:pt x="234923" y="303516"/>
                    <a:pt x="219683" y="290181"/>
                  </a:cubicBezTo>
                  <a:lnTo>
                    <a:pt x="217778" y="289229"/>
                  </a:lnTo>
                  <a:lnTo>
                    <a:pt x="154913" y="228269"/>
                  </a:lnTo>
                  <a:cubicBezTo>
                    <a:pt x="154913" y="228269"/>
                    <a:pt x="153961" y="227316"/>
                    <a:pt x="153961" y="227316"/>
                  </a:cubicBezTo>
                  <a:cubicBezTo>
                    <a:pt x="146340" y="220649"/>
                    <a:pt x="134911" y="221601"/>
                    <a:pt x="128243" y="228269"/>
                  </a:cubicBezTo>
                  <a:lnTo>
                    <a:pt x="127290" y="229221"/>
                  </a:lnTo>
                  <a:lnTo>
                    <a:pt x="19658" y="354951"/>
                  </a:lnTo>
                  <a:lnTo>
                    <a:pt x="19658" y="361619"/>
                  </a:lnTo>
                  <a:cubicBezTo>
                    <a:pt x="19658" y="372096"/>
                    <a:pt x="27278" y="379716"/>
                    <a:pt x="37755" y="380669"/>
                  </a:cubicBezTo>
                  <a:lnTo>
                    <a:pt x="38708" y="380669"/>
                  </a:lnTo>
                  <a:lnTo>
                    <a:pt x="495908" y="380669"/>
                  </a:lnTo>
                  <a:cubicBezTo>
                    <a:pt x="506386" y="380669"/>
                    <a:pt x="514958" y="372096"/>
                    <a:pt x="514958" y="361619"/>
                  </a:cubicBezTo>
                  <a:lnTo>
                    <a:pt x="514958" y="361619"/>
                  </a:lnTo>
                  <a:lnTo>
                    <a:pt x="514958" y="337806"/>
                  </a:lnTo>
                  <a:lnTo>
                    <a:pt x="391133" y="173024"/>
                  </a:lnTo>
                  <a:cubicBezTo>
                    <a:pt x="390180" y="172071"/>
                    <a:pt x="389228" y="170166"/>
                    <a:pt x="387323" y="169214"/>
                  </a:cubicBezTo>
                  <a:cubicBezTo>
                    <a:pt x="378751" y="164451"/>
                    <a:pt x="368273" y="165404"/>
                    <a:pt x="361605" y="172071"/>
                  </a:cubicBezTo>
                  <a:close/>
                  <a:moveTo>
                    <a:pt x="495908" y="19671"/>
                  </a:moveTo>
                  <a:lnTo>
                    <a:pt x="38708" y="19671"/>
                  </a:lnTo>
                  <a:cubicBezTo>
                    <a:pt x="28230" y="19671"/>
                    <a:pt x="19658" y="28244"/>
                    <a:pt x="19658" y="38721"/>
                  </a:cubicBezTo>
                  <a:lnTo>
                    <a:pt x="19658" y="38721"/>
                  </a:lnTo>
                  <a:lnTo>
                    <a:pt x="19658" y="327329"/>
                  </a:lnTo>
                  <a:lnTo>
                    <a:pt x="113003" y="217791"/>
                  </a:lnTo>
                  <a:cubicBezTo>
                    <a:pt x="126338" y="201599"/>
                    <a:pt x="151103" y="199694"/>
                    <a:pt x="166343" y="213981"/>
                  </a:cubicBezTo>
                  <a:lnTo>
                    <a:pt x="167296" y="214934"/>
                  </a:lnTo>
                  <a:lnTo>
                    <a:pt x="168248" y="215886"/>
                  </a:lnTo>
                  <a:lnTo>
                    <a:pt x="231113" y="276846"/>
                  </a:lnTo>
                  <a:cubicBezTo>
                    <a:pt x="238733" y="284466"/>
                    <a:pt x="251115" y="284466"/>
                    <a:pt x="257783" y="276846"/>
                  </a:cubicBezTo>
                  <a:lnTo>
                    <a:pt x="258736" y="275894"/>
                  </a:lnTo>
                  <a:lnTo>
                    <a:pt x="259688" y="274941"/>
                  </a:lnTo>
                  <a:lnTo>
                    <a:pt x="345413" y="163499"/>
                  </a:lnTo>
                  <a:cubicBezTo>
                    <a:pt x="357796" y="146354"/>
                    <a:pt x="382561" y="143496"/>
                    <a:pt x="398753" y="156831"/>
                  </a:cubicBezTo>
                  <a:cubicBezTo>
                    <a:pt x="400658" y="158736"/>
                    <a:pt x="402563" y="160641"/>
                    <a:pt x="404468" y="162546"/>
                  </a:cubicBezTo>
                  <a:lnTo>
                    <a:pt x="406373" y="164451"/>
                  </a:lnTo>
                  <a:lnTo>
                    <a:pt x="515911" y="309231"/>
                  </a:lnTo>
                  <a:lnTo>
                    <a:pt x="515911" y="40626"/>
                  </a:lnTo>
                  <a:cubicBezTo>
                    <a:pt x="515911" y="30149"/>
                    <a:pt x="508290" y="22529"/>
                    <a:pt x="497813" y="21576"/>
                  </a:cubicBezTo>
                  <a:lnTo>
                    <a:pt x="495908" y="19671"/>
                  </a:lnTo>
                  <a:close/>
                  <a:moveTo>
                    <a:pt x="95858" y="48246"/>
                  </a:moveTo>
                  <a:cubicBezTo>
                    <a:pt x="122528" y="48246"/>
                    <a:pt x="143483" y="69201"/>
                    <a:pt x="143483" y="95871"/>
                  </a:cubicBezTo>
                  <a:cubicBezTo>
                    <a:pt x="143483" y="122541"/>
                    <a:pt x="122528" y="143496"/>
                    <a:pt x="95858" y="143496"/>
                  </a:cubicBezTo>
                  <a:cubicBezTo>
                    <a:pt x="69188" y="143496"/>
                    <a:pt x="48233" y="122541"/>
                    <a:pt x="48233" y="95871"/>
                  </a:cubicBezTo>
                  <a:cubicBezTo>
                    <a:pt x="48233" y="69201"/>
                    <a:pt x="69188" y="48246"/>
                    <a:pt x="95858" y="48246"/>
                  </a:cubicBezTo>
                  <a:close/>
                  <a:moveTo>
                    <a:pt x="95858" y="67296"/>
                  </a:moveTo>
                  <a:cubicBezTo>
                    <a:pt x="79665" y="67296"/>
                    <a:pt x="67283" y="79679"/>
                    <a:pt x="67283" y="95871"/>
                  </a:cubicBezTo>
                  <a:cubicBezTo>
                    <a:pt x="67283" y="112064"/>
                    <a:pt x="79665" y="124446"/>
                    <a:pt x="95858" y="124446"/>
                  </a:cubicBezTo>
                  <a:cubicBezTo>
                    <a:pt x="112051" y="124446"/>
                    <a:pt x="124433" y="112064"/>
                    <a:pt x="124433" y="95871"/>
                  </a:cubicBezTo>
                  <a:cubicBezTo>
                    <a:pt x="124433" y="79679"/>
                    <a:pt x="112051" y="67296"/>
                    <a:pt x="95858" y="67296"/>
                  </a:cubicBezTo>
                  <a:close/>
                </a:path>
              </a:pathLst>
            </a:custGeom>
            <a:solidFill>
              <a:srgbClr val="FFFFFF"/>
            </a:solidFill>
            <a:ln w="9525" cap="flat">
              <a:noFill/>
              <a:prstDash val="solid"/>
              <a:miter/>
            </a:ln>
          </p:spPr>
          <p:txBody>
            <a:bodyPr rtlCol="0" anchor="ctr"/>
            <a:lstStyle/>
            <a:p>
              <a:endParaRPr lang="zh-CN" altLang="en-US"/>
            </a:p>
          </p:txBody>
        </p:sp>
        <p:sp>
          <p:nvSpPr>
            <p:cNvPr id="13" name="任意多边形: 形状 12"/>
            <p:cNvSpPr/>
            <p:nvPr/>
          </p:nvSpPr>
          <p:spPr>
            <a:xfrm>
              <a:off x="6738847" y="4580175"/>
              <a:ext cx="306160" cy="372717"/>
            </a:xfrm>
            <a:custGeom>
              <a:avLst/>
              <a:gdLst>
                <a:gd name="connsiteX0" fmla="*/ 284197 w 438150"/>
                <a:gd name="connsiteY0" fmla="*/ 621 h 533400"/>
                <a:gd name="connsiteX1" fmla="*/ 310867 w 438150"/>
                <a:gd name="connsiteY1" fmla="*/ 12051 h 533400"/>
                <a:gd name="connsiteX2" fmla="*/ 310867 w 438150"/>
                <a:gd name="connsiteY2" fmla="*/ 12051 h 533400"/>
                <a:gd name="connsiteX3" fmla="*/ 427072 w 438150"/>
                <a:gd name="connsiteY3" fmla="*/ 128256 h 533400"/>
                <a:gd name="connsiteX4" fmla="*/ 438502 w 438150"/>
                <a:gd name="connsiteY4" fmla="*/ 154926 h 533400"/>
                <a:gd name="connsiteX5" fmla="*/ 438502 w 438150"/>
                <a:gd name="connsiteY5" fmla="*/ 154926 h 533400"/>
                <a:gd name="connsiteX6" fmla="*/ 438502 w 438150"/>
                <a:gd name="connsiteY6" fmla="*/ 495921 h 533400"/>
                <a:gd name="connsiteX7" fmla="*/ 400402 w 438150"/>
                <a:gd name="connsiteY7" fmla="*/ 534021 h 533400"/>
                <a:gd name="connsiteX8" fmla="*/ 400402 w 438150"/>
                <a:gd name="connsiteY8" fmla="*/ 534021 h 533400"/>
                <a:gd name="connsiteX9" fmla="*/ 38452 w 438150"/>
                <a:gd name="connsiteY9" fmla="*/ 534021 h 533400"/>
                <a:gd name="connsiteX10" fmla="*/ 352 w 438150"/>
                <a:gd name="connsiteY10" fmla="*/ 495921 h 533400"/>
                <a:gd name="connsiteX11" fmla="*/ 352 w 438150"/>
                <a:gd name="connsiteY11" fmla="*/ 495921 h 533400"/>
                <a:gd name="connsiteX12" fmla="*/ 352 w 438150"/>
                <a:gd name="connsiteY12" fmla="*/ 38721 h 533400"/>
                <a:gd name="connsiteX13" fmla="*/ 38452 w 438150"/>
                <a:gd name="connsiteY13" fmla="*/ 621 h 533400"/>
                <a:gd name="connsiteX14" fmla="*/ 38452 w 438150"/>
                <a:gd name="connsiteY14" fmla="*/ 621 h 533400"/>
                <a:gd name="connsiteX15" fmla="*/ 284197 w 438150"/>
                <a:gd name="connsiteY15" fmla="*/ 621 h 533400"/>
                <a:gd name="connsiteX16" fmla="*/ 284197 w 438150"/>
                <a:gd name="connsiteY16" fmla="*/ 19671 h 533400"/>
                <a:gd name="connsiteX17" fmla="*/ 38452 w 438150"/>
                <a:gd name="connsiteY17" fmla="*/ 19671 h 533400"/>
                <a:gd name="connsiteX18" fmla="*/ 19402 w 438150"/>
                <a:gd name="connsiteY18" fmla="*/ 38721 h 533400"/>
                <a:gd name="connsiteX19" fmla="*/ 19402 w 438150"/>
                <a:gd name="connsiteY19" fmla="*/ 38721 h 533400"/>
                <a:gd name="connsiteX20" fmla="*/ 19402 w 438150"/>
                <a:gd name="connsiteY20" fmla="*/ 495921 h 533400"/>
                <a:gd name="connsiteX21" fmla="*/ 38452 w 438150"/>
                <a:gd name="connsiteY21" fmla="*/ 514971 h 533400"/>
                <a:gd name="connsiteX22" fmla="*/ 38452 w 438150"/>
                <a:gd name="connsiteY22" fmla="*/ 514971 h 533400"/>
                <a:gd name="connsiteX23" fmla="*/ 400402 w 438150"/>
                <a:gd name="connsiteY23" fmla="*/ 514971 h 533400"/>
                <a:gd name="connsiteX24" fmla="*/ 419452 w 438150"/>
                <a:gd name="connsiteY24" fmla="*/ 495921 h 533400"/>
                <a:gd name="connsiteX25" fmla="*/ 419452 w 438150"/>
                <a:gd name="connsiteY25" fmla="*/ 495921 h 533400"/>
                <a:gd name="connsiteX26" fmla="*/ 419452 w 438150"/>
                <a:gd name="connsiteY26" fmla="*/ 154926 h 533400"/>
                <a:gd name="connsiteX27" fmla="*/ 419452 w 438150"/>
                <a:gd name="connsiteY27" fmla="*/ 153021 h 533400"/>
                <a:gd name="connsiteX28" fmla="*/ 314677 w 438150"/>
                <a:gd name="connsiteY28" fmla="*/ 153021 h 533400"/>
                <a:gd name="connsiteX29" fmla="*/ 286102 w 438150"/>
                <a:gd name="connsiteY29" fmla="*/ 126351 h 533400"/>
                <a:gd name="connsiteX30" fmla="*/ 286102 w 438150"/>
                <a:gd name="connsiteY30" fmla="*/ 124446 h 533400"/>
                <a:gd name="connsiteX31" fmla="*/ 286102 w 438150"/>
                <a:gd name="connsiteY31" fmla="*/ 19671 h 533400"/>
                <a:gd name="connsiteX32" fmla="*/ 284197 w 438150"/>
                <a:gd name="connsiteY32" fmla="*/ 19671 h 533400"/>
                <a:gd name="connsiteX33" fmla="*/ 284197 w 438150"/>
                <a:gd name="connsiteY33" fmla="*/ 19671 h 533400"/>
                <a:gd name="connsiteX34" fmla="*/ 248002 w 438150"/>
                <a:gd name="connsiteY34" fmla="*/ 200646 h 533400"/>
                <a:gd name="connsiteX35" fmla="*/ 305152 w 438150"/>
                <a:gd name="connsiteY35" fmla="*/ 257796 h 533400"/>
                <a:gd name="connsiteX36" fmla="*/ 248002 w 438150"/>
                <a:gd name="connsiteY36" fmla="*/ 314946 h 533400"/>
                <a:gd name="connsiteX37" fmla="*/ 248002 w 438150"/>
                <a:gd name="connsiteY37" fmla="*/ 314946 h 533400"/>
                <a:gd name="connsiteX38" fmla="*/ 171802 w 438150"/>
                <a:gd name="connsiteY38" fmla="*/ 314946 h 533400"/>
                <a:gd name="connsiteX39" fmla="*/ 171802 w 438150"/>
                <a:gd name="connsiteY39" fmla="*/ 410196 h 533400"/>
                <a:gd name="connsiteX40" fmla="*/ 152752 w 438150"/>
                <a:gd name="connsiteY40" fmla="*/ 410196 h 533400"/>
                <a:gd name="connsiteX41" fmla="*/ 152752 w 438150"/>
                <a:gd name="connsiteY41" fmla="*/ 200646 h 533400"/>
                <a:gd name="connsiteX42" fmla="*/ 248002 w 438150"/>
                <a:gd name="connsiteY42" fmla="*/ 200646 h 533400"/>
                <a:gd name="connsiteX43" fmla="*/ 248002 w 438150"/>
                <a:gd name="connsiteY43" fmla="*/ 219696 h 533400"/>
                <a:gd name="connsiteX44" fmla="*/ 171802 w 438150"/>
                <a:gd name="connsiteY44" fmla="*/ 219696 h 533400"/>
                <a:gd name="connsiteX45" fmla="*/ 171802 w 438150"/>
                <a:gd name="connsiteY45" fmla="*/ 295896 h 533400"/>
                <a:gd name="connsiteX46" fmla="*/ 248002 w 438150"/>
                <a:gd name="connsiteY46" fmla="*/ 295896 h 533400"/>
                <a:gd name="connsiteX47" fmla="*/ 286102 w 438150"/>
                <a:gd name="connsiteY47" fmla="*/ 257796 h 533400"/>
                <a:gd name="connsiteX48" fmla="*/ 248002 w 438150"/>
                <a:gd name="connsiteY48" fmla="*/ 219696 h 533400"/>
                <a:gd name="connsiteX49" fmla="*/ 248002 w 438150"/>
                <a:gd name="connsiteY49" fmla="*/ 219696 h 533400"/>
                <a:gd name="connsiteX50" fmla="*/ 305152 w 438150"/>
                <a:gd name="connsiteY50" fmla="*/ 33006 h 533400"/>
                <a:gd name="connsiteX51" fmla="*/ 305152 w 438150"/>
                <a:gd name="connsiteY51" fmla="*/ 124446 h 533400"/>
                <a:gd name="connsiteX52" fmla="*/ 313724 w 438150"/>
                <a:gd name="connsiteY52" fmla="*/ 133971 h 533400"/>
                <a:gd name="connsiteX53" fmla="*/ 314677 w 438150"/>
                <a:gd name="connsiteY53" fmla="*/ 133971 h 533400"/>
                <a:gd name="connsiteX54" fmla="*/ 406117 w 438150"/>
                <a:gd name="connsiteY54" fmla="*/ 133971 h 533400"/>
                <a:gd name="connsiteX55" fmla="*/ 305152 w 438150"/>
                <a:gd name="connsiteY55" fmla="*/ 33006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438150" h="533400">
                  <a:moveTo>
                    <a:pt x="284197" y="621"/>
                  </a:moveTo>
                  <a:cubicBezTo>
                    <a:pt x="294674" y="621"/>
                    <a:pt x="304199" y="4431"/>
                    <a:pt x="310867" y="12051"/>
                  </a:cubicBezTo>
                  <a:lnTo>
                    <a:pt x="310867" y="12051"/>
                  </a:lnTo>
                  <a:lnTo>
                    <a:pt x="427072" y="128256"/>
                  </a:lnTo>
                  <a:cubicBezTo>
                    <a:pt x="434692" y="135876"/>
                    <a:pt x="438502" y="145401"/>
                    <a:pt x="438502" y="154926"/>
                  </a:cubicBezTo>
                  <a:lnTo>
                    <a:pt x="438502" y="154926"/>
                  </a:lnTo>
                  <a:lnTo>
                    <a:pt x="438502" y="495921"/>
                  </a:lnTo>
                  <a:cubicBezTo>
                    <a:pt x="438502" y="516876"/>
                    <a:pt x="421357" y="534021"/>
                    <a:pt x="400402" y="534021"/>
                  </a:cubicBezTo>
                  <a:lnTo>
                    <a:pt x="400402" y="534021"/>
                  </a:lnTo>
                  <a:lnTo>
                    <a:pt x="38452" y="534021"/>
                  </a:lnTo>
                  <a:cubicBezTo>
                    <a:pt x="17497" y="534021"/>
                    <a:pt x="352" y="516876"/>
                    <a:pt x="352" y="495921"/>
                  </a:cubicBezTo>
                  <a:lnTo>
                    <a:pt x="352" y="495921"/>
                  </a:lnTo>
                  <a:lnTo>
                    <a:pt x="352" y="38721"/>
                  </a:lnTo>
                  <a:cubicBezTo>
                    <a:pt x="352" y="17766"/>
                    <a:pt x="17497" y="621"/>
                    <a:pt x="38452" y="621"/>
                  </a:cubicBezTo>
                  <a:lnTo>
                    <a:pt x="38452" y="621"/>
                  </a:lnTo>
                  <a:lnTo>
                    <a:pt x="284197" y="621"/>
                  </a:lnTo>
                  <a:close/>
                  <a:moveTo>
                    <a:pt x="284197" y="19671"/>
                  </a:moveTo>
                  <a:lnTo>
                    <a:pt x="38452" y="19671"/>
                  </a:lnTo>
                  <a:cubicBezTo>
                    <a:pt x="27974" y="19671"/>
                    <a:pt x="19402" y="28244"/>
                    <a:pt x="19402" y="38721"/>
                  </a:cubicBezTo>
                  <a:lnTo>
                    <a:pt x="19402" y="38721"/>
                  </a:lnTo>
                  <a:lnTo>
                    <a:pt x="19402" y="495921"/>
                  </a:lnTo>
                  <a:cubicBezTo>
                    <a:pt x="19402" y="506399"/>
                    <a:pt x="27974" y="514971"/>
                    <a:pt x="38452" y="514971"/>
                  </a:cubicBezTo>
                  <a:lnTo>
                    <a:pt x="38452" y="514971"/>
                  </a:lnTo>
                  <a:lnTo>
                    <a:pt x="400402" y="514971"/>
                  </a:lnTo>
                  <a:cubicBezTo>
                    <a:pt x="410880" y="514971"/>
                    <a:pt x="419452" y="506399"/>
                    <a:pt x="419452" y="495921"/>
                  </a:cubicBezTo>
                  <a:lnTo>
                    <a:pt x="419452" y="495921"/>
                  </a:lnTo>
                  <a:lnTo>
                    <a:pt x="419452" y="154926"/>
                  </a:lnTo>
                  <a:cubicBezTo>
                    <a:pt x="419452" y="153974"/>
                    <a:pt x="419452" y="153021"/>
                    <a:pt x="419452" y="153021"/>
                  </a:cubicBezTo>
                  <a:lnTo>
                    <a:pt x="314677" y="153021"/>
                  </a:lnTo>
                  <a:cubicBezTo>
                    <a:pt x="299437" y="153021"/>
                    <a:pt x="287055" y="141591"/>
                    <a:pt x="286102" y="126351"/>
                  </a:cubicBezTo>
                  <a:lnTo>
                    <a:pt x="286102" y="124446"/>
                  </a:lnTo>
                  <a:lnTo>
                    <a:pt x="286102" y="19671"/>
                  </a:lnTo>
                  <a:cubicBezTo>
                    <a:pt x="285149" y="19671"/>
                    <a:pt x="284197" y="19671"/>
                    <a:pt x="284197" y="19671"/>
                  </a:cubicBezTo>
                  <a:lnTo>
                    <a:pt x="284197" y="19671"/>
                  </a:lnTo>
                  <a:close/>
                  <a:moveTo>
                    <a:pt x="248002" y="200646"/>
                  </a:moveTo>
                  <a:cubicBezTo>
                    <a:pt x="279434" y="200646"/>
                    <a:pt x="305152" y="226364"/>
                    <a:pt x="305152" y="257796"/>
                  </a:cubicBezTo>
                  <a:cubicBezTo>
                    <a:pt x="305152" y="289229"/>
                    <a:pt x="279434" y="314946"/>
                    <a:pt x="248002" y="314946"/>
                  </a:cubicBezTo>
                  <a:lnTo>
                    <a:pt x="248002" y="314946"/>
                  </a:lnTo>
                  <a:lnTo>
                    <a:pt x="171802" y="314946"/>
                  </a:lnTo>
                  <a:lnTo>
                    <a:pt x="171802" y="410196"/>
                  </a:lnTo>
                  <a:lnTo>
                    <a:pt x="152752" y="410196"/>
                  </a:lnTo>
                  <a:lnTo>
                    <a:pt x="152752" y="200646"/>
                  </a:lnTo>
                  <a:lnTo>
                    <a:pt x="248002" y="200646"/>
                  </a:lnTo>
                  <a:close/>
                  <a:moveTo>
                    <a:pt x="248002" y="219696"/>
                  </a:moveTo>
                  <a:lnTo>
                    <a:pt x="171802" y="219696"/>
                  </a:lnTo>
                  <a:lnTo>
                    <a:pt x="171802" y="295896"/>
                  </a:lnTo>
                  <a:lnTo>
                    <a:pt x="248002" y="295896"/>
                  </a:lnTo>
                  <a:cubicBezTo>
                    <a:pt x="268957" y="295896"/>
                    <a:pt x="286102" y="278751"/>
                    <a:pt x="286102" y="257796"/>
                  </a:cubicBezTo>
                  <a:cubicBezTo>
                    <a:pt x="286102" y="236841"/>
                    <a:pt x="268957" y="219696"/>
                    <a:pt x="248002" y="219696"/>
                  </a:cubicBezTo>
                  <a:lnTo>
                    <a:pt x="248002" y="219696"/>
                  </a:lnTo>
                  <a:close/>
                  <a:moveTo>
                    <a:pt x="305152" y="33006"/>
                  </a:moveTo>
                  <a:lnTo>
                    <a:pt x="305152" y="124446"/>
                  </a:lnTo>
                  <a:cubicBezTo>
                    <a:pt x="305152" y="129209"/>
                    <a:pt x="308962" y="133019"/>
                    <a:pt x="313724" y="133971"/>
                  </a:cubicBezTo>
                  <a:lnTo>
                    <a:pt x="314677" y="133971"/>
                  </a:lnTo>
                  <a:lnTo>
                    <a:pt x="406117" y="133971"/>
                  </a:lnTo>
                  <a:lnTo>
                    <a:pt x="305152" y="33006"/>
                  </a:lnTo>
                  <a:close/>
                </a:path>
              </a:pathLst>
            </a:custGeom>
            <a:solidFill>
              <a:srgbClr val="FFFFFF"/>
            </a:solidFill>
            <a:ln w="9525" cap="flat">
              <a:noFill/>
              <a:prstDash val="solid"/>
              <a:miter/>
            </a:ln>
          </p:spPr>
          <p:txBody>
            <a:bodyPr rtlCol="0" anchor="ctr"/>
            <a:lstStyle/>
            <a:p>
              <a:endParaRPr lang="zh-CN" altLang="en-US"/>
            </a:p>
          </p:txBody>
        </p:sp>
        <p:sp>
          <p:nvSpPr>
            <p:cNvPr id="15" name="文本框 14"/>
            <p:cNvSpPr txBox="1"/>
            <p:nvPr/>
          </p:nvSpPr>
          <p:spPr>
            <a:xfrm>
              <a:off x="7732500" y="2839617"/>
              <a:ext cx="2876555" cy="455189"/>
            </a:xfrm>
            <a:prstGeom prst="rect">
              <a:avLst/>
            </a:prstGeom>
          </p:spPr>
          <p:txBody>
            <a:bodyPr wrap="square" rtlCol="0">
              <a:spAutoFit/>
            </a:bodyPr>
            <a:lstStyle>
              <a:defPPr>
                <a:defRPr lang="zh-CN"/>
              </a:defPPr>
              <a:lvl1pPr>
                <a:lnSpc>
                  <a:spcPts val="1500"/>
                </a:lnSpc>
                <a:defRPr sz="900"/>
              </a:lvl1pPr>
            </a:lstStyle>
            <a:p>
              <a:r>
                <a:rPr lang="en-US" altLang="zh-CN" dirty="0">
                  <a:latin typeface="Arial" panose="020B0604020202090204" pitchFamily="34" charset="0"/>
                  <a:ea typeface="华文楷体" panose="02010600040101010101" pitchFamily="2" charset="-122"/>
                </a:rPr>
                <a:t>Unified fonts make reading more </a:t>
              </a:r>
              <a:r>
                <a:rPr lang="en-US" altLang="zh-CN" dirty="0" err="1">
                  <a:latin typeface="Arial" panose="020B0604020202090204" pitchFamily="34" charset="0"/>
                  <a:ea typeface="华文楷体" panose="02010600040101010101" pitchFamily="2" charset="-122"/>
                </a:rPr>
                <a:t>fluent.Copy</a:t>
              </a:r>
              <a:r>
                <a:rPr lang="en-US" altLang="zh-CN" dirty="0">
                  <a:latin typeface="Arial" panose="020B0604020202090204" pitchFamily="34" charset="0"/>
                  <a:ea typeface="华文楷体" panose="02010600040101010101" pitchFamily="2" charset="-122"/>
                </a:rPr>
                <a:t> paste fonts. Choose the only </a:t>
              </a:r>
              <a:r>
                <a:rPr lang="en-US" altLang="zh-CN" dirty="0" err="1">
                  <a:latin typeface="Arial" panose="020B0604020202090204" pitchFamily="34" charset="0"/>
                  <a:ea typeface="华文楷体" panose="02010600040101010101" pitchFamily="2" charset="-122"/>
                </a:rPr>
                <a:t>optio</a:t>
              </a:r>
              <a:r>
                <a:rPr lang="en-US" altLang="zh-CN" dirty="0">
                  <a:latin typeface="Arial" panose="020B0604020202090204" pitchFamily="34" charset="0"/>
                  <a:ea typeface="华文楷体" panose="02010600040101010101" pitchFamily="2" charset="-122"/>
                </a:rPr>
                <a:t> to retain text……</a:t>
              </a:r>
              <a:endParaRPr lang="en-US" altLang="zh-CN" dirty="0">
                <a:latin typeface="Arial" panose="020B0604020202090204" pitchFamily="34" charset="0"/>
                <a:ea typeface="华文楷体" panose="02010600040101010101" pitchFamily="2" charset="-122"/>
              </a:endParaRPr>
            </a:p>
          </p:txBody>
        </p:sp>
        <p:sp>
          <p:nvSpPr>
            <p:cNvPr id="16" name="文本框 15"/>
            <p:cNvSpPr txBox="1"/>
            <p:nvPr/>
          </p:nvSpPr>
          <p:spPr>
            <a:xfrm>
              <a:off x="7732501" y="2519508"/>
              <a:ext cx="2404744" cy="307777"/>
            </a:xfrm>
            <a:prstGeom prst="rect">
              <a:avLst/>
            </a:prstGeom>
            <a:noFill/>
          </p:spPr>
          <p:txBody>
            <a:bodyPr wrap="square" rtlCol="0">
              <a:spAutoFit/>
            </a:bodyPr>
            <a:lstStyle/>
            <a:p>
              <a:r>
                <a:rPr lang="en-US" altLang="zh-CN" sz="1400" b="1" dirty="0">
                  <a:solidFill>
                    <a:schemeClr val="accent1"/>
                  </a:solidFill>
                  <a:latin typeface="Arial" panose="020B0604020202090204" pitchFamily="34" charset="0"/>
                  <a:ea typeface="华文楷体" panose="02010600040101010101" pitchFamily="2" charset="-122"/>
                </a:rPr>
                <a:t>Supporting text here.</a:t>
              </a:r>
              <a:endParaRPr lang="en-US" altLang="zh-CN" sz="1400" b="1" dirty="0">
                <a:solidFill>
                  <a:schemeClr val="accent1"/>
                </a:solidFill>
                <a:latin typeface="Arial" panose="020B0604020202090204" pitchFamily="34" charset="0"/>
                <a:ea typeface="华文楷体" panose="02010600040101010101" pitchFamily="2" charset="-122"/>
              </a:endParaRPr>
            </a:p>
          </p:txBody>
        </p:sp>
        <p:sp>
          <p:nvSpPr>
            <p:cNvPr id="17" name="文本框 16"/>
            <p:cNvSpPr txBox="1"/>
            <p:nvPr/>
          </p:nvSpPr>
          <p:spPr>
            <a:xfrm>
              <a:off x="7732500" y="5119112"/>
              <a:ext cx="2876555" cy="455189"/>
            </a:xfrm>
            <a:prstGeom prst="rect">
              <a:avLst/>
            </a:prstGeom>
          </p:spPr>
          <p:txBody>
            <a:bodyPr wrap="square" rtlCol="0">
              <a:spAutoFit/>
            </a:bodyPr>
            <a:lstStyle>
              <a:defPPr>
                <a:defRPr lang="zh-CN"/>
              </a:defPPr>
              <a:lvl1pPr>
                <a:lnSpc>
                  <a:spcPts val="1500"/>
                </a:lnSpc>
                <a:defRPr sz="900"/>
              </a:lvl1pPr>
            </a:lstStyle>
            <a:p>
              <a:r>
                <a:rPr lang="en-US" altLang="zh-CN" dirty="0">
                  <a:latin typeface="Arial" panose="020B0604020202090204" pitchFamily="34" charset="0"/>
                  <a:ea typeface="华文楷体" panose="02010600040101010101" pitchFamily="2" charset="-122"/>
                </a:rPr>
                <a:t>Unified fonts make reading more </a:t>
              </a:r>
              <a:r>
                <a:rPr lang="en-US" altLang="zh-CN" dirty="0" err="1">
                  <a:latin typeface="Arial" panose="020B0604020202090204" pitchFamily="34" charset="0"/>
                  <a:ea typeface="华文楷体" panose="02010600040101010101" pitchFamily="2" charset="-122"/>
                </a:rPr>
                <a:t>fluent.Copy</a:t>
              </a:r>
              <a:r>
                <a:rPr lang="en-US" altLang="zh-CN" dirty="0">
                  <a:latin typeface="Arial" panose="020B0604020202090204" pitchFamily="34" charset="0"/>
                  <a:ea typeface="华文楷体" panose="02010600040101010101" pitchFamily="2" charset="-122"/>
                </a:rPr>
                <a:t> paste fonts. Choose the only </a:t>
              </a:r>
              <a:r>
                <a:rPr lang="en-US" altLang="zh-CN" dirty="0" err="1">
                  <a:latin typeface="Arial" panose="020B0604020202090204" pitchFamily="34" charset="0"/>
                  <a:ea typeface="华文楷体" panose="02010600040101010101" pitchFamily="2" charset="-122"/>
                </a:rPr>
                <a:t>optio</a:t>
              </a:r>
              <a:r>
                <a:rPr lang="en-US" altLang="zh-CN" dirty="0">
                  <a:latin typeface="Arial" panose="020B0604020202090204" pitchFamily="34" charset="0"/>
                  <a:ea typeface="华文楷体" panose="02010600040101010101" pitchFamily="2" charset="-122"/>
                </a:rPr>
                <a:t> to retain text……</a:t>
              </a:r>
              <a:endParaRPr lang="en-US" altLang="zh-CN" dirty="0">
                <a:latin typeface="Arial" panose="020B0604020202090204" pitchFamily="34" charset="0"/>
                <a:ea typeface="华文楷体" panose="02010600040101010101" pitchFamily="2" charset="-122"/>
              </a:endParaRPr>
            </a:p>
          </p:txBody>
        </p:sp>
        <p:sp>
          <p:nvSpPr>
            <p:cNvPr id="18" name="文本框 17"/>
            <p:cNvSpPr txBox="1"/>
            <p:nvPr/>
          </p:nvSpPr>
          <p:spPr>
            <a:xfrm>
              <a:off x="7732501" y="4799003"/>
              <a:ext cx="2404744" cy="307777"/>
            </a:xfrm>
            <a:prstGeom prst="rect">
              <a:avLst/>
            </a:prstGeom>
            <a:noFill/>
          </p:spPr>
          <p:txBody>
            <a:bodyPr wrap="square" rtlCol="0">
              <a:spAutoFit/>
            </a:bodyPr>
            <a:lstStyle/>
            <a:p>
              <a:r>
                <a:rPr lang="en-US" altLang="zh-CN" sz="1400" b="1" dirty="0">
                  <a:latin typeface="Arial" panose="020B0604020202090204" pitchFamily="34" charset="0"/>
                  <a:ea typeface="华文楷体" panose="02010600040101010101" pitchFamily="2" charset="-122"/>
                </a:rPr>
                <a:t>Supporting text here.</a:t>
              </a:r>
              <a:endParaRPr lang="en-US" altLang="zh-CN" sz="1400" b="1" dirty="0">
                <a:latin typeface="Arial" panose="020B0604020202090204" pitchFamily="34" charset="0"/>
                <a:ea typeface="华文楷体" panose="02010600040101010101" pitchFamily="2" charset="-122"/>
              </a:endParaRPr>
            </a:p>
          </p:txBody>
        </p:sp>
        <p:sp>
          <p:nvSpPr>
            <p:cNvPr id="19" name="文本框 18"/>
            <p:cNvSpPr txBox="1"/>
            <p:nvPr/>
          </p:nvSpPr>
          <p:spPr>
            <a:xfrm>
              <a:off x="1446094" y="2839617"/>
              <a:ext cx="2876555" cy="455189"/>
            </a:xfrm>
            <a:prstGeom prst="rect">
              <a:avLst/>
            </a:prstGeom>
          </p:spPr>
          <p:txBody>
            <a:bodyPr wrap="square" rtlCol="0">
              <a:spAutoFit/>
            </a:bodyPr>
            <a:lstStyle>
              <a:defPPr>
                <a:defRPr lang="zh-CN"/>
              </a:defPPr>
              <a:lvl1pPr>
                <a:lnSpc>
                  <a:spcPts val="1500"/>
                </a:lnSpc>
                <a:defRPr sz="900"/>
              </a:lvl1pPr>
            </a:lstStyle>
            <a:p>
              <a:pPr algn="r"/>
              <a:r>
                <a:rPr lang="en-US" altLang="zh-CN" dirty="0">
                  <a:latin typeface="Arial" panose="020B0604020202090204" pitchFamily="34" charset="0"/>
                  <a:ea typeface="华文楷体" panose="02010600040101010101" pitchFamily="2" charset="-122"/>
                </a:rPr>
                <a:t>Unified fonts make reading more </a:t>
              </a:r>
              <a:r>
                <a:rPr lang="en-US" altLang="zh-CN" dirty="0" err="1">
                  <a:latin typeface="Arial" panose="020B0604020202090204" pitchFamily="34" charset="0"/>
                  <a:ea typeface="华文楷体" panose="02010600040101010101" pitchFamily="2" charset="-122"/>
                </a:rPr>
                <a:t>fluent.Copy</a:t>
              </a:r>
              <a:r>
                <a:rPr lang="en-US" altLang="zh-CN" dirty="0">
                  <a:latin typeface="Arial" panose="020B0604020202090204" pitchFamily="34" charset="0"/>
                  <a:ea typeface="华文楷体" panose="02010600040101010101" pitchFamily="2" charset="-122"/>
                </a:rPr>
                <a:t> paste fonts. Choose the only </a:t>
              </a:r>
              <a:r>
                <a:rPr lang="en-US" altLang="zh-CN" dirty="0" err="1">
                  <a:latin typeface="Arial" panose="020B0604020202090204" pitchFamily="34" charset="0"/>
                  <a:ea typeface="华文楷体" panose="02010600040101010101" pitchFamily="2" charset="-122"/>
                </a:rPr>
                <a:t>optio</a:t>
              </a:r>
              <a:r>
                <a:rPr lang="en-US" altLang="zh-CN" dirty="0">
                  <a:latin typeface="Arial" panose="020B0604020202090204" pitchFamily="34" charset="0"/>
                  <a:ea typeface="华文楷体" panose="02010600040101010101" pitchFamily="2" charset="-122"/>
                </a:rPr>
                <a:t> to retain text……</a:t>
              </a:r>
              <a:endParaRPr lang="en-US" altLang="zh-CN" dirty="0">
                <a:latin typeface="Arial" panose="020B0604020202090204" pitchFamily="34" charset="0"/>
                <a:ea typeface="华文楷体" panose="02010600040101010101" pitchFamily="2" charset="-122"/>
              </a:endParaRPr>
            </a:p>
          </p:txBody>
        </p:sp>
        <p:sp>
          <p:nvSpPr>
            <p:cNvPr id="20" name="文本框 19"/>
            <p:cNvSpPr txBox="1"/>
            <p:nvPr/>
          </p:nvSpPr>
          <p:spPr>
            <a:xfrm>
              <a:off x="1917905" y="2519508"/>
              <a:ext cx="2404744" cy="307777"/>
            </a:xfrm>
            <a:prstGeom prst="rect">
              <a:avLst/>
            </a:prstGeom>
            <a:noFill/>
          </p:spPr>
          <p:txBody>
            <a:bodyPr wrap="square" rtlCol="0">
              <a:spAutoFit/>
            </a:bodyPr>
            <a:lstStyle/>
            <a:p>
              <a:pPr algn="r"/>
              <a:r>
                <a:rPr lang="en-US" altLang="zh-CN" sz="1400" b="1" dirty="0">
                  <a:latin typeface="Arial" panose="020B0604020202090204" pitchFamily="34" charset="0"/>
                  <a:ea typeface="华文楷体" panose="02010600040101010101" pitchFamily="2" charset="-122"/>
                </a:rPr>
                <a:t>Supporting text here.</a:t>
              </a:r>
              <a:endParaRPr lang="en-US" altLang="zh-CN" sz="1400" b="1" dirty="0">
                <a:latin typeface="Arial" panose="020B0604020202090204" pitchFamily="34" charset="0"/>
                <a:ea typeface="华文楷体" panose="02010600040101010101" pitchFamily="2" charset="-122"/>
              </a:endParaRPr>
            </a:p>
          </p:txBody>
        </p:sp>
        <p:sp>
          <p:nvSpPr>
            <p:cNvPr id="21" name="文本框 20"/>
            <p:cNvSpPr txBox="1"/>
            <p:nvPr/>
          </p:nvSpPr>
          <p:spPr>
            <a:xfrm>
              <a:off x="1406399" y="5136103"/>
              <a:ext cx="2876555" cy="455189"/>
            </a:xfrm>
            <a:prstGeom prst="rect">
              <a:avLst/>
            </a:prstGeom>
          </p:spPr>
          <p:txBody>
            <a:bodyPr wrap="square" rtlCol="0">
              <a:spAutoFit/>
            </a:bodyPr>
            <a:lstStyle>
              <a:defPPr>
                <a:defRPr lang="zh-CN"/>
              </a:defPPr>
              <a:lvl1pPr>
                <a:lnSpc>
                  <a:spcPts val="1500"/>
                </a:lnSpc>
                <a:defRPr sz="900"/>
              </a:lvl1pPr>
            </a:lstStyle>
            <a:p>
              <a:pPr algn="r"/>
              <a:r>
                <a:rPr lang="en-US" altLang="zh-CN" dirty="0">
                  <a:latin typeface="Arial" panose="020B0604020202090204" pitchFamily="34" charset="0"/>
                  <a:ea typeface="华文楷体" panose="02010600040101010101" pitchFamily="2" charset="-122"/>
                </a:rPr>
                <a:t>Unified fonts make reading more </a:t>
              </a:r>
              <a:r>
                <a:rPr lang="en-US" altLang="zh-CN" dirty="0" err="1">
                  <a:latin typeface="Arial" panose="020B0604020202090204" pitchFamily="34" charset="0"/>
                  <a:ea typeface="华文楷体" panose="02010600040101010101" pitchFamily="2" charset="-122"/>
                </a:rPr>
                <a:t>fluent.Copy</a:t>
              </a:r>
              <a:r>
                <a:rPr lang="en-US" altLang="zh-CN" dirty="0">
                  <a:latin typeface="Arial" panose="020B0604020202090204" pitchFamily="34" charset="0"/>
                  <a:ea typeface="华文楷体" panose="02010600040101010101" pitchFamily="2" charset="-122"/>
                </a:rPr>
                <a:t> paste fonts. Choose the only </a:t>
              </a:r>
              <a:r>
                <a:rPr lang="en-US" altLang="zh-CN" dirty="0" err="1">
                  <a:latin typeface="Arial" panose="020B0604020202090204" pitchFamily="34" charset="0"/>
                  <a:ea typeface="华文楷体" panose="02010600040101010101" pitchFamily="2" charset="-122"/>
                </a:rPr>
                <a:t>optio</a:t>
              </a:r>
              <a:r>
                <a:rPr lang="en-US" altLang="zh-CN" dirty="0">
                  <a:latin typeface="Arial" panose="020B0604020202090204" pitchFamily="34" charset="0"/>
                  <a:ea typeface="华文楷体" panose="02010600040101010101" pitchFamily="2" charset="-122"/>
                </a:rPr>
                <a:t> to retain text……</a:t>
              </a:r>
              <a:endParaRPr lang="en-US" altLang="zh-CN" dirty="0">
                <a:latin typeface="Arial" panose="020B0604020202090204" pitchFamily="34" charset="0"/>
                <a:ea typeface="华文楷体" panose="02010600040101010101" pitchFamily="2" charset="-122"/>
              </a:endParaRPr>
            </a:p>
          </p:txBody>
        </p:sp>
        <p:sp>
          <p:nvSpPr>
            <p:cNvPr id="22" name="文本框 21"/>
            <p:cNvSpPr txBox="1"/>
            <p:nvPr/>
          </p:nvSpPr>
          <p:spPr>
            <a:xfrm>
              <a:off x="1878210" y="4815994"/>
              <a:ext cx="2404744" cy="307777"/>
            </a:xfrm>
            <a:prstGeom prst="rect">
              <a:avLst/>
            </a:prstGeom>
            <a:noFill/>
          </p:spPr>
          <p:txBody>
            <a:bodyPr wrap="square" rtlCol="0">
              <a:spAutoFit/>
            </a:bodyPr>
            <a:lstStyle/>
            <a:p>
              <a:pPr algn="r"/>
              <a:r>
                <a:rPr lang="en-US" altLang="zh-CN" sz="1400" b="1" dirty="0">
                  <a:latin typeface="Arial" panose="020B0604020202090204" pitchFamily="34" charset="0"/>
                  <a:ea typeface="华文楷体" panose="02010600040101010101" pitchFamily="2" charset="-122"/>
                </a:rPr>
                <a:t>Supporting text here.</a:t>
              </a:r>
              <a:endParaRPr lang="en-US" altLang="zh-CN" sz="1400" b="1" dirty="0">
                <a:latin typeface="Arial" panose="020B0604020202090204" pitchFamily="34" charset="0"/>
                <a:ea typeface="华文楷体" panose="02010600040101010101" pitchFamily="2" charset="-122"/>
              </a:endParaRPr>
            </a:p>
          </p:txBody>
        </p:sp>
        <p:sp>
          <p:nvSpPr>
            <p:cNvPr id="26" name="文本框 25"/>
            <p:cNvSpPr txBox="1"/>
            <p:nvPr/>
          </p:nvSpPr>
          <p:spPr>
            <a:xfrm>
              <a:off x="3660590" y="1282438"/>
              <a:ext cx="4642729" cy="830997"/>
            </a:xfrm>
            <a:prstGeom prst="rect">
              <a:avLst/>
            </a:prstGeom>
            <a:noFill/>
          </p:spPr>
          <p:txBody>
            <a:bodyPr wrap="square">
              <a:spAutoFit/>
            </a:bodyPr>
            <a:lstStyle/>
            <a:p>
              <a:pPr marL="0" marR="0" lvl="0" indent="0" algn="ctr" defTabSz="913765" rtl="0" eaLnBrk="1" fontAlgn="auto" latinLnBrk="0" hangingPunct="1">
                <a:lnSpc>
                  <a:spcPct val="100000"/>
                </a:lnSpc>
                <a:spcBef>
                  <a:spcPts val="0"/>
                </a:spcBef>
                <a:spcAft>
                  <a:spcPts val="0"/>
                </a:spcAft>
                <a:buClrTx/>
                <a:buSzPct val="25000"/>
                <a:buFontTx/>
                <a:buNone/>
                <a:defRPr/>
              </a:pPr>
              <a:r>
                <a:rPr kumimoji="0" lang="en-US" altLang="zh-CN" sz="2400" b="1" i="0" u="none" strike="noStrike" kern="1200" cap="none" spc="0" normalizeH="0" baseline="0" noProof="0" dirty="0">
                  <a:ln>
                    <a:noFill/>
                  </a:ln>
                  <a:effectLst/>
                  <a:uLnTx/>
                  <a:uFillTx/>
                  <a:latin typeface="Arial" panose="020B0604020202090204" pitchFamily="34" charset="0"/>
                  <a:ea typeface="华文楷体" panose="02010600040101010101" pitchFamily="2" charset="-122"/>
                </a:rPr>
                <a:t>Unified fonts </a:t>
              </a:r>
              <a:endParaRPr kumimoji="0" lang="en-US" altLang="zh-CN" sz="2400" b="1" i="0" u="none" strike="noStrike" kern="1200" cap="none" spc="0" normalizeH="0" baseline="0" noProof="0" dirty="0">
                <a:ln>
                  <a:noFill/>
                </a:ln>
                <a:effectLst/>
                <a:uLnTx/>
                <a:uFillTx/>
                <a:latin typeface="Arial" panose="020B0604020202090204" pitchFamily="34" charset="0"/>
                <a:ea typeface="华文楷体" panose="02010600040101010101" pitchFamily="2" charset="-122"/>
              </a:endParaRPr>
            </a:p>
            <a:p>
              <a:pPr marL="0" marR="0" lvl="0" indent="0" algn="ctr" defTabSz="913765" rtl="0" eaLnBrk="1" fontAlgn="auto" latinLnBrk="0" hangingPunct="1">
                <a:lnSpc>
                  <a:spcPct val="100000"/>
                </a:lnSpc>
                <a:spcBef>
                  <a:spcPts val="0"/>
                </a:spcBef>
                <a:spcAft>
                  <a:spcPts val="0"/>
                </a:spcAft>
                <a:buClrTx/>
                <a:buSzPct val="25000"/>
                <a:buFontTx/>
                <a:buNone/>
                <a:defRPr/>
              </a:pPr>
              <a:r>
                <a:rPr kumimoji="0" lang="en-US" altLang="zh-CN" sz="2400" b="1" i="0" u="none" strike="noStrike" kern="1200" cap="none" spc="0" normalizeH="0" baseline="0" noProof="0" dirty="0">
                  <a:ln>
                    <a:noFill/>
                  </a:ln>
                  <a:effectLst/>
                  <a:uLnTx/>
                  <a:uFillTx/>
                  <a:latin typeface="Arial" panose="020B0604020202090204" pitchFamily="34" charset="0"/>
                  <a:ea typeface="华文楷体" panose="02010600040101010101" pitchFamily="2" charset="-122"/>
                </a:rPr>
                <a:t>make reading more fluent. </a:t>
              </a:r>
              <a:endParaRPr kumimoji="0" lang="en-US" altLang="zh-CN" sz="2400" b="1" i="0" u="none" strike="noStrike" kern="1200" cap="none" spc="0" normalizeH="0" baseline="0" noProof="0" dirty="0">
                <a:ln>
                  <a:noFill/>
                </a:ln>
                <a:effectLst/>
                <a:uLnTx/>
                <a:uFillTx/>
                <a:latin typeface="Arial" panose="020B0604020202090204" pitchFamily="34" charset="0"/>
                <a:ea typeface="华文楷体" panose="02010600040101010101" pitchFamily="2" charset="-122"/>
              </a:endParaRPr>
            </a:p>
          </p:txBody>
        </p:sp>
        <p:sp>
          <p:nvSpPr>
            <p:cNvPr id="27" name="文本框 26"/>
            <p:cNvSpPr txBox="1"/>
            <p:nvPr/>
          </p:nvSpPr>
          <p:spPr>
            <a:xfrm>
              <a:off x="5232167" y="3829065"/>
              <a:ext cx="1579633" cy="400110"/>
            </a:xfrm>
            <a:prstGeom prst="rect">
              <a:avLst/>
            </a:prstGeom>
            <a:noFill/>
          </p:spPr>
          <p:txBody>
            <a:bodyPr wrap="square" rtlCol="0">
              <a:spAutoFit/>
            </a:bodyPr>
            <a:lstStyle/>
            <a:p>
              <a:pPr algn="ctr"/>
              <a:r>
                <a:rPr lang="en-US" altLang="zh-CN" sz="2000" b="1" dirty="0">
                  <a:latin typeface="Arial" panose="020B0604020202090204" pitchFamily="34" charset="0"/>
                  <a:ea typeface="华文楷体" panose="02010600040101010101" pitchFamily="2" charset="-122"/>
                </a:rPr>
                <a:t>Text here</a:t>
              </a:r>
              <a:endParaRPr lang="en-US" altLang="zh-CN" sz="2000" b="1" dirty="0">
                <a:latin typeface="Arial" panose="020B0604020202090204" pitchFamily="34" charset="0"/>
                <a:ea typeface="华文楷体" panose="02010600040101010101" pitchFamily="2" charset="-122"/>
              </a:endParaRPr>
            </a:p>
          </p:txBody>
        </p:sp>
        <p:sp>
          <p:nvSpPr>
            <p:cNvPr id="24" name="任意多边形: 形状 23"/>
            <p:cNvSpPr/>
            <p:nvPr/>
          </p:nvSpPr>
          <p:spPr>
            <a:xfrm>
              <a:off x="6687085" y="2995031"/>
              <a:ext cx="306160" cy="335247"/>
            </a:xfrm>
            <a:custGeom>
              <a:avLst/>
              <a:gdLst>
                <a:gd name="connsiteX0" fmla="*/ 367478 w 487121"/>
                <a:gd name="connsiteY0" fmla="*/ 621 h 533400"/>
                <a:gd name="connsiteX1" fmla="*/ 367478 w 487121"/>
                <a:gd name="connsiteY1" fmla="*/ 19671 h 533400"/>
                <a:gd name="connsiteX2" fmla="*/ 338903 w 487121"/>
                <a:gd name="connsiteY2" fmla="*/ 19671 h 533400"/>
                <a:gd name="connsiteX3" fmla="*/ 338903 w 487121"/>
                <a:gd name="connsiteY3" fmla="*/ 135876 h 533400"/>
                <a:gd name="connsiteX4" fmla="*/ 340808 w 487121"/>
                <a:gd name="connsiteY4" fmla="*/ 145401 h 533400"/>
                <a:gd name="connsiteX5" fmla="*/ 341761 w 487121"/>
                <a:gd name="connsiteY5" fmla="*/ 147306 h 533400"/>
                <a:gd name="connsiteX6" fmla="*/ 482731 w 487121"/>
                <a:gd name="connsiteY6" fmla="*/ 464489 h 533400"/>
                <a:gd name="connsiteX7" fmla="*/ 483683 w 487121"/>
                <a:gd name="connsiteY7" fmla="*/ 509256 h 533400"/>
                <a:gd name="connsiteX8" fmla="*/ 447488 w 487121"/>
                <a:gd name="connsiteY8" fmla="*/ 534021 h 533400"/>
                <a:gd name="connsiteX9" fmla="*/ 447488 w 487121"/>
                <a:gd name="connsiteY9" fmla="*/ 534021 h 533400"/>
                <a:gd name="connsiteX10" fmla="*/ 40771 w 487121"/>
                <a:gd name="connsiteY10" fmla="*/ 534021 h 533400"/>
                <a:gd name="connsiteX11" fmla="*/ 4576 w 487121"/>
                <a:gd name="connsiteY11" fmla="*/ 509256 h 533400"/>
                <a:gd name="connsiteX12" fmla="*/ 5528 w 487121"/>
                <a:gd name="connsiteY12" fmla="*/ 464489 h 533400"/>
                <a:gd name="connsiteX13" fmla="*/ 5528 w 487121"/>
                <a:gd name="connsiteY13" fmla="*/ 464489 h 533400"/>
                <a:gd name="connsiteX14" fmla="*/ 146498 w 487121"/>
                <a:gd name="connsiteY14" fmla="*/ 147306 h 533400"/>
                <a:gd name="connsiteX15" fmla="*/ 149356 w 487121"/>
                <a:gd name="connsiteY15" fmla="*/ 135876 h 533400"/>
                <a:gd name="connsiteX16" fmla="*/ 149356 w 487121"/>
                <a:gd name="connsiteY16" fmla="*/ 135876 h 533400"/>
                <a:gd name="connsiteX17" fmla="*/ 149356 w 487121"/>
                <a:gd name="connsiteY17" fmla="*/ 19671 h 533400"/>
                <a:gd name="connsiteX18" fmla="*/ 120781 w 487121"/>
                <a:gd name="connsiteY18" fmla="*/ 19671 h 533400"/>
                <a:gd name="connsiteX19" fmla="*/ 120781 w 487121"/>
                <a:gd name="connsiteY19" fmla="*/ 621 h 533400"/>
                <a:gd name="connsiteX20" fmla="*/ 367478 w 487121"/>
                <a:gd name="connsiteY20" fmla="*/ 621 h 533400"/>
                <a:gd name="connsiteX21" fmla="*/ 252226 w 487121"/>
                <a:gd name="connsiteY21" fmla="*/ 415911 h 533400"/>
                <a:gd name="connsiteX22" fmla="*/ 249368 w 487121"/>
                <a:gd name="connsiteY22" fmla="*/ 417816 h 533400"/>
                <a:gd name="connsiteX23" fmla="*/ 50296 w 487121"/>
                <a:gd name="connsiteY23" fmla="*/ 409244 h 533400"/>
                <a:gd name="connsiteX24" fmla="*/ 22673 w 487121"/>
                <a:gd name="connsiteY24" fmla="*/ 471156 h 533400"/>
                <a:gd name="connsiteX25" fmla="*/ 21721 w 487121"/>
                <a:gd name="connsiteY25" fmla="*/ 501636 h 533400"/>
                <a:gd name="connsiteX26" fmla="*/ 39818 w 487121"/>
                <a:gd name="connsiteY26" fmla="*/ 514019 h 533400"/>
                <a:gd name="connsiteX27" fmla="*/ 39818 w 487121"/>
                <a:gd name="connsiteY27" fmla="*/ 514019 h 533400"/>
                <a:gd name="connsiteX28" fmla="*/ 446536 w 487121"/>
                <a:gd name="connsiteY28" fmla="*/ 514019 h 533400"/>
                <a:gd name="connsiteX29" fmla="*/ 464633 w 487121"/>
                <a:gd name="connsiteY29" fmla="*/ 501636 h 533400"/>
                <a:gd name="connsiteX30" fmla="*/ 463681 w 487121"/>
                <a:gd name="connsiteY30" fmla="*/ 471156 h 533400"/>
                <a:gd name="connsiteX31" fmla="*/ 463681 w 487121"/>
                <a:gd name="connsiteY31" fmla="*/ 471156 h 533400"/>
                <a:gd name="connsiteX32" fmla="*/ 435106 w 487121"/>
                <a:gd name="connsiteY32" fmla="*/ 407339 h 533400"/>
                <a:gd name="connsiteX33" fmla="*/ 434153 w 487121"/>
                <a:gd name="connsiteY33" fmla="*/ 407339 h 533400"/>
                <a:gd name="connsiteX34" fmla="*/ 252226 w 487121"/>
                <a:gd name="connsiteY34" fmla="*/ 415911 h 533400"/>
                <a:gd name="connsiteX35" fmla="*/ 319853 w 487121"/>
                <a:gd name="connsiteY35" fmla="*/ 19671 h 533400"/>
                <a:gd name="connsiteX36" fmla="*/ 167453 w 487121"/>
                <a:gd name="connsiteY36" fmla="*/ 19671 h 533400"/>
                <a:gd name="connsiteX37" fmla="*/ 167453 w 487121"/>
                <a:gd name="connsiteY37" fmla="*/ 135876 h 533400"/>
                <a:gd name="connsiteX38" fmla="*/ 164596 w 487121"/>
                <a:gd name="connsiteY38" fmla="*/ 153021 h 533400"/>
                <a:gd name="connsiteX39" fmla="*/ 164596 w 487121"/>
                <a:gd name="connsiteY39" fmla="*/ 153021 h 533400"/>
                <a:gd name="connsiteX40" fmla="*/ 163643 w 487121"/>
                <a:gd name="connsiteY40" fmla="*/ 155879 h 533400"/>
                <a:gd name="connsiteX41" fmla="*/ 57916 w 487121"/>
                <a:gd name="connsiteY41" fmla="*/ 393051 h 533400"/>
                <a:gd name="connsiteX42" fmla="*/ 235081 w 487121"/>
                <a:gd name="connsiteY42" fmla="*/ 405434 h 533400"/>
                <a:gd name="connsiteX43" fmla="*/ 237938 w 487121"/>
                <a:gd name="connsiteY43" fmla="*/ 403529 h 533400"/>
                <a:gd name="connsiteX44" fmla="*/ 424628 w 487121"/>
                <a:gd name="connsiteY44" fmla="*/ 383526 h 533400"/>
                <a:gd name="connsiteX45" fmla="*/ 323663 w 487121"/>
                <a:gd name="connsiteY45" fmla="*/ 155879 h 533400"/>
                <a:gd name="connsiteX46" fmla="*/ 319853 w 487121"/>
                <a:gd name="connsiteY46" fmla="*/ 136829 h 533400"/>
                <a:gd name="connsiteX47" fmla="*/ 319853 w 487121"/>
                <a:gd name="connsiteY47" fmla="*/ 136829 h 533400"/>
                <a:gd name="connsiteX48" fmla="*/ 319853 w 487121"/>
                <a:gd name="connsiteY48" fmla="*/ 19671 h 533400"/>
                <a:gd name="connsiteX49" fmla="*/ 305566 w 487121"/>
                <a:gd name="connsiteY49" fmla="*/ 248271 h 533400"/>
                <a:gd name="connsiteX50" fmla="*/ 348428 w 487121"/>
                <a:gd name="connsiteY50" fmla="*/ 291134 h 533400"/>
                <a:gd name="connsiteX51" fmla="*/ 305566 w 487121"/>
                <a:gd name="connsiteY51" fmla="*/ 333996 h 533400"/>
                <a:gd name="connsiteX52" fmla="*/ 262703 w 487121"/>
                <a:gd name="connsiteY52" fmla="*/ 291134 h 533400"/>
                <a:gd name="connsiteX53" fmla="*/ 305566 w 487121"/>
                <a:gd name="connsiteY53" fmla="*/ 248271 h 533400"/>
                <a:gd name="connsiteX54" fmla="*/ 305566 w 487121"/>
                <a:gd name="connsiteY54" fmla="*/ 267321 h 533400"/>
                <a:gd name="connsiteX55" fmla="*/ 281753 w 487121"/>
                <a:gd name="connsiteY55" fmla="*/ 291134 h 533400"/>
                <a:gd name="connsiteX56" fmla="*/ 305566 w 487121"/>
                <a:gd name="connsiteY56" fmla="*/ 314946 h 533400"/>
                <a:gd name="connsiteX57" fmla="*/ 329378 w 487121"/>
                <a:gd name="connsiteY57" fmla="*/ 291134 h 533400"/>
                <a:gd name="connsiteX58" fmla="*/ 305566 w 487121"/>
                <a:gd name="connsiteY58" fmla="*/ 267321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487121" h="533400">
                  <a:moveTo>
                    <a:pt x="367478" y="621"/>
                  </a:moveTo>
                  <a:lnTo>
                    <a:pt x="367478" y="19671"/>
                  </a:lnTo>
                  <a:lnTo>
                    <a:pt x="338903" y="19671"/>
                  </a:lnTo>
                  <a:lnTo>
                    <a:pt x="338903" y="135876"/>
                  </a:lnTo>
                  <a:cubicBezTo>
                    <a:pt x="338903" y="138734"/>
                    <a:pt x="339856" y="142544"/>
                    <a:pt x="340808" y="145401"/>
                  </a:cubicBezTo>
                  <a:lnTo>
                    <a:pt x="341761" y="147306"/>
                  </a:lnTo>
                  <a:lnTo>
                    <a:pt x="482731" y="464489"/>
                  </a:lnTo>
                  <a:cubicBezTo>
                    <a:pt x="489398" y="478776"/>
                    <a:pt x="489398" y="494969"/>
                    <a:pt x="483683" y="509256"/>
                  </a:cubicBezTo>
                  <a:cubicBezTo>
                    <a:pt x="477968" y="524496"/>
                    <a:pt x="463681" y="534021"/>
                    <a:pt x="447488" y="534021"/>
                  </a:cubicBezTo>
                  <a:lnTo>
                    <a:pt x="447488" y="534021"/>
                  </a:lnTo>
                  <a:lnTo>
                    <a:pt x="40771" y="534021"/>
                  </a:lnTo>
                  <a:cubicBezTo>
                    <a:pt x="24578" y="534021"/>
                    <a:pt x="10291" y="524496"/>
                    <a:pt x="4576" y="509256"/>
                  </a:cubicBezTo>
                  <a:cubicBezTo>
                    <a:pt x="-1139" y="494969"/>
                    <a:pt x="-187" y="478776"/>
                    <a:pt x="5528" y="464489"/>
                  </a:cubicBezTo>
                  <a:lnTo>
                    <a:pt x="5528" y="464489"/>
                  </a:lnTo>
                  <a:lnTo>
                    <a:pt x="146498" y="147306"/>
                  </a:lnTo>
                  <a:cubicBezTo>
                    <a:pt x="148403" y="143496"/>
                    <a:pt x="149356" y="139686"/>
                    <a:pt x="149356" y="135876"/>
                  </a:cubicBezTo>
                  <a:lnTo>
                    <a:pt x="149356" y="135876"/>
                  </a:lnTo>
                  <a:lnTo>
                    <a:pt x="149356" y="19671"/>
                  </a:lnTo>
                  <a:lnTo>
                    <a:pt x="120781" y="19671"/>
                  </a:lnTo>
                  <a:lnTo>
                    <a:pt x="120781" y="621"/>
                  </a:lnTo>
                  <a:lnTo>
                    <a:pt x="367478" y="621"/>
                  </a:lnTo>
                  <a:close/>
                  <a:moveTo>
                    <a:pt x="252226" y="415911"/>
                  </a:moveTo>
                  <a:lnTo>
                    <a:pt x="249368" y="417816"/>
                  </a:lnTo>
                  <a:cubicBezTo>
                    <a:pt x="194123" y="456869"/>
                    <a:pt x="118876" y="453059"/>
                    <a:pt x="50296" y="409244"/>
                  </a:cubicBezTo>
                  <a:lnTo>
                    <a:pt x="22673" y="471156"/>
                  </a:lnTo>
                  <a:cubicBezTo>
                    <a:pt x="18863" y="480681"/>
                    <a:pt x="17911" y="491159"/>
                    <a:pt x="21721" y="501636"/>
                  </a:cubicBezTo>
                  <a:cubicBezTo>
                    <a:pt x="24578" y="509256"/>
                    <a:pt x="32198" y="514019"/>
                    <a:pt x="39818" y="514019"/>
                  </a:cubicBezTo>
                  <a:lnTo>
                    <a:pt x="39818" y="514019"/>
                  </a:lnTo>
                  <a:lnTo>
                    <a:pt x="446536" y="514019"/>
                  </a:lnTo>
                  <a:cubicBezTo>
                    <a:pt x="455108" y="514019"/>
                    <a:pt x="461776" y="509256"/>
                    <a:pt x="464633" y="501636"/>
                  </a:cubicBezTo>
                  <a:cubicBezTo>
                    <a:pt x="468443" y="492111"/>
                    <a:pt x="468443" y="480681"/>
                    <a:pt x="463681" y="471156"/>
                  </a:cubicBezTo>
                  <a:lnTo>
                    <a:pt x="463681" y="471156"/>
                  </a:lnTo>
                  <a:lnTo>
                    <a:pt x="435106" y="407339"/>
                  </a:lnTo>
                  <a:lnTo>
                    <a:pt x="434153" y="407339"/>
                  </a:lnTo>
                  <a:cubicBezTo>
                    <a:pt x="374146" y="378764"/>
                    <a:pt x="301756" y="382574"/>
                    <a:pt x="252226" y="415911"/>
                  </a:cubicBezTo>
                  <a:close/>
                  <a:moveTo>
                    <a:pt x="319853" y="19671"/>
                  </a:moveTo>
                  <a:lnTo>
                    <a:pt x="167453" y="19671"/>
                  </a:lnTo>
                  <a:lnTo>
                    <a:pt x="167453" y="135876"/>
                  </a:lnTo>
                  <a:cubicBezTo>
                    <a:pt x="167453" y="141591"/>
                    <a:pt x="166501" y="147306"/>
                    <a:pt x="164596" y="153021"/>
                  </a:cubicBezTo>
                  <a:lnTo>
                    <a:pt x="164596" y="153021"/>
                  </a:lnTo>
                  <a:lnTo>
                    <a:pt x="163643" y="155879"/>
                  </a:lnTo>
                  <a:lnTo>
                    <a:pt x="57916" y="393051"/>
                  </a:lnTo>
                  <a:cubicBezTo>
                    <a:pt x="119828" y="433056"/>
                    <a:pt x="186503" y="437819"/>
                    <a:pt x="235081" y="405434"/>
                  </a:cubicBezTo>
                  <a:lnTo>
                    <a:pt x="237938" y="403529"/>
                  </a:lnTo>
                  <a:cubicBezTo>
                    <a:pt x="289373" y="367334"/>
                    <a:pt x="360811" y="360666"/>
                    <a:pt x="424628" y="383526"/>
                  </a:cubicBezTo>
                  <a:lnTo>
                    <a:pt x="323663" y="155879"/>
                  </a:lnTo>
                  <a:cubicBezTo>
                    <a:pt x="320806" y="150164"/>
                    <a:pt x="319853" y="143496"/>
                    <a:pt x="319853" y="136829"/>
                  </a:cubicBezTo>
                  <a:lnTo>
                    <a:pt x="319853" y="136829"/>
                  </a:lnTo>
                  <a:lnTo>
                    <a:pt x="319853" y="19671"/>
                  </a:lnTo>
                  <a:close/>
                  <a:moveTo>
                    <a:pt x="305566" y="248271"/>
                  </a:moveTo>
                  <a:cubicBezTo>
                    <a:pt x="329378" y="248271"/>
                    <a:pt x="348428" y="267321"/>
                    <a:pt x="348428" y="291134"/>
                  </a:cubicBezTo>
                  <a:cubicBezTo>
                    <a:pt x="348428" y="314946"/>
                    <a:pt x="329378" y="333996"/>
                    <a:pt x="305566" y="333996"/>
                  </a:cubicBezTo>
                  <a:cubicBezTo>
                    <a:pt x="281753" y="333996"/>
                    <a:pt x="262703" y="314946"/>
                    <a:pt x="262703" y="291134"/>
                  </a:cubicBezTo>
                  <a:cubicBezTo>
                    <a:pt x="262703" y="267321"/>
                    <a:pt x="281753" y="248271"/>
                    <a:pt x="305566" y="248271"/>
                  </a:cubicBezTo>
                  <a:close/>
                  <a:moveTo>
                    <a:pt x="305566" y="267321"/>
                  </a:moveTo>
                  <a:cubicBezTo>
                    <a:pt x="292231" y="267321"/>
                    <a:pt x="281753" y="277799"/>
                    <a:pt x="281753" y="291134"/>
                  </a:cubicBezTo>
                  <a:cubicBezTo>
                    <a:pt x="281753" y="304469"/>
                    <a:pt x="292231" y="314946"/>
                    <a:pt x="305566" y="314946"/>
                  </a:cubicBezTo>
                  <a:cubicBezTo>
                    <a:pt x="318901" y="314946"/>
                    <a:pt x="329378" y="304469"/>
                    <a:pt x="329378" y="291134"/>
                  </a:cubicBezTo>
                  <a:cubicBezTo>
                    <a:pt x="329378" y="277799"/>
                    <a:pt x="318901" y="267321"/>
                    <a:pt x="305566" y="267321"/>
                  </a:cubicBezTo>
                  <a:close/>
                </a:path>
              </a:pathLst>
            </a:custGeom>
            <a:solidFill>
              <a:srgbClr val="FFFFFF"/>
            </a:solidFill>
            <a:ln w="9525" cap="flat">
              <a:noFill/>
              <a:prstDash val="solid"/>
              <a:miter/>
            </a:ln>
          </p:spPr>
          <p:txBody>
            <a:bodyPr rtlCol="0" anchor="ctr"/>
            <a:lstStyle/>
            <a:p>
              <a:endParaRPr lang="zh-CN" altLang="en-US" dirty="0"/>
            </a:p>
          </p:txBody>
        </p:sp>
      </p:grpSp>
    </p:spTree>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1542289" y="1143627"/>
            <a:ext cx="9107422" cy="4977147"/>
            <a:chOff x="1542289" y="1143627"/>
            <a:chExt cx="9107422" cy="4977147"/>
          </a:xfrm>
        </p:grpSpPr>
        <p:grpSp>
          <p:nvGrpSpPr>
            <p:cNvPr id="3" name="组合 2"/>
            <p:cNvGrpSpPr/>
            <p:nvPr/>
          </p:nvGrpSpPr>
          <p:grpSpPr>
            <a:xfrm>
              <a:off x="1542289" y="1143627"/>
              <a:ext cx="9107422" cy="4977147"/>
              <a:chOff x="1542288" y="1143627"/>
              <a:chExt cx="9107423" cy="4977147"/>
            </a:xfrm>
          </p:grpSpPr>
          <p:grpSp>
            <p:nvGrpSpPr>
              <p:cNvPr id="4" name="组合 3"/>
              <p:cNvGrpSpPr/>
              <p:nvPr/>
            </p:nvGrpSpPr>
            <p:grpSpPr>
              <a:xfrm>
                <a:off x="4293069" y="1143627"/>
                <a:ext cx="5256772" cy="4295531"/>
                <a:chOff x="4293069" y="1143627"/>
                <a:chExt cx="5256772" cy="4295531"/>
              </a:xfrm>
            </p:grpSpPr>
            <p:grpSp>
              <p:nvGrpSpPr>
                <p:cNvPr id="49" name="组合 48"/>
                <p:cNvGrpSpPr/>
                <p:nvPr/>
              </p:nvGrpSpPr>
              <p:grpSpPr>
                <a:xfrm>
                  <a:off x="7113037" y="1143627"/>
                  <a:ext cx="2436804" cy="926844"/>
                  <a:chOff x="7113037" y="1143627"/>
                  <a:chExt cx="2436804" cy="926844"/>
                </a:xfrm>
              </p:grpSpPr>
              <p:grpSp>
                <p:nvGrpSpPr>
                  <p:cNvPr id="51" name="组合 50"/>
                  <p:cNvGrpSpPr/>
                  <p:nvPr/>
                </p:nvGrpSpPr>
                <p:grpSpPr>
                  <a:xfrm>
                    <a:off x="7696369" y="1143627"/>
                    <a:ext cx="1853472" cy="926844"/>
                    <a:chOff x="7119257" y="2386978"/>
                    <a:chExt cx="2200862" cy="911887"/>
                  </a:xfrm>
                  <a:noFill/>
                </p:grpSpPr>
                <p:sp>
                  <p:nvSpPr>
                    <p:cNvPr id="55" name="矩形 54"/>
                    <p:cNvSpPr/>
                    <p:nvPr/>
                  </p:nvSpPr>
                  <p:spPr>
                    <a:xfrm>
                      <a:off x="7119257" y="2386978"/>
                      <a:ext cx="2200862" cy="4568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b"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r>
                        <a:rPr kumimoji="1" lang="en-US" altLang="zh-CN" sz="1600" b="1" dirty="0">
                          <a:solidFill>
                            <a:schemeClr val="tx1"/>
                          </a:solidFill>
                          <a:latin typeface="Arial" panose="020B0604020202090204" pitchFamily="34" charset="0"/>
                          <a:ea typeface="华文楷体" panose="02010600040101010101" pitchFamily="2" charset="-122"/>
                        </a:rPr>
                        <a:t>Text</a:t>
                      </a:r>
                      <a:r>
                        <a:rPr kumimoji="1" lang="zh-CN" altLang="en-US" sz="1600" b="1" dirty="0">
                          <a:solidFill>
                            <a:schemeClr val="tx1"/>
                          </a:solidFill>
                          <a:latin typeface="Arial" panose="020B0604020202090204" pitchFamily="34" charset="0"/>
                          <a:ea typeface="华文楷体" panose="02010600040101010101" pitchFamily="2" charset="-122"/>
                        </a:rPr>
                        <a:t> </a:t>
                      </a:r>
                      <a:r>
                        <a:rPr kumimoji="1" lang="en-US" altLang="zh-CN" sz="1600" b="1" dirty="0">
                          <a:solidFill>
                            <a:schemeClr val="tx1"/>
                          </a:solidFill>
                          <a:latin typeface="Arial" panose="020B0604020202090204" pitchFamily="34" charset="0"/>
                          <a:ea typeface="华文楷体" panose="02010600040101010101" pitchFamily="2" charset="-122"/>
                        </a:rPr>
                        <a:t>here</a:t>
                      </a:r>
                      <a:endParaRPr kumimoji="1" lang="en-US" altLang="zh-CN" sz="1600" b="1" dirty="0">
                        <a:solidFill>
                          <a:schemeClr val="tx1"/>
                        </a:solidFill>
                        <a:latin typeface="Arial" panose="020B0604020202090204" pitchFamily="34" charset="0"/>
                        <a:ea typeface="华文楷体" panose="02010600040101010101" pitchFamily="2" charset="-122"/>
                      </a:endParaRPr>
                    </a:p>
                  </p:txBody>
                </p:sp>
                <p:sp>
                  <p:nvSpPr>
                    <p:cNvPr id="56" name="矩形 55"/>
                    <p:cNvSpPr/>
                    <p:nvPr/>
                  </p:nvSpPr>
                  <p:spPr>
                    <a:xfrm>
                      <a:off x="7119257" y="2711125"/>
                      <a:ext cx="2199239" cy="5877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t"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nSpc>
                          <a:spcPct val="130000"/>
                        </a:lnSpc>
                      </a:pPr>
                      <a:r>
                        <a:rPr kumimoji="1" lang="en-US" altLang="zh-CN" sz="1000" dirty="0">
                          <a:solidFill>
                            <a:schemeClr val="tx1"/>
                          </a:solidFill>
                          <a:latin typeface="Arial" panose="020B0604020202090204" pitchFamily="34" charset="0"/>
                          <a:ea typeface="华文楷体" panose="02010600040101010101" pitchFamily="2" charset="-122"/>
                        </a:rPr>
                        <a:t>Theme color makes PPT more convenient to change.</a:t>
                      </a:r>
                      <a:endParaRPr kumimoji="1" lang="en-US" altLang="zh-CN" sz="1000" dirty="0">
                        <a:solidFill>
                          <a:schemeClr val="tx1"/>
                        </a:solidFill>
                        <a:latin typeface="Arial" panose="020B0604020202090204" pitchFamily="34" charset="0"/>
                        <a:ea typeface="华文楷体" panose="02010600040101010101" pitchFamily="2" charset="-122"/>
                      </a:endParaRPr>
                    </a:p>
                  </p:txBody>
                </p:sp>
              </p:grpSp>
              <p:grpSp>
                <p:nvGrpSpPr>
                  <p:cNvPr id="52" name="组合 51"/>
                  <p:cNvGrpSpPr/>
                  <p:nvPr/>
                </p:nvGrpSpPr>
                <p:grpSpPr>
                  <a:xfrm>
                    <a:off x="7113037" y="1337718"/>
                    <a:ext cx="540000" cy="540000"/>
                    <a:chOff x="3708127" y="5599496"/>
                    <a:chExt cx="540000" cy="540000"/>
                  </a:xfrm>
                </p:grpSpPr>
                <p:sp>
                  <p:nvSpPr>
                    <p:cNvPr id="53" name="文本框 52"/>
                    <p:cNvSpPr txBox="1"/>
                    <p:nvPr/>
                  </p:nvSpPr>
                  <p:spPr>
                    <a:xfrm>
                      <a:off x="3708127" y="5599496"/>
                      <a:ext cx="540000" cy="540000"/>
                    </a:xfrm>
                    <a:prstGeom prst="roundRect">
                      <a:avLst>
                        <a:gd name="adj" fmla="val 50000"/>
                      </a:avLst>
                    </a:prstGeom>
                    <a:solidFill>
                      <a:schemeClr val="accent1"/>
                    </a:solidFill>
                  </p:spPr>
                  <p:txBody>
                    <a:bodyPr wrap="none" lIns="108000" tIns="108000" rIns="108000" bIns="108000" rtlCol="0" anchor="ctr" anchorCtr="0">
                      <a:noAutofit/>
                    </a:bodyPr>
                    <a:lstStyle/>
                    <a:p>
                      <a:pPr algn="ctr"/>
                      <a:endParaRPr kumimoji="1" lang="zh-CN" altLang="en-US" sz="2000" b="1" dirty="0">
                        <a:noFill/>
                      </a:endParaRPr>
                    </a:p>
                  </p:txBody>
                </p:sp>
                <p:sp>
                  <p:nvSpPr>
                    <p:cNvPr id="54" name="任意多边形: 形状 53"/>
                    <p:cNvSpPr/>
                    <p:nvPr/>
                  </p:nvSpPr>
                  <p:spPr>
                    <a:xfrm>
                      <a:off x="3850260" y="5734252"/>
                      <a:ext cx="255734" cy="270488"/>
                    </a:xfrm>
                    <a:custGeom>
                      <a:avLst/>
                      <a:gdLst>
                        <a:gd name="connsiteX0" fmla="*/ 371955 w 495300"/>
                        <a:gd name="connsiteY0" fmla="*/ 621 h 523875"/>
                        <a:gd name="connsiteX1" fmla="*/ 400530 w 495300"/>
                        <a:gd name="connsiteY1" fmla="*/ 29196 h 523875"/>
                        <a:gd name="connsiteX2" fmla="*/ 400530 w 495300"/>
                        <a:gd name="connsiteY2" fmla="*/ 133971 h 523875"/>
                        <a:gd name="connsiteX3" fmla="*/ 371955 w 495300"/>
                        <a:gd name="connsiteY3" fmla="*/ 162546 h 523875"/>
                        <a:gd name="connsiteX4" fmla="*/ 257655 w 495300"/>
                        <a:gd name="connsiteY4" fmla="*/ 162546 h 523875"/>
                        <a:gd name="connsiteX5" fmla="*/ 257655 w 495300"/>
                        <a:gd name="connsiteY5" fmla="*/ 286371 h 523875"/>
                        <a:gd name="connsiteX6" fmla="*/ 419580 w 495300"/>
                        <a:gd name="connsiteY6" fmla="*/ 286371 h 523875"/>
                        <a:gd name="connsiteX7" fmla="*/ 457680 w 495300"/>
                        <a:gd name="connsiteY7" fmla="*/ 322566 h 523875"/>
                        <a:gd name="connsiteX8" fmla="*/ 457680 w 495300"/>
                        <a:gd name="connsiteY8" fmla="*/ 324471 h 523875"/>
                        <a:gd name="connsiteX9" fmla="*/ 457680 w 495300"/>
                        <a:gd name="connsiteY9" fmla="*/ 429246 h 523875"/>
                        <a:gd name="connsiteX10" fmla="*/ 476730 w 495300"/>
                        <a:gd name="connsiteY10" fmla="*/ 429246 h 523875"/>
                        <a:gd name="connsiteX11" fmla="*/ 495780 w 495300"/>
                        <a:gd name="connsiteY11" fmla="*/ 448296 h 523875"/>
                        <a:gd name="connsiteX12" fmla="*/ 495780 w 495300"/>
                        <a:gd name="connsiteY12" fmla="*/ 505446 h 523875"/>
                        <a:gd name="connsiteX13" fmla="*/ 476730 w 495300"/>
                        <a:gd name="connsiteY13" fmla="*/ 524496 h 523875"/>
                        <a:gd name="connsiteX14" fmla="*/ 419580 w 495300"/>
                        <a:gd name="connsiteY14" fmla="*/ 524496 h 523875"/>
                        <a:gd name="connsiteX15" fmla="*/ 400530 w 495300"/>
                        <a:gd name="connsiteY15" fmla="*/ 505446 h 523875"/>
                        <a:gd name="connsiteX16" fmla="*/ 400530 w 495300"/>
                        <a:gd name="connsiteY16" fmla="*/ 448296 h 523875"/>
                        <a:gd name="connsiteX17" fmla="*/ 419580 w 495300"/>
                        <a:gd name="connsiteY17" fmla="*/ 429246 h 523875"/>
                        <a:gd name="connsiteX18" fmla="*/ 438630 w 495300"/>
                        <a:gd name="connsiteY18" fmla="*/ 429246 h 523875"/>
                        <a:gd name="connsiteX19" fmla="*/ 438630 w 495300"/>
                        <a:gd name="connsiteY19" fmla="*/ 324471 h 523875"/>
                        <a:gd name="connsiteX20" fmla="*/ 420533 w 495300"/>
                        <a:gd name="connsiteY20" fmla="*/ 305421 h 523875"/>
                        <a:gd name="connsiteX21" fmla="*/ 419580 w 495300"/>
                        <a:gd name="connsiteY21" fmla="*/ 305421 h 523875"/>
                        <a:gd name="connsiteX22" fmla="*/ 257655 w 495300"/>
                        <a:gd name="connsiteY22" fmla="*/ 305421 h 523875"/>
                        <a:gd name="connsiteX23" fmla="*/ 257655 w 495300"/>
                        <a:gd name="connsiteY23" fmla="*/ 429246 h 523875"/>
                        <a:gd name="connsiteX24" fmla="*/ 276705 w 495300"/>
                        <a:gd name="connsiteY24" fmla="*/ 429246 h 523875"/>
                        <a:gd name="connsiteX25" fmla="*/ 295755 w 495300"/>
                        <a:gd name="connsiteY25" fmla="*/ 448296 h 523875"/>
                        <a:gd name="connsiteX26" fmla="*/ 295755 w 495300"/>
                        <a:gd name="connsiteY26" fmla="*/ 505446 h 523875"/>
                        <a:gd name="connsiteX27" fmla="*/ 276705 w 495300"/>
                        <a:gd name="connsiteY27" fmla="*/ 524496 h 523875"/>
                        <a:gd name="connsiteX28" fmla="*/ 219555 w 495300"/>
                        <a:gd name="connsiteY28" fmla="*/ 524496 h 523875"/>
                        <a:gd name="connsiteX29" fmla="*/ 200505 w 495300"/>
                        <a:gd name="connsiteY29" fmla="*/ 505446 h 523875"/>
                        <a:gd name="connsiteX30" fmla="*/ 200505 w 495300"/>
                        <a:gd name="connsiteY30" fmla="*/ 448296 h 523875"/>
                        <a:gd name="connsiteX31" fmla="*/ 219555 w 495300"/>
                        <a:gd name="connsiteY31" fmla="*/ 429246 h 523875"/>
                        <a:gd name="connsiteX32" fmla="*/ 238605 w 495300"/>
                        <a:gd name="connsiteY32" fmla="*/ 429246 h 523875"/>
                        <a:gd name="connsiteX33" fmla="*/ 238605 w 495300"/>
                        <a:gd name="connsiteY33" fmla="*/ 305421 h 523875"/>
                        <a:gd name="connsiteX34" fmla="*/ 76680 w 495300"/>
                        <a:gd name="connsiteY34" fmla="*/ 305421 h 523875"/>
                        <a:gd name="connsiteX35" fmla="*/ 57630 w 495300"/>
                        <a:gd name="connsiteY35" fmla="*/ 323519 h 523875"/>
                        <a:gd name="connsiteX36" fmla="*/ 57630 w 495300"/>
                        <a:gd name="connsiteY36" fmla="*/ 324471 h 523875"/>
                        <a:gd name="connsiteX37" fmla="*/ 57630 w 495300"/>
                        <a:gd name="connsiteY37" fmla="*/ 429246 h 523875"/>
                        <a:gd name="connsiteX38" fmla="*/ 76680 w 495300"/>
                        <a:gd name="connsiteY38" fmla="*/ 429246 h 523875"/>
                        <a:gd name="connsiteX39" fmla="*/ 95730 w 495300"/>
                        <a:gd name="connsiteY39" fmla="*/ 448296 h 523875"/>
                        <a:gd name="connsiteX40" fmla="*/ 95730 w 495300"/>
                        <a:gd name="connsiteY40" fmla="*/ 505446 h 523875"/>
                        <a:gd name="connsiteX41" fmla="*/ 76680 w 495300"/>
                        <a:gd name="connsiteY41" fmla="*/ 524496 h 523875"/>
                        <a:gd name="connsiteX42" fmla="*/ 19530 w 495300"/>
                        <a:gd name="connsiteY42" fmla="*/ 524496 h 523875"/>
                        <a:gd name="connsiteX43" fmla="*/ 480 w 495300"/>
                        <a:gd name="connsiteY43" fmla="*/ 505446 h 523875"/>
                        <a:gd name="connsiteX44" fmla="*/ 480 w 495300"/>
                        <a:gd name="connsiteY44" fmla="*/ 448296 h 523875"/>
                        <a:gd name="connsiteX45" fmla="*/ 19530 w 495300"/>
                        <a:gd name="connsiteY45" fmla="*/ 429246 h 523875"/>
                        <a:gd name="connsiteX46" fmla="*/ 38580 w 495300"/>
                        <a:gd name="connsiteY46" fmla="*/ 429246 h 523875"/>
                        <a:gd name="connsiteX47" fmla="*/ 38580 w 495300"/>
                        <a:gd name="connsiteY47" fmla="*/ 324471 h 523875"/>
                        <a:gd name="connsiteX48" fmla="*/ 74775 w 495300"/>
                        <a:gd name="connsiteY48" fmla="*/ 286371 h 523875"/>
                        <a:gd name="connsiteX49" fmla="*/ 76680 w 495300"/>
                        <a:gd name="connsiteY49" fmla="*/ 286371 h 523875"/>
                        <a:gd name="connsiteX50" fmla="*/ 238605 w 495300"/>
                        <a:gd name="connsiteY50" fmla="*/ 286371 h 523875"/>
                        <a:gd name="connsiteX51" fmla="*/ 238605 w 495300"/>
                        <a:gd name="connsiteY51" fmla="*/ 162546 h 523875"/>
                        <a:gd name="connsiteX52" fmla="*/ 124305 w 495300"/>
                        <a:gd name="connsiteY52" fmla="*/ 162546 h 523875"/>
                        <a:gd name="connsiteX53" fmla="*/ 95730 w 495300"/>
                        <a:gd name="connsiteY53" fmla="*/ 133971 h 523875"/>
                        <a:gd name="connsiteX54" fmla="*/ 95730 w 495300"/>
                        <a:gd name="connsiteY54" fmla="*/ 29196 h 523875"/>
                        <a:gd name="connsiteX55" fmla="*/ 124305 w 495300"/>
                        <a:gd name="connsiteY55" fmla="*/ 621 h 523875"/>
                        <a:gd name="connsiteX56" fmla="*/ 371955 w 495300"/>
                        <a:gd name="connsiteY56" fmla="*/ 621 h 523875"/>
                        <a:gd name="connsiteX57" fmla="*/ 148118 w 495300"/>
                        <a:gd name="connsiteY57" fmla="*/ 95871 h 523875"/>
                        <a:gd name="connsiteX58" fmla="*/ 133830 w 495300"/>
                        <a:gd name="connsiteY58" fmla="*/ 110159 h 523875"/>
                        <a:gd name="connsiteX59" fmla="*/ 148118 w 495300"/>
                        <a:gd name="connsiteY59" fmla="*/ 124446 h 523875"/>
                        <a:gd name="connsiteX60" fmla="*/ 162405 w 495300"/>
                        <a:gd name="connsiteY60" fmla="*/ 110159 h 523875"/>
                        <a:gd name="connsiteX61" fmla="*/ 148118 w 495300"/>
                        <a:gd name="connsiteY61" fmla="*/ 95871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95300" h="523875">
                          <a:moveTo>
                            <a:pt x="371955" y="621"/>
                          </a:moveTo>
                          <a:cubicBezTo>
                            <a:pt x="388148" y="621"/>
                            <a:pt x="400530" y="13004"/>
                            <a:pt x="400530" y="29196"/>
                          </a:cubicBezTo>
                          <a:lnTo>
                            <a:pt x="400530" y="133971"/>
                          </a:lnTo>
                          <a:cubicBezTo>
                            <a:pt x="400530" y="150164"/>
                            <a:pt x="388148" y="162546"/>
                            <a:pt x="371955" y="162546"/>
                          </a:cubicBezTo>
                          <a:lnTo>
                            <a:pt x="257655" y="162546"/>
                          </a:lnTo>
                          <a:lnTo>
                            <a:pt x="257655" y="286371"/>
                          </a:lnTo>
                          <a:lnTo>
                            <a:pt x="419580" y="286371"/>
                          </a:lnTo>
                          <a:cubicBezTo>
                            <a:pt x="439583" y="286371"/>
                            <a:pt x="456727" y="302564"/>
                            <a:pt x="457680" y="322566"/>
                          </a:cubicBezTo>
                          <a:lnTo>
                            <a:pt x="457680" y="324471"/>
                          </a:lnTo>
                          <a:lnTo>
                            <a:pt x="457680" y="429246"/>
                          </a:lnTo>
                          <a:lnTo>
                            <a:pt x="476730" y="429246"/>
                          </a:lnTo>
                          <a:cubicBezTo>
                            <a:pt x="487208" y="429246"/>
                            <a:pt x="495780" y="437819"/>
                            <a:pt x="495780" y="448296"/>
                          </a:cubicBezTo>
                          <a:lnTo>
                            <a:pt x="495780" y="505446"/>
                          </a:lnTo>
                          <a:cubicBezTo>
                            <a:pt x="495780" y="515924"/>
                            <a:pt x="487208" y="524496"/>
                            <a:pt x="476730" y="524496"/>
                          </a:cubicBezTo>
                          <a:lnTo>
                            <a:pt x="419580" y="524496"/>
                          </a:lnTo>
                          <a:cubicBezTo>
                            <a:pt x="409102" y="524496"/>
                            <a:pt x="400530" y="515924"/>
                            <a:pt x="400530" y="505446"/>
                          </a:cubicBezTo>
                          <a:lnTo>
                            <a:pt x="400530" y="448296"/>
                          </a:lnTo>
                          <a:cubicBezTo>
                            <a:pt x="400530" y="437819"/>
                            <a:pt x="409102" y="429246"/>
                            <a:pt x="419580" y="429246"/>
                          </a:cubicBezTo>
                          <a:lnTo>
                            <a:pt x="438630" y="429246"/>
                          </a:lnTo>
                          <a:lnTo>
                            <a:pt x="438630" y="324471"/>
                          </a:lnTo>
                          <a:cubicBezTo>
                            <a:pt x="438630" y="313994"/>
                            <a:pt x="431010" y="306374"/>
                            <a:pt x="420533" y="305421"/>
                          </a:cubicBezTo>
                          <a:lnTo>
                            <a:pt x="419580" y="305421"/>
                          </a:lnTo>
                          <a:lnTo>
                            <a:pt x="257655" y="305421"/>
                          </a:lnTo>
                          <a:lnTo>
                            <a:pt x="257655" y="429246"/>
                          </a:lnTo>
                          <a:lnTo>
                            <a:pt x="276705" y="429246"/>
                          </a:lnTo>
                          <a:cubicBezTo>
                            <a:pt x="287183" y="429246"/>
                            <a:pt x="295755" y="437819"/>
                            <a:pt x="295755" y="448296"/>
                          </a:cubicBezTo>
                          <a:lnTo>
                            <a:pt x="295755" y="505446"/>
                          </a:lnTo>
                          <a:cubicBezTo>
                            <a:pt x="295755" y="515924"/>
                            <a:pt x="287183" y="524496"/>
                            <a:pt x="276705" y="524496"/>
                          </a:cubicBezTo>
                          <a:lnTo>
                            <a:pt x="219555" y="524496"/>
                          </a:lnTo>
                          <a:cubicBezTo>
                            <a:pt x="209077" y="524496"/>
                            <a:pt x="200505" y="515924"/>
                            <a:pt x="200505" y="505446"/>
                          </a:cubicBezTo>
                          <a:lnTo>
                            <a:pt x="200505" y="448296"/>
                          </a:lnTo>
                          <a:cubicBezTo>
                            <a:pt x="200505" y="437819"/>
                            <a:pt x="209077" y="429246"/>
                            <a:pt x="219555" y="429246"/>
                          </a:cubicBezTo>
                          <a:lnTo>
                            <a:pt x="238605" y="429246"/>
                          </a:lnTo>
                          <a:lnTo>
                            <a:pt x="238605" y="305421"/>
                          </a:lnTo>
                          <a:lnTo>
                            <a:pt x="76680" y="305421"/>
                          </a:lnTo>
                          <a:cubicBezTo>
                            <a:pt x="66202" y="305421"/>
                            <a:pt x="58583" y="313041"/>
                            <a:pt x="57630" y="323519"/>
                          </a:cubicBezTo>
                          <a:lnTo>
                            <a:pt x="57630" y="324471"/>
                          </a:lnTo>
                          <a:lnTo>
                            <a:pt x="57630" y="429246"/>
                          </a:lnTo>
                          <a:lnTo>
                            <a:pt x="76680" y="429246"/>
                          </a:lnTo>
                          <a:cubicBezTo>
                            <a:pt x="87158" y="429246"/>
                            <a:pt x="95730" y="437819"/>
                            <a:pt x="95730" y="448296"/>
                          </a:cubicBezTo>
                          <a:lnTo>
                            <a:pt x="95730" y="505446"/>
                          </a:lnTo>
                          <a:cubicBezTo>
                            <a:pt x="95730" y="515924"/>
                            <a:pt x="87158" y="524496"/>
                            <a:pt x="76680" y="524496"/>
                          </a:cubicBezTo>
                          <a:lnTo>
                            <a:pt x="19530" y="524496"/>
                          </a:lnTo>
                          <a:cubicBezTo>
                            <a:pt x="9052" y="524496"/>
                            <a:pt x="480" y="515924"/>
                            <a:pt x="480" y="505446"/>
                          </a:cubicBezTo>
                          <a:lnTo>
                            <a:pt x="480" y="448296"/>
                          </a:lnTo>
                          <a:cubicBezTo>
                            <a:pt x="480" y="437819"/>
                            <a:pt x="9052" y="429246"/>
                            <a:pt x="19530" y="429246"/>
                          </a:cubicBezTo>
                          <a:lnTo>
                            <a:pt x="38580" y="429246"/>
                          </a:lnTo>
                          <a:lnTo>
                            <a:pt x="38580" y="324471"/>
                          </a:lnTo>
                          <a:cubicBezTo>
                            <a:pt x="38580" y="304469"/>
                            <a:pt x="54773" y="287324"/>
                            <a:pt x="74775" y="286371"/>
                          </a:cubicBezTo>
                          <a:lnTo>
                            <a:pt x="76680" y="286371"/>
                          </a:lnTo>
                          <a:lnTo>
                            <a:pt x="238605" y="286371"/>
                          </a:lnTo>
                          <a:lnTo>
                            <a:pt x="238605" y="162546"/>
                          </a:lnTo>
                          <a:lnTo>
                            <a:pt x="124305" y="162546"/>
                          </a:lnTo>
                          <a:cubicBezTo>
                            <a:pt x="108112" y="162546"/>
                            <a:pt x="95730" y="150164"/>
                            <a:pt x="95730" y="133971"/>
                          </a:cubicBezTo>
                          <a:lnTo>
                            <a:pt x="95730" y="29196"/>
                          </a:lnTo>
                          <a:cubicBezTo>
                            <a:pt x="95730" y="13004"/>
                            <a:pt x="108112" y="621"/>
                            <a:pt x="124305" y="621"/>
                          </a:cubicBezTo>
                          <a:lnTo>
                            <a:pt x="371955" y="621"/>
                          </a:lnTo>
                          <a:close/>
                          <a:moveTo>
                            <a:pt x="148118" y="95871"/>
                          </a:moveTo>
                          <a:cubicBezTo>
                            <a:pt x="140498" y="95871"/>
                            <a:pt x="133830" y="102539"/>
                            <a:pt x="133830" y="110159"/>
                          </a:cubicBezTo>
                          <a:cubicBezTo>
                            <a:pt x="133830" y="117779"/>
                            <a:pt x="140498" y="124446"/>
                            <a:pt x="148118" y="124446"/>
                          </a:cubicBezTo>
                          <a:cubicBezTo>
                            <a:pt x="155737" y="124446"/>
                            <a:pt x="162405" y="117779"/>
                            <a:pt x="162405" y="110159"/>
                          </a:cubicBezTo>
                          <a:cubicBezTo>
                            <a:pt x="162405" y="102539"/>
                            <a:pt x="155737" y="95871"/>
                            <a:pt x="148118" y="95871"/>
                          </a:cubicBezTo>
                          <a:close/>
                        </a:path>
                      </a:pathLst>
                    </a:custGeom>
                    <a:solidFill>
                      <a:srgbClr val="FFFFFF"/>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grpSp>
            </p:grpSp>
            <p:sp>
              <p:nvSpPr>
                <p:cNvPr id="50" name="空心弧 49"/>
                <p:cNvSpPr/>
                <p:nvPr/>
              </p:nvSpPr>
              <p:spPr>
                <a:xfrm>
                  <a:off x="4293069" y="1839158"/>
                  <a:ext cx="3600000" cy="3600000"/>
                </a:xfrm>
                <a:prstGeom prst="blockArc">
                  <a:avLst>
                    <a:gd name="adj1" fmla="val 16200000"/>
                    <a:gd name="adj2" fmla="val 19800000"/>
                    <a:gd name="adj3" fmla="val 15000"/>
                  </a:avLst>
                </a:prstGeom>
                <a:solidFill>
                  <a:schemeClr val="tx2">
                    <a:alpha val="15000"/>
                  </a:schemeClr>
                </a:solidFill>
                <a:ln w="38100" cap="flat" cmpd="sng" algn="ctr">
                  <a:solidFill>
                    <a:schemeClr val="bg1"/>
                  </a:solidFill>
                  <a:prstDash val="solid"/>
                  <a:miter lim="800000"/>
                </a:ln>
              </p:spPr>
              <p:txBody>
                <a:bodyPr lIns="108000" tIns="108000" rIns="108000" bIns="108000" rtlCol="0" anchor="ctr"/>
                <a:lstStyle/>
                <a:p>
                  <a:endParaRPr lang="zh-CN" altLang="en-US">
                    <a:solidFill>
                      <a:schemeClr val="tx1"/>
                    </a:solidFill>
                  </a:endParaRPr>
                </a:p>
              </p:txBody>
            </p:sp>
          </p:grpSp>
          <p:grpSp>
            <p:nvGrpSpPr>
              <p:cNvPr id="5" name="组合 4"/>
              <p:cNvGrpSpPr/>
              <p:nvPr/>
            </p:nvGrpSpPr>
            <p:grpSpPr>
              <a:xfrm>
                <a:off x="4287804" y="1832206"/>
                <a:ext cx="6361907" cy="3600000"/>
                <a:chOff x="4287804" y="1832206"/>
                <a:chExt cx="6361907" cy="3600000"/>
              </a:xfrm>
            </p:grpSpPr>
            <p:grpSp>
              <p:nvGrpSpPr>
                <p:cNvPr id="41" name="组合 40"/>
                <p:cNvGrpSpPr/>
                <p:nvPr/>
              </p:nvGrpSpPr>
              <p:grpSpPr>
                <a:xfrm>
                  <a:off x="8212907" y="3168784"/>
                  <a:ext cx="2436804" cy="926844"/>
                  <a:chOff x="8212907" y="3168784"/>
                  <a:chExt cx="2436804" cy="926844"/>
                </a:xfrm>
              </p:grpSpPr>
              <p:grpSp>
                <p:nvGrpSpPr>
                  <p:cNvPr id="43" name="组合 42"/>
                  <p:cNvGrpSpPr/>
                  <p:nvPr/>
                </p:nvGrpSpPr>
                <p:grpSpPr>
                  <a:xfrm>
                    <a:off x="8796239" y="3168784"/>
                    <a:ext cx="1853472" cy="926844"/>
                    <a:chOff x="7119257" y="2386978"/>
                    <a:chExt cx="2200862" cy="911887"/>
                  </a:xfrm>
                  <a:noFill/>
                </p:grpSpPr>
                <p:sp>
                  <p:nvSpPr>
                    <p:cNvPr id="47" name="矩形 46"/>
                    <p:cNvSpPr/>
                    <p:nvPr/>
                  </p:nvSpPr>
                  <p:spPr>
                    <a:xfrm>
                      <a:off x="7119257" y="2386978"/>
                      <a:ext cx="2200862" cy="4568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b"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r>
                        <a:rPr kumimoji="1" lang="en-US" altLang="zh-CN" sz="1600" b="1" dirty="0">
                          <a:solidFill>
                            <a:schemeClr val="tx1"/>
                          </a:solidFill>
                          <a:latin typeface="Arial" panose="020B0604020202090204" pitchFamily="34" charset="0"/>
                          <a:ea typeface="华文楷体" panose="02010600040101010101" pitchFamily="2" charset="-122"/>
                        </a:rPr>
                        <a:t>Text</a:t>
                      </a:r>
                      <a:r>
                        <a:rPr kumimoji="1" lang="zh-CN" altLang="en-US" sz="1600" b="1" dirty="0">
                          <a:solidFill>
                            <a:schemeClr val="tx1"/>
                          </a:solidFill>
                          <a:latin typeface="Arial" panose="020B0604020202090204" pitchFamily="34" charset="0"/>
                          <a:ea typeface="华文楷体" panose="02010600040101010101" pitchFamily="2" charset="-122"/>
                        </a:rPr>
                        <a:t> </a:t>
                      </a:r>
                      <a:r>
                        <a:rPr kumimoji="1" lang="en-US" altLang="zh-CN" sz="1600" b="1" dirty="0">
                          <a:solidFill>
                            <a:schemeClr val="tx1"/>
                          </a:solidFill>
                          <a:latin typeface="Arial" panose="020B0604020202090204" pitchFamily="34" charset="0"/>
                          <a:ea typeface="华文楷体" panose="02010600040101010101" pitchFamily="2" charset="-122"/>
                        </a:rPr>
                        <a:t>here</a:t>
                      </a:r>
                      <a:endParaRPr kumimoji="1" lang="en-US" altLang="zh-CN" sz="1600" b="1" dirty="0">
                        <a:solidFill>
                          <a:schemeClr val="tx1"/>
                        </a:solidFill>
                        <a:latin typeface="Arial" panose="020B0604020202090204" pitchFamily="34" charset="0"/>
                        <a:ea typeface="华文楷体" panose="02010600040101010101" pitchFamily="2" charset="-122"/>
                      </a:endParaRPr>
                    </a:p>
                  </p:txBody>
                </p:sp>
                <p:sp>
                  <p:nvSpPr>
                    <p:cNvPr id="48" name="矩形 47"/>
                    <p:cNvSpPr/>
                    <p:nvPr/>
                  </p:nvSpPr>
                  <p:spPr>
                    <a:xfrm>
                      <a:off x="7119257" y="2711125"/>
                      <a:ext cx="2199239" cy="5877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t"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nSpc>
                          <a:spcPct val="130000"/>
                        </a:lnSpc>
                      </a:pPr>
                      <a:r>
                        <a:rPr kumimoji="1" lang="en-US" altLang="zh-CN" sz="1000" dirty="0">
                          <a:solidFill>
                            <a:schemeClr val="tx1"/>
                          </a:solidFill>
                          <a:latin typeface="Arial" panose="020B0604020202090204" pitchFamily="34" charset="0"/>
                          <a:ea typeface="华文楷体" panose="02010600040101010101" pitchFamily="2" charset="-122"/>
                        </a:rPr>
                        <a:t>Theme color makes PPT more convenient to change.</a:t>
                      </a:r>
                      <a:endParaRPr kumimoji="1" lang="en-US" altLang="zh-CN" sz="1000" dirty="0">
                        <a:solidFill>
                          <a:schemeClr val="tx1"/>
                        </a:solidFill>
                        <a:latin typeface="Arial" panose="020B0604020202090204" pitchFamily="34" charset="0"/>
                        <a:ea typeface="华文楷体" panose="02010600040101010101" pitchFamily="2" charset="-122"/>
                      </a:endParaRPr>
                    </a:p>
                  </p:txBody>
                </p:sp>
              </p:grpSp>
              <p:grpSp>
                <p:nvGrpSpPr>
                  <p:cNvPr id="44" name="组合 43"/>
                  <p:cNvGrpSpPr/>
                  <p:nvPr/>
                </p:nvGrpSpPr>
                <p:grpSpPr>
                  <a:xfrm>
                    <a:off x="8212907" y="3362875"/>
                    <a:ext cx="540000" cy="540000"/>
                    <a:chOff x="4584079" y="5599496"/>
                    <a:chExt cx="540000" cy="540000"/>
                  </a:xfrm>
                </p:grpSpPr>
                <p:sp>
                  <p:nvSpPr>
                    <p:cNvPr id="45" name="文本框 44"/>
                    <p:cNvSpPr txBox="1"/>
                    <p:nvPr/>
                  </p:nvSpPr>
                  <p:spPr>
                    <a:xfrm>
                      <a:off x="4584079" y="5599496"/>
                      <a:ext cx="540000" cy="540000"/>
                    </a:xfrm>
                    <a:prstGeom prst="roundRect">
                      <a:avLst>
                        <a:gd name="adj" fmla="val 50000"/>
                      </a:avLst>
                    </a:prstGeom>
                    <a:solidFill>
                      <a:schemeClr val="accent1"/>
                    </a:solidFill>
                  </p:spPr>
                  <p:txBody>
                    <a:bodyPr wrap="none" lIns="108000" tIns="108000" rIns="108000" bIns="108000" rtlCol="0" anchor="ctr" anchorCtr="0">
                      <a:noAutofit/>
                    </a:bodyPr>
                    <a:lstStyle/>
                    <a:p>
                      <a:pPr algn="ctr"/>
                      <a:endParaRPr kumimoji="1" lang="zh-CN" altLang="en-US" sz="2000" b="1" dirty="0">
                        <a:noFill/>
                      </a:endParaRPr>
                    </a:p>
                  </p:txBody>
                </p:sp>
                <p:sp>
                  <p:nvSpPr>
                    <p:cNvPr id="46" name="任意多边形: 形状 45"/>
                    <p:cNvSpPr/>
                    <p:nvPr/>
                  </p:nvSpPr>
                  <p:spPr>
                    <a:xfrm>
                      <a:off x="4716376" y="5766219"/>
                      <a:ext cx="275406" cy="206554"/>
                    </a:xfrm>
                    <a:custGeom>
                      <a:avLst/>
                      <a:gdLst>
                        <a:gd name="connsiteX0" fmla="*/ 505433 w 533400"/>
                        <a:gd name="connsiteY0" fmla="*/ 621 h 400050"/>
                        <a:gd name="connsiteX1" fmla="*/ 534008 w 533400"/>
                        <a:gd name="connsiteY1" fmla="*/ 29196 h 400050"/>
                        <a:gd name="connsiteX2" fmla="*/ 534008 w 533400"/>
                        <a:gd name="connsiteY2" fmla="*/ 372096 h 400050"/>
                        <a:gd name="connsiteX3" fmla="*/ 505433 w 533400"/>
                        <a:gd name="connsiteY3" fmla="*/ 400671 h 400050"/>
                        <a:gd name="connsiteX4" fmla="*/ 29183 w 533400"/>
                        <a:gd name="connsiteY4" fmla="*/ 400671 h 400050"/>
                        <a:gd name="connsiteX5" fmla="*/ 608 w 533400"/>
                        <a:gd name="connsiteY5" fmla="*/ 372096 h 400050"/>
                        <a:gd name="connsiteX6" fmla="*/ 608 w 533400"/>
                        <a:gd name="connsiteY6" fmla="*/ 29196 h 400050"/>
                        <a:gd name="connsiteX7" fmla="*/ 29183 w 533400"/>
                        <a:gd name="connsiteY7" fmla="*/ 621 h 400050"/>
                        <a:gd name="connsiteX8" fmla="*/ 505433 w 533400"/>
                        <a:gd name="connsiteY8" fmla="*/ 621 h 400050"/>
                        <a:gd name="connsiteX9" fmla="*/ 391133 w 533400"/>
                        <a:gd name="connsiteY9" fmla="*/ 198741 h 400050"/>
                        <a:gd name="connsiteX10" fmla="*/ 351128 w 533400"/>
                        <a:gd name="connsiteY10" fmla="*/ 204456 h 400050"/>
                        <a:gd name="connsiteX11" fmla="*/ 351128 w 533400"/>
                        <a:gd name="connsiteY11" fmla="*/ 204456 h 400050"/>
                        <a:gd name="connsiteX12" fmla="*/ 267308 w 533400"/>
                        <a:gd name="connsiteY12" fmla="*/ 315899 h 400050"/>
                        <a:gd name="connsiteX13" fmla="*/ 264451 w 533400"/>
                        <a:gd name="connsiteY13" fmla="*/ 318756 h 400050"/>
                        <a:gd name="connsiteX14" fmla="*/ 224446 w 533400"/>
                        <a:gd name="connsiteY14" fmla="*/ 318756 h 400050"/>
                        <a:gd name="connsiteX15" fmla="*/ 224446 w 533400"/>
                        <a:gd name="connsiteY15" fmla="*/ 318756 h 400050"/>
                        <a:gd name="connsiteX16" fmla="*/ 162533 w 533400"/>
                        <a:gd name="connsiteY16" fmla="*/ 257796 h 400050"/>
                        <a:gd name="connsiteX17" fmla="*/ 160628 w 533400"/>
                        <a:gd name="connsiteY17" fmla="*/ 255891 h 400050"/>
                        <a:gd name="connsiteX18" fmla="*/ 120623 w 533400"/>
                        <a:gd name="connsiteY18" fmla="*/ 259701 h 400050"/>
                        <a:gd name="connsiteX19" fmla="*/ 120623 w 533400"/>
                        <a:gd name="connsiteY19" fmla="*/ 259701 h 400050"/>
                        <a:gd name="connsiteX20" fmla="*/ 32993 w 533400"/>
                        <a:gd name="connsiteY20" fmla="*/ 366381 h 400050"/>
                        <a:gd name="connsiteX21" fmla="*/ 31088 w 533400"/>
                        <a:gd name="connsiteY21" fmla="*/ 372096 h 400050"/>
                        <a:gd name="connsiteX22" fmla="*/ 40613 w 533400"/>
                        <a:gd name="connsiteY22" fmla="*/ 381621 h 400050"/>
                        <a:gd name="connsiteX23" fmla="*/ 40613 w 533400"/>
                        <a:gd name="connsiteY23" fmla="*/ 381621 h 400050"/>
                        <a:gd name="connsiteX24" fmla="*/ 497813 w 533400"/>
                        <a:gd name="connsiteY24" fmla="*/ 381621 h 400050"/>
                        <a:gd name="connsiteX25" fmla="*/ 503528 w 533400"/>
                        <a:gd name="connsiteY25" fmla="*/ 379716 h 400050"/>
                        <a:gd name="connsiteX26" fmla="*/ 506386 w 533400"/>
                        <a:gd name="connsiteY26" fmla="*/ 366381 h 400050"/>
                        <a:gd name="connsiteX27" fmla="*/ 506386 w 533400"/>
                        <a:gd name="connsiteY27" fmla="*/ 366381 h 400050"/>
                        <a:gd name="connsiteX28" fmla="*/ 398753 w 533400"/>
                        <a:gd name="connsiteY28" fmla="*/ 205409 h 400050"/>
                        <a:gd name="connsiteX29" fmla="*/ 391133 w 533400"/>
                        <a:gd name="connsiteY29" fmla="*/ 198741 h 400050"/>
                        <a:gd name="connsiteX30" fmla="*/ 95858 w 533400"/>
                        <a:gd name="connsiteY30" fmla="*/ 57771 h 400050"/>
                        <a:gd name="connsiteX31" fmla="*/ 57758 w 533400"/>
                        <a:gd name="connsiteY31" fmla="*/ 95871 h 400050"/>
                        <a:gd name="connsiteX32" fmla="*/ 95858 w 533400"/>
                        <a:gd name="connsiteY32" fmla="*/ 133971 h 400050"/>
                        <a:gd name="connsiteX33" fmla="*/ 133958 w 533400"/>
                        <a:gd name="connsiteY33" fmla="*/ 95871 h 400050"/>
                        <a:gd name="connsiteX34" fmla="*/ 95858 w 533400"/>
                        <a:gd name="connsiteY34" fmla="*/ 57771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33400" h="400050">
                          <a:moveTo>
                            <a:pt x="505433" y="621"/>
                          </a:moveTo>
                          <a:cubicBezTo>
                            <a:pt x="521626" y="621"/>
                            <a:pt x="534008" y="13004"/>
                            <a:pt x="534008" y="29196"/>
                          </a:cubicBezTo>
                          <a:lnTo>
                            <a:pt x="534008" y="372096"/>
                          </a:lnTo>
                          <a:cubicBezTo>
                            <a:pt x="534008" y="388289"/>
                            <a:pt x="521626" y="400671"/>
                            <a:pt x="505433" y="400671"/>
                          </a:cubicBezTo>
                          <a:lnTo>
                            <a:pt x="29183" y="400671"/>
                          </a:lnTo>
                          <a:cubicBezTo>
                            <a:pt x="12990" y="400671"/>
                            <a:pt x="608" y="388289"/>
                            <a:pt x="608" y="372096"/>
                          </a:cubicBezTo>
                          <a:lnTo>
                            <a:pt x="608" y="29196"/>
                          </a:lnTo>
                          <a:cubicBezTo>
                            <a:pt x="608" y="13004"/>
                            <a:pt x="12990" y="621"/>
                            <a:pt x="29183" y="621"/>
                          </a:cubicBezTo>
                          <a:lnTo>
                            <a:pt x="505433" y="621"/>
                          </a:lnTo>
                          <a:close/>
                          <a:moveTo>
                            <a:pt x="391133" y="198741"/>
                          </a:moveTo>
                          <a:cubicBezTo>
                            <a:pt x="378751" y="189216"/>
                            <a:pt x="360653" y="192074"/>
                            <a:pt x="351128" y="204456"/>
                          </a:cubicBezTo>
                          <a:lnTo>
                            <a:pt x="351128" y="204456"/>
                          </a:lnTo>
                          <a:lnTo>
                            <a:pt x="267308" y="315899"/>
                          </a:lnTo>
                          <a:cubicBezTo>
                            <a:pt x="266355" y="316851"/>
                            <a:pt x="265403" y="317804"/>
                            <a:pt x="264451" y="318756"/>
                          </a:cubicBezTo>
                          <a:cubicBezTo>
                            <a:pt x="253021" y="330186"/>
                            <a:pt x="234923" y="330186"/>
                            <a:pt x="224446" y="318756"/>
                          </a:cubicBezTo>
                          <a:lnTo>
                            <a:pt x="224446" y="318756"/>
                          </a:lnTo>
                          <a:lnTo>
                            <a:pt x="162533" y="257796"/>
                          </a:lnTo>
                          <a:cubicBezTo>
                            <a:pt x="161580" y="256844"/>
                            <a:pt x="161580" y="256844"/>
                            <a:pt x="160628" y="255891"/>
                          </a:cubicBezTo>
                          <a:cubicBezTo>
                            <a:pt x="148246" y="245414"/>
                            <a:pt x="130148" y="247319"/>
                            <a:pt x="120623" y="259701"/>
                          </a:cubicBezTo>
                          <a:lnTo>
                            <a:pt x="120623" y="259701"/>
                          </a:lnTo>
                          <a:lnTo>
                            <a:pt x="32993" y="366381"/>
                          </a:lnTo>
                          <a:cubicBezTo>
                            <a:pt x="32040" y="368286"/>
                            <a:pt x="31088" y="370191"/>
                            <a:pt x="31088" y="372096"/>
                          </a:cubicBezTo>
                          <a:cubicBezTo>
                            <a:pt x="31088" y="377811"/>
                            <a:pt x="34898" y="381621"/>
                            <a:pt x="40613" y="381621"/>
                          </a:cubicBezTo>
                          <a:lnTo>
                            <a:pt x="40613" y="381621"/>
                          </a:lnTo>
                          <a:lnTo>
                            <a:pt x="497813" y="381621"/>
                          </a:lnTo>
                          <a:cubicBezTo>
                            <a:pt x="499718" y="381621"/>
                            <a:pt x="501623" y="380669"/>
                            <a:pt x="503528" y="379716"/>
                          </a:cubicBezTo>
                          <a:cubicBezTo>
                            <a:pt x="508290" y="376859"/>
                            <a:pt x="509243" y="371144"/>
                            <a:pt x="506386" y="366381"/>
                          </a:cubicBezTo>
                          <a:lnTo>
                            <a:pt x="506386" y="366381"/>
                          </a:lnTo>
                          <a:lnTo>
                            <a:pt x="398753" y="205409"/>
                          </a:lnTo>
                          <a:cubicBezTo>
                            <a:pt x="395896" y="202551"/>
                            <a:pt x="393990" y="200646"/>
                            <a:pt x="391133" y="198741"/>
                          </a:cubicBezTo>
                          <a:close/>
                          <a:moveTo>
                            <a:pt x="95858" y="57771"/>
                          </a:moveTo>
                          <a:cubicBezTo>
                            <a:pt x="74903" y="57771"/>
                            <a:pt x="57758" y="74916"/>
                            <a:pt x="57758" y="95871"/>
                          </a:cubicBezTo>
                          <a:cubicBezTo>
                            <a:pt x="57758" y="116826"/>
                            <a:pt x="74903" y="133971"/>
                            <a:pt x="95858" y="133971"/>
                          </a:cubicBezTo>
                          <a:cubicBezTo>
                            <a:pt x="116813" y="133971"/>
                            <a:pt x="133958" y="116826"/>
                            <a:pt x="133958" y="95871"/>
                          </a:cubicBezTo>
                          <a:cubicBezTo>
                            <a:pt x="133958" y="74916"/>
                            <a:pt x="116813" y="57771"/>
                            <a:pt x="95858" y="57771"/>
                          </a:cubicBezTo>
                          <a:close/>
                        </a:path>
                      </a:pathLst>
                    </a:custGeom>
                    <a:solidFill>
                      <a:srgbClr val="FFFFFF"/>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grpSp>
            </p:grpSp>
            <p:sp>
              <p:nvSpPr>
                <p:cNvPr id="42" name="空心弧 41"/>
                <p:cNvSpPr/>
                <p:nvPr/>
              </p:nvSpPr>
              <p:spPr>
                <a:xfrm>
                  <a:off x="4287804" y="1832206"/>
                  <a:ext cx="3600000" cy="3600000"/>
                </a:xfrm>
                <a:prstGeom prst="blockArc">
                  <a:avLst>
                    <a:gd name="adj1" fmla="val 19800000"/>
                    <a:gd name="adj2" fmla="val 1800000"/>
                    <a:gd name="adj3" fmla="val 15000"/>
                  </a:avLst>
                </a:prstGeom>
                <a:solidFill>
                  <a:schemeClr val="tx2">
                    <a:alpha val="15000"/>
                  </a:schemeClr>
                </a:solidFill>
                <a:ln w="38100" cap="flat" cmpd="sng" algn="ctr">
                  <a:solidFill>
                    <a:schemeClr val="bg1"/>
                  </a:solidFill>
                  <a:prstDash val="solid"/>
                  <a:miter lim="800000"/>
                </a:ln>
              </p:spPr>
              <p:txBody>
                <a:bodyPr lIns="108000" tIns="108000" rIns="108000" bIns="108000" rtlCol="0" anchor="ctr"/>
                <a:lstStyle/>
                <a:p>
                  <a:endParaRPr lang="zh-CN" altLang="en-US">
                    <a:solidFill>
                      <a:schemeClr val="tx1"/>
                    </a:solidFill>
                  </a:endParaRPr>
                </a:p>
              </p:txBody>
            </p:sp>
          </p:grpSp>
          <p:grpSp>
            <p:nvGrpSpPr>
              <p:cNvPr id="6" name="组合 5"/>
              <p:cNvGrpSpPr/>
              <p:nvPr/>
            </p:nvGrpSpPr>
            <p:grpSpPr>
              <a:xfrm>
                <a:off x="4293069" y="1825243"/>
                <a:ext cx="5256772" cy="4295531"/>
                <a:chOff x="4293069" y="1825243"/>
                <a:chExt cx="5256772" cy="4295531"/>
              </a:xfrm>
            </p:grpSpPr>
            <p:grpSp>
              <p:nvGrpSpPr>
                <p:cNvPr id="33" name="组合 32"/>
                <p:cNvGrpSpPr/>
                <p:nvPr/>
              </p:nvGrpSpPr>
              <p:grpSpPr>
                <a:xfrm>
                  <a:off x="7113037" y="5193930"/>
                  <a:ext cx="2436804" cy="926844"/>
                  <a:chOff x="7113037" y="5193930"/>
                  <a:chExt cx="2436804" cy="926844"/>
                </a:xfrm>
              </p:grpSpPr>
              <p:grpSp>
                <p:nvGrpSpPr>
                  <p:cNvPr id="35" name="组合 34"/>
                  <p:cNvGrpSpPr/>
                  <p:nvPr/>
                </p:nvGrpSpPr>
                <p:grpSpPr>
                  <a:xfrm>
                    <a:off x="7696369" y="5193930"/>
                    <a:ext cx="1853472" cy="926844"/>
                    <a:chOff x="7119257" y="2386978"/>
                    <a:chExt cx="2200862" cy="911887"/>
                  </a:xfrm>
                  <a:noFill/>
                </p:grpSpPr>
                <p:sp>
                  <p:nvSpPr>
                    <p:cNvPr id="39" name="矩形 38"/>
                    <p:cNvSpPr/>
                    <p:nvPr/>
                  </p:nvSpPr>
                  <p:spPr>
                    <a:xfrm>
                      <a:off x="7119257" y="2386978"/>
                      <a:ext cx="2200862" cy="4568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b"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r>
                        <a:rPr kumimoji="1" lang="en-US" altLang="zh-CN" sz="1600" b="1" dirty="0">
                          <a:solidFill>
                            <a:schemeClr val="tx1"/>
                          </a:solidFill>
                          <a:latin typeface="Arial" panose="020B0604020202090204" pitchFamily="34" charset="0"/>
                          <a:ea typeface="华文楷体" panose="02010600040101010101" pitchFamily="2" charset="-122"/>
                        </a:rPr>
                        <a:t>Text</a:t>
                      </a:r>
                      <a:r>
                        <a:rPr kumimoji="1" lang="zh-CN" altLang="en-US" sz="1600" b="1" dirty="0">
                          <a:solidFill>
                            <a:schemeClr val="tx1"/>
                          </a:solidFill>
                          <a:latin typeface="Arial" panose="020B0604020202090204" pitchFamily="34" charset="0"/>
                          <a:ea typeface="华文楷体" panose="02010600040101010101" pitchFamily="2" charset="-122"/>
                        </a:rPr>
                        <a:t> </a:t>
                      </a:r>
                      <a:r>
                        <a:rPr kumimoji="1" lang="en-US" altLang="zh-CN" sz="1600" b="1" dirty="0">
                          <a:solidFill>
                            <a:schemeClr val="tx1"/>
                          </a:solidFill>
                          <a:latin typeface="Arial" panose="020B0604020202090204" pitchFamily="34" charset="0"/>
                          <a:ea typeface="华文楷体" panose="02010600040101010101" pitchFamily="2" charset="-122"/>
                        </a:rPr>
                        <a:t>here</a:t>
                      </a:r>
                      <a:endParaRPr kumimoji="1" lang="en-US" altLang="zh-CN" sz="1600" b="1" dirty="0">
                        <a:solidFill>
                          <a:schemeClr val="tx1"/>
                        </a:solidFill>
                        <a:latin typeface="Arial" panose="020B0604020202090204" pitchFamily="34" charset="0"/>
                        <a:ea typeface="华文楷体" panose="02010600040101010101" pitchFamily="2" charset="-122"/>
                      </a:endParaRPr>
                    </a:p>
                  </p:txBody>
                </p:sp>
                <p:sp>
                  <p:nvSpPr>
                    <p:cNvPr id="40" name="矩形 39"/>
                    <p:cNvSpPr/>
                    <p:nvPr/>
                  </p:nvSpPr>
                  <p:spPr>
                    <a:xfrm>
                      <a:off x="7119257" y="2711125"/>
                      <a:ext cx="2199239" cy="5877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t"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nSpc>
                          <a:spcPct val="130000"/>
                        </a:lnSpc>
                      </a:pPr>
                      <a:r>
                        <a:rPr kumimoji="1" lang="en-US" altLang="zh-CN" sz="1000" dirty="0">
                          <a:solidFill>
                            <a:schemeClr val="tx1"/>
                          </a:solidFill>
                          <a:latin typeface="Arial" panose="020B0604020202090204" pitchFamily="34" charset="0"/>
                          <a:ea typeface="华文楷体" panose="02010600040101010101" pitchFamily="2" charset="-122"/>
                        </a:rPr>
                        <a:t>Theme color makes PPT more convenient to change.</a:t>
                      </a:r>
                      <a:endParaRPr kumimoji="1" lang="en-US" altLang="zh-CN" sz="1000" dirty="0">
                        <a:solidFill>
                          <a:schemeClr val="tx1"/>
                        </a:solidFill>
                        <a:latin typeface="Arial" panose="020B0604020202090204" pitchFamily="34" charset="0"/>
                        <a:ea typeface="华文楷体" panose="02010600040101010101" pitchFamily="2" charset="-122"/>
                      </a:endParaRPr>
                    </a:p>
                  </p:txBody>
                </p:sp>
              </p:grpSp>
              <p:grpSp>
                <p:nvGrpSpPr>
                  <p:cNvPr id="36" name="组合 35"/>
                  <p:cNvGrpSpPr/>
                  <p:nvPr/>
                </p:nvGrpSpPr>
                <p:grpSpPr>
                  <a:xfrm>
                    <a:off x="7113037" y="5388021"/>
                    <a:ext cx="540000" cy="540000"/>
                    <a:chOff x="6335984" y="5599496"/>
                    <a:chExt cx="540000" cy="540000"/>
                  </a:xfrm>
                </p:grpSpPr>
                <p:sp>
                  <p:nvSpPr>
                    <p:cNvPr id="37" name="文本框 36"/>
                    <p:cNvSpPr txBox="1"/>
                    <p:nvPr/>
                  </p:nvSpPr>
                  <p:spPr>
                    <a:xfrm>
                      <a:off x="6335984" y="5599496"/>
                      <a:ext cx="540000" cy="540000"/>
                    </a:xfrm>
                    <a:prstGeom prst="roundRect">
                      <a:avLst>
                        <a:gd name="adj" fmla="val 50000"/>
                      </a:avLst>
                    </a:prstGeom>
                    <a:solidFill>
                      <a:schemeClr val="accent1"/>
                    </a:solidFill>
                  </p:spPr>
                  <p:txBody>
                    <a:bodyPr wrap="none" lIns="108000" tIns="108000" rIns="108000" bIns="108000" rtlCol="0" anchor="ctr" anchorCtr="0">
                      <a:noAutofit/>
                    </a:bodyPr>
                    <a:lstStyle/>
                    <a:p>
                      <a:pPr algn="ctr"/>
                      <a:endParaRPr kumimoji="1" lang="zh-CN" altLang="en-US" sz="2000" b="1" dirty="0">
                        <a:noFill/>
                      </a:endParaRPr>
                    </a:p>
                  </p:txBody>
                </p:sp>
                <p:sp>
                  <p:nvSpPr>
                    <p:cNvPr id="38" name="任意多边形: 形状 37"/>
                    <p:cNvSpPr/>
                    <p:nvPr/>
                  </p:nvSpPr>
                  <p:spPr>
                    <a:xfrm>
                      <a:off x="6468280" y="5734252"/>
                      <a:ext cx="275408" cy="270488"/>
                    </a:xfrm>
                    <a:custGeom>
                      <a:avLst/>
                      <a:gdLst>
                        <a:gd name="connsiteX0" fmla="*/ 343764 w 533400"/>
                        <a:gd name="connsiteY0" fmla="*/ 276846 h 523875"/>
                        <a:gd name="connsiteX1" fmla="*/ 372339 w 533400"/>
                        <a:gd name="connsiteY1" fmla="*/ 305421 h 523875"/>
                        <a:gd name="connsiteX2" fmla="*/ 372339 w 533400"/>
                        <a:gd name="connsiteY2" fmla="*/ 495921 h 523875"/>
                        <a:gd name="connsiteX3" fmla="*/ 343764 w 533400"/>
                        <a:gd name="connsiteY3" fmla="*/ 524496 h 523875"/>
                        <a:gd name="connsiteX4" fmla="*/ 191364 w 533400"/>
                        <a:gd name="connsiteY4" fmla="*/ 524496 h 523875"/>
                        <a:gd name="connsiteX5" fmla="*/ 162789 w 533400"/>
                        <a:gd name="connsiteY5" fmla="*/ 495921 h 523875"/>
                        <a:gd name="connsiteX6" fmla="*/ 162789 w 533400"/>
                        <a:gd name="connsiteY6" fmla="*/ 305421 h 523875"/>
                        <a:gd name="connsiteX7" fmla="*/ 191364 w 533400"/>
                        <a:gd name="connsiteY7" fmla="*/ 276846 h 523875"/>
                        <a:gd name="connsiteX8" fmla="*/ 343764 w 533400"/>
                        <a:gd name="connsiteY8" fmla="*/ 276846 h 523875"/>
                        <a:gd name="connsiteX9" fmla="*/ 143739 w 533400"/>
                        <a:gd name="connsiteY9" fmla="*/ 114921 h 523875"/>
                        <a:gd name="connsiteX10" fmla="*/ 179934 w 533400"/>
                        <a:gd name="connsiteY10" fmla="*/ 153021 h 523875"/>
                        <a:gd name="connsiteX11" fmla="*/ 181839 w 533400"/>
                        <a:gd name="connsiteY11" fmla="*/ 153021 h 523875"/>
                        <a:gd name="connsiteX12" fmla="*/ 353289 w 533400"/>
                        <a:gd name="connsiteY12" fmla="*/ 153021 h 523875"/>
                        <a:gd name="connsiteX13" fmla="*/ 391389 w 533400"/>
                        <a:gd name="connsiteY13" fmla="*/ 116826 h 523875"/>
                        <a:gd name="connsiteX14" fmla="*/ 391389 w 533400"/>
                        <a:gd name="connsiteY14" fmla="*/ 114921 h 523875"/>
                        <a:gd name="connsiteX15" fmla="*/ 505689 w 533400"/>
                        <a:gd name="connsiteY15" fmla="*/ 114921 h 523875"/>
                        <a:gd name="connsiteX16" fmla="*/ 534264 w 533400"/>
                        <a:gd name="connsiteY16" fmla="*/ 143496 h 523875"/>
                        <a:gd name="connsiteX17" fmla="*/ 534264 w 533400"/>
                        <a:gd name="connsiteY17" fmla="*/ 381621 h 523875"/>
                        <a:gd name="connsiteX18" fmla="*/ 505689 w 533400"/>
                        <a:gd name="connsiteY18" fmla="*/ 410196 h 523875"/>
                        <a:gd name="connsiteX19" fmla="*/ 391389 w 533400"/>
                        <a:gd name="connsiteY19" fmla="*/ 410196 h 523875"/>
                        <a:gd name="connsiteX20" fmla="*/ 391389 w 533400"/>
                        <a:gd name="connsiteY20" fmla="*/ 295896 h 523875"/>
                        <a:gd name="connsiteX21" fmla="*/ 355194 w 533400"/>
                        <a:gd name="connsiteY21" fmla="*/ 257796 h 523875"/>
                        <a:gd name="connsiteX22" fmla="*/ 353289 w 533400"/>
                        <a:gd name="connsiteY22" fmla="*/ 257796 h 523875"/>
                        <a:gd name="connsiteX23" fmla="*/ 181839 w 533400"/>
                        <a:gd name="connsiteY23" fmla="*/ 257796 h 523875"/>
                        <a:gd name="connsiteX24" fmla="*/ 143739 w 533400"/>
                        <a:gd name="connsiteY24" fmla="*/ 293991 h 523875"/>
                        <a:gd name="connsiteX25" fmla="*/ 143739 w 533400"/>
                        <a:gd name="connsiteY25" fmla="*/ 295896 h 523875"/>
                        <a:gd name="connsiteX26" fmla="*/ 143739 w 533400"/>
                        <a:gd name="connsiteY26" fmla="*/ 410196 h 523875"/>
                        <a:gd name="connsiteX27" fmla="*/ 29439 w 533400"/>
                        <a:gd name="connsiteY27" fmla="*/ 410196 h 523875"/>
                        <a:gd name="connsiteX28" fmla="*/ 864 w 533400"/>
                        <a:gd name="connsiteY28" fmla="*/ 381621 h 523875"/>
                        <a:gd name="connsiteX29" fmla="*/ 864 w 533400"/>
                        <a:gd name="connsiteY29" fmla="*/ 201599 h 523875"/>
                        <a:gd name="connsiteX30" fmla="*/ 11342 w 533400"/>
                        <a:gd name="connsiteY30" fmla="*/ 175881 h 523875"/>
                        <a:gd name="connsiteX31" fmla="*/ 56109 w 533400"/>
                        <a:gd name="connsiteY31" fmla="*/ 127304 h 523875"/>
                        <a:gd name="connsiteX32" fmla="*/ 83732 w 533400"/>
                        <a:gd name="connsiteY32" fmla="*/ 114921 h 523875"/>
                        <a:gd name="connsiteX33" fmla="*/ 143739 w 533400"/>
                        <a:gd name="connsiteY33" fmla="*/ 114921 h 523875"/>
                        <a:gd name="connsiteX34" fmla="*/ 462827 w 533400"/>
                        <a:gd name="connsiteY34" fmla="*/ 172071 h 523875"/>
                        <a:gd name="connsiteX35" fmla="*/ 448539 w 533400"/>
                        <a:gd name="connsiteY35" fmla="*/ 186359 h 523875"/>
                        <a:gd name="connsiteX36" fmla="*/ 462827 w 533400"/>
                        <a:gd name="connsiteY36" fmla="*/ 200646 h 523875"/>
                        <a:gd name="connsiteX37" fmla="*/ 477114 w 533400"/>
                        <a:gd name="connsiteY37" fmla="*/ 186359 h 523875"/>
                        <a:gd name="connsiteX38" fmla="*/ 462827 w 533400"/>
                        <a:gd name="connsiteY38" fmla="*/ 172071 h 523875"/>
                        <a:gd name="connsiteX39" fmla="*/ 343764 w 533400"/>
                        <a:gd name="connsiteY39" fmla="*/ 621 h 523875"/>
                        <a:gd name="connsiteX40" fmla="*/ 372339 w 533400"/>
                        <a:gd name="connsiteY40" fmla="*/ 29196 h 523875"/>
                        <a:gd name="connsiteX41" fmla="*/ 372339 w 533400"/>
                        <a:gd name="connsiteY41" fmla="*/ 105396 h 523875"/>
                        <a:gd name="connsiteX42" fmla="*/ 343764 w 533400"/>
                        <a:gd name="connsiteY42" fmla="*/ 133971 h 523875"/>
                        <a:gd name="connsiteX43" fmla="*/ 191364 w 533400"/>
                        <a:gd name="connsiteY43" fmla="*/ 133971 h 523875"/>
                        <a:gd name="connsiteX44" fmla="*/ 162789 w 533400"/>
                        <a:gd name="connsiteY44" fmla="*/ 105396 h 523875"/>
                        <a:gd name="connsiteX45" fmla="*/ 162789 w 533400"/>
                        <a:gd name="connsiteY45" fmla="*/ 29196 h 523875"/>
                        <a:gd name="connsiteX46" fmla="*/ 191364 w 533400"/>
                        <a:gd name="connsiteY46" fmla="*/ 621 h 523875"/>
                        <a:gd name="connsiteX47" fmla="*/ 343764 w 533400"/>
                        <a:gd name="connsiteY47" fmla="*/ 621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533400" h="523875">
                          <a:moveTo>
                            <a:pt x="343764" y="276846"/>
                          </a:moveTo>
                          <a:cubicBezTo>
                            <a:pt x="359957" y="276846"/>
                            <a:pt x="372339" y="289229"/>
                            <a:pt x="372339" y="305421"/>
                          </a:cubicBezTo>
                          <a:lnTo>
                            <a:pt x="372339" y="495921"/>
                          </a:lnTo>
                          <a:cubicBezTo>
                            <a:pt x="372339" y="512114"/>
                            <a:pt x="359957" y="524496"/>
                            <a:pt x="343764" y="524496"/>
                          </a:cubicBezTo>
                          <a:lnTo>
                            <a:pt x="191364" y="524496"/>
                          </a:lnTo>
                          <a:cubicBezTo>
                            <a:pt x="175171" y="524496"/>
                            <a:pt x="162789" y="512114"/>
                            <a:pt x="162789" y="495921"/>
                          </a:cubicBezTo>
                          <a:lnTo>
                            <a:pt x="162789" y="305421"/>
                          </a:lnTo>
                          <a:cubicBezTo>
                            <a:pt x="162789" y="289229"/>
                            <a:pt x="175171" y="276846"/>
                            <a:pt x="191364" y="276846"/>
                          </a:cubicBezTo>
                          <a:lnTo>
                            <a:pt x="343764" y="276846"/>
                          </a:lnTo>
                          <a:close/>
                          <a:moveTo>
                            <a:pt x="143739" y="114921"/>
                          </a:moveTo>
                          <a:cubicBezTo>
                            <a:pt x="143739" y="134924"/>
                            <a:pt x="159932" y="152069"/>
                            <a:pt x="179934" y="153021"/>
                          </a:cubicBezTo>
                          <a:lnTo>
                            <a:pt x="181839" y="153021"/>
                          </a:lnTo>
                          <a:lnTo>
                            <a:pt x="353289" y="153021"/>
                          </a:lnTo>
                          <a:cubicBezTo>
                            <a:pt x="373292" y="153021"/>
                            <a:pt x="390436" y="136829"/>
                            <a:pt x="391389" y="116826"/>
                          </a:cubicBezTo>
                          <a:lnTo>
                            <a:pt x="391389" y="114921"/>
                          </a:lnTo>
                          <a:lnTo>
                            <a:pt x="505689" y="114921"/>
                          </a:lnTo>
                          <a:cubicBezTo>
                            <a:pt x="521882" y="114921"/>
                            <a:pt x="534264" y="127304"/>
                            <a:pt x="534264" y="143496"/>
                          </a:cubicBezTo>
                          <a:lnTo>
                            <a:pt x="534264" y="381621"/>
                          </a:lnTo>
                          <a:cubicBezTo>
                            <a:pt x="534264" y="397814"/>
                            <a:pt x="521882" y="410196"/>
                            <a:pt x="505689" y="410196"/>
                          </a:cubicBezTo>
                          <a:lnTo>
                            <a:pt x="391389" y="410196"/>
                          </a:lnTo>
                          <a:lnTo>
                            <a:pt x="391389" y="295896"/>
                          </a:lnTo>
                          <a:cubicBezTo>
                            <a:pt x="391389" y="275894"/>
                            <a:pt x="375196" y="258749"/>
                            <a:pt x="355194" y="257796"/>
                          </a:cubicBezTo>
                          <a:lnTo>
                            <a:pt x="353289" y="257796"/>
                          </a:lnTo>
                          <a:lnTo>
                            <a:pt x="181839" y="257796"/>
                          </a:lnTo>
                          <a:cubicBezTo>
                            <a:pt x="161836" y="257796"/>
                            <a:pt x="144692" y="273989"/>
                            <a:pt x="143739" y="293991"/>
                          </a:cubicBezTo>
                          <a:lnTo>
                            <a:pt x="143739" y="295896"/>
                          </a:lnTo>
                          <a:lnTo>
                            <a:pt x="143739" y="410196"/>
                          </a:lnTo>
                          <a:lnTo>
                            <a:pt x="29439" y="410196"/>
                          </a:lnTo>
                          <a:cubicBezTo>
                            <a:pt x="13246" y="410196"/>
                            <a:pt x="864" y="397814"/>
                            <a:pt x="864" y="381621"/>
                          </a:cubicBezTo>
                          <a:lnTo>
                            <a:pt x="864" y="201599"/>
                          </a:lnTo>
                          <a:cubicBezTo>
                            <a:pt x="864" y="192074"/>
                            <a:pt x="4674" y="182549"/>
                            <a:pt x="11342" y="175881"/>
                          </a:cubicBezTo>
                          <a:lnTo>
                            <a:pt x="56109" y="127304"/>
                          </a:lnTo>
                          <a:cubicBezTo>
                            <a:pt x="63729" y="119684"/>
                            <a:pt x="73254" y="114921"/>
                            <a:pt x="83732" y="114921"/>
                          </a:cubicBezTo>
                          <a:lnTo>
                            <a:pt x="143739" y="114921"/>
                          </a:lnTo>
                          <a:close/>
                          <a:moveTo>
                            <a:pt x="462827" y="172071"/>
                          </a:moveTo>
                          <a:cubicBezTo>
                            <a:pt x="455207" y="172071"/>
                            <a:pt x="448539" y="178739"/>
                            <a:pt x="448539" y="186359"/>
                          </a:cubicBezTo>
                          <a:cubicBezTo>
                            <a:pt x="448539" y="193979"/>
                            <a:pt x="455207" y="200646"/>
                            <a:pt x="462827" y="200646"/>
                          </a:cubicBezTo>
                          <a:cubicBezTo>
                            <a:pt x="470446" y="200646"/>
                            <a:pt x="477114" y="193979"/>
                            <a:pt x="477114" y="186359"/>
                          </a:cubicBezTo>
                          <a:cubicBezTo>
                            <a:pt x="477114" y="178739"/>
                            <a:pt x="470446" y="172071"/>
                            <a:pt x="462827" y="172071"/>
                          </a:cubicBezTo>
                          <a:close/>
                          <a:moveTo>
                            <a:pt x="343764" y="621"/>
                          </a:moveTo>
                          <a:cubicBezTo>
                            <a:pt x="359957" y="621"/>
                            <a:pt x="372339" y="13004"/>
                            <a:pt x="372339" y="29196"/>
                          </a:cubicBezTo>
                          <a:lnTo>
                            <a:pt x="372339" y="105396"/>
                          </a:lnTo>
                          <a:cubicBezTo>
                            <a:pt x="372339" y="121589"/>
                            <a:pt x="359957" y="133971"/>
                            <a:pt x="343764" y="133971"/>
                          </a:cubicBezTo>
                          <a:lnTo>
                            <a:pt x="191364" y="133971"/>
                          </a:lnTo>
                          <a:cubicBezTo>
                            <a:pt x="175171" y="133971"/>
                            <a:pt x="162789" y="121589"/>
                            <a:pt x="162789" y="105396"/>
                          </a:cubicBezTo>
                          <a:lnTo>
                            <a:pt x="162789" y="29196"/>
                          </a:lnTo>
                          <a:cubicBezTo>
                            <a:pt x="162789" y="13004"/>
                            <a:pt x="175171" y="621"/>
                            <a:pt x="191364" y="621"/>
                          </a:cubicBezTo>
                          <a:lnTo>
                            <a:pt x="343764" y="621"/>
                          </a:lnTo>
                          <a:close/>
                        </a:path>
                      </a:pathLst>
                    </a:custGeom>
                    <a:solidFill>
                      <a:srgbClr val="FFFFFF"/>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grpSp>
            </p:grpSp>
            <p:sp>
              <p:nvSpPr>
                <p:cNvPr id="34" name="空心弧 33"/>
                <p:cNvSpPr/>
                <p:nvPr/>
              </p:nvSpPr>
              <p:spPr>
                <a:xfrm flipV="1">
                  <a:off x="4293069" y="1825243"/>
                  <a:ext cx="3600000" cy="3600000"/>
                </a:xfrm>
                <a:prstGeom prst="blockArc">
                  <a:avLst>
                    <a:gd name="adj1" fmla="val 16200000"/>
                    <a:gd name="adj2" fmla="val 19800000"/>
                    <a:gd name="adj3" fmla="val 15000"/>
                  </a:avLst>
                </a:prstGeom>
                <a:solidFill>
                  <a:schemeClr val="tx2">
                    <a:alpha val="15000"/>
                  </a:schemeClr>
                </a:solidFill>
                <a:ln w="38100" cap="flat" cmpd="sng" algn="ctr">
                  <a:solidFill>
                    <a:schemeClr val="bg1"/>
                  </a:solidFill>
                  <a:prstDash val="solid"/>
                  <a:miter lim="800000"/>
                </a:ln>
              </p:spPr>
              <p:txBody>
                <a:bodyPr lIns="108000" tIns="108000" rIns="108000" bIns="108000" rtlCol="0" anchor="ctr"/>
                <a:lstStyle/>
                <a:p>
                  <a:endParaRPr lang="zh-CN" altLang="en-US">
                    <a:solidFill>
                      <a:schemeClr val="tx1"/>
                    </a:solidFill>
                  </a:endParaRPr>
                </a:p>
              </p:txBody>
            </p:sp>
          </p:grpSp>
          <p:grpSp>
            <p:nvGrpSpPr>
              <p:cNvPr id="7" name="组合 6"/>
              <p:cNvGrpSpPr/>
              <p:nvPr/>
            </p:nvGrpSpPr>
            <p:grpSpPr>
              <a:xfrm flipH="1">
                <a:off x="2642158" y="1143627"/>
                <a:ext cx="5256773" cy="4295531"/>
                <a:chOff x="5451462" y="725117"/>
                <a:chExt cx="5256773" cy="4295531"/>
              </a:xfrm>
            </p:grpSpPr>
            <p:grpSp>
              <p:nvGrpSpPr>
                <p:cNvPr id="25" name="组合 24"/>
                <p:cNvGrpSpPr/>
                <p:nvPr/>
              </p:nvGrpSpPr>
              <p:grpSpPr>
                <a:xfrm>
                  <a:off x="8271430" y="725117"/>
                  <a:ext cx="2436805" cy="926843"/>
                  <a:chOff x="2981986" y="1494463"/>
                  <a:chExt cx="2436805" cy="926843"/>
                </a:xfrm>
              </p:grpSpPr>
              <p:grpSp>
                <p:nvGrpSpPr>
                  <p:cNvPr id="27" name="组合 26"/>
                  <p:cNvGrpSpPr/>
                  <p:nvPr/>
                </p:nvGrpSpPr>
                <p:grpSpPr>
                  <a:xfrm>
                    <a:off x="3565318" y="1494463"/>
                    <a:ext cx="1853473" cy="926843"/>
                    <a:chOff x="7119257" y="2386978"/>
                    <a:chExt cx="2200863" cy="911886"/>
                  </a:xfrm>
                  <a:noFill/>
                </p:grpSpPr>
                <p:sp>
                  <p:nvSpPr>
                    <p:cNvPr id="31" name="矩形 30"/>
                    <p:cNvSpPr/>
                    <p:nvPr/>
                  </p:nvSpPr>
                  <p:spPr>
                    <a:xfrm>
                      <a:off x="7119258" y="2386978"/>
                      <a:ext cx="2200862" cy="4568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b"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r>
                        <a:rPr kumimoji="1" lang="en-US" altLang="zh-CN" sz="1600" b="1" dirty="0">
                          <a:solidFill>
                            <a:schemeClr val="tx1"/>
                          </a:solidFill>
                          <a:latin typeface="Arial" panose="020B0604020202090204" pitchFamily="34" charset="0"/>
                          <a:ea typeface="华文楷体" panose="02010600040101010101" pitchFamily="2" charset="-122"/>
                        </a:rPr>
                        <a:t>Text</a:t>
                      </a:r>
                      <a:r>
                        <a:rPr kumimoji="1" lang="zh-CN" altLang="en-US" sz="1600" b="1" dirty="0">
                          <a:solidFill>
                            <a:schemeClr val="tx1"/>
                          </a:solidFill>
                          <a:latin typeface="Arial" panose="020B0604020202090204" pitchFamily="34" charset="0"/>
                          <a:ea typeface="华文楷体" panose="02010600040101010101" pitchFamily="2" charset="-122"/>
                        </a:rPr>
                        <a:t> </a:t>
                      </a:r>
                      <a:r>
                        <a:rPr kumimoji="1" lang="en-US" altLang="zh-CN" sz="1600" b="1" dirty="0">
                          <a:solidFill>
                            <a:schemeClr val="tx1"/>
                          </a:solidFill>
                          <a:latin typeface="Arial" panose="020B0604020202090204" pitchFamily="34" charset="0"/>
                          <a:ea typeface="华文楷体" panose="02010600040101010101" pitchFamily="2" charset="-122"/>
                        </a:rPr>
                        <a:t>here</a:t>
                      </a:r>
                      <a:endParaRPr kumimoji="1" lang="en-US" altLang="zh-CN" sz="1600" b="1" dirty="0">
                        <a:solidFill>
                          <a:schemeClr val="tx1"/>
                        </a:solidFill>
                        <a:latin typeface="Arial" panose="020B0604020202090204" pitchFamily="34" charset="0"/>
                        <a:ea typeface="华文楷体" panose="02010600040101010101" pitchFamily="2" charset="-122"/>
                      </a:endParaRPr>
                    </a:p>
                  </p:txBody>
                </p:sp>
                <p:sp>
                  <p:nvSpPr>
                    <p:cNvPr id="32" name="矩形 31"/>
                    <p:cNvSpPr/>
                    <p:nvPr/>
                  </p:nvSpPr>
                  <p:spPr>
                    <a:xfrm>
                      <a:off x="7119257" y="2711124"/>
                      <a:ext cx="2199239" cy="5877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t"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nSpc>
                          <a:spcPct val="130000"/>
                        </a:lnSpc>
                      </a:pPr>
                      <a:r>
                        <a:rPr kumimoji="1" lang="en-US" altLang="zh-CN" sz="1000" dirty="0">
                          <a:solidFill>
                            <a:schemeClr val="tx1"/>
                          </a:solidFill>
                          <a:latin typeface="Arial" panose="020B0604020202090204" pitchFamily="34" charset="0"/>
                          <a:ea typeface="华文楷体" panose="02010600040101010101" pitchFamily="2" charset="-122"/>
                        </a:rPr>
                        <a:t>Theme color makes PPT more convenient to change.</a:t>
                      </a:r>
                      <a:endParaRPr kumimoji="1" lang="en-US" altLang="zh-CN" sz="1000" dirty="0">
                        <a:solidFill>
                          <a:schemeClr val="tx1"/>
                        </a:solidFill>
                        <a:latin typeface="Arial" panose="020B0604020202090204" pitchFamily="34" charset="0"/>
                        <a:ea typeface="华文楷体" panose="02010600040101010101" pitchFamily="2" charset="-122"/>
                      </a:endParaRPr>
                    </a:p>
                  </p:txBody>
                </p:sp>
              </p:grpSp>
              <p:grpSp>
                <p:nvGrpSpPr>
                  <p:cNvPr id="28" name="组合 27"/>
                  <p:cNvGrpSpPr/>
                  <p:nvPr/>
                </p:nvGrpSpPr>
                <p:grpSpPr>
                  <a:xfrm>
                    <a:off x="2981986" y="1688554"/>
                    <a:ext cx="540000" cy="540000"/>
                    <a:chOff x="2832175" y="5599496"/>
                    <a:chExt cx="540000" cy="540000"/>
                  </a:xfrm>
                </p:grpSpPr>
                <p:sp>
                  <p:nvSpPr>
                    <p:cNvPr id="29" name="文本框 28"/>
                    <p:cNvSpPr txBox="1"/>
                    <p:nvPr/>
                  </p:nvSpPr>
                  <p:spPr>
                    <a:xfrm flipH="1">
                      <a:off x="2832175" y="5599496"/>
                      <a:ext cx="540000" cy="540000"/>
                    </a:xfrm>
                    <a:prstGeom prst="roundRect">
                      <a:avLst>
                        <a:gd name="adj" fmla="val 50000"/>
                      </a:avLst>
                    </a:prstGeom>
                    <a:solidFill>
                      <a:schemeClr val="accent1"/>
                    </a:solidFill>
                  </p:spPr>
                  <p:txBody>
                    <a:bodyPr wrap="none" lIns="108000" tIns="108000" rIns="108000" bIns="108000" rtlCol="0" anchor="ctr" anchorCtr="0">
                      <a:noAutofit/>
                    </a:bodyPr>
                    <a:lstStyle/>
                    <a:p>
                      <a:pPr algn="ctr"/>
                      <a:endParaRPr kumimoji="1" lang="zh-CN" altLang="en-US" sz="2000" b="1" dirty="0">
                        <a:noFill/>
                      </a:endParaRPr>
                    </a:p>
                  </p:txBody>
                </p:sp>
                <p:sp>
                  <p:nvSpPr>
                    <p:cNvPr id="30" name="任意多边形: 形状 29"/>
                    <p:cNvSpPr/>
                    <p:nvPr/>
                  </p:nvSpPr>
                  <p:spPr>
                    <a:xfrm flipH="1">
                      <a:off x="2989061" y="5731793"/>
                      <a:ext cx="226228" cy="275406"/>
                    </a:xfrm>
                    <a:custGeom>
                      <a:avLst/>
                      <a:gdLst>
                        <a:gd name="connsiteX0" fmla="*/ 284197 w 438150"/>
                        <a:gd name="connsiteY0" fmla="*/ 621 h 533400"/>
                        <a:gd name="connsiteX1" fmla="*/ 286102 w 438150"/>
                        <a:gd name="connsiteY1" fmla="*/ 621 h 533400"/>
                        <a:gd name="connsiteX2" fmla="*/ 286102 w 438150"/>
                        <a:gd name="connsiteY2" fmla="*/ 124446 h 533400"/>
                        <a:gd name="connsiteX3" fmla="*/ 286102 w 438150"/>
                        <a:gd name="connsiteY3" fmla="*/ 126351 h 533400"/>
                        <a:gd name="connsiteX4" fmla="*/ 314677 w 438150"/>
                        <a:gd name="connsiteY4" fmla="*/ 153021 h 533400"/>
                        <a:gd name="connsiteX5" fmla="*/ 314677 w 438150"/>
                        <a:gd name="connsiteY5" fmla="*/ 153021 h 533400"/>
                        <a:gd name="connsiteX6" fmla="*/ 438502 w 438150"/>
                        <a:gd name="connsiteY6" fmla="*/ 153021 h 533400"/>
                        <a:gd name="connsiteX7" fmla="*/ 438502 w 438150"/>
                        <a:gd name="connsiteY7" fmla="*/ 154926 h 533400"/>
                        <a:gd name="connsiteX8" fmla="*/ 438502 w 438150"/>
                        <a:gd name="connsiteY8" fmla="*/ 505446 h 533400"/>
                        <a:gd name="connsiteX9" fmla="*/ 409927 w 438150"/>
                        <a:gd name="connsiteY9" fmla="*/ 534021 h 533400"/>
                        <a:gd name="connsiteX10" fmla="*/ 28927 w 438150"/>
                        <a:gd name="connsiteY10" fmla="*/ 534021 h 533400"/>
                        <a:gd name="connsiteX11" fmla="*/ 352 w 438150"/>
                        <a:gd name="connsiteY11" fmla="*/ 505446 h 533400"/>
                        <a:gd name="connsiteX12" fmla="*/ 352 w 438150"/>
                        <a:gd name="connsiteY12" fmla="*/ 29196 h 533400"/>
                        <a:gd name="connsiteX13" fmla="*/ 28927 w 438150"/>
                        <a:gd name="connsiteY13" fmla="*/ 621 h 533400"/>
                        <a:gd name="connsiteX14" fmla="*/ 284197 w 438150"/>
                        <a:gd name="connsiteY14" fmla="*/ 621 h 533400"/>
                        <a:gd name="connsiteX15" fmla="*/ 248002 w 438150"/>
                        <a:gd name="connsiteY15" fmla="*/ 200646 h 533400"/>
                        <a:gd name="connsiteX16" fmla="*/ 152752 w 438150"/>
                        <a:gd name="connsiteY16" fmla="*/ 200646 h 533400"/>
                        <a:gd name="connsiteX17" fmla="*/ 152752 w 438150"/>
                        <a:gd name="connsiteY17" fmla="*/ 410196 h 533400"/>
                        <a:gd name="connsiteX18" fmla="*/ 171802 w 438150"/>
                        <a:gd name="connsiteY18" fmla="*/ 410196 h 533400"/>
                        <a:gd name="connsiteX19" fmla="*/ 171802 w 438150"/>
                        <a:gd name="connsiteY19" fmla="*/ 314946 h 533400"/>
                        <a:gd name="connsiteX20" fmla="*/ 248002 w 438150"/>
                        <a:gd name="connsiteY20" fmla="*/ 314946 h 533400"/>
                        <a:gd name="connsiteX21" fmla="*/ 249907 w 438150"/>
                        <a:gd name="connsiteY21" fmla="*/ 314946 h 533400"/>
                        <a:gd name="connsiteX22" fmla="*/ 305152 w 438150"/>
                        <a:gd name="connsiteY22" fmla="*/ 257796 h 533400"/>
                        <a:gd name="connsiteX23" fmla="*/ 248002 w 438150"/>
                        <a:gd name="connsiteY23" fmla="*/ 200646 h 533400"/>
                        <a:gd name="connsiteX24" fmla="*/ 248002 w 438150"/>
                        <a:gd name="connsiteY24" fmla="*/ 200646 h 533400"/>
                        <a:gd name="connsiteX25" fmla="*/ 248002 w 438150"/>
                        <a:gd name="connsiteY25" fmla="*/ 219696 h 533400"/>
                        <a:gd name="connsiteX26" fmla="*/ 286102 w 438150"/>
                        <a:gd name="connsiteY26" fmla="*/ 257796 h 533400"/>
                        <a:gd name="connsiteX27" fmla="*/ 248002 w 438150"/>
                        <a:gd name="connsiteY27" fmla="*/ 295896 h 533400"/>
                        <a:gd name="connsiteX28" fmla="*/ 248002 w 438150"/>
                        <a:gd name="connsiteY28" fmla="*/ 295896 h 533400"/>
                        <a:gd name="connsiteX29" fmla="*/ 171802 w 438150"/>
                        <a:gd name="connsiteY29" fmla="*/ 295896 h 533400"/>
                        <a:gd name="connsiteX30" fmla="*/ 171802 w 438150"/>
                        <a:gd name="connsiteY30" fmla="*/ 219696 h 533400"/>
                        <a:gd name="connsiteX31" fmla="*/ 248002 w 438150"/>
                        <a:gd name="connsiteY31" fmla="*/ 219696 h 533400"/>
                        <a:gd name="connsiteX32" fmla="*/ 428977 w 438150"/>
                        <a:gd name="connsiteY32" fmla="*/ 133971 h 533400"/>
                        <a:gd name="connsiteX33" fmla="*/ 314677 w 438150"/>
                        <a:gd name="connsiteY33" fmla="*/ 133971 h 533400"/>
                        <a:gd name="connsiteX34" fmla="*/ 313724 w 438150"/>
                        <a:gd name="connsiteY34" fmla="*/ 133971 h 533400"/>
                        <a:gd name="connsiteX35" fmla="*/ 305152 w 438150"/>
                        <a:gd name="connsiteY35" fmla="*/ 124446 h 533400"/>
                        <a:gd name="connsiteX36" fmla="*/ 305152 w 438150"/>
                        <a:gd name="connsiteY36" fmla="*/ 124446 h 533400"/>
                        <a:gd name="connsiteX37" fmla="*/ 305152 w 438150"/>
                        <a:gd name="connsiteY37" fmla="*/ 10146 h 533400"/>
                        <a:gd name="connsiteX38" fmla="*/ 428977 w 438150"/>
                        <a:gd name="connsiteY38" fmla="*/ 133971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38150" h="533400">
                          <a:moveTo>
                            <a:pt x="284197" y="621"/>
                          </a:moveTo>
                          <a:cubicBezTo>
                            <a:pt x="285149" y="621"/>
                            <a:pt x="286102" y="621"/>
                            <a:pt x="286102" y="621"/>
                          </a:cubicBezTo>
                          <a:lnTo>
                            <a:pt x="286102" y="124446"/>
                          </a:lnTo>
                          <a:lnTo>
                            <a:pt x="286102" y="126351"/>
                          </a:lnTo>
                          <a:cubicBezTo>
                            <a:pt x="287055" y="141591"/>
                            <a:pt x="299437" y="153021"/>
                            <a:pt x="314677" y="153021"/>
                          </a:cubicBezTo>
                          <a:lnTo>
                            <a:pt x="314677" y="153021"/>
                          </a:lnTo>
                          <a:lnTo>
                            <a:pt x="438502" y="153021"/>
                          </a:lnTo>
                          <a:cubicBezTo>
                            <a:pt x="438502" y="153974"/>
                            <a:pt x="438502" y="154926"/>
                            <a:pt x="438502" y="154926"/>
                          </a:cubicBezTo>
                          <a:lnTo>
                            <a:pt x="438502" y="505446"/>
                          </a:lnTo>
                          <a:cubicBezTo>
                            <a:pt x="438502" y="521639"/>
                            <a:pt x="426120" y="534021"/>
                            <a:pt x="409927" y="534021"/>
                          </a:cubicBezTo>
                          <a:lnTo>
                            <a:pt x="28927" y="534021"/>
                          </a:lnTo>
                          <a:cubicBezTo>
                            <a:pt x="12734" y="534021"/>
                            <a:pt x="352" y="521639"/>
                            <a:pt x="352" y="505446"/>
                          </a:cubicBezTo>
                          <a:lnTo>
                            <a:pt x="352" y="29196"/>
                          </a:lnTo>
                          <a:cubicBezTo>
                            <a:pt x="352" y="13004"/>
                            <a:pt x="12734" y="621"/>
                            <a:pt x="28927" y="621"/>
                          </a:cubicBezTo>
                          <a:lnTo>
                            <a:pt x="284197" y="621"/>
                          </a:lnTo>
                          <a:close/>
                          <a:moveTo>
                            <a:pt x="248002" y="200646"/>
                          </a:moveTo>
                          <a:lnTo>
                            <a:pt x="152752" y="200646"/>
                          </a:lnTo>
                          <a:lnTo>
                            <a:pt x="152752" y="410196"/>
                          </a:lnTo>
                          <a:lnTo>
                            <a:pt x="171802" y="410196"/>
                          </a:lnTo>
                          <a:lnTo>
                            <a:pt x="171802" y="314946"/>
                          </a:lnTo>
                          <a:lnTo>
                            <a:pt x="248002" y="314946"/>
                          </a:lnTo>
                          <a:lnTo>
                            <a:pt x="249907" y="314946"/>
                          </a:lnTo>
                          <a:cubicBezTo>
                            <a:pt x="280387" y="313994"/>
                            <a:pt x="305152" y="288276"/>
                            <a:pt x="305152" y="257796"/>
                          </a:cubicBezTo>
                          <a:cubicBezTo>
                            <a:pt x="305152" y="226364"/>
                            <a:pt x="279434" y="200646"/>
                            <a:pt x="248002" y="200646"/>
                          </a:cubicBezTo>
                          <a:lnTo>
                            <a:pt x="248002" y="200646"/>
                          </a:lnTo>
                          <a:close/>
                          <a:moveTo>
                            <a:pt x="248002" y="219696"/>
                          </a:moveTo>
                          <a:cubicBezTo>
                            <a:pt x="268957" y="219696"/>
                            <a:pt x="286102" y="236841"/>
                            <a:pt x="286102" y="257796"/>
                          </a:cubicBezTo>
                          <a:cubicBezTo>
                            <a:pt x="286102" y="278751"/>
                            <a:pt x="268957" y="295896"/>
                            <a:pt x="248002" y="295896"/>
                          </a:cubicBezTo>
                          <a:lnTo>
                            <a:pt x="248002" y="295896"/>
                          </a:lnTo>
                          <a:lnTo>
                            <a:pt x="171802" y="295896"/>
                          </a:lnTo>
                          <a:lnTo>
                            <a:pt x="171802" y="219696"/>
                          </a:lnTo>
                          <a:lnTo>
                            <a:pt x="248002" y="219696"/>
                          </a:lnTo>
                          <a:close/>
                          <a:moveTo>
                            <a:pt x="428977" y="133971"/>
                          </a:moveTo>
                          <a:lnTo>
                            <a:pt x="314677" y="133971"/>
                          </a:lnTo>
                          <a:lnTo>
                            <a:pt x="313724" y="133971"/>
                          </a:lnTo>
                          <a:cubicBezTo>
                            <a:pt x="308962" y="133019"/>
                            <a:pt x="305152" y="129209"/>
                            <a:pt x="305152" y="124446"/>
                          </a:cubicBezTo>
                          <a:lnTo>
                            <a:pt x="305152" y="124446"/>
                          </a:lnTo>
                          <a:lnTo>
                            <a:pt x="305152" y="10146"/>
                          </a:lnTo>
                          <a:lnTo>
                            <a:pt x="428977" y="133971"/>
                          </a:lnTo>
                          <a:close/>
                        </a:path>
                      </a:pathLst>
                    </a:custGeom>
                    <a:solidFill>
                      <a:srgbClr val="FFFFFF"/>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grpSp>
            </p:grpSp>
            <p:sp>
              <p:nvSpPr>
                <p:cNvPr id="26" name="空心弧 25"/>
                <p:cNvSpPr/>
                <p:nvPr/>
              </p:nvSpPr>
              <p:spPr>
                <a:xfrm>
                  <a:off x="5451462" y="1420648"/>
                  <a:ext cx="3600000" cy="3600000"/>
                </a:xfrm>
                <a:prstGeom prst="blockArc">
                  <a:avLst>
                    <a:gd name="adj1" fmla="val 16200000"/>
                    <a:gd name="adj2" fmla="val 19800000"/>
                    <a:gd name="adj3" fmla="val 15000"/>
                  </a:avLst>
                </a:prstGeom>
                <a:solidFill>
                  <a:schemeClr val="tx2">
                    <a:alpha val="15000"/>
                  </a:schemeClr>
                </a:solidFill>
                <a:ln w="38100" cap="flat" cmpd="sng" algn="ctr">
                  <a:solidFill>
                    <a:schemeClr val="bg1"/>
                  </a:solidFill>
                  <a:prstDash val="solid"/>
                  <a:miter lim="800000"/>
                </a:ln>
              </p:spPr>
              <p:txBody>
                <a:bodyPr lIns="108000" tIns="108000" rIns="108000" bIns="108000" rtlCol="0" anchor="ctr"/>
                <a:lstStyle/>
                <a:p>
                  <a:endParaRPr lang="zh-CN" altLang="en-US">
                    <a:solidFill>
                      <a:schemeClr val="tx1"/>
                    </a:solidFill>
                  </a:endParaRPr>
                </a:p>
              </p:txBody>
            </p:sp>
          </p:grpSp>
          <p:grpSp>
            <p:nvGrpSpPr>
              <p:cNvPr id="8" name="组合 7"/>
              <p:cNvGrpSpPr/>
              <p:nvPr/>
            </p:nvGrpSpPr>
            <p:grpSpPr>
              <a:xfrm>
                <a:off x="1542288" y="3168784"/>
                <a:ext cx="2436805" cy="926843"/>
                <a:chOff x="1542288" y="3168784"/>
                <a:chExt cx="2436805" cy="926843"/>
              </a:xfrm>
            </p:grpSpPr>
            <p:grpSp>
              <p:nvGrpSpPr>
                <p:cNvPr id="19" name="组合 18"/>
                <p:cNvGrpSpPr/>
                <p:nvPr/>
              </p:nvGrpSpPr>
              <p:grpSpPr>
                <a:xfrm flipH="1">
                  <a:off x="1542288" y="3168784"/>
                  <a:ext cx="1853473" cy="926843"/>
                  <a:chOff x="7119257" y="2386978"/>
                  <a:chExt cx="2200863" cy="911886"/>
                </a:xfrm>
                <a:noFill/>
              </p:grpSpPr>
              <p:sp>
                <p:nvSpPr>
                  <p:cNvPr id="23" name="矩形 22"/>
                  <p:cNvSpPr/>
                  <p:nvPr/>
                </p:nvSpPr>
                <p:spPr>
                  <a:xfrm>
                    <a:off x="7119258" y="2386978"/>
                    <a:ext cx="2200862" cy="4568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b"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r>
                      <a:rPr kumimoji="1" lang="en-US" altLang="zh-CN" sz="1600" b="1" dirty="0">
                        <a:solidFill>
                          <a:schemeClr val="tx1"/>
                        </a:solidFill>
                        <a:latin typeface="Arial" panose="020B0604020202090204" pitchFamily="34" charset="0"/>
                        <a:ea typeface="华文楷体" panose="02010600040101010101" pitchFamily="2" charset="-122"/>
                      </a:rPr>
                      <a:t>Text</a:t>
                    </a:r>
                    <a:r>
                      <a:rPr kumimoji="1" lang="zh-CN" altLang="en-US" sz="1600" b="1" dirty="0">
                        <a:solidFill>
                          <a:schemeClr val="tx1"/>
                        </a:solidFill>
                        <a:latin typeface="Arial" panose="020B0604020202090204" pitchFamily="34" charset="0"/>
                        <a:ea typeface="华文楷体" panose="02010600040101010101" pitchFamily="2" charset="-122"/>
                      </a:rPr>
                      <a:t> </a:t>
                    </a:r>
                    <a:r>
                      <a:rPr kumimoji="1" lang="en-US" altLang="zh-CN" sz="1600" b="1" dirty="0">
                        <a:solidFill>
                          <a:schemeClr val="tx1"/>
                        </a:solidFill>
                        <a:latin typeface="Arial" panose="020B0604020202090204" pitchFamily="34" charset="0"/>
                        <a:ea typeface="华文楷体" panose="02010600040101010101" pitchFamily="2" charset="-122"/>
                      </a:rPr>
                      <a:t>here</a:t>
                    </a:r>
                    <a:endParaRPr kumimoji="1" lang="en-US" altLang="zh-CN" sz="1600" b="1" dirty="0">
                      <a:solidFill>
                        <a:schemeClr val="tx1"/>
                      </a:solidFill>
                      <a:latin typeface="Arial" panose="020B0604020202090204" pitchFamily="34" charset="0"/>
                      <a:ea typeface="华文楷体" panose="02010600040101010101" pitchFamily="2" charset="-122"/>
                    </a:endParaRPr>
                  </a:p>
                </p:txBody>
              </p:sp>
              <p:sp>
                <p:nvSpPr>
                  <p:cNvPr id="24" name="矩形 23"/>
                  <p:cNvSpPr/>
                  <p:nvPr/>
                </p:nvSpPr>
                <p:spPr>
                  <a:xfrm>
                    <a:off x="7119257" y="2711124"/>
                    <a:ext cx="2199239" cy="5877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t"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nSpc>
                        <a:spcPct val="130000"/>
                      </a:lnSpc>
                    </a:pPr>
                    <a:r>
                      <a:rPr kumimoji="1" lang="en-US" altLang="zh-CN" sz="1000" dirty="0">
                        <a:solidFill>
                          <a:schemeClr val="tx1"/>
                        </a:solidFill>
                        <a:latin typeface="Arial" panose="020B0604020202090204" pitchFamily="34" charset="0"/>
                        <a:ea typeface="华文楷体" panose="02010600040101010101" pitchFamily="2" charset="-122"/>
                      </a:rPr>
                      <a:t>Theme color makes PPT more convenient to change.</a:t>
                    </a:r>
                    <a:endParaRPr kumimoji="1" lang="en-US" altLang="zh-CN" sz="1000" dirty="0">
                      <a:solidFill>
                        <a:schemeClr val="tx1"/>
                      </a:solidFill>
                      <a:latin typeface="Arial" panose="020B0604020202090204" pitchFamily="34" charset="0"/>
                      <a:ea typeface="华文楷体" panose="02010600040101010101" pitchFamily="2" charset="-122"/>
                    </a:endParaRPr>
                  </a:p>
                </p:txBody>
              </p:sp>
            </p:grpSp>
            <p:grpSp>
              <p:nvGrpSpPr>
                <p:cNvPr id="20" name="组合 19"/>
                <p:cNvGrpSpPr/>
                <p:nvPr/>
              </p:nvGrpSpPr>
              <p:grpSpPr>
                <a:xfrm>
                  <a:off x="3439093" y="3362875"/>
                  <a:ext cx="540000" cy="540000"/>
                  <a:chOff x="5460031" y="5599496"/>
                  <a:chExt cx="540000" cy="540000"/>
                </a:xfrm>
              </p:grpSpPr>
              <p:sp>
                <p:nvSpPr>
                  <p:cNvPr id="21" name="文本框 20"/>
                  <p:cNvSpPr txBox="1"/>
                  <p:nvPr/>
                </p:nvSpPr>
                <p:spPr>
                  <a:xfrm>
                    <a:off x="5460031" y="5599496"/>
                    <a:ext cx="540000" cy="540000"/>
                  </a:xfrm>
                  <a:prstGeom prst="roundRect">
                    <a:avLst>
                      <a:gd name="adj" fmla="val 50000"/>
                    </a:avLst>
                  </a:prstGeom>
                  <a:solidFill>
                    <a:schemeClr val="accent1"/>
                  </a:solidFill>
                </p:spPr>
                <p:txBody>
                  <a:bodyPr wrap="none" lIns="108000" tIns="108000" rIns="108000" bIns="108000" rtlCol="0" anchor="ctr" anchorCtr="0">
                    <a:noAutofit/>
                  </a:bodyPr>
                  <a:lstStyle/>
                  <a:p>
                    <a:pPr algn="ctr"/>
                    <a:endParaRPr kumimoji="1" lang="zh-CN" altLang="en-US" sz="2000" b="1" dirty="0">
                      <a:noFill/>
                    </a:endParaRPr>
                  </a:p>
                </p:txBody>
              </p:sp>
              <p:sp>
                <p:nvSpPr>
                  <p:cNvPr id="22" name="任意多边形: 形状 21"/>
                  <p:cNvSpPr/>
                  <p:nvPr/>
                </p:nvSpPr>
                <p:spPr>
                  <a:xfrm>
                    <a:off x="5604182" y="5734497"/>
                    <a:ext cx="251698" cy="269998"/>
                  </a:xfrm>
                  <a:custGeom>
                    <a:avLst/>
                    <a:gdLst>
                      <a:gd name="connsiteX0" fmla="*/ 8356 w 487477"/>
                      <a:gd name="connsiteY0" fmla="*/ 512114 h 522922"/>
                      <a:gd name="connsiteX1" fmla="*/ 8356 w 487477"/>
                      <a:gd name="connsiteY1" fmla="*/ 512114 h 522922"/>
                      <a:gd name="connsiteX2" fmla="*/ 8356 w 487477"/>
                      <a:gd name="connsiteY2" fmla="*/ 512114 h 522922"/>
                      <a:gd name="connsiteX3" fmla="*/ 7404 w 487477"/>
                      <a:gd name="connsiteY3" fmla="*/ 511161 h 522922"/>
                      <a:gd name="connsiteX4" fmla="*/ 5499 w 487477"/>
                      <a:gd name="connsiteY4" fmla="*/ 508303 h 522922"/>
                      <a:gd name="connsiteX5" fmla="*/ 5499 w 487477"/>
                      <a:gd name="connsiteY5" fmla="*/ 508303 h 522922"/>
                      <a:gd name="connsiteX6" fmla="*/ 5499 w 487477"/>
                      <a:gd name="connsiteY6" fmla="*/ 507351 h 522922"/>
                      <a:gd name="connsiteX7" fmla="*/ 4546 w 487477"/>
                      <a:gd name="connsiteY7" fmla="*/ 505446 h 522922"/>
                      <a:gd name="connsiteX8" fmla="*/ 3593 w 487477"/>
                      <a:gd name="connsiteY8" fmla="*/ 503541 h 522922"/>
                      <a:gd name="connsiteX9" fmla="*/ 3593 w 487477"/>
                      <a:gd name="connsiteY9" fmla="*/ 503541 h 522922"/>
                      <a:gd name="connsiteX10" fmla="*/ 3593 w 487477"/>
                      <a:gd name="connsiteY10" fmla="*/ 503541 h 522922"/>
                      <a:gd name="connsiteX11" fmla="*/ 3593 w 487477"/>
                      <a:gd name="connsiteY11" fmla="*/ 503541 h 522922"/>
                      <a:gd name="connsiteX12" fmla="*/ 2641 w 487477"/>
                      <a:gd name="connsiteY12" fmla="*/ 501636 h 522922"/>
                      <a:gd name="connsiteX13" fmla="*/ 2641 w 487477"/>
                      <a:gd name="connsiteY13" fmla="*/ 500684 h 522922"/>
                      <a:gd name="connsiteX14" fmla="*/ 1689 w 487477"/>
                      <a:gd name="connsiteY14" fmla="*/ 498778 h 522922"/>
                      <a:gd name="connsiteX15" fmla="*/ 736 w 487477"/>
                      <a:gd name="connsiteY15" fmla="*/ 494968 h 522922"/>
                      <a:gd name="connsiteX16" fmla="*/ 736 w 487477"/>
                      <a:gd name="connsiteY16" fmla="*/ 492111 h 522922"/>
                      <a:gd name="connsiteX17" fmla="*/ 736 w 487477"/>
                      <a:gd name="connsiteY17" fmla="*/ 485443 h 522922"/>
                      <a:gd name="connsiteX18" fmla="*/ 5499 w 487477"/>
                      <a:gd name="connsiteY18" fmla="*/ 467346 h 522922"/>
                      <a:gd name="connsiteX19" fmla="*/ 155041 w 487477"/>
                      <a:gd name="connsiteY19" fmla="*/ 151116 h 522922"/>
                      <a:gd name="connsiteX20" fmla="*/ 158851 w 487477"/>
                      <a:gd name="connsiteY20" fmla="*/ 134924 h 522922"/>
                      <a:gd name="connsiteX21" fmla="*/ 158851 w 487477"/>
                      <a:gd name="connsiteY21" fmla="*/ 19671 h 522922"/>
                      <a:gd name="connsiteX22" fmla="*/ 120751 w 487477"/>
                      <a:gd name="connsiteY22" fmla="*/ 19671 h 522922"/>
                      <a:gd name="connsiteX23" fmla="*/ 120751 w 487477"/>
                      <a:gd name="connsiteY23" fmla="*/ 621 h 522922"/>
                      <a:gd name="connsiteX24" fmla="*/ 368401 w 487477"/>
                      <a:gd name="connsiteY24" fmla="*/ 621 h 522922"/>
                      <a:gd name="connsiteX25" fmla="*/ 368401 w 487477"/>
                      <a:gd name="connsiteY25" fmla="*/ 19671 h 522922"/>
                      <a:gd name="connsiteX26" fmla="*/ 330301 w 487477"/>
                      <a:gd name="connsiteY26" fmla="*/ 19671 h 522922"/>
                      <a:gd name="connsiteX27" fmla="*/ 330301 w 487477"/>
                      <a:gd name="connsiteY27" fmla="*/ 134924 h 522922"/>
                      <a:gd name="connsiteX28" fmla="*/ 334111 w 487477"/>
                      <a:gd name="connsiteY28" fmla="*/ 151116 h 522922"/>
                      <a:gd name="connsiteX29" fmla="*/ 483654 w 487477"/>
                      <a:gd name="connsiteY29" fmla="*/ 467346 h 522922"/>
                      <a:gd name="connsiteX30" fmla="*/ 485558 w 487477"/>
                      <a:gd name="connsiteY30" fmla="*/ 504493 h 522922"/>
                      <a:gd name="connsiteX31" fmla="*/ 485558 w 487477"/>
                      <a:gd name="connsiteY31" fmla="*/ 504493 h 522922"/>
                      <a:gd name="connsiteX32" fmla="*/ 484606 w 487477"/>
                      <a:gd name="connsiteY32" fmla="*/ 506399 h 522922"/>
                      <a:gd name="connsiteX33" fmla="*/ 459841 w 487477"/>
                      <a:gd name="connsiteY33" fmla="*/ 523543 h 522922"/>
                      <a:gd name="connsiteX34" fmla="*/ 457936 w 487477"/>
                      <a:gd name="connsiteY34" fmla="*/ 523543 h 522922"/>
                      <a:gd name="connsiteX35" fmla="*/ 32168 w 487477"/>
                      <a:gd name="connsiteY35" fmla="*/ 523543 h 522922"/>
                      <a:gd name="connsiteX36" fmla="*/ 30264 w 487477"/>
                      <a:gd name="connsiteY36" fmla="*/ 523543 h 522922"/>
                      <a:gd name="connsiteX37" fmla="*/ 27406 w 487477"/>
                      <a:gd name="connsiteY37" fmla="*/ 523543 h 522922"/>
                      <a:gd name="connsiteX38" fmla="*/ 23596 w 487477"/>
                      <a:gd name="connsiteY38" fmla="*/ 522591 h 522922"/>
                      <a:gd name="connsiteX39" fmla="*/ 23596 w 487477"/>
                      <a:gd name="connsiteY39" fmla="*/ 522591 h 522922"/>
                      <a:gd name="connsiteX40" fmla="*/ 17881 w 487477"/>
                      <a:gd name="connsiteY40" fmla="*/ 520686 h 522922"/>
                      <a:gd name="connsiteX41" fmla="*/ 15976 w 487477"/>
                      <a:gd name="connsiteY41" fmla="*/ 519734 h 522922"/>
                      <a:gd name="connsiteX42" fmla="*/ 15024 w 487477"/>
                      <a:gd name="connsiteY42" fmla="*/ 518781 h 522922"/>
                      <a:gd name="connsiteX43" fmla="*/ 10261 w 487477"/>
                      <a:gd name="connsiteY43" fmla="*/ 514971 h 522922"/>
                      <a:gd name="connsiteX44" fmla="*/ 8356 w 487477"/>
                      <a:gd name="connsiteY44" fmla="*/ 512114 h 522922"/>
                      <a:gd name="connsiteX45" fmla="*/ 8356 w 487477"/>
                      <a:gd name="connsiteY45" fmla="*/ 512114 h 522922"/>
                      <a:gd name="connsiteX46" fmla="*/ 255054 w 487477"/>
                      <a:gd name="connsiteY46" fmla="*/ 402576 h 522922"/>
                      <a:gd name="connsiteX47" fmla="*/ 252196 w 487477"/>
                      <a:gd name="connsiteY47" fmla="*/ 404481 h 522922"/>
                      <a:gd name="connsiteX48" fmla="*/ 246481 w 487477"/>
                      <a:gd name="connsiteY48" fmla="*/ 408291 h 522922"/>
                      <a:gd name="connsiteX49" fmla="*/ 55029 w 487477"/>
                      <a:gd name="connsiteY49" fmla="*/ 414959 h 522922"/>
                      <a:gd name="connsiteX50" fmla="*/ 51218 w 487477"/>
                      <a:gd name="connsiteY50" fmla="*/ 413053 h 522922"/>
                      <a:gd name="connsiteX51" fmla="*/ 22643 w 487477"/>
                      <a:gd name="connsiteY51" fmla="*/ 474014 h 522922"/>
                      <a:gd name="connsiteX52" fmla="*/ 21691 w 487477"/>
                      <a:gd name="connsiteY52" fmla="*/ 475918 h 522922"/>
                      <a:gd name="connsiteX53" fmla="*/ 21691 w 487477"/>
                      <a:gd name="connsiteY53" fmla="*/ 495921 h 522922"/>
                      <a:gd name="connsiteX54" fmla="*/ 29311 w 487477"/>
                      <a:gd name="connsiteY54" fmla="*/ 502589 h 522922"/>
                      <a:gd name="connsiteX55" fmla="*/ 30264 w 487477"/>
                      <a:gd name="connsiteY55" fmla="*/ 502589 h 522922"/>
                      <a:gd name="connsiteX56" fmla="*/ 31216 w 487477"/>
                      <a:gd name="connsiteY56" fmla="*/ 502589 h 522922"/>
                      <a:gd name="connsiteX57" fmla="*/ 456983 w 487477"/>
                      <a:gd name="connsiteY57" fmla="*/ 502589 h 522922"/>
                      <a:gd name="connsiteX58" fmla="*/ 457936 w 487477"/>
                      <a:gd name="connsiteY58" fmla="*/ 502589 h 522922"/>
                      <a:gd name="connsiteX59" fmla="*/ 466508 w 487477"/>
                      <a:gd name="connsiteY59" fmla="*/ 495921 h 522922"/>
                      <a:gd name="connsiteX60" fmla="*/ 467461 w 487477"/>
                      <a:gd name="connsiteY60" fmla="*/ 477824 h 522922"/>
                      <a:gd name="connsiteX61" fmla="*/ 466508 w 487477"/>
                      <a:gd name="connsiteY61" fmla="*/ 475918 h 522922"/>
                      <a:gd name="connsiteX62" fmla="*/ 465556 w 487477"/>
                      <a:gd name="connsiteY62" fmla="*/ 474014 h 522922"/>
                      <a:gd name="connsiteX63" fmla="*/ 423646 w 487477"/>
                      <a:gd name="connsiteY63" fmla="*/ 385431 h 522922"/>
                      <a:gd name="connsiteX64" fmla="*/ 255054 w 487477"/>
                      <a:gd name="connsiteY64" fmla="*/ 402576 h 522922"/>
                      <a:gd name="connsiteX65" fmla="*/ 305536 w 487477"/>
                      <a:gd name="connsiteY65" fmla="*/ 255891 h 522922"/>
                      <a:gd name="connsiteX66" fmla="*/ 272199 w 487477"/>
                      <a:gd name="connsiteY66" fmla="*/ 289228 h 522922"/>
                      <a:gd name="connsiteX67" fmla="*/ 305536 w 487477"/>
                      <a:gd name="connsiteY67" fmla="*/ 322566 h 522922"/>
                      <a:gd name="connsiteX68" fmla="*/ 338874 w 487477"/>
                      <a:gd name="connsiteY68" fmla="*/ 289228 h 522922"/>
                      <a:gd name="connsiteX69" fmla="*/ 305536 w 487477"/>
                      <a:gd name="connsiteY69" fmla="*/ 255891 h 52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487477" h="522922">
                        <a:moveTo>
                          <a:pt x="8356" y="512114"/>
                        </a:moveTo>
                        <a:lnTo>
                          <a:pt x="8356" y="512114"/>
                        </a:lnTo>
                        <a:lnTo>
                          <a:pt x="8356" y="512114"/>
                        </a:lnTo>
                        <a:lnTo>
                          <a:pt x="7404" y="511161"/>
                        </a:lnTo>
                        <a:cubicBezTo>
                          <a:pt x="6451" y="510209"/>
                          <a:pt x="6451" y="509256"/>
                          <a:pt x="5499" y="508303"/>
                        </a:cubicBezTo>
                        <a:lnTo>
                          <a:pt x="5499" y="508303"/>
                        </a:lnTo>
                        <a:lnTo>
                          <a:pt x="5499" y="507351"/>
                        </a:lnTo>
                        <a:lnTo>
                          <a:pt x="4546" y="505446"/>
                        </a:lnTo>
                        <a:lnTo>
                          <a:pt x="3593" y="503541"/>
                        </a:lnTo>
                        <a:lnTo>
                          <a:pt x="3593" y="503541"/>
                        </a:lnTo>
                        <a:lnTo>
                          <a:pt x="3593" y="503541"/>
                        </a:lnTo>
                        <a:lnTo>
                          <a:pt x="3593" y="503541"/>
                        </a:lnTo>
                        <a:lnTo>
                          <a:pt x="2641" y="501636"/>
                        </a:lnTo>
                        <a:cubicBezTo>
                          <a:pt x="2641" y="501636"/>
                          <a:pt x="2641" y="500684"/>
                          <a:pt x="2641" y="500684"/>
                        </a:cubicBezTo>
                        <a:cubicBezTo>
                          <a:pt x="2641" y="499731"/>
                          <a:pt x="2641" y="499731"/>
                          <a:pt x="1689" y="498778"/>
                        </a:cubicBezTo>
                        <a:cubicBezTo>
                          <a:pt x="1689" y="497826"/>
                          <a:pt x="736" y="495921"/>
                          <a:pt x="736" y="494968"/>
                        </a:cubicBezTo>
                        <a:lnTo>
                          <a:pt x="736" y="492111"/>
                        </a:lnTo>
                        <a:cubicBezTo>
                          <a:pt x="736" y="490206"/>
                          <a:pt x="736" y="487349"/>
                          <a:pt x="736" y="485443"/>
                        </a:cubicBezTo>
                        <a:cubicBezTo>
                          <a:pt x="736" y="478776"/>
                          <a:pt x="2641" y="473061"/>
                          <a:pt x="5499" y="467346"/>
                        </a:cubicBezTo>
                        <a:lnTo>
                          <a:pt x="155041" y="151116"/>
                        </a:lnTo>
                        <a:cubicBezTo>
                          <a:pt x="157899" y="146353"/>
                          <a:pt x="158851" y="140639"/>
                          <a:pt x="158851" y="134924"/>
                        </a:cubicBezTo>
                        <a:lnTo>
                          <a:pt x="158851" y="19671"/>
                        </a:lnTo>
                        <a:lnTo>
                          <a:pt x="120751" y="19671"/>
                        </a:lnTo>
                        <a:lnTo>
                          <a:pt x="120751" y="621"/>
                        </a:lnTo>
                        <a:lnTo>
                          <a:pt x="368401" y="621"/>
                        </a:lnTo>
                        <a:lnTo>
                          <a:pt x="368401" y="19671"/>
                        </a:lnTo>
                        <a:lnTo>
                          <a:pt x="330301" y="19671"/>
                        </a:lnTo>
                        <a:lnTo>
                          <a:pt x="330301" y="134924"/>
                        </a:lnTo>
                        <a:cubicBezTo>
                          <a:pt x="330301" y="140639"/>
                          <a:pt x="331254" y="146353"/>
                          <a:pt x="334111" y="151116"/>
                        </a:cubicBezTo>
                        <a:lnTo>
                          <a:pt x="483654" y="467346"/>
                        </a:lnTo>
                        <a:cubicBezTo>
                          <a:pt x="489368" y="478776"/>
                          <a:pt x="489368" y="492111"/>
                          <a:pt x="485558" y="504493"/>
                        </a:cubicBezTo>
                        <a:lnTo>
                          <a:pt x="485558" y="504493"/>
                        </a:lnTo>
                        <a:lnTo>
                          <a:pt x="484606" y="506399"/>
                        </a:lnTo>
                        <a:cubicBezTo>
                          <a:pt x="479843" y="515924"/>
                          <a:pt x="470318" y="522591"/>
                          <a:pt x="459841" y="523543"/>
                        </a:cubicBezTo>
                        <a:lnTo>
                          <a:pt x="457936" y="523543"/>
                        </a:lnTo>
                        <a:lnTo>
                          <a:pt x="32168" y="523543"/>
                        </a:lnTo>
                        <a:lnTo>
                          <a:pt x="30264" y="523543"/>
                        </a:lnTo>
                        <a:cubicBezTo>
                          <a:pt x="29311" y="523543"/>
                          <a:pt x="28358" y="523543"/>
                          <a:pt x="27406" y="523543"/>
                        </a:cubicBezTo>
                        <a:cubicBezTo>
                          <a:pt x="26454" y="523543"/>
                          <a:pt x="24549" y="523543"/>
                          <a:pt x="23596" y="522591"/>
                        </a:cubicBezTo>
                        <a:lnTo>
                          <a:pt x="23596" y="522591"/>
                        </a:lnTo>
                        <a:cubicBezTo>
                          <a:pt x="21691" y="521639"/>
                          <a:pt x="19786" y="521639"/>
                          <a:pt x="17881" y="520686"/>
                        </a:cubicBezTo>
                        <a:lnTo>
                          <a:pt x="15976" y="519734"/>
                        </a:lnTo>
                        <a:cubicBezTo>
                          <a:pt x="15976" y="519734"/>
                          <a:pt x="15024" y="519734"/>
                          <a:pt x="15024" y="518781"/>
                        </a:cubicBezTo>
                        <a:cubicBezTo>
                          <a:pt x="13118" y="517828"/>
                          <a:pt x="11214" y="515924"/>
                          <a:pt x="10261" y="514971"/>
                        </a:cubicBezTo>
                        <a:lnTo>
                          <a:pt x="8356" y="512114"/>
                        </a:lnTo>
                        <a:lnTo>
                          <a:pt x="8356" y="512114"/>
                        </a:lnTo>
                        <a:close/>
                        <a:moveTo>
                          <a:pt x="255054" y="402576"/>
                        </a:moveTo>
                        <a:lnTo>
                          <a:pt x="252196" y="404481"/>
                        </a:lnTo>
                        <a:lnTo>
                          <a:pt x="246481" y="408291"/>
                        </a:lnTo>
                        <a:cubicBezTo>
                          <a:pt x="198856" y="439724"/>
                          <a:pt x="119799" y="440676"/>
                          <a:pt x="55029" y="414959"/>
                        </a:cubicBezTo>
                        <a:lnTo>
                          <a:pt x="51218" y="413053"/>
                        </a:lnTo>
                        <a:lnTo>
                          <a:pt x="22643" y="474014"/>
                        </a:lnTo>
                        <a:lnTo>
                          <a:pt x="21691" y="475918"/>
                        </a:lnTo>
                        <a:cubicBezTo>
                          <a:pt x="18833" y="482586"/>
                          <a:pt x="18833" y="490206"/>
                          <a:pt x="21691" y="495921"/>
                        </a:cubicBezTo>
                        <a:cubicBezTo>
                          <a:pt x="22643" y="498778"/>
                          <a:pt x="25501" y="501636"/>
                          <a:pt x="29311" y="502589"/>
                        </a:cubicBezTo>
                        <a:lnTo>
                          <a:pt x="30264" y="502589"/>
                        </a:lnTo>
                        <a:lnTo>
                          <a:pt x="31216" y="502589"/>
                        </a:lnTo>
                        <a:lnTo>
                          <a:pt x="456983" y="502589"/>
                        </a:lnTo>
                        <a:lnTo>
                          <a:pt x="457936" y="502589"/>
                        </a:lnTo>
                        <a:cubicBezTo>
                          <a:pt x="461746" y="502589"/>
                          <a:pt x="464604" y="499731"/>
                          <a:pt x="466508" y="495921"/>
                        </a:cubicBezTo>
                        <a:cubicBezTo>
                          <a:pt x="468414" y="490206"/>
                          <a:pt x="469366" y="483539"/>
                          <a:pt x="467461" y="477824"/>
                        </a:cubicBezTo>
                        <a:lnTo>
                          <a:pt x="466508" y="475918"/>
                        </a:lnTo>
                        <a:lnTo>
                          <a:pt x="465556" y="474014"/>
                        </a:lnTo>
                        <a:lnTo>
                          <a:pt x="423646" y="385431"/>
                        </a:lnTo>
                        <a:cubicBezTo>
                          <a:pt x="365543" y="372096"/>
                          <a:pt x="296011" y="376859"/>
                          <a:pt x="255054" y="402576"/>
                        </a:cubicBezTo>
                        <a:close/>
                        <a:moveTo>
                          <a:pt x="305536" y="255891"/>
                        </a:moveTo>
                        <a:cubicBezTo>
                          <a:pt x="287439" y="255891"/>
                          <a:pt x="272199" y="271131"/>
                          <a:pt x="272199" y="289228"/>
                        </a:cubicBezTo>
                        <a:cubicBezTo>
                          <a:pt x="272199" y="307326"/>
                          <a:pt x="287439" y="322566"/>
                          <a:pt x="305536" y="322566"/>
                        </a:cubicBezTo>
                        <a:cubicBezTo>
                          <a:pt x="323633" y="322566"/>
                          <a:pt x="338874" y="307326"/>
                          <a:pt x="338874" y="289228"/>
                        </a:cubicBezTo>
                        <a:cubicBezTo>
                          <a:pt x="338874" y="270178"/>
                          <a:pt x="323633" y="255891"/>
                          <a:pt x="305536" y="255891"/>
                        </a:cubicBezTo>
                        <a:close/>
                      </a:path>
                    </a:pathLst>
                  </a:custGeom>
                  <a:solidFill>
                    <a:srgbClr val="FFFFFF"/>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grpSp>
          </p:grpSp>
          <p:sp>
            <p:nvSpPr>
              <p:cNvPr id="9" name="空心弧 8"/>
              <p:cNvSpPr/>
              <p:nvPr/>
            </p:nvSpPr>
            <p:spPr>
              <a:xfrm flipH="1">
                <a:off x="4304196" y="1832206"/>
                <a:ext cx="3600000" cy="3600000"/>
              </a:xfrm>
              <a:prstGeom prst="blockArc">
                <a:avLst>
                  <a:gd name="adj1" fmla="val 19800000"/>
                  <a:gd name="adj2" fmla="val 1800000"/>
                  <a:gd name="adj3" fmla="val 15000"/>
                </a:avLst>
              </a:prstGeom>
              <a:solidFill>
                <a:schemeClr val="tx2">
                  <a:alpha val="15000"/>
                </a:schemeClr>
              </a:solidFill>
              <a:ln w="38100" cap="flat" cmpd="sng" algn="ctr">
                <a:solidFill>
                  <a:schemeClr val="bg1"/>
                </a:solidFill>
                <a:prstDash val="solid"/>
                <a:miter lim="800000"/>
              </a:ln>
            </p:spPr>
            <p:txBody>
              <a:bodyPr lIns="108000" tIns="108000" rIns="108000" bIns="108000" rtlCol="0" anchor="ctr"/>
              <a:lstStyle/>
              <a:p>
                <a:endParaRPr lang="zh-CN" altLang="en-US">
                  <a:solidFill>
                    <a:schemeClr val="tx1"/>
                  </a:solidFill>
                </a:endParaRPr>
              </a:p>
            </p:txBody>
          </p:sp>
          <p:grpSp>
            <p:nvGrpSpPr>
              <p:cNvPr id="10" name="组合 9"/>
              <p:cNvGrpSpPr/>
              <p:nvPr/>
            </p:nvGrpSpPr>
            <p:grpSpPr>
              <a:xfrm>
                <a:off x="2642158" y="1825243"/>
                <a:ext cx="5256773" cy="4295530"/>
                <a:chOff x="2642158" y="1825243"/>
                <a:chExt cx="5256773" cy="4295530"/>
              </a:xfrm>
            </p:grpSpPr>
            <p:grpSp>
              <p:nvGrpSpPr>
                <p:cNvPr id="11" name="组合 10"/>
                <p:cNvGrpSpPr/>
                <p:nvPr/>
              </p:nvGrpSpPr>
              <p:grpSpPr>
                <a:xfrm>
                  <a:off x="2642158" y="5193930"/>
                  <a:ext cx="2436805" cy="926843"/>
                  <a:chOff x="2642158" y="5193930"/>
                  <a:chExt cx="2436805" cy="926843"/>
                </a:xfrm>
              </p:grpSpPr>
              <p:grpSp>
                <p:nvGrpSpPr>
                  <p:cNvPr id="13" name="组合 12"/>
                  <p:cNvGrpSpPr/>
                  <p:nvPr/>
                </p:nvGrpSpPr>
                <p:grpSpPr>
                  <a:xfrm flipH="1">
                    <a:off x="2642158" y="5193930"/>
                    <a:ext cx="1853473" cy="926843"/>
                    <a:chOff x="7119257" y="2386978"/>
                    <a:chExt cx="2200863" cy="911886"/>
                  </a:xfrm>
                  <a:noFill/>
                </p:grpSpPr>
                <p:sp>
                  <p:nvSpPr>
                    <p:cNvPr id="17" name="矩形 16"/>
                    <p:cNvSpPr/>
                    <p:nvPr/>
                  </p:nvSpPr>
                  <p:spPr>
                    <a:xfrm>
                      <a:off x="7119258" y="2386978"/>
                      <a:ext cx="2200862" cy="4568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b"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r>
                        <a:rPr kumimoji="1" lang="en-US" altLang="zh-CN" sz="1600" b="1" dirty="0">
                          <a:solidFill>
                            <a:schemeClr val="tx1"/>
                          </a:solidFill>
                          <a:latin typeface="Arial" panose="020B0604020202090204" pitchFamily="34" charset="0"/>
                          <a:ea typeface="华文楷体" panose="02010600040101010101" pitchFamily="2" charset="-122"/>
                        </a:rPr>
                        <a:t>Text</a:t>
                      </a:r>
                      <a:r>
                        <a:rPr kumimoji="1" lang="zh-CN" altLang="en-US" sz="1600" b="1" dirty="0">
                          <a:solidFill>
                            <a:schemeClr val="tx1"/>
                          </a:solidFill>
                          <a:latin typeface="Arial" panose="020B0604020202090204" pitchFamily="34" charset="0"/>
                          <a:ea typeface="华文楷体" panose="02010600040101010101" pitchFamily="2" charset="-122"/>
                        </a:rPr>
                        <a:t> </a:t>
                      </a:r>
                      <a:r>
                        <a:rPr kumimoji="1" lang="en-US" altLang="zh-CN" sz="1600" b="1" dirty="0">
                          <a:solidFill>
                            <a:schemeClr val="tx1"/>
                          </a:solidFill>
                          <a:latin typeface="Arial" panose="020B0604020202090204" pitchFamily="34" charset="0"/>
                          <a:ea typeface="华文楷体" panose="02010600040101010101" pitchFamily="2" charset="-122"/>
                        </a:rPr>
                        <a:t>here</a:t>
                      </a:r>
                      <a:endParaRPr kumimoji="1" lang="en-US" altLang="zh-CN" sz="1600" b="1" dirty="0">
                        <a:solidFill>
                          <a:schemeClr val="tx1"/>
                        </a:solidFill>
                        <a:latin typeface="Arial" panose="020B0604020202090204" pitchFamily="34" charset="0"/>
                        <a:ea typeface="华文楷体" panose="02010600040101010101" pitchFamily="2" charset="-122"/>
                      </a:endParaRPr>
                    </a:p>
                  </p:txBody>
                </p:sp>
                <p:sp>
                  <p:nvSpPr>
                    <p:cNvPr id="18" name="矩形 17"/>
                    <p:cNvSpPr/>
                    <p:nvPr/>
                  </p:nvSpPr>
                  <p:spPr>
                    <a:xfrm>
                      <a:off x="7119257" y="2711124"/>
                      <a:ext cx="2199239" cy="5877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t"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nSpc>
                          <a:spcPct val="130000"/>
                        </a:lnSpc>
                      </a:pPr>
                      <a:r>
                        <a:rPr kumimoji="1" lang="en-US" altLang="zh-CN" sz="1000" dirty="0">
                          <a:solidFill>
                            <a:schemeClr val="tx1"/>
                          </a:solidFill>
                          <a:latin typeface="Arial" panose="020B0604020202090204" pitchFamily="34" charset="0"/>
                          <a:ea typeface="华文楷体" panose="02010600040101010101" pitchFamily="2" charset="-122"/>
                        </a:rPr>
                        <a:t>Theme color makes PPT more convenient to change.</a:t>
                      </a:r>
                      <a:endParaRPr kumimoji="1" lang="en-US" altLang="zh-CN" sz="1000" dirty="0">
                        <a:solidFill>
                          <a:schemeClr val="tx1"/>
                        </a:solidFill>
                        <a:latin typeface="Arial" panose="020B0604020202090204" pitchFamily="34" charset="0"/>
                        <a:ea typeface="华文楷体" panose="02010600040101010101" pitchFamily="2" charset="-122"/>
                      </a:endParaRPr>
                    </a:p>
                  </p:txBody>
                </p:sp>
              </p:grpSp>
              <p:grpSp>
                <p:nvGrpSpPr>
                  <p:cNvPr id="14" name="组合 13"/>
                  <p:cNvGrpSpPr/>
                  <p:nvPr/>
                </p:nvGrpSpPr>
                <p:grpSpPr>
                  <a:xfrm>
                    <a:off x="4538963" y="5388021"/>
                    <a:ext cx="540000" cy="540000"/>
                    <a:chOff x="7285060" y="5599496"/>
                    <a:chExt cx="540000" cy="540000"/>
                  </a:xfrm>
                </p:grpSpPr>
                <p:sp>
                  <p:nvSpPr>
                    <p:cNvPr id="15" name="文本框 14"/>
                    <p:cNvSpPr txBox="1"/>
                    <p:nvPr/>
                  </p:nvSpPr>
                  <p:spPr>
                    <a:xfrm>
                      <a:off x="7285060" y="5599496"/>
                      <a:ext cx="540000" cy="540000"/>
                    </a:xfrm>
                    <a:prstGeom prst="roundRect">
                      <a:avLst>
                        <a:gd name="adj" fmla="val 50000"/>
                      </a:avLst>
                    </a:prstGeom>
                    <a:solidFill>
                      <a:schemeClr val="accent1"/>
                    </a:solidFill>
                  </p:spPr>
                  <p:txBody>
                    <a:bodyPr wrap="none" lIns="108000" tIns="108000" rIns="108000" bIns="108000" rtlCol="0" anchor="ctr" anchorCtr="0">
                      <a:noAutofit/>
                    </a:bodyPr>
                    <a:lstStyle>
                      <a:defPPr>
                        <a:defRPr lang="zh-CN"/>
                      </a:defPPr>
                      <a:lvl1pPr algn="ctr">
                        <a:defRPr kumimoji="1" sz="2000" b="1">
                          <a:noFill/>
                        </a:defRPr>
                      </a:lvl1pPr>
                    </a:lstStyle>
                    <a:p>
                      <a:endParaRPr lang="zh-CN" altLang="en-US" dirty="0"/>
                    </a:p>
                  </p:txBody>
                </p:sp>
                <p:sp>
                  <p:nvSpPr>
                    <p:cNvPr id="16" name="任意多边形: 形状 15"/>
                    <p:cNvSpPr/>
                    <p:nvPr/>
                  </p:nvSpPr>
                  <p:spPr>
                    <a:xfrm>
                      <a:off x="7422275" y="5763760"/>
                      <a:ext cx="265570" cy="211472"/>
                    </a:xfrm>
                    <a:custGeom>
                      <a:avLst/>
                      <a:gdLst>
                        <a:gd name="connsiteX0" fmla="*/ 486767 w 514350"/>
                        <a:gd name="connsiteY0" fmla="*/ 621 h 409575"/>
                        <a:gd name="connsiteX1" fmla="*/ 515342 w 514350"/>
                        <a:gd name="connsiteY1" fmla="*/ 29196 h 409575"/>
                        <a:gd name="connsiteX2" fmla="*/ 515342 w 514350"/>
                        <a:gd name="connsiteY2" fmla="*/ 324471 h 409575"/>
                        <a:gd name="connsiteX3" fmla="*/ 486767 w 514350"/>
                        <a:gd name="connsiteY3" fmla="*/ 353046 h 409575"/>
                        <a:gd name="connsiteX4" fmla="*/ 192445 w 514350"/>
                        <a:gd name="connsiteY4" fmla="*/ 353046 h 409575"/>
                        <a:gd name="connsiteX5" fmla="*/ 115292 w 514350"/>
                        <a:gd name="connsiteY5" fmla="*/ 410196 h 409575"/>
                        <a:gd name="connsiteX6" fmla="*/ 115292 w 514350"/>
                        <a:gd name="connsiteY6" fmla="*/ 353046 h 409575"/>
                        <a:gd name="connsiteX7" fmla="*/ 29567 w 514350"/>
                        <a:gd name="connsiteY7" fmla="*/ 353046 h 409575"/>
                        <a:gd name="connsiteX8" fmla="*/ 992 w 514350"/>
                        <a:gd name="connsiteY8" fmla="*/ 324471 h 409575"/>
                        <a:gd name="connsiteX9" fmla="*/ 992 w 514350"/>
                        <a:gd name="connsiteY9" fmla="*/ 29196 h 409575"/>
                        <a:gd name="connsiteX10" fmla="*/ 29567 w 514350"/>
                        <a:gd name="connsiteY10" fmla="*/ 621 h 409575"/>
                        <a:gd name="connsiteX11" fmla="*/ 486767 w 514350"/>
                        <a:gd name="connsiteY11" fmla="*/ 621 h 409575"/>
                        <a:gd name="connsiteX12" fmla="*/ 124817 w 514350"/>
                        <a:gd name="connsiteY12" fmla="*/ 143496 h 409575"/>
                        <a:gd name="connsiteX13" fmla="*/ 91480 w 514350"/>
                        <a:gd name="connsiteY13" fmla="*/ 176834 h 409575"/>
                        <a:gd name="connsiteX14" fmla="*/ 124817 w 514350"/>
                        <a:gd name="connsiteY14" fmla="*/ 210171 h 409575"/>
                        <a:gd name="connsiteX15" fmla="*/ 158155 w 514350"/>
                        <a:gd name="connsiteY15" fmla="*/ 176834 h 409575"/>
                        <a:gd name="connsiteX16" fmla="*/ 124817 w 514350"/>
                        <a:gd name="connsiteY16" fmla="*/ 143496 h 409575"/>
                        <a:gd name="connsiteX17" fmla="*/ 258167 w 514350"/>
                        <a:gd name="connsiteY17" fmla="*/ 143496 h 409575"/>
                        <a:gd name="connsiteX18" fmla="*/ 224830 w 514350"/>
                        <a:gd name="connsiteY18" fmla="*/ 176834 h 409575"/>
                        <a:gd name="connsiteX19" fmla="*/ 258167 w 514350"/>
                        <a:gd name="connsiteY19" fmla="*/ 210171 h 409575"/>
                        <a:gd name="connsiteX20" fmla="*/ 291505 w 514350"/>
                        <a:gd name="connsiteY20" fmla="*/ 176834 h 409575"/>
                        <a:gd name="connsiteX21" fmla="*/ 258167 w 514350"/>
                        <a:gd name="connsiteY21" fmla="*/ 143496 h 409575"/>
                        <a:gd name="connsiteX22" fmla="*/ 391517 w 514350"/>
                        <a:gd name="connsiteY22" fmla="*/ 143496 h 409575"/>
                        <a:gd name="connsiteX23" fmla="*/ 358180 w 514350"/>
                        <a:gd name="connsiteY23" fmla="*/ 176834 h 409575"/>
                        <a:gd name="connsiteX24" fmla="*/ 391517 w 514350"/>
                        <a:gd name="connsiteY24" fmla="*/ 210171 h 409575"/>
                        <a:gd name="connsiteX25" fmla="*/ 424855 w 514350"/>
                        <a:gd name="connsiteY25" fmla="*/ 176834 h 409575"/>
                        <a:gd name="connsiteX26" fmla="*/ 391517 w 514350"/>
                        <a:gd name="connsiteY26" fmla="*/ 143496 h 409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14350" h="409575">
                          <a:moveTo>
                            <a:pt x="486767" y="621"/>
                          </a:moveTo>
                          <a:cubicBezTo>
                            <a:pt x="502960" y="621"/>
                            <a:pt x="515342" y="13004"/>
                            <a:pt x="515342" y="29196"/>
                          </a:cubicBezTo>
                          <a:lnTo>
                            <a:pt x="515342" y="324471"/>
                          </a:lnTo>
                          <a:cubicBezTo>
                            <a:pt x="515342" y="340664"/>
                            <a:pt x="502960" y="353046"/>
                            <a:pt x="486767" y="353046"/>
                          </a:cubicBezTo>
                          <a:lnTo>
                            <a:pt x="192445" y="353046"/>
                          </a:lnTo>
                          <a:lnTo>
                            <a:pt x="115292" y="410196"/>
                          </a:lnTo>
                          <a:lnTo>
                            <a:pt x="115292" y="353046"/>
                          </a:lnTo>
                          <a:lnTo>
                            <a:pt x="29567" y="353046"/>
                          </a:lnTo>
                          <a:cubicBezTo>
                            <a:pt x="13374" y="353046"/>
                            <a:pt x="992" y="340664"/>
                            <a:pt x="992" y="324471"/>
                          </a:cubicBezTo>
                          <a:lnTo>
                            <a:pt x="992" y="29196"/>
                          </a:lnTo>
                          <a:cubicBezTo>
                            <a:pt x="992" y="13004"/>
                            <a:pt x="13374" y="621"/>
                            <a:pt x="29567" y="621"/>
                          </a:cubicBezTo>
                          <a:lnTo>
                            <a:pt x="486767" y="621"/>
                          </a:lnTo>
                          <a:close/>
                          <a:moveTo>
                            <a:pt x="124817" y="143496"/>
                          </a:moveTo>
                          <a:cubicBezTo>
                            <a:pt x="106720" y="143496"/>
                            <a:pt x="91480" y="158736"/>
                            <a:pt x="91480" y="176834"/>
                          </a:cubicBezTo>
                          <a:cubicBezTo>
                            <a:pt x="91480" y="194931"/>
                            <a:pt x="106720" y="210171"/>
                            <a:pt x="124817" y="210171"/>
                          </a:cubicBezTo>
                          <a:cubicBezTo>
                            <a:pt x="142914" y="210171"/>
                            <a:pt x="158155" y="194931"/>
                            <a:pt x="158155" y="176834"/>
                          </a:cubicBezTo>
                          <a:cubicBezTo>
                            <a:pt x="158155" y="157784"/>
                            <a:pt x="142914" y="143496"/>
                            <a:pt x="124817" y="143496"/>
                          </a:cubicBezTo>
                          <a:close/>
                          <a:moveTo>
                            <a:pt x="258167" y="143496"/>
                          </a:moveTo>
                          <a:cubicBezTo>
                            <a:pt x="240070" y="143496"/>
                            <a:pt x="224830" y="158736"/>
                            <a:pt x="224830" y="176834"/>
                          </a:cubicBezTo>
                          <a:cubicBezTo>
                            <a:pt x="224830" y="194931"/>
                            <a:pt x="240070" y="210171"/>
                            <a:pt x="258167" y="210171"/>
                          </a:cubicBezTo>
                          <a:cubicBezTo>
                            <a:pt x="276264" y="210171"/>
                            <a:pt x="291505" y="194931"/>
                            <a:pt x="291505" y="176834"/>
                          </a:cubicBezTo>
                          <a:cubicBezTo>
                            <a:pt x="291505" y="157784"/>
                            <a:pt x="276264" y="143496"/>
                            <a:pt x="258167" y="143496"/>
                          </a:cubicBezTo>
                          <a:close/>
                          <a:moveTo>
                            <a:pt x="391517" y="143496"/>
                          </a:moveTo>
                          <a:cubicBezTo>
                            <a:pt x="373420" y="143496"/>
                            <a:pt x="358180" y="158736"/>
                            <a:pt x="358180" y="176834"/>
                          </a:cubicBezTo>
                          <a:cubicBezTo>
                            <a:pt x="358180" y="194931"/>
                            <a:pt x="373420" y="210171"/>
                            <a:pt x="391517" y="210171"/>
                          </a:cubicBezTo>
                          <a:cubicBezTo>
                            <a:pt x="409614" y="210171"/>
                            <a:pt x="424855" y="194931"/>
                            <a:pt x="424855" y="176834"/>
                          </a:cubicBezTo>
                          <a:cubicBezTo>
                            <a:pt x="424855" y="157784"/>
                            <a:pt x="409614" y="143496"/>
                            <a:pt x="391517" y="143496"/>
                          </a:cubicBezTo>
                          <a:close/>
                        </a:path>
                      </a:pathLst>
                    </a:custGeom>
                    <a:solidFill>
                      <a:srgbClr val="FFFFFF"/>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grpSp>
            </p:grpSp>
            <p:sp>
              <p:nvSpPr>
                <p:cNvPr id="12" name="空心弧 11"/>
                <p:cNvSpPr/>
                <p:nvPr/>
              </p:nvSpPr>
              <p:spPr>
                <a:xfrm flipH="1" flipV="1">
                  <a:off x="4298931" y="1825243"/>
                  <a:ext cx="3600000" cy="3600000"/>
                </a:xfrm>
                <a:prstGeom prst="blockArc">
                  <a:avLst>
                    <a:gd name="adj1" fmla="val 16200000"/>
                    <a:gd name="adj2" fmla="val 19800000"/>
                    <a:gd name="adj3" fmla="val 15000"/>
                  </a:avLst>
                </a:prstGeom>
                <a:solidFill>
                  <a:schemeClr val="tx2">
                    <a:alpha val="15000"/>
                  </a:schemeClr>
                </a:solidFill>
                <a:ln w="38100" cap="flat" cmpd="sng" algn="ctr">
                  <a:solidFill>
                    <a:schemeClr val="bg1"/>
                  </a:solidFill>
                  <a:prstDash val="solid"/>
                  <a:miter lim="800000"/>
                </a:ln>
              </p:spPr>
              <p:txBody>
                <a:bodyPr lIns="108000" tIns="108000" rIns="108000" bIns="108000" rtlCol="0" anchor="ctr"/>
                <a:lstStyle/>
                <a:p>
                  <a:endParaRPr lang="zh-CN" altLang="en-US">
                    <a:solidFill>
                      <a:schemeClr val="tx1"/>
                    </a:solidFill>
                  </a:endParaRPr>
                </a:p>
              </p:txBody>
            </p:sp>
          </p:grpSp>
        </p:grpSp>
        <p:sp>
          <p:nvSpPr>
            <p:cNvPr id="73" name="任意多边形: 形状 72"/>
            <p:cNvSpPr/>
            <p:nvPr/>
          </p:nvSpPr>
          <p:spPr>
            <a:xfrm>
              <a:off x="5391976" y="2719593"/>
              <a:ext cx="1627572" cy="1825213"/>
            </a:xfrm>
            <a:custGeom>
              <a:avLst/>
              <a:gdLst>
                <a:gd name="T0" fmla="*/ 8327 w 8903"/>
                <a:gd name="T1" fmla="*/ 5437 h 9984"/>
                <a:gd name="T2" fmla="*/ 7677 w 8903"/>
                <a:gd name="T3" fmla="*/ 4670 h 9984"/>
                <a:gd name="T4" fmla="*/ 7694 w 8903"/>
                <a:gd name="T5" fmla="*/ 3413 h 9984"/>
                <a:gd name="T6" fmla="*/ 7473 w 8903"/>
                <a:gd name="T7" fmla="*/ 2330 h 9984"/>
                <a:gd name="T8" fmla="*/ 6505 w 8903"/>
                <a:gd name="T9" fmla="*/ 1028 h 9984"/>
                <a:gd name="T10" fmla="*/ 3807 w 8903"/>
                <a:gd name="T11" fmla="*/ 0 h 9984"/>
                <a:gd name="T12" fmla="*/ 0 w 8903"/>
                <a:gd name="T13" fmla="*/ 3482 h 9984"/>
                <a:gd name="T14" fmla="*/ 24 w 8903"/>
                <a:gd name="T15" fmla="*/ 3862 h 9984"/>
                <a:gd name="T16" fmla="*/ 1050 w 8903"/>
                <a:gd name="T17" fmla="*/ 6807 h 9984"/>
                <a:gd name="T18" fmla="*/ 0 w 8903"/>
                <a:gd name="T19" fmla="*/ 9977 h 9984"/>
                <a:gd name="T20" fmla="*/ 4618 w 8903"/>
                <a:gd name="T21" fmla="*/ 9984 h 9984"/>
                <a:gd name="T22" fmla="*/ 5528 w 8903"/>
                <a:gd name="T23" fmla="*/ 8608 h 9984"/>
                <a:gd name="T24" fmla="*/ 6963 w 8903"/>
                <a:gd name="T25" fmla="*/ 8617 h 9984"/>
                <a:gd name="T26" fmla="*/ 7189 w 8903"/>
                <a:gd name="T27" fmla="*/ 8599 h 9984"/>
                <a:gd name="T28" fmla="*/ 7198 w 8903"/>
                <a:gd name="T29" fmla="*/ 8598 h 9984"/>
                <a:gd name="T30" fmla="*/ 7198 w 8903"/>
                <a:gd name="T31" fmla="*/ 8594 h 9984"/>
                <a:gd name="T32" fmla="*/ 7298 w 8903"/>
                <a:gd name="T33" fmla="*/ 7675 h 9984"/>
                <a:gd name="T34" fmla="*/ 7603 w 8903"/>
                <a:gd name="T35" fmla="*/ 7365 h 9984"/>
                <a:gd name="T36" fmla="*/ 7603 w 8903"/>
                <a:gd name="T37" fmla="*/ 7344 h 9984"/>
                <a:gd name="T38" fmla="*/ 7158 w 8903"/>
                <a:gd name="T39" fmla="*/ 7080 h 9984"/>
                <a:gd name="T40" fmla="*/ 7278 w 8903"/>
                <a:gd name="T41" fmla="*/ 7080 h 9984"/>
                <a:gd name="T42" fmla="*/ 7633 w 8903"/>
                <a:gd name="T43" fmla="*/ 6843 h 9984"/>
                <a:gd name="T44" fmla="*/ 7633 w 8903"/>
                <a:gd name="T45" fmla="*/ 6825 h 9984"/>
                <a:gd name="T46" fmla="*/ 7598 w 8903"/>
                <a:gd name="T47" fmla="*/ 6724 h 9984"/>
                <a:gd name="T48" fmla="*/ 7803 w 8903"/>
                <a:gd name="T49" fmla="*/ 5887 h 9984"/>
                <a:gd name="T50" fmla="*/ 8327 w 8903"/>
                <a:gd name="T51" fmla="*/ 5437 h 9984"/>
                <a:gd name="T52" fmla="*/ 8327 w 8903"/>
                <a:gd name="T53" fmla="*/ 5437 h 9984"/>
                <a:gd name="T54" fmla="*/ 4452 w 8903"/>
                <a:gd name="T55" fmla="*/ 2668 h 9984"/>
                <a:gd name="T56" fmla="*/ 3917 w 8903"/>
                <a:gd name="T57" fmla="*/ 2977 h 9984"/>
                <a:gd name="T58" fmla="*/ 4024 w 8903"/>
                <a:gd name="T59" fmla="*/ 3438 h 9984"/>
                <a:gd name="T60" fmla="*/ 3843 w 8903"/>
                <a:gd name="T61" fmla="*/ 4035 h 9984"/>
                <a:gd name="T62" fmla="*/ 4847 w 8903"/>
                <a:gd name="T63" fmla="*/ 4615 h 9984"/>
                <a:gd name="T64" fmla="*/ 5098 w 8903"/>
                <a:gd name="T65" fmla="*/ 4511 h 9984"/>
                <a:gd name="T66" fmla="*/ 5455 w 8903"/>
                <a:gd name="T67" fmla="*/ 4869 h 9984"/>
                <a:gd name="T68" fmla="*/ 5098 w 8903"/>
                <a:gd name="T69" fmla="*/ 5226 h 9984"/>
                <a:gd name="T70" fmla="*/ 4740 w 8903"/>
                <a:gd name="T71" fmla="*/ 4869 h 9984"/>
                <a:gd name="T72" fmla="*/ 4760 w 8903"/>
                <a:gd name="T73" fmla="*/ 4770 h 9984"/>
                <a:gd name="T74" fmla="*/ 3728 w 8903"/>
                <a:gd name="T75" fmla="*/ 4174 h 9984"/>
                <a:gd name="T76" fmla="*/ 2950 w 8903"/>
                <a:gd name="T77" fmla="*/ 4510 h 9984"/>
                <a:gd name="T78" fmla="*/ 1877 w 8903"/>
                <a:gd name="T79" fmla="*/ 3437 h 9984"/>
                <a:gd name="T80" fmla="*/ 2950 w 8903"/>
                <a:gd name="T81" fmla="*/ 2363 h 9984"/>
                <a:gd name="T82" fmla="*/ 3828 w 8903"/>
                <a:gd name="T83" fmla="*/ 2820 h 9984"/>
                <a:gd name="T84" fmla="*/ 4395 w 8903"/>
                <a:gd name="T85" fmla="*/ 2493 h 9984"/>
                <a:gd name="T86" fmla="*/ 4382 w 8903"/>
                <a:gd name="T87" fmla="*/ 2363 h 9984"/>
                <a:gd name="T88" fmla="*/ 5098 w 8903"/>
                <a:gd name="T89" fmla="*/ 1647 h 9984"/>
                <a:gd name="T90" fmla="*/ 5814 w 8903"/>
                <a:gd name="T91" fmla="*/ 2363 h 9984"/>
                <a:gd name="T92" fmla="*/ 5098 w 8903"/>
                <a:gd name="T93" fmla="*/ 3079 h 9984"/>
                <a:gd name="T94" fmla="*/ 4452 w 8903"/>
                <a:gd name="T95" fmla="*/ 2668 h 9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8903" h="9984">
                  <a:moveTo>
                    <a:pt x="8327" y="5437"/>
                  </a:moveTo>
                  <a:cubicBezTo>
                    <a:pt x="8120" y="5205"/>
                    <a:pt x="7800" y="4960"/>
                    <a:pt x="7677" y="4670"/>
                  </a:cubicBezTo>
                  <a:cubicBezTo>
                    <a:pt x="7499" y="4255"/>
                    <a:pt x="7700" y="3839"/>
                    <a:pt x="7694" y="3413"/>
                  </a:cubicBezTo>
                  <a:cubicBezTo>
                    <a:pt x="7689" y="3072"/>
                    <a:pt x="7589" y="2647"/>
                    <a:pt x="7473" y="2330"/>
                  </a:cubicBezTo>
                  <a:cubicBezTo>
                    <a:pt x="7276" y="1797"/>
                    <a:pt x="6930" y="1363"/>
                    <a:pt x="6505" y="1028"/>
                  </a:cubicBezTo>
                  <a:cubicBezTo>
                    <a:pt x="5816" y="393"/>
                    <a:pt x="4861" y="0"/>
                    <a:pt x="3807" y="0"/>
                  </a:cubicBezTo>
                  <a:cubicBezTo>
                    <a:pt x="1704" y="0"/>
                    <a:pt x="0" y="1559"/>
                    <a:pt x="0" y="3482"/>
                  </a:cubicBezTo>
                  <a:cubicBezTo>
                    <a:pt x="0" y="3610"/>
                    <a:pt x="9" y="3737"/>
                    <a:pt x="24" y="3862"/>
                  </a:cubicBezTo>
                  <a:cubicBezTo>
                    <a:pt x="38" y="4695"/>
                    <a:pt x="299" y="5692"/>
                    <a:pt x="1050" y="6807"/>
                  </a:cubicBezTo>
                  <a:cubicBezTo>
                    <a:pt x="1050" y="6807"/>
                    <a:pt x="2099" y="8897"/>
                    <a:pt x="0" y="9977"/>
                  </a:cubicBezTo>
                  <a:lnTo>
                    <a:pt x="4618" y="9984"/>
                  </a:lnTo>
                  <a:cubicBezTo>
                    <a:pt x="4618" y="9984"/>
                    <a:pt x="4968" y="8608"/>
                    <a:pt x="5528" y="8608"/>
                  </a:cubicBezTo>
                  <a:cubicBezTo>
                    <a:pt x="6001" y="8608"/>
                    <a:pt x="6487" y="8643"/>
                    <a:pt x="6963" y="8617"/>
                  </a:cubicBezTo>
                  <a:cubicBezTo>
                    <a:pt x="7056" y="8633"/>
                    <a:pt x="7131" y="8625"/>
                    <a:pt x="7189" y="8599"/>
                  </a:cubicBezTo>
                  <a:cubicBezTo>
                    <a:pt x="7192" y="8599"/>
                    <a:pt x="7195" y="8598"/>
                    <a:pt x="7198" y="8598"/>
                  </a:cubicBezTo>
                  <a:lnTo>
                    <a:pt x="7198" y="8594"/>
                  </a:lnTo>
                  <a:cubicBezTo>
                    <a:pt x="7524" y="8432"/>
                    <a:pt x="7298" y="7675"/>
                    <a:pt x="7298" y="7675"/>
                  </a:cubicBezTo>
                  <a:cubicBezTo>
                    <a:pt x="7482" y="7597"/>
                    <a:pt x="7603" y="7464"/>
                    <a:pt x="7603" y="7365"/>
                  </a:cubicBezTo>
                  <a:lnTo>
                    <a:pt x="7603" y="7344"/>
                  </a:lnTo>
                  <a:cubicBezTo>
                    <a:pt x="7603" y="7220"/>
                    <a:pt x="7417" y="7117"/>
                    <a:pt x="7158" y="7080"/>
                  </a:cubicBezTo>
                  <a:lnTo>
                    <a:pt x="7278" y="7080"/>
                  </a:lnTo>
                  <a:cubicBezTo>
                    <a:pt x="7473" y="7080"/>
                    <a:pt x="7633" y="6974"/>
                    <a:pt x="7633" y="6843"/>
                  </a:cubicBezTo>
                  <a:lnTo>
                    <a:pt x="7633" y="6825"/>
                  </a:lnTo>
                  <a:cubicBezTo>
                    <a:pt x="7633" y="6789"/>
                    <a:pt x="7620" y="6755"/>
                    <a:pt x="7598" y="6724"/>
                  </a:cubicBezTo>
                  <a:cubicBezTo>
                    <a:pt x="7633" y="6568"/>
                    <a:pt x="7771" y="5888"/>
                    <a:pt x="7803" y="5887"/>
                  </a:cubicBezTo>
                  <a:cubicBezTo>
                    <a:pt x="8903" y="5834"/>
                    <a:pt x="8326" y="5437"/>
                    <a:pt x="8327" y="5437"/>
                  </a:cubicBezTo>
                  <a:close/>
                  <a:moveTo>
                    <a:pt x="8327" y="5437"/>
                  </a:moveTo>
                  <a:close/>
                  <a:moveTo>
                    <a:pt x="4452" y="2668"/>
                  </a:moveTo>
                  <a:lnTo>
                    <a:pt x="3917" y="2977"/>
                  </a:lnTo>
                  <a:cubicBezTo>
                    <a:pt x="3984" y="3117"/>
                    <a:pt x="4024" y="3272"/>
                    <a:pt x="4024" y="3438"/>
                  </a:cubicBezTo>
                  <a:cubicBezTo>
                    <a:pt x="4024" y="3659"/>
                    <a:pt x="3957" y="3864"/>
                    <a:pt x="3843" y="4035"/>
                  </a:cubicBezTo>
                  <a:lnTo>
                    <a:pt x="4847" y="4615"/>
                  </a:lnTo>
                  <a:cubicBezTo>
                    <a:pt x="4912" y="4551"/>
                    <a:pt x="4999" y="4511"/>
                    <a:pt x="5098" y="4511"/>
                  </a:cubicBezTo>
                  <a:cubicBezTo>
                    <a:pt x="5295" y="4511"/>
                    <a:pt x="5455" y="4671"/>
                    <a:pt x="5455" y="4869"/>
                  </a:cubicBezTo>
                  <a:cubicBezTo>
                    <a:pt x="5455" y="5067"/>
                    <a:pt x="5295" y="5226"/>
                    <a:pt x="5098" y="5226"/>
                  </a:cubicBezTo>
                  <a:cubicBezTo>
                    <a:pt x="4900" y="5226"/>
                    <a:pt x="4740" y="5067"/>
                    <a:pt x="4740" y="4869"/>
                  </a:cubicBezTo>
                  <a:cubicBezTo>
                    <a:pt x="4740" y="4834"/>
                    <a:pt x="4750" y="4803"/>
                    <a:pt x="4760" y="4770"/>
                  </a:cubicBezTo>
                  <a:lnTo>
                    <a:pt x="3728" y="4174"/>
                  </a:lnTo>
                  <a:cubicBezTo>
                    <a:pt x="3532" y="4380"/>
                    <a:pt x="3258" y="4510"/>
                    <a:pt x="2950" y="4510"/>
                  </a:cubicBezTo>
                  <a:cubicBezTo>
                    <a:pt x="2358" y="4510"/>
                    <a:pt x="1877" y="4029"/>
                    <a:pt x="1877" y="3437"/>
                  </a:cubicBezTo>
                  <a:cubicBezTo>
                    <a:pt x="1877" y="2844"/>
                    <a:pt x="2358" y="2363"/>
                    <a:pt x="2950" y="2363"/>
                  </a:cubicBezTo>
                  <a:cubicBezTo>
                    <a:pt x="3314" y="2363"/>
                    <a:pt x="3633" y="2544"/>
                    <a:pt x="3828" y="2820"/>
                  </a:cubicBezTo>
                  <a:lnTo>
                    <a:pt x="4395" y="2493"/>
                  </a:lnTo>
                  <a:cubicBezTo>
                    <a:pt x="4388" y="2450"/>
                    <a:pt x="4382" y="2408"/>
                    <a:pt x="4382" y="2363"/>
                  </a:cubicBezTo>
                  <a:cubicBezTo>
                    <a:pt x="4382" y="1968"/>
                    <a:pt x="4702" y="1647"/>
                    <a:pt x="5098" y="1647"/>
                  </a:cubicBezTo>
                  <a:cubicBezTo>
                    <a:pt x="5493" y="1647"/>
                    <a:pt x="5814" y="1967"/>
                    <a:pt x="5814" y="2363"/>
                  </a:cubicBezTo>
                  <a:cubicBezTo>
                    <a:pt x="5814" y="2758"/>
                    <a:pt x="5494" y="3079"/>
                    <a:pt x="5098" y="3079"/>
                  </a:cubicBezTo>
                  <a:cubicBezTo>
                    <a:pt x="4811" y="3079"/>
                    <a:pt x="4566" y="2910"/>
                    <a:pt x="4452" y="2668"/>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custDataLst>
      <p:tags r:id="rId1"/>
    </p:custData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extBox 6"/>
          <p:cNvSpPr txBox="1"/>
          <p:nvPr/>
        </p:nvSpPr>
        <p:spPr>
          <a:xfrm>
            <a:off x="547832" y="187607"/>
            <a:ext cx="5548168" cy="461665"/>
          </a:xfrm>
          <a:prstGeom prst="rect">
            <a:avLst/>
          </a:prstGeom>
        </p:spPr>
        <p:txBody>
          <a:bodyPr vert="horz" wrap="square" lIns="0" tIns="0" rIns="0" bIns="0" rtlCol="0" anchor="ctr">
            <a:noAutofit/>
          </a:bodyPr>
          <a:lstStyle>
            <a:defPPr>
              <a:defRPr lang="zh-CN"/>
            </a:defPPr>
            <a:lvl1pPr marL="12700" marR="0" lvl="0" indent="0" fontAlgn="auto">
              <a:lnSpc>
                <a:spcPct val="100000"/>
              </a:lnSpc>
              <a:spcBef>
                <a:spcPts val="100"/>
              </a:spcBef>
              <a:spcAft>
                <a:spcPts val="0"/>
              </a:spcAft>
              <a:buClrTx/>
              <a:buSzTx/>
              <a:buFontTx/>
              <a:buNone/>
              <a:defRPr kumimoji="0" sz="3200" b="1" i="0" u="none" strike="noStrike" cap="none" spc="0" normalizeH="0" baseline="0">
                <a:ln>
                  <a:noFill/>
                </a:ln>
                <a:solidFill>
                  <a:srgbClr val="F05A23"/>
                </a:solidFill>
                <a:effectLst/>
                <a:uLnTx/>
                <a:uFillTx/>
                <a:latin typeface="Arial" panose="020B0604020202090204"/>
                <a:ea typeface="华文楷体" panose="02010600040101010101" pitchFamily="2" charset="-122"/>
              </a:defRPr>
            </a:lvl1pPr>
          </a:lstStyle>
          <a:p>
            <a:pPr marL="12700" marR="0" lvl="0" indent="0" algn="l" defTabSz="914400" rtl="0" eaLnBrk="1" fontAlgn="auto" latinLnBrk="0" hangingPunct="1">
              <a:lnSpc>
                <a:spcPct val="100000"/>
              </a:lnSpc>
              <a:spcBef>
                <a:spcPts val="100"/>
              </a:spcBef>
              <a:spcAft>
                <a:spcPts val="0"/>
              </a:spcAft>
              <a:buClrTx/>
              <a:buSzTx/>
              <a:buFontTx/>
              <a:buNone/>
              <a:defRPr/>
            </a:pPr>
            <a:r>
              <a:rPr kumimoji="0" lang="en-US" altLang="zh-CN" sz="2400" b="1" i="0" u="none" strike="noStrike" kern="1200" cap="none" spc="0" normalizeH="0" baseline="0" noProof="0" dirty="0">
                <a:ln>
                  <a:noFill/>
                </a:ln>
                <a:solidFill>
                  <a:srgbClr val="F05A23"/>
                </a:solidFill>
                <a:effectLst/>
                <a:uLnTx/>
                <a:uFillTx/>
                <a:latin typeface="Arial" panose="020B0604020202090204"/>
                <a:ea typeface="华文楷体" panose="02010600040101010101" pitchFamily="2" charset="-122"/>
                <a:cs typeface="+mn-cs"/>
              </a:rPr>
              <a:t>1</a:t>
            </a:r>
            <a:r>
              <a:rPr kumimoji="0" lang="zh-CN" altLang="en-US" sz="2400" b="1" i="0" u="none" strike="noStrike" kern="1200" cap="none" spc="0" normalizeH="0" baseline="0" noProof="0" dirty="0">
                <a:ln>
                  <a:noFill/>
                </a:ln>
                <a:solidFill>
                  <a:srgbClr val="F05A23"/>
                </a:solidFill>
                <a:effectLst/>
                <a:uLnTx/>
                <a:uFillTx/>
                <a:latin typeface="Arial" panose="020B0604020202090204"/>
                <a:ea typeface="华文楷体" panose="02010600040101010101" pitchFamily="2" charset="-122"/>
                <a:cs typeface="+mn-cs"/>
              </a:rPr>
              <a:t>、</a:t>
            </a:r>
            <a:endParaRPr kumimoji="0" lang="en-US" sz="2400" b="1" i="0" u="none" strike="noStrike" kern="1200" cap="none" spc="0" normalizeH="0" baseline="0" noProof="0" dirty="0">
              <a:ln>
                <a:noFill/>
              </a:ln>
              <a:solidFill>
                <a:srgbClr val="F05A23"/>
              </a:solidFill>
              <a:effectLst/>
              <a:uLnTx/>
              <a:uFillTx/>
              <a:latin typeface="Arial" panose="020B0604020202090204"/>
              <a:ea typeface="华文楷体" panose="02010600040101010101" pitchFamily="2" charset="-122"/>
              <a:cs typeface="+mn-cs"/>
            </a:endParaRPr>
          </a:p>
        </p:txBody>
      </p:sp>
      <p:pic>
        <p:nvPicPr>
          <p:cNvPr id="40" name="图片 39"/>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9949418" y="253211"/>
            <a:ext cx="1837445" cy="501494"/>
          </a:xfrm>
          <a:prstGeom prst="rect">
            <a:avLst/>
          </a:prstGeom>
        </p:spPr>
      </p:pic>
    </p:spTree>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组合 2"/>
          <p:cNvGrpSpPr/>
          <p:nvPr/>
        </p:nvGrpSpPr>
        <p:grpSpPr>
          <a:xfrm>
            <a:off x="1863718" y="1768700"/>
            <a:ext cx="8464565" cy="3600000"/>
            <a:chOff x="1863718" y="1768700"/>
            <a:chExt cx="8464565" cy="3600000"/>
          </a:xfrm>
        </p:grpSpPr>
        <p:sp>
          <p:nvSpPr>
            <p:cNvPr id="44" name="任意多边形: 形状 43"/>
            <p:cNvSpPr/>
            <p:nvPr/>
          </p:nvSpPr>
          <p:spPr>
            <a:xfrm>
              <a:off x="4363392" y="2090622"/>
              <a:ext cx="3465216" cy="2676756"/>
            </a:xfrm>
            <a:custGeom>
              <a:avLst/>
              <a:gdLst>
                <a:gd name="T0" fmla="*/ 7260 w 11150"/>
                <a:gd name="T1" fmla="*/ 8413 h 8613"/>
                <a:gd name="T2" fmla="*/ 7260 w 11150"/>
                <a:gd name="T3" fmla="*/ 8019 h 8613"/>
                <a:gd name="T4" fmla="*/ 7460 w 11150"/>
                <a:gd name="T5" fmla="*/ 7819 h 8613"/>
                <a:gd name="T6" fmla="*/ 8363 w 11150"/>
                <a:gd name="T7" fmla="*/ 7819 h 8613"/>
                <a:gd name="T8" fmla="*/ 10357 w 11150"/>
                <a:gd name="T9" fmla="*/ 5824 h 8613"/>
                <a:gd name="T10" fmla="*/ 8363 w 11150"/>
                <a:gd name="T11" fmla="*/ 3829 h 8613"/>
                <a:gd name="T12" fmla="*/ 7789 w 11150"/>
                <a:gd name="T13" fmla="*/ 3925 h 8613"/>
                <a:gd name="T14" fmla="*/ 7669 w 11150"/>
                <a:gd name="T15" fmla="*/ 3800 h 8613"/>
                <a:gd name="T16" fmla="*/ 7817 w 11150"/>
                <a:gd name="T17" fmla="*/ 3036 h 8613"/>
                <a:gd name="T18" fmla="*/ 5575 w 11150"/>
                <a:gd name="T19" fmla="*/ 793 h 8613"/>
                <a:gd name="T20" fmla="*/ 3333 w 11150"/>
                <a:gd name="T21" fmla="*/ 3036 h 8613"/>
                <a:gd name="T22" fmla="*/ 3481 w 11150"/>
                <a:gd name="T23" fmla="*/ 3800 h 8613"/>
                <a:gd name="T24" fmla="*/ 3361 w 11150"/>
                <a:gd name="T25" fmla="*/ 3925 h 8613"/>
                <a:gd name="T26" fmla="*/ 2788 w 11150"/>
                <a:gd name="T27" fmla="*/ 3829 h 8613"/>
                <a:gd name="T28" fmla="*/ 793 w 11150"/>
                <a:gd name="T29" fmla="*/ 5824 h 8613"/>
                <a:gd name="T30" fmla="*/ 2788 w 11150"/>
                <a:gd name="T31" fmla="*/ 7819 h 8613"/>
                <a:gd name="T32" fmla="*/ 3703 w 11150"/>
                <a:gd name="T33" fmla="*/ 7819 h 8613"/>
                <a:gd name="T34" fmla="*/ 3903 w 11150"/>
                <a:gd name="T35" fmla="*/ 8019 h 8613"/>
                <a:gd name="T36" fmla="*/ 3903 w 11150"/>
                <a:gd name="T37" fmla="*/ 8413 h 8613"/>
                <a:gd name="T38" fmla="*/ 3703 w 11150"/>
                <a:gd name="T39" fmla="*/ 8613 h 8613"/>
                <a:gd name="T40" fmla="*/ 2788 w 11150"/>
                <a:gd name="T41" fmla="*/ 8613 h 8613"/>
                <a:gd name="T42" fmla="*/ 0 w 11150"/>
                <a:gd name="T43" fmla="*/ 5824 h 8613"/>
                <a:gd name="T44" fmla="*/ 2540 w 11150"/>
                <a:gd name="T45" fmla="*/ 3047 h 8613"/>
                <a:gd name="T46" fmla="*/ 2540 w 11150"/>
                <a:gd name="T47" fmla="*/ 3036 h 8613"/>
                <a:gd name="T48" fmla="*/ 5575 w 11150"/>
                <a:gd name="T49" fmla="*/ 0 h 8613"/>
                <a:gd name="T50" fmla="*/ 8610 w 11150"/>
                <a:gd name="T51" fmla="*/ 3036 h 8613"/>
                <a:gd name="T52" fmla="*/ 8610 w 11150"/>
                <a:gd name="T53" fmla="*/ 3047 h 8613"/>
                <a:gd name="T54" fmla="*/ 11150 w 11150"/>
                <a:gd name="T55" fmla="*/ 5824 h 8613"/>
                <a:gd name="T56" fmla="*/ 8363 w 11150"/>
                <a:gd name="T57" fmla="*/ 8613 h 8613"/>
                <a:gd name="T58" fmla="*/ 7460 w 11150"/>
                <a:gd name="T59" fmla="*/ 8613 h 8613"/>
                <a:gd name="T60" fmla="*/ 7260 w 11150"/>
                <a:gd name="T61" fmla="*/ 8413 h 8613"/>
                <a:gd name="T62" fmla="*/ 5152 w 11150"/>
                <a:gd name="T63" fmla="*/ 4639 h 8613"/>
                <a:gd name="T64" fmla="*/ 4160 w 11150"/>
                <a:gd name="T65" fmla="*/ 5514 h 8613"/>
                <a:gd name="T66" fmla="*/ 3601 w 11150"/>
                <a:gd name="T67" fmla="*/ 5455 h 8613"/>
                <a:gd name="T68" fmla="*/ 3660 w 11150"/>
                <a:gd name="T69" fmla="*/ 4897 h 8613"/>
                <a:gd name="T70" fmla="*/ 5243 w 11150"/>
                <a:gd name="T71" fmla="*/ 3544 h 8613"/>
                <a:gd name="T72" fmla="*/ 5766 w 11150"/>
                <a:gd name="T73" fmla="*/ 3505 h 8613"/>
                <a:gd name="T74" fmla="*/ 7479 w 11150"/>
                <a:gd name="T75" fmla="*/ 4887 h 8613"/>
                <a:gd name="T76" fmla="*/ 7558 w 11150"/>
                <a:gd name="T77" fmla="*/ 5443 h 8613"/>
                <a:gd name="T78" fmla="*/ 7001 w 11150"/>
                <a:gd name="T79" fmla="*/ 5521 h 8613"/>
                <a:gd name="T80" fmla="*/ 5946 w 11150"/>
                <a:gd name="T81" fmla="*/ 4634 h 8613"/>
                <a:gd name="T82" fmla="*/ 5946 w 11150"/>
                <a:gd name="T83" fmla="*/ 8216 h 8613"/>
                <a:gd name="T84" fmla="*/ 5549 w 11150"/>
                <a:gd name="T85" fmla="*/ 8612 h 8613"/>
                <a:gd name="T86" fmla="*/ 5152 w 11150"/>
                <a:gd name="T87" fmla="*/ 8216 h 8613"/>
                <a:gd name="T88" fmla="*/ 5152 w 11150"/>
                <a:gd name="T89" fmla="*/ 4639 h 8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150" h="8613">
                  <a:moveTo>
                    <a:pt x="7260" y="8413"/>
                  </a:moveTo>
                  <a:lnTo>
                    <a:pt x="7260" y="8019"/>
                  </a:lnTo>
                  <a:cubicBezTo>
                    <a:pt x="7260" y="7909"/>
                    <a:pt x="7349" y="7819"/>
                    <a:pt x="7460" y="7819"/>
                  </a:cubicBezTo>
                  <a:lnTo>
                    <a:pt x="8363" y="7819"/>
                  </a:lnTo>
                  <a:cubicBezTo>
                    <a:pt x="9464" y="7819"/>
                    <a:pt x="10357" y="6926"/>
                    <a:pt x="10357" y="5824"/>
                  </a:cubicBezTo>
                  <a:cubicBezTo>
                    <a:pt x="10357" y="4722"/>
                    <a:pt x="9464" y="3829"/>
                    <a:pt x="8363" y="3829"/>
                  </a:cubicBezTo>
                  <a:cubicBezTo>
                    <a:pt x="8219" y="3829"/>
                    <a:pt x="8028" y="3861"/>
                    <a:pt x="7789" y="3925"/>
                  </a:cubicBezTo>
                  <a:cubicBezTo>
                    <a:pt x="7714" y="3945"/>
                    <a:pt x="7646" y="3874"/>
                    <a:pt x="7669" y="3800"/>
                  </a:cubicBezTo>
                  <a:cubicBezTo>
                    <a:pt x="7768" y="3480"/>
                    <a:pt x="7817" y="3226"/>
                    <a:pt x="7817" y="3036"/>
                  </a:cubicBezTo>
                  <a:cubicBezTo>
                    <a:pt x="7817" y="1797"/>
                    <a:pt x="6813" y="793"/>
                    <a:pt x="5575" y="793"/>
                  </a:cubicBezTo>
                  <a:cubicBezTo>
                    <a:pt x="4337" y="793"/>
                    <a:pt x="3333" y="1797"/>
                    <a:pt x="3333" y="3036"/>
                  </a:cubicBezTo>
                  <a:cubicBezTo>
                    <a:pt x="3333" y="3226"/>
                    <a:pt x="3382" y="3480"/>
                    <a:pt x="3481" y="3800"/>
                  </a:cubicBezTo>
                  <a:cubicBezTo>
                    <a:pt x="3504" y="3874"/>
                    <a:pt x="3436" y="3945"/>
                    <a:pt x="3361" y="3925"/>
                  </a:cubicBezTo>
                  <a:cubicBezTo>
                    <a:pt x="3122" y="3861"/>
                    <a:pt x="2931" y="3829"/>
                    <a:pt x="2788" y="3829"/>
                  </a:cubicBezTo>
                  <a:cubicBezTo>
                    <a:pt x="1686" y="3829"/>
                    <a:pt x="793" y="4722"/>
                    <a:pt x="793" y="5824"/>
                  </a:cubicBezTo>
                  <a:cubicBezTo>
                    <a:pt x="793" y="6926"/>
                    <a:pt x="1686" y="7819"/>
                    <a:pt x="2788" y="7819"/>
                  </a:cubicBezTo>
                  <a:lnTo>
                    <a:pt x="3703" y="7819"/>
                  </a:lnTo>
                  <a:cubicBezTo>
                    <a:pt x="3813" y="7819"/>
                    <a:pt x="3903" y="7909"/>
                    <a:pt x="3903" y="8019"/>
                  </a:cubicBezTo>
                  <a:lnTo>
                    <a:pt x="3903" y="8413"/>
                  </a:lnTo>
                  <a:cubicBezTo>
                    <a:pt x="3903" y="8523"/>
                    <a:pt x="3813" y="8613"/>
                    <a:pt x="3703" y="8613"/>
                  </a:cubicBezTo>
                  <a:lnTo>
                    <a:pt x="2788" y="8613"/>
                  </a:lnTo>
                  <a:cubicBezTo>
                    <a:pt x="1248" y="8613"/>
                    <a:pt x="0" y="7364"/>
                    <a:pt x="0" y="5824"/>
                  </a:cubicBezTo>
                  <a:cubicBezTo>
                    <a:pt x="0" y="4368"/>
                    <a:pt x="1116" y="3172"/>
                    <a:pt x="2540" y="3047"/>
                  </a:cubicBezTo>
                  <a:cubicBezTo>
                    <a:pt x="2540" y="3043"/>
                    <a:pt x="2540" y="3040"/>
                    <a:pt x="2540" y="3036"/>
                  </a:cubicBezTo>
                  <a:cubicBezTo>
                    <a:pt x="2540" y="1359"/>
                    <a:pt x="3899" y="0"/>
                    <a:pt x="5575" y="0"/>
                  </a:cubicBezTo>
                  <a:cubicBezTo>
                    <a:pt x="7251" y="0"/>
                    <a:pt x="8610" y="1359"/>
                    <a:pt x="8610" y="3036"/>
                  </a:cubicBezTo>
                  <a:lnTo>
                    <a:pt x="8610" y="3047"/>
                  </a:lnTo>
                  <a:cubicBezTo>
                    <a:pt x="10034" y="3172"/>
                    <a:pt x="11150" y="4368"/>
                    <a:pt x="11150" y="5824"/>
                  </a:cubicBezTo>
                  <a:cubicBezTo>
                    <a:pt x="11150" y="7364"/>
                    <a:pt x="9902" y="8613"/>
                    <a:pt x="8363" y="8613"/>
                  </a:cubicBezTo>
                  <a:lnTo>
                    <a:pt x="7460" y="8613"/>
                  </a:lnTo>
                  <a:cubicBezTo>
                    <a:pt x="7349" y="8613"/>
                    <a:pt x="7260" y="8523"/>
                    <a:pt x="7260" y="8413"/>
                  </a:cubicBezTo>
                  <a:close/>
                  <a:moveTo>
                    <a:pt x="5152" y="4639"/>
                  </a:moveTo>
                  <a:lnTo>
                    <a:pt x="4160" y="5514"/>
                  </a:lnTo>
                  <a:cubicBezTo>
                    <a:pt x="3989" y="5651"/>
                    <a:pt x="3739" y="5625"/>
                    <a:pt x="3601" y="5455"/>
                  </a:cubicBezTo>
                  <a:cubicBezTo>
                    <a:pt x="3463" y="5285"/>
                    <a:pt x="3489" y="5035"/>
                    <a:pt x="3660" y="4897"/>
                  </a:cubicBezTo>
                  <a:lnTo>
                    <a:pt x="5243" y="3544"/>
                  </a:lnTo>
                  <a:cubicBezTo>
                    <a:pt x="5381" y="3404"/>
                    <a:pt x="5605" y="3383"/>
                    <a:pt x="5766" y="3505"/>
                  </a:cubicBezTo>
                  <a:lnTo>
                    <a:pt x="7479" y="4887"/>
                  </a:lnTo>
                  <a:cubicBezTo>
                    <a:pt x="7655" y="5019"/>
                    <a:pt x="7690" y="5268"/>
                    <a:pt x="7558" y="5443"/>
                  </a:cubicBezTo>
                  <a:cubicBezTo>
                    <a:pt x="7426" y="5618"/>
                    <a:pt x="7177" y="5653"/>
                    <a:pt x="7001" y="5521"/>
                  </a:cubicBezTo>
                  <a:lnTo>
                    <a:pt x="5946" y="4634"/>
                  </a:lnTo>
                  <a:lnTo>
                    <a:pt x="5946" y="8216"/>
                  </a:lnTo>
                  <a:cubicBezTo>
                    <a:pt x="5946" y="8435"/>
                    <a:pt x="5768" y="8612"/>
                    <a:pt x="5549" y="8612"/>
                  </a:cubicBezTo>
                  <a:cubicBezTo>
                    <a:pt x="5329" y="8612"/>
                    <a:pt x="5152" y="8435"/>
                    <a:pt x="5152" y="8216"/>
                  </a:cubicBezTo>
                  <a:lnTo>
                    <a:pt x="5152" y="4639"/>
                  </a:lnTo>
                  <a:close/>
                </a:path>
              </a:pathLst>
            </a:custGeom>
            <a:gradFill>
              <a:gsLst>
                <a:gs pos="0">
                  <a:schemeClr val="accent1">
                    <a:lumMod val="60000"/>
                    <a:lumOff val="40000"/>
                  </a:schemeClr>
                </a:gs>
                <a:gs pos="50000">
                  <a:schemeClr val="accent1"/>
                </a:gs>
              </a:gsLst>
              <a:lin ang="2700000" scaled="0"/>
            </a:gradFill>
          </p:spPr>
          <p:txBody>
            <a:bodyPr wrap="none" lIns="108000" tIns="108000" rIns="108000" bIns="108000" rtlCol="0" anchor="ctr" anchorCtr="0">
              <a:noAutofit/>
            </a:bodyPr>
            <a:lstStyle/>
            <a:p>
              <a:pPr algn="ctr"/>
              <a:endParaRPr kumimoji="1" lang="en-US" sz="1200" b="1">
                <a:solidFill>
                  <a:srgbClr val="FFFFFF"/>
                </a:solidFill>
              </a:endParaRPr>
            </a:p>
          </p:txBody>
        </p:sp>
        <p:sp>
          <p:nvSpPr>
            <p:cNvPr id="116" name="矩形 115"/>
            <p:cNvSpPr/>
            <p:nvPr/>
          </p:nvSpPr>
          <p:spPr>
            <a:xfrm>
              <a:off x="8474811" y="1768700"/>
              <a:ext cx="1853472" cy="4643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b"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r>
                <a:rPr kumimoji="1" lang="en-US" altLang="zh-CN" sz="1600" b="1" dirty="0">
                  <a:solidFill>
                    <a:schemeClr val="tx1"/>
                  </a:solidFill>
                  <a:latin typeface="Arial" panose="020B0604020202090204" pitchFamily="34" charset="0"/>
                  <a:ea typeface="华文楷体" panose="02010600040101010101" pitchFamily="2" charset="-122"/>
                </a:rPr>
                <a:t>Text</a:t>
              </a:r>
              <a:r>
                <a:rPr kumimoji="1" lang="zh-CN" altLang="en-US" sz="1600" b="1" dirty="0">
                  <a:solidFill>
                    <a:schemeClr val="tx1"/>
                  </a:solidFill>
                  <a:latin typeface="Arial" panose="020B0604020202090204" pitchFamily="34" charset="0"/>
                  <a:ea typeface="华文楷体" panose="02010600040101010101" pitchFamily="2" charset="-122"/>
                </a:rPr>
                <a:t> </a:t>
              </a:r>
              <a:r>
                <a:rPr kumimoji="1" lang="en-US" altLang="zh-CN" sz="1600" b="1" dirty="0">
                  <a:solidFill>
                    <a:schemeClr val="tx1"/>
                  </a:solidFill>
                  <a:latin typeface="Arial" panose="020B0604020202090204" pitchFamily="34" charset="0"/>
                  <a:ea typeface="华文楷体" panose="02010600040101010101" pitchFamily="2" charset="-122"/>
                </a:rPr>
                <a:t>here</a:t>
              </a:r>
              <a:endParaRPr kumimoji="1" lang="en-US" altLang="zh-CN" sz="1600" b="1" dirty="0">
                <a:solidFill>
                  <a:schemeClr val="tx1"/>
                </a:solidFill>
                <a:latin typeface="Arial" panose="020B0604020202090204" pitchFamily="34" charset="0"/>
                <a:ea typeface="华文楷体" panose="02010600040101010101" pitchFamily="2" charset="-122"/>
              </a:endParaRPr>
            </a:p>
          </p:txBody>
        </p:sp>
        <p:sp>
          <p:nvSpPr>
            <p:cNvPr id="117" name="矩形 116"/>
            <p:cNvSpPr/>
            <p:nvPr/>
          </p:nvSpPr>
          <p:spPr>
            <a:xfrm>
              <a:off x="8474811" y="2098164"/>
              <a:ext cx="1852105" cy="5973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t"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nSpc>
                  <a:spcPct val="130000"/>
                </a:lnSpc>
              </a:pPr>
              <a:r>
                <a:rPr kumimoji="1" lang="en-US" altLang="zh-CN" sz="1000" dirty="0">
                  <a:solidFill>
                    <a:schemeClr val="tx1"/>
                  </a:solidFill>
                  <a:latin typeface="Arial" panose="020B0604020202090204" pitchFamily="34" charset="0"/>
                  <a:ea typeface="华文楷体" panose="02010600040101010101" pitchFamily="2" charset="-122"/>
                </a:rPr>
                <a:t>Theme color makes PPT more convenient to change.</a:t>
              </a:r>
              <a:endParaRPr kumimoji="1" lang="en-US" altLang="zh-CN" sz="1000" dirty="0">
                <a:solidFill>
                  <a:schemeClr val="tx1"/>
                </a:solidFill>
                <a:latin typeface="Arial" panose="020B0604020202090204" pitchFamily="34" charset="0"/>
                <a:ea typeface="华文楷体" panose="02010600040101010101" pitchFamily="2" charset="-122"/>
              </a:endParaRPr>
            </a:p>
          </p:txBody>
        </p:sp>
        <p:sp>
          <p:nvSpPr>
            <p:cNvPr id="118" name="矩形 117"/>
            <p:cNvSpPr/>
            <p:nvPr/>
          </p:nvSpPr>
          <p:spPr>
            <a:xfrm flipH="1">
              <a:off x="1863718" y="4441856"/>
              <a:ext cx="1853472" cy="4643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b"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r>
                <a:rPr kumimoji="1" lang="en-US" altLang="zh-CN" sz="1600" b="1" dirty="0">
                  <a:solidFill>
                    <a:schemeClr val="tx1"/>
                  </a:solidFill>
                  <a:latin typeface="Arial" panose="020B0604020202090204" pitchFamily="34" charset="0"/>
                  <a:ea typeface="华文楷体" panose="02010600040101010101" pitchFamily="2" charset="-122"/>
                </a:rPr>
                <a:t>Text</a:t>
              </a:r>
              <a:r>
                <a:rPr kumimoji="1" lang="zh-CN" altLang="en-US" sz="1600" b="1" dirty="0">
                  <a:solidFill>
                    <a:schemeClr val="tx1"/>
                  </a:solidFill>
                  <a:latin typeface="Arial" panose="020B0604020202090204" pitchFamily="34" charset="0"/>
                  <a:ea typeface="华文楷体" panose="02010600040101010101" pitchFamily="2" charset="-122"/>
                </a:rPr>
                <a:t> </a:t>
              </a:r>
              <a:r>
                <a:rPr kumimoji="1" lang="en-US" altLang="zh-CN" sz="1600" b="1" dirty="0">
                  <a:solidFill>
                    <a:schemeClr val="tx1"/>
                  </a:solidFill>
                  <a:latin typeface="Arial" panose="020B0604020202090204" pitchFamily="34" charset="0"/>
                  <a:ea typeface="华文楷体" panose="02010600040101010101" pitchFamily="2" charset="-122"/>
                </a:rPr>
                <a:t>here</a:t>
              </a:r>
              <a:endParaRPr kumimoji="1" lang="en-US" altLang="zh-CN" sz="1600" b="1" dirty="0">
                <a:solidFill>
                  <a:schemeClr val="tx1"/>
                </a:solidFill>
                <a:latin typeface="Arial" panose="020B0604020202090204" pitchFamily="34" charset="0"/>
                <a:ea typeface="华文楷体" panose="02010600040101010101" pitchFamily="2" charset="-122"/>
              </a:endParaRPr>
            </a:p>
          </p:txBody>
        </p:sp>
        <p:sp>
          <p:nvSpPr>
            <p:cNvPr id="119" name="矩形 118"/>
            <p:cNvSpPr/>
            <p:nvPr/>
          </p:nvSpPr>
          <p:spPr>
            <a:xfrm flipH="1">
              <a:off x="1865085" y="4771320"/>
              <a:ext cx="1852105" cy="5973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t"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nSpc>
                  <a:spcPct val="130000"/>
                </a:lnSpc>
              </a:pPr>
              <a:r>
                <a:rPr kumimoji="1" lang="en-US" altLang="zh-CN" sz="1000" dirty="0">
                  <a:solidFill>
                    <a:schemeClr val="tx1"/>
                  </a:solidFill>
                  <a:latin typeface="Arial" panose="020B0604020202090204" pitchFamily="34" charset="0"/>
                  <a:ea typeface="华文楷体" panose="02010600040101010101" pitchFamily="2" charset="-122"/>
                </a:rPr>
                <a:t>Theme color makes PPT more convenient to change.</a:t>
              </a:r>
              <a:endParaRPr kumimoji="1" lang="en-US" altLang="zh-CN" sz="1000" dirty="0">
                <a:solidFill>
                  <a:schemeClr val="tx1"/>
                </a:solidFill>
                <a:latin typeface="Arial" panose="020B0604020202090204" pitchFamily="34" charset="0"/>
                <a:ea typeface="华文楷体" panose="02010600040101010101" pitchFamily="2" charset="-122"/>
              </a:endParaRPr>
            </a:p>
          </p:txBody>
        </p:sp>
        <p:sp>
          <p:nvSpPr>
            <p:cNvPr id="120" name="矩形 119"/>
            <p:cNvSpPr/>
            <p:nvPr/>
          </p:nvSpPr>
          <p:spPr>
            <a:xfrm>
              <a:off x="8474811" y="4441856"/>
              <a:ext cx="1853472" cy="4643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b"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r>
                <a:rPr kumimoji="1" lang="en-US" altLang="zh-CN" sz="1600" b="1" dirty="0">
                  <a:solidFill>
                    <a:schemeClr val="tx1"/>
                  </a:solidFill>
                  <a:latin typeface="Arial" panose="020B0604020202090204" pitchFamily="34" charset="0"/>
                  <a:ea typeface="华文楷体" panose="02010600040101010101" pitchFamily="2" charset="-122"/>
                </a:rPr>
                <a:t>Text</a:t>
              </a:r>
              <a:r>
                <a:rPr kumimoji="1" lang="zh-CN" altLang="en-US" sz="1600" b="1" dirty="0">
                  <a:solidFill>
                    <a:schemeClr val="tx1"/>
                  </a:solidFill>
                  <a:latin typeface="Arial" panose="020B0604020202090204" pitchFamily="34" charset="0"/>
                  <a:ea typeface="华文楷体" panose="02010600040101010101" pitchFamily="2" charset="-122"/>
                </a:rPr>
                <a:t> </a:t>
              </a:r>
              <a:r>
                <a:rPr kumimoji="1" lang="en-US" altLang="zh-CN" sz="1600" b="1" dirty="0">
                  <a:solidFill>
                    <a:schemeClr val="tx1"/>
                  </a:solidFill>
                  <a:latin typeface="Arial" panose="020B0604020202090204" pitchFamily="34" charset="0"/>
                  <a:ea typeface="华文楷体" panose="02010600040101010101" pitchFamily="2" charset="-122"/>
                </a:rPr>
                <a:t>here</a:t>
              </a:r>
              <a:endParaRPr kumimoji="1" lang="en-US" altLang="zh-CN" sz="1600" b="1" dirty="0">
                <a:solidFill>
                  <a:schemeClr val="tx1"/>
                </a:solidFill>
                <a:latin typeface="Arial" panose="020B0604020202090204" pitchFamily="34" charset="0"/>
                <a:ea typeface="华文楷体" panose="02010600040101010101" pitchFamily="2" charset="-122"/>
              </a:endParaRPr>
            </a:p>
          </p:txBody>
        </p:sp>
        <p:sp>
          <p:nvSpPr>
            <p:cNvPr id="121" name="矩形 120"/>
            <p:cNvSpPr/>
            <p:nvPr/>
          </p:nvSpPr>
          <p:spPr>
            <a:xfrm>
              <a:off x="8474811" y="4771320"/>
              <a:ext cx="1852105" cy="5973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t"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nSpc>
                  <a:spcPct val="130000"/>
                </a:lnSpc>
              </a:pPr>
              <a:r>
                <a:rPr kumimoji="1" lang="en-US" altLang="zh-CN" sz="1000" dirty="0">
                  <a:solidFill>
                    <a:schemeClr val="tx1"/>
                  </a:solidFill>
                  <a:latin typeface="Arial" panose="020B0604020202090204" pitchFamily="34" charset="0"/>
                  <a:ea typeface="华文楷体" panose="02010600040101010101" pitchFamily="2" charset="-122"/>
                </a:rPr>
                <a:t>Theme color makes PPT more convenient to change.</a:t>
              </a:r>
              <a:endParaRPr kumimoji="1" lang="en-US" altLang="zh-CN" sz="1000" dirty="0">
                <a:solidFill>
                  <a:schemeClr val="tx1"/>
                </a:solidFill>
                <a:latin typeface="Arial" panose="020B0604020202090204" pitchFamily="34" charset="0"/>
                <a:ea typeface="华文楷体" panose="02010600040101010101" pitchFamily="2" charset="-122"/>
              </a:endParaRPr>
            </a:p>
          </p:txBody>
        </p:sp>
        <p:sp>
          <p:nvSpPr>
            <p:cNvPr id="122" name="矩形 121"/>
            <p:cNvSpPr/>
            <p:nvPr/>
          </p:nvSpPr>
          <p:spPr>
            <a:xfrm flipH="1">
              <a:off x="1863718" y="1768700"/>
              <a:ext cx="1853472" cy="4643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b"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r>
                <a:rPr kumimoji="1" lang="en-US" altLang="zh-CN" sz="1600" b="1" dirty="0">
                  <a:solidFill>
                    <a:schemeClr val="tx1"/>
                  </a:solidFill>
                  <a:latin typeface="Arial" panose="020B0604020202090204" pitchFamily="34" charset="0"/>
                  <a:ea typeface="华文楷体" panose="02010600040101010101" pitchFamily="2" charset="-122"/>
                </a:rPr>
                <a:t>Text</a:t>
              </a:r>
              <a:r>
                <a:rPr kumimoji="1" lang="zh-CN" altLang="en-US" sz="1600" b="1" dirty="0">
                  <a:solidFill>
                    <a:schemeClr val="tx1"/>
                  </a:solidFill>
                  <a:latin typeface="Arial" panose="020B0604020202090204" pitchFamily="34" charset="0"/>
                  <a:ea typeface="华文楷体" panose="02010600040101010101" pitchFamily="2" charset="-122"/>
                </a:rPr>
                <a:t> </a:t>
              </a:r>
              <a:r>
                <a:rPr kumimoji="1" lang="en-US" altLang="zh-CN" sz="1600" b="1" dirty="0">
                  <a:solidFill>
                    <a:schemeClr val="tx1"/>
                  </a:solidFill>
                  <a:latin typeface="Arial" panose="020B0604020202090204" pitchFamily="34" charset="0"/>
                  <a:ea typeface="华文楷体" panose="02010600040101010101" pitchFamily="2" charset="-122"/>
                </a:rPr>
                <a:t>here</a:t>
              </a:r>
              <a:endParaRPr kumimoji="1" lang="en-US" altLang="zh-CN" sz="1600" b="1" dirty="0">
                <a:solidFill>
                  <a:schemeClr val="tx1"/>
                </a:solidFill>
                <a:latin typeface="Arial" panose="020B0604020202090204" pitchFamily="34" charset="0"/>
                <a:ea typeface="华文楷体" panose="02010600040101010101" pitchFamily="2" charset="-122"/>
              </a:endParaRPr>
            </a:p>
          </p:txBody>
        </p:sp>
        <p:sp>
          <p:nvSpPr>
            <p:cNvPr id="123" name="矩形 122"/>
            <p:cNvSpPr/>
            <p:nvPr/>
          </p:nvSpPr>
          <p:spPr>
            <a:xfrm flipH="1">
              <a:off x="1865085" y="2098164"/>
              <a:ext cx="1852105" cy="5973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t"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nSpc>
                  <a:spcPct val="130000"/>
                </a:lnSpc>
              </a:pPr>
              <a:r>
                <a:rPr kumimoji="1" lang="en-US" altLang="zh-CN" sz="1000" dirty="0">
                  <a:solidFill>
                    <a:schemeClr val="tx1"/>
                  </a:solidFill>
                  <a:latin typeface="Arial" panose="020B0604020202090204" pitchFamily="34" charset="0"/>
                  <a:ea typeface="华文楷体" panose="02010600040101010101" pitchFamily="2" charset="-122"/>
                </a:rPr>
                <a:t>Theme color makes PPT more convenient to change.</a:t>
              </a:r>
              <a:endParaRPr kumimoji="1" lang="en-US" altLang="zh-CN" sz="1000" dirty="0">
                <a:solidFill>
                  <a:schemeClr val="tx1"/>
                </a:solidFill>
                <a:latin typeface="Arial" panose="020B0604020202090204" pitchFamily="34" charset="0"/>
                <a:ea typeface="华文楷体" panose="02010600040101010101" pitchFamily="2" charset="-122"/>
              </a:endParaRPr>
            </a:p>
          </p:txBody>
        </p:sp>
        <p:sp>
          <p:nvSpPr>
            <p:cNvPr id="124" name="文本框 123"/>
            <p:cNvSpPr txBox="1"/>
            <p:nvPr/>
          </p:nvSpPr>
          <p:spPr>
            <a:xfrm>
              <a:off x="3756000" y="1978178"/>
              <a:ext cx="540000" cy="540000"/>
            </a:xfrm>
            <a:prstGeom prst="roundRect">
              <a:avLst>
                <a:gd name="adj" fmla="val 50000"/>
              </a:avLst>
            </a:prstGeom>
            <a:gradFill>
              <a:gsLst>
                <a:gs pos="0">
                  <a:schemeClr val="accent1">
                    <a:lumMod val="60000"/>
                    <a:lumOff val="40000"/>
                  </a:schemeClr>
                </a:gs>
                <a:gs pos="50000">
                  <a:schemeClr val="accent1"/>
                </a:gs>
              </a:gsLst>
              <a:lin ang="2700000" scaled="0"/>
            </a:gradFill>
          </p:spPr>
          <p:txBody>
            <a:bodyPr wrap="none" lIns="108000" tIns="108000" rIns="108000" bIns="108000" rtlCol="0" anchor="ctr" anchorCtr="0">
              <a:noAutofit/>
            </a:bodyPr>
            <a:lstStyle>
              <a:defPPr>
                <a:defRPr lang="zh-CN"/>
              </a:defPPr>
              <a:lvl1pPr algn="ctr">
                <a:defRPr kumimoji="1" sz="1200" b="1">
                  <a:solidFill>
                    <a:srgbClr val="FFFFFF"/>
                  </a:solidFill>
                </a:defRPr>
              </a:lvl1pPr>
            </a:lstStyle>
            <a:p>
              <a:endParaRPr lang="zh-CN" altLang="en-US" dirty="0"/>
            </a:p>
          </p:txBody>
        </p:sp>
        <p:sp>
          <p:nvSpPr>
            <p:cNvPr id="125" name="任意多边形: 形状 124"/>
            <p:cNvSpPr/>
            <p:nvPr/>
          </p:nvSpPr>
          <p:spPr>
            <a:xfrm>
              <a:off x="3912886" y="2110475"/>
              <a:ext cx="226228" cy="275406"/>
            </a:xfrm>
            <a:custGeom>
              <a:avLst/>
              <a:gdLst>
                <a:gd name="connsiteX0" fmla="*/ 284197 w 438150"/>
                <a:gd name="connsiteY0" fmla="*/ 621 h 533400"/>
                <a:gd name="connsiteX1" fmla="*/ 286102 w 438150"/>
                <a:gd name="connsiteY1" fmla="*/ 621 h 533400"/>
                <a:gd name="connsiteX2" fmla="*/ 286102 w 438150"/>
                <a:gd name="connsiteY2" fmla="*/ 124446 h 533400"/>
                <a:gd name="connsiteX3" fmla="*/ 286102 w 438150"/>
                <a:gd name="connsiteY3" fmla="*/ 126351 h 533400"/>
                <a:gd name="connsiteX4" fmla="*/ 314677 w 438150"/>
                <a:gd name="connsiteY4" fmla="*/ 153021 h 533400"/>
                <a:gd name="connsiteX5" fmla="*/ 314677 w 438150"/>
                <a:gd name="connsiteY5" fmla="*/ 153021 h 533400"/>
                <a:gd name="connsiteX6" fmla="*/ 438502 w 438150"/>
                <a:gd name="connsiteY6" fmla="*/ 153021 h 533400"/>
                <a:gd name="connsiteX7" fmla="*/ 438502 w 438150"/>
                <a:gd name="connsiteY7" fmla="*/ 154926 h 533400"/>
                <a:gd name="connsiteX8" fmla="*/ 438502 w 438150"/>
                <a:gd name="connsiteY8" fmla="*/ 505446 h 533400"/>
                <a:gd name="connsiteX9" fmla="*/ 409927 w 438150"/>
                <a:gd name="connsiteY9" fmla="*/ 534021 h 533400"/>
                <a:gd name="connsiteX10" fmla="*/ 28927 w 438150"/>
                <a:gd name="connsiteY10" fmla="*/ 534021 h 533400"/>
                <a:gd name="connsiteX11" fmla="*/ 352 w 438150"/>
                <a:gd name="connsiteY11" fmla="*/ 505446 h 533400"/>
                <a:gd name="connsiteX12" fmla="*/ 352 w 438150"/>
                <a:gd name="connsiteY12" fmla="*/ 29196 h 533400"/>
                <a:gd name="connsiteX13" fmla="*/ 28927 w 438150"/>
                <a:gd name="connsiteY13" fmla="*/ 621 h 533400"/>
                <a:gd name="connsiteX14" fmla="*/ 284197 w 438150"/>
                <a:gd name="connsiteY14" fmla="*/ 621 h 533400"/>
                <a:gd name="connsiteX15" fmla="*/ 248002 w 438150"/>
                <a:gd name="connsiteY15" fmla="*/ 200646 h 533400"/>
                <a:gd name="connsiteX16" fmla="*/ 152752 w 438150"/>
                <a:gd name="connsiteY16" fmla="*/ 200646 h 533400"/>
                <a:gd name="connsiteX17" fmla="*/ 152752 w 438150"/>
                <a:gd name="connsiteY17" fmla="*/ 410196 h 533400"/>
                <a:gd name="connsiteX18" fmla="*/ 171802 w 438150"/>
                <a:gd name="connsiteY18" fmla="*/ 410196 h 533400"/>
                <a:gd name="connsiteX19" fmla="*/ 171802 w 438150"/>
                <a:gd name="connsiteY19" fmla="*/ 314946 h 533400"/>
                <a:gd name="connsiteX20" fmla="*/ 248002 w 438150"/>
                <a:gd name="connsiteY20" fmla="*/ 314946 h 533400"/>
                <a:gd name="connsiteX21" fmla="*/ 249907 w 438150"/>
                <a:gd name="connsiteY21" fmla="*/ 314946 h 533400"/>
                <a:gd name="connsiteX22" fmla="*/ 305152 w 438150"/>
                <a:gd name="connsiteY22" fmla="*/ 257796 h 533400"/>
                <a:gd name="connsiteX23" fmla="*/ 248002 w 438150"/>
                <a:gd name="connsiteY23" fmla="*/ 200646 h 533400"/>
                <a:gd name="connsiteX24" fmla="*/ 248002 w 438150"/>
                <a:gd name="connsiteY24" fmla="*/ 200646 h 533400"/>
                <a:gd name="connsiteX25" fmla="*/ 248002 w 438150"/>
                <a:gd name="connsiteY25" fmla="*/ 219696 h 533400"/>
                <a:gd name="connsiteX26" fmla="*/ 286102 w 438150"/>
                <a:gd name="connsiteY26" fmla="*/ 257796 h 533400"/>
                <a:gd name="connsiteX27" fmla="*/ 248002 w 438150"/>
                <a:gd name="connsiteY27" fmla="*/ 295896 h 533400"/>
                <a:gd name="connsiteX28" fmla="*/ 248002 w 438150"/>
                <a:gd name="connsiteY28" fmla="*/ 295896 h 533400"/>
                <a:gd name="connsiteX29" fmla="*/ 171802 w 438150"/>
                <a:gd name="connsiteY29" fmla="*/ 295896 h 533400"/>
                <a:gd name="connsiteX30" fmla="*/ 171802 w 438150"/>
                <a:gd name="connsiteY30" fmla="*/ 219696 h 533400"/>
                <a:gd name="connsiteX31" fmla="*/ 248002 w 438150"/>
                <a:gd name="connsiteY31" fmla="*/ 219696 h 533400"/>
                <a:gd name="connsiteX32" fmla="*/ 428977 w 438150"/>
                <a:gd name="connsiteY32" fmla="*/ 133971 h 533400"/>
                <a:gd name="connsiteX33" fmla="*/ 314677 w 438150"/>
                <a:gd name="connsiteY33" fmla="*/ 133971 h 533400"/>
                <a:gd name="connsiteX34" fmla="*/ 313724 w 438150"/>
                <a:gd name="connsiteY34" fmla="*/ 133971 h 533400"/>
                <a:gd name="connsiteX35" fmla="*/ 305152 w 438150"/>
                <a:gd name="connsiteY35" fmla="*/ 124446 h 533400"/>
                <a:gd name="connsiteX36" fmla="*/ 305152 w 438150"/>
                <a:gd name="connsiteY36" fmla="*/ 124446 h 533400"/>
                <a:gd name="connsiteX37" fmla="*/ 305152 w 438150"/>
                <a:gd name="connsiteY37" fmla="*/ 10146 h 533400"/>
                <a:gd name="connsiteX38" fmla="*/ 428977 w 438150"/>
                <a:gd name="connsiteY38" fmla="*/ 133971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38150" h="533400">
                  <a:moveTo>
                    <a:pt x="284197" y="621"/>
                  </a:moveTo>
                  <a:cubicBezTo>
                    <a:pt x="285149" y="621"/>
                    <a:pt x="286102" y="621"/>
                    <a:pt x="286102" y="621"/>
                  </a:cubicBezTo>
                  <a:lnTo>
                    <a:pt x="286102" y="124446"/>
                  </a:lnTo>
                  <a:lnTo>
                    <a:pt x="286102" y="126351"/>
                  </a:lnTo>
                  <a:cubicBezTo>
                    <a:pt x="287055" y="141591"/>
                    <a:pt x="299437" y="153021"/>
                    <a:pt x="314677" y="153021"/>
                  </a:cubicBezTo>
                  <a:lnTo>
                    <a:pt x="314677" y="153021"/>
                  </a:lnTo>
                  <a:lnTo>
                    <a:pt x="438502" y="153021"/>
                  </a:lnTo>
                  <a:cubicBezTo>
                    <a:pt x="438502" y="153974"/>
                    <a:pt x="438502" y="154926"/>
                    <a:pt x="438502" y="154926"/>
                  </a:cubicBezTo>
                  <a:lnTo>
                    <a:pt x="438502" y="505446"/>
                  </a:lnTo>
                  <a:cubicBezTo>
                    <a:pt x="438502" y="521639"/>
                    <a:pt x="426120" y="534021"/>
                    <a:pt x="409927" y="534021"/>
                  </a:cubicBezTo>
                  <a:lnTo>
                    <a:pt x="28927" y="534021"/>
                  </a:lnTo>
                  <a:cubicBezTo>
                    <a:pt x="12734" y="534021"/>
                    <a:pt x="352" y="521639"/>
                    <a:pt x="352" y="505446"/>
                  </a:cubicBezTo>
                  <a:lnTo>
                    <a:pt x="352" y="29196"/>
                  </a:lnTo>
                  <a:cubicBezTo>
                    <a:pt x="352" y="13004"/>
                    <a:pt x="12734" y="621"/>
                    <a:pt x="28927" y="621"/>
                  </a:cubicBezTo>
                  <a:lnTo>
                    <a:pt x="284197" y="621"/>
                  </a:lnTo>
                  <a:close/>
                  <a:moveTo>
                    <a:pt x="248002" y="200646"/>
                  </a:moveTo>
                  <a:lnTo>
                    <a:pt x="152752" y="200646"/>
                  </a:lnTo>
                  <a:lnTo>
                    <a:pt x="152752" y="410196"/>
                  </a:lnTo>
                  <a:lnTo>
                    <a:pt x="171802" y="410196"/>
                  </a:lnTo>
                  <a:lnTo>
                    <a:pt x="171802" y="314946"/>
                  </a:lnTo>
                  <a:lnTo>
                    <a:pt x="248002" y="314946"/>
                  </a:lnTo>
                  <a:lnTo>
                    <a:pt x="249907" y="314946"/>
                  </a:lnTo>
                  <a:cubicBezTo>
                    <a:pt x="280387" y="313994"/>
                    <a:pt x="305152" y="288276"/>
                    <a:pt x="305152" y="257796"/>
                  </a:cubicBezTo>
                  <a:cubicBezTo>
                    <a:pt x="305152" y="226364"/>
                    <a:pt x="279434" y="200646"/>
                    <a:pt x="248002" y="200646"/>
                  </a:cubicBezTo>
                  <a:lnTo>
                    <a:pt x="248002" y="200646"/>
                  </a:lnTo>
                  <a:close/>
                  <a:moveTo>
                    <a:pt x="248002" y="219696"/>
                  </a:moveTo>
                  <a:cubicBezTo>
                    <a:pt x="268957" y="219696"/>
                    <a:pt x="286102" y="236841"/>
                    <a:pt x="286102" y="257796"/>
                  </a:cubicBezTo>
                  <a:cubicBezTo>
                    <a:pt x="286102" y="278751"/>
                    <a:pt x="268957" y="295896"/>
                    <a:pt x="248002" y="295896"/>
                  </a:cubicBezTo>
                  <a:lnTo>
                    <a:pt x="248002" y="295896"/>
                  </a:lnTo>
                  <a:lnTo>
                    <a:pt x="171802" y="295896"/>
                  </a:lnTo>
                  <a:lnTo>
                    <a:pt x="171802" y="219696"/>
                  </a:lnTo>
                  <a:lnTo>
                    <a:pt x="248002" y="219696"/>
                  </a:lnTo>
                  <a:close/>
                  <a:moveTo>
                    <a:pt x="428977" y="133971"/>
                  </a:moveTo>
                  <a:lnTo>
                    <a:pt x="314677" y="133971"/>
                  </a:lnTo>
                  <a:lnTo>
                    <a:pt x="313724" y="133971"/>
                  </a:lnTo>
                  <a:cubicBezTo>
                    <a:pt x="308962" y="133019"/>
                    <a:pt x="305152" y="129209"/>
                    <a:pt x="305152" y="124446"/>
                  </a:cubicBezTo>
                  <a:lnTo>
                    <a:pt x="305152" y="124446"/>
                  </a:lnTo>
                  <a:lnTo>
                    <a:pt x="305152" y="10146"/>
                  </a:lnTo>
                  <a:lnTo>
                    <a:pt x="428977" y="133971"/>
                  </a:lnTo>
                  <a:close/>
                </a:path>
              </a:pathLst>
            </a:custGeom>
            <a:solidFill>
              <a:srgbClr val="FFFFFF"/>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sp>
          <p:nvSpPr>
            <p:cNvPr id="126" name="文本框 125"/>
            <p:cNvSpPr txBox="1"/>
            <p:nvPr/>
          </p:nvSpPr>
          <p:spPr>
            <a:xfrm>
              <a:off x="7896000" y="1946514"/>
              <a:ext cx="540000" cy="540000"/>
            </a:xfrm>
            <a:prstGeom prst="roundRect">
              <a:avLst>
                <a:gd name="adj" fmla="val 50000"/>
              </a:avLst>
            </a:prstGeom>
            <a:gradFill>
              <a:gsLst>
                <a:gs pos="0">
                  <a:schemeClr val="accent2">
                    <a:lumMod val="60000"/>
                    <a:lumOff val="40000"/>
                  </a:schemeClr>
                </a:gs>
                <a:gs pos="50000">
                  <a:schemeClr val="accent2"/>
                </a:gs>
              </a:gsLst>
              <a:lin ang="2700000" scaled="0"/>
            </a:gradFill>
          </p:spPr>
          <p:txBody>
            <a:bodyPr wrap="none" lIns="108000" tIns="108000" rIns="108000" bIns="108000" rtlCol="0" anchor="ctr" anchorCtr="0">
              <a:noAutofit/>
            </a:bodyPr>
            <a:lstStyle>
              <a:defPPr>
                <a:defRPr lang="zh-CN"/>
              </a:defPPr>
              <a:lvl1pPr algn="ctr">
                <a:defRPr kumimoji="1" sz="1200" b="1">
                  <a:solidFill>
                    <a:srgbClr val="FFFFFF"/>
                  </a:solidFill>
                </a:defRPr>
              </a:lvl1pPr>
            </a:lstStyle>
            <a:p>
              <a:endParaRPr lang="zh-CN" altLang="en-US" dirty="0"/>
            </a:p>
          </p:txBody>
        </p:sp>
        <p:sp>
          <p:nvSpPr>
            <p:cNvPr id="127" name="任意多边形: 形状 126"/>
            <p:cNvSpPr/>
            <p:nvPr/>
          </p:nvSpPr>
          <p:spPr>
            <a:xfrm>
              <a:off x="8028297" y="2113237"/>
              <a:ext cx="275406" cy="206554"/>
            </a:xfrm>
            <a:custGeom>
              <a:avLst/>
              <a:gdLst>
                <a:gd name="connsiteX0" fmla="*/ 505433 w 533400"/>
                <a:gd name="connsiteY0" fmla="*/ 621 h 400050"/>
                <a:gd name="connsiteX1" fmla="*/ 534008 w 533400"/>
                <a:gd name="connsiteY1" fmla="*/ 29196 h 400050"/>
                <a:gd name="connsiteX2" fmla="*/ 534008 w 533400"/>
                <a:gd name="connsiteY2" fmla="*/ 372096 h 400050"/>
                <a:gd name="connsiteX3" fmla="*/ 505433 w 533400"/>
                <a:gd name="connsiteY3" fmla="*/ 400671 h 400050"/>
                <a:gd name="connsiteX4" fmla="*/ 29183 w 533400"/>
                <a:gd name="connsiteY4" fmla="*/ 400671 h 400050"/>
                <a:gd name="connsiteX5" fmla="*/ 608 w 533400"/>
                <a:gd name="connsiteY5" fmla="*/ 372096 h 400050"/>
                <a:gd name="connsiteX6" fmla="*/ 608 w 533400"/>
                <a:gd name="connsiteY6" fmla="*/ 29196 h 400050"/>
                <a:gd name="connsiteX7" fmla="*/ 29183 w 533400"/>
                <a:gd name="connsiteY7" fmla="*/ 621 h 400050"/>
                <a:gd name="connsiteX8" fmla="*/ 505433 w 533400"/>
                <a:gd name="connsiteY8" fmla="*/ 621 h 400050"/>
                <a:gd name="connsiteX9" fmla="*/ 391133 w 533400"/>
                <a:gd name="connsiteY9" fmla="*/ 198741 h 400050"/>
                <a:gd name="connsiteX10" fmla="*/ 351128 w 533400"/>
                <a:gd name="connsiteY10" fmla="*/ 204456 h 400050"/>
                <a:gd name="connsiteX11" fmla="*/ 351128 w 533400"/>
                <a:gd name="connsiteY11" fmla="*/ 204456 h 400050"/>
                <a:gd name="connsiteX12" fmla="*/ 267308 w 533400"/>
                <a:gd name="connsiteY12" fmla="*/ 315899 h 400050"/>
                <a:gd name="connsiteX13" fmla="*/ 264451 w 533400"/>
                <a:gd name="connsiteY13" fmla="*/ 318756 h 400050"/>
                <a:gd name="connsiteX14" fmla="*/ 224446 w 533400"/>
                <a:gd name="connsiteY14" fmla="*/ 318756 h 400050"/>
                <a:gd name="connsiteX15" fmla="*/ 224446 w 533400"/>
                <a:gd name="connsiteY15" fmla="*/ 318756 h 400050"/>
                <a:gd name="connsiteX16" fmla="*/ 162533 w 533400"/>
                <a:gd name="connsiteY16" fmla="*/ 257796 h 400050"/>
                <a:gd name="connsiteX17" fmla="*/ 160628 w 533400"/>
                <a:gd name="connsiteY17" fmla="*/ 255891 h 400050"/>
                <a:gd name="connsiteX18" fmla="*/ 120623 w 533400"/>
                <a:gd name="connsiteY18" fmla="*/ 259701 h 400050"/>
                <a:gd name="connsiteX19" fmla="*/ 120623 w 533400"/>
                <a:gd name="connsiteY19" fmla="*/ 259701 h 400050"/>
                <a:gd name="connsiteX20" fmla="*/ 32993 w 533400"/>
                <a:gd name="connsiteY20" fmla="*/ 366381 h 400050"/>
                <a:gd name="connsiteX21" fmla="*/ 31088 w 533400"/>
                <a:gd name="connsiteY21" fmla="*/ 372096 h 400050"/>
                <a:gd name="connsiteX22" fmla="*/ 40613 w 533400"/>
                <a:gd name="connsiteY22" fmla="*/ 381621 h 400050"/>
                <a:gd name="connsiteX23" fmla="*/ 40613 w 533400"/>
                <a:gd name="connsiteY23" fmla="*/ 381621 h 400050"/>
                <a:gd name="connsiteX24" fmla="*/ 497813 w 533400"/>
                <a:gd name="connsiteY24" fmla="*/ 381621 h 400050"/>
                <a:gd name="connsiteX25" fmla="*/ 503528 w 533400"/>
                <a:gd name="connsiteY25" fmla="*/ 379716 h 400050"/>
                <a:gd name="connsiteX26" fmla="*/ 506386 w 533400"/>
                <a:gd name="connsiteY26" fmla="*/ 366381 h 400050"/>
                <a:gd name="connsiteX27" fmla="*/ 506386 w 533400"/>
                <a:gd name="connsiteY27" fmla="*/ 366381 h 400050"/>
                <a:gd name="connsiteX28" fmla="*/ 398753 w 533400"/>
                <a:gd name="connsiteY28" fmla="*/ 205409 h 400050"/>
                <a:gd name="connsiteX29" fmla="*/ 391133 w 533400"/>
                <a:gd name="connsiteY29" fmla="*/ 198741 h 400050"/>
                <a:gd name="connsiteX30" fmla="*/ 95858 w 533400"/>
                <a:gd name="connsiteY30" fmla="*/ 57771 h 400050"/>
                <a:gd name="connsiteX31" fmla="*/ 57758 w 533400"/>
                <a:gd name="connsiteY31" fmla="*/ 95871 h 400050"/>
                <a:gd name="connsiteX32" fmla="*/ 95858 w 533400"/>
                <a:gd name="connsiteY32" fmla="*/ 133971 h 400050"/>
                <a:gd name="connsiteX33" fmla="*/ 133958 w 533400"/>
                <a:gd name="connsiteY33" fmla="*/ 95871 h 400050"/>
                <a:gd name="connsiteX34" fmla="*/ 95858 w 533400"/>
                <a:gd name="connsiteY34" fmla="*/ 57771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33400" h="400050">
                  <a:moveTo>
                    <a:pt x="505433" y="621"/>
                  </a:moveTo>
                  <a:cubicBezTo>
                    <a:pt x="521626" y="621"/>
                    <a:pt x="534008" y="13004"/>
                    <a:pt x="534008" y="29196"/>
                  </a:cubicBezTo>
                  <a:lnTo>
                    <a:pt x="534008" y="372096"/>
                  </a:lnTo>
                  <a:cubicBezTo>
                    <a:pt x="534008" y="388289"/>
                    <a:pt x="521626" y="400671"/>
                    <a:pt x="505433" y="400671"/>
                  </a:cubicBezTo>
                  <a:lnTo>
                    <a:pt x="29183" y="400671"/>
                  </a:lnTo>
                  <a:cubicBezTo>
                    <a:pt x="12990" y="400671"/>
                    <a:pt x="608" y="388289"/>
                    <a:pt x="608" y="372096"/>
                  </a:cubicBezTo>
                  <a:lnTo>
                    <a:pt x="608" y="29196"/>
                  </a:lnTo>
                  <a:cubicBezTo>
                    <a:pt x="608" y="13004"/>
                    <a:pt x="12990" y="621"/>
                    <a:pt x="29183" y="621"/>
                  </a:cubicBezTo>
                  <a:lnTo>
                    <a:pt x="505433" y="621"/>
                  </a:lnTo>
                  <a:close/>
                  <a:moveTo>
                    <a:pt x="391133" y="198741"/>
                  </a:moveTo>
                  <a:cubicBezTo>
                    <a:pt x="378751" y="189216"/>
                    <a:pt x="360653" y="192074"/>
                    <a:pt x="351128" y="204456"/>
                  </a:cubicBezTo>
                  <a:lnTo>
                    <a:pt x="351128" y="204456"/>
                  </a:lnTo>
                  <a:lnTo>
                    <a:pt x="267308" y="315899"/>
                  </a:lnTo>
                  <a:cubicBezTo>
                    <a:pt x="266355" y="316851"/>
                    <a:pt x="265403" y="317804"/>
                    <a:pt x="264451" y="318756"/>
                  </a:cubicBezTo>
                  <a:cubicBezTo>
                    <a:pt x="253021" y="330186"/>
                    <a:pt x="234923" y="330186"/>
                    <a:pt x="224446" y="318756"/>
                  </a:cubicBezTo>
                  <a:lnTo>
                    <a:pt x="224446" y="318756"/>
                  </a:lnTo>
                  <a:lnTo>
                    <a:pt x="162533" y="257796"/>
                  </a:lnTo>
                  <a:cubicBezTo>
                    <a:pt x="161580" y="256844"/>
                    <a:pt x="161580" y="256844"/>
                    <a:pt x="160628" y="255891"/>
                  </a:cubicBezTo>
                  <a:cubicBezTo>
                    <a:pt x="148246" y="245414"/>
                    <a:pt x="130148" y="247319"/>
                    <a:pt x="120623" y="259701"/>
                  </a:cubicBezTo>
                  <a:lnTo>
                    <a:pt x="120623" y="259701"/>
                  </a:lnTo>
                  <a:lnTo>
                    <a:pt x="32993" y="366381"/>
                  </a:lnTo>
                  <a:cubicBezTo>
                    <a:pt x="32040" y="368286"/>
                    <a:pt x="31088" y="370191"/>
                    <a:pt x="31088" y="372096"/>
                  </a:cubicBezTo>
                  <a:cubicBezTo>
                    <a:pt x="31088" y="377811"/>
                    <a:pt x="34898" y="381621"/>
                    <a:pt x="40613" y="381621"/>
                  </a:cubicBezTo>
                  <a:lnTo>
                    <a:pt x="40613" y="381621"/>
                  </a:lnTo>
                  <a:lnTo>
                    <a:pt x="497813" y="381621"/>
                  </a:lnTo>
                  <a:cubicBezTo>
                    <a:pt x="499718" y="381621"/>
                    <a:pt x="501623" y="380669"/>
                    <a:pt x="503528" y="379716"/>
                  </a:cubicBezTo>
                  <a:cubicBezTo>
                    <a:pt x="508290" y="376859"/>
                    <a:pt x="509243" y="371144"/>
                    <a:pt x="506386" y="366381"/>
                  </a:cubicBezTo>
                  <a:lnTo>
                    <a:pt x="506386" y="366381"/>
                  </a:lnTo>
                  <a:lnTo>
                    <a:pt x="398753" y="205409"/>
                  </a:lnTo>
                  <a:cubicBezTo>
                    <a:pt x="395896" y="202551"/>
                    <a:pt x="393990" y="200646"/>
                    <a:pt x="391133" y="198741"/>
                  </a:cubicBezTo>
                  <a:close/>
                  <a:moveTo>
                    <a:pt x="95858" y="57771"/>
                  </a:moveTo>
                  <a:cubicBezTo>
                    <a:pt x="74903" y="57771"/>
                    <a:pt x="57758" y="74916"/>
                    <a:pt x="57758" y="95871"/>
                  </a:cubicBezTo>
                  <a:cubicBezTo>
                    <a:pt x="57758" y="116826"/>
                    <a:pt x="74903" y="133971"/>
                    <a:pt x="95858" y="133971"/>
                  </a:cubicBezTo>
                  <a:cubicBezTo>
                    <a:pt x="116813" y="133971"/>
                    <a:pt x="133958" y="116826"/>
                    <a:pt x="133958" y="95871"/>
                  </a:cubicBezTo>
                  <a:cubicBezTo>
                    <a:pt x="133958" y="74916"/>
                    <a:pt x="116813" y="57771"/>
                    <a:pt x="95858" y="57771"/>
                  </a:cubicBezTo>
                  <a:close/>
                </a:path>
              </a:pathLst>
            </a:custGeom>
            <a:solidFill>
              <a:srgbClr val="FFFFFF"/>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sp>
          <p:nvSpPr>
            <p:cNvPr id="128" name="文本框 127"/>
            <p:cNvSpPr txBox="1"/>
            <p:nvPr/>
          </p:nvSpPr>
          <p:spPr>
            <a:xfrm>
              <a:off x="3756000" y="4635947"/>
              <a:ext cx="540000" cy="540000"/>
            </a:xfrm>
            <a:prstGeom prst="roundRect">
              <a:avLst>
                <a:gd name="adj" fmla="val 50000"/>
              </a:avLst>
            </a:prstGeom>
            <a:gradFill>
              <a:gsLst>
                <a:gs pos="0">
                  <a:schemeClr val="accent4">
                    <a:lumMod val="60000"/>
                    <a:lumOff val="40000"/>
                  </a:schemeClr>
                </a:gs>
                <a:gs pos="50000">
                  <a:schemeClr val="accent4"/>
                </a:gs>
              </a:gsLst>
              <a:lin ang="2700000" scaled="0"/>
            </a:gradFill>
          </p:spPr>
          <p:txBody>
            <a:bodyPr wrap="none" lIns="108000" tIns="108000" rIns="108000" bIns="108000" rtlCol="0" anchor="ctr" anchorCtr="0">
              <a:noAutofit/>
            </a:bodyPr>
            <a:lstStyle>
              <a:defPPr>
                <a:defRPr lang="zh-CN"/>
              </a:defPPr>
              <a:lvl1pPr algn="ctr">
                <a:defRPr kumimoji="1" sz="1200" b="1">
                  <a:solidFill>
                    <a:srgbClr val="FFFFFF"/>
                  </a:solidFill>
                </a:defRPr>
              </a:lvl1pPr>
            </a:lstStyle>
            <a:p>
              <a:endParaRPr lang="zh-CN" altLang="en-US" dirty="0"/>
            </a:p>
          </p:txBody>
        </p:sp>
        <p:sp>
          <p:nvSpPr>
            <p:cNvPr id="129" name="任意多边形: 形状 128"/>
            <p:cNvSpPr/>
            <p:nvPr/>
          </p:nvSpPr>
          <p:spPr>
            <a:xfrm>
              <a:off x="3888296" y="4770703"/>
              <a:ext cx="275408" cy="270488"/>
            </a:xfrm>
            <a:custGeom>
              <a:avLst/>
              <a:gdLst>
                <a:gd name="connsiteX0" fmla="*/ 343764 w 533400"/>
                <a:gd name="connsiteY0" fmla="*/ 276846 h 523875"/>
                <a:gd name="connsiteX1" fmla="*/ 372339 w 533400"/>
                <a:gd name="connsiteY1" fmla="*/ 305421 h 523875"/>
                <a:gd name="connsiteX2" fmla="*/ 372339 w 533400"/>
                <a:gd name="connsiteY2" fmla="*/ 495921 h 523875"/>
                <a:gd name="connsiteX3" fmla="*/ 343764 w 533400"/>
                <a:gd name="connsiteY3" fmla="*/ 524496 h 523875"/>
                <a:gd name="connsiteX4" fmla="*/ 191364 w 533400"/>
                <a:gd name="connsiteY4" fmla="*/ 524496 h 523875"/>
                <a:gd name="connsiteX5" fmla="*/ 162789 w 533400"/>
                <a:gd name="connsiteY5" fmla="*/ 495921 h 523875"/>
                <a:gd name="connsiteX6" fmla="*/ 162789 w 533400"/>
                <a:gd name="connsiteY6" fmla="*/ 305421 h 523875"/>
                <a:gd name="connsiteX7" fmla="*/ 191364 w 533400"/>
                <a:gd name="connsiteY7" fmla="*/ 276846 h 523875"/>
                <a:gd name="connsiteX8" fmla="*/ 343764 w 533400"/>
                <a:gd name="connsiteY8" fmla="*/ 276846 h 523875"/>
                <a:gd name="connsiteX9" fmla="*/ 143739 w 533400"/>
                <a:gd name="connsiteY9" fmla="*/ 114921 h 523875"/>
                <a:gd name="connsiteX10" fmla="*/ 179934 w 533400"/>
                <a:gd name="connsiteY10" fmla="*/ 153021 h 523875"/>
                <a:gd name="connsiteX11" fmla="*/ 181839 w 533400"/>
                <a:gd name="connsiteY11" fmla="*/ 153021 h 523875"/>
                <a:gd name="connsiteX12" fmla="*/ 353289 w 533400"/>
                <a:gd name="connsiteY12" fmla="*/ 153021 h 523875"/>
                <a:gd name="connsiteX13" fmla="*/ 391389 w 533400"/>
                <a:gd name="connsiteY13" fmla="*/ 116826 h 523875"/>
                <a:gd name="connsiteX14" fmla="*/ 391389 w 533400"/>
                <a:gd name="connsiteY14" fmla="*/ 114921 h 523875"/>
                <a:gd name="connsiteX15" fmla="*/ 505689 w 533400"/>
                <a:gd name="connsiteY15" fmla="*/ 114921 h 523875"/>
                <a:gd name="connsiteX16" fmla="*/ 534264 w 533400"/>
                <a:gd name="connsiteY16" fmla="*/ 143496 h 523875"/>
                <a:gd name="connsiteX17" fmla="*/ 534264 w 533400"/>
                <a:gd name="connsiteY17" fmla="*/ 381621 h 523875"/>
                <a:gd name="connsiteX18" fmla="*/ 505689 w 533400"/>
                <a:gd name="connsiteY18" fmla="*/ 410196 h 523875"/>
                <a:gd name="connsiteX19" fmla="*/ 391389 w 533400"/>
                <a:gd name="connsiteY19" fmla="*/ 410196 h 523875"/>
                <a:gd name="connsiteX20" fmla="*/ 391389 w 533400"/>
                <a:gd name="connsiteY20" fmla="*/ 295896 h 523875"/>
                <a:gd name="connsiteX21" fmla="*/ 355194 w 533400"/>
                <a:gd name="connsiteY21" fmla="*/ 257796 h 523875"/>
                <a:gd name="connsiteX22" fmla="*/ 353289 w 533400"/>
                <a:gd name="connsiteY22" fmla="*/ 257796 h 523875"/>
                <a:gd name="connsiteX23" fmla="*/ 181839 w 533400"/>
                <a:gd name="connsiteY23" fmla="*/ 257796 h 523875"/>
                <a:gd name="connsiteX24" fmla="*/ 143739 w 533400"/>
                <a:gd name="connsiteY24" fmla="*/ 293991 h 523875"/>
                <a:gd name="connsiteX25" fmla="*/ 143739 w 533400"/>
                <a:gd name="connsiteY25" fmla="*/ 295896 h 523875"/>
                <a:gd name="connsiteX26" fmla="*/ 143739 w 533400"/>
                <a:gd name="connsiteY26" fmla="*/ 410196 h 523875"/>
                <a:gd name="connsiteX27" fmla="*/ 29439 w 533400"/>
                <a:gd name="connsiteY27" fmla="*/ 410196 h 523875"/>
                <a:gd name="connsiteX28" fmla="*/ 864 w 533400"/>
                <a:gd name="connsiteY28" fmla="*/ 381621 h 523875"/>
                <a:gd name="connsiteX29" fmla="*/ 864 w 533400"/>
                <a:gd name="connsiteY29" fmla="*/ 201599 h 523875"/>
                <a:gd name="connsiteX30" fmla="*/ 11342 w 533400"/>
                <a:gd name="connsiteY30" fmla="*/ 175881 h 523875"/>
                <a:gd name="connsiteX31" fmla="*/ 56109 w 533400"/>
                <a:gd name="connsiteY31" fmla="*/ 127304 h 523875"/>
                <a:gd name="connsiteX32" fmla="*/ 83732 w 533400"/>
                <a:gd name="connsiteY32" fmla="*/ 114921 h 523875"/>
                <a:gd name="connsiteX33" fmla="*/ 143739 w 533400"/>
                <a:gd name="connsiteY33" fmla="*/ 114921 h 523875"/>
                <a:gd name="connsiteX34" fmla="*/ 462827 w 533400"/>
                <a:gd name="connsiteY34" fmla="*/ 172071 h 523875"/>
                <a:gd name="connsiteX35" fmla="*/ 448539 w 533400"/>
                <a:gd name="connsiteY35" fmla="*/ 186359 h 523875"/>
                <a:gd name="connsiteX36" fmla="*/ 462827 w 533400"/>
                <a:gd name="connsiteY36" fmla="*/ 200646 h 523875"/>
                <a:gd name="connsiteX37" fmla="*/ 477114 w 533400"/>
                <a:gd name="connsiteY37" fmla="*/ 186359 h 523875"/>
                <a:gd name="connsiteX38" fmla="*/ 462827 w 533400"/>
                <a:gd name="connsiteY38" fmla="*/ 172071 h 523875"/>
                <a:gd name="connsiteX39" fmla="*/ 343764 w 533400"/>
                <a:gd name="connsiteY39" fmla="*/ 621 h 523875"/>
                <a:gd name="connsiteX40" fmla="*/ 372339 w 533400"/>
                <a:gd name="connsiteY40" fmla="*/ 29196 h 523875"/>
                <a:gd name="connsiteX41" fmla="*/ 372339 w 533400"/>
                <a:gd name="connsiteY41" fmla="*/ 105396 h 523875"/>
                <a:gd name="connsiteX42" fmla="*/ 343764 w 533400"/>
                <a:gd name="connsiteY42" fmla="*/ 133971 h 523875"/>
                <a:gd name="connsiteX43" fmla="*/ 191364 w 533400"/>
                <a:gd name="connsiteY43" fmla="*/ 133971 h 523875"/>
                <a:gd name="connsiteX44" fmla="*/ 162789 w 533400"/>
                <a:gd name="connsiteY44" fmla="*/ 105396 h 523875"/>
                <a:gd name="connsiteX45" fmla="*/ 162789 w 533400"/>
                <a:gd name="connsiteY45" fmla="*/ 29196 h 523875"/>
                <a:gd name="connsiteX46" fmla="*/ 191364 w 533400"/>
                <a:gd name="connsiteY46" fmla="*/ 621 h 523875"/>
                <a:gd name="connsiteX47" fmla="*/ 343764 w 533400"/>
                <a:gd name="connsiteY47" fmla="*/ 621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533400" h="523875">
                  <a:moveTo>
                    <a:pt x="343764" y="276846"/>
                  </a:moveTo>
                  <a:cubicBezTo>
                    <a:pt x="359957" y="276846"/>
                    <a:pt x="372339" y="289229"/>
                    <a:pt x="372339" y="305421"/>
                  </a:cubicBezTo>
                  <a:lnTo>
                    <a:pt x="372339" y="495921"/>
                  </a:lnTo>
                  <a:cubicBezTo>
                    <a:pt x="372339" y="512114"/>
                    <a:pt x="359957" y="524496"/>
                    <a:pt x="343764" y="524496"/>
                  </a:cubicBezTo>
                  <a:lnTo>
                    <a:pt x="191364" y="524496"/>
                  </a:lnTo>
                  <a:cubicBezTo>
                    <a:pt x="175171" y="524496"/>
                    <a:pt x="162789" y="512114"/>
                    <a:pt x="162789" y="495921"/>
                  </a:cubicBezTo>
                  <a:lnTo>
                    <a:pt x="162789" y="305421"/>
                  </a:lnTo>
                  <a:cubicBezTo>
                    <a:pt x="162789" y="289229"/>
                    <a:pt x="175171" y="276846"/>
                    <a:pt x="191364" y="276846"/>
                  </a:cubicBezTo>
                  <a:lnTo>
                    <a:pt x="343764" y="276846"/>
                  </a:lnTo>
                  <a:close/>
                  <a:moveTo>
                    <a:pt x="143739" y="114921"/>
                  </a:moveTo>
                  <a:cubicBezTo>
                    <a:pt x="143739" y="134924"/>
                    <a:pt x="159932" y="152069"/>
                    <a:pt x="179934" y="153021"/>
                  </a:cubicBezTo>
                  <a:lnTo>
                    <a:pt x="181839" y="153021"/>
                  </a:lnTo>
                  <a:lnTo>
                    <a:pt x="353289" y="153021"/>
                  </a:lnTo>
                  <a:cubicBezTo>
                    <a:pt x="373292" y="153021"/>
                    <a:pt x="390436" y="136829"/>
                    <a:pt x="391389" y="116826"/>
                  </a:cubicBezTo>
                  <a:lnTo>
                    <a:pt x="391389" y="114921"/>
                  </a:lnTo>
                  <a:lnTo>
                    <a:pt x="505689" y="114921"/>
                  </a:lnTo>
                  <a:cubicBezTo>
                    <a:pt x="521882" y="114921"/>
                    <a:pt x="534264" y="127304"/>
                    <a:pt x="534264" y="143496"/>
                  </a:cubicBezTo>
                  <a:lnTo>
                    <a:pt x="534264" y="381621"/>
                  </a:lnTo>
                  <a:cubicBezTo>
                    <a:pt x="534264" y="397814"/>
                    <a:pt x="521882" y="410196"/>
                    <a:pt x="505689" y="410196"/>
                  </a:cubicBezTo>
                  <a:lnTo>
                    <a:pt x="391389" y="410196"/>
                  </a:lnTo>
                  <a:lnTo>
                    <a:pt x="391389" y="295896"/>
                  </a:lnTo>
                  <a:cubicBezTo>
                    <a:pt x="391389" y="275894"/>
                    <a:pt x="375196" y="258749"/>
                    <a:pt x="355194" y="257796"/>
                  </a:cubicBezTo>
                  <a:lnTo>
                    <a:pt x="353289" y="257796"/>
                  </a:lnTo>
                  <a:lnTo>
                    <a:pt x="181839" y="257796"/>
                  </a:lnTo>
                  <a:cubicBezTo>
                    <a:pt x="161836" y="257796"/>
                    <a:pt x="144692" y="273989"/>
                    <a:pt x="143739" y="293991"/>
                  </a:cubicBezTo>
                  <a:lnTo>
                    <a:pt x="143739" y="295896"/>
                  </a:lnTo>
                  <a:lnTo>
                    <a:pt x="143739" y="410196"/>
                  </a:lnTo>
                  <a:lnTo>
                    <a:pt x="29439" y="410196"/>
                  </a:lnTo>
                  <a:cubicBezTo>
                    <a:pt x="13246" y="410196"/>
                    <a:pt x="864" y="397814"/>
                    <a:pt x="864" y="381621"/>
                  </a:cubicBezTo>
                  <a:lnTo>
                    <a:pt x="864" y="201599"/>
                  </a:lnTo>
                  <a:cubicBezTo>
                    <a:pt x="864" y="192074"/>
                    <a:pt x="4674" y="182549"/>
                    <a:pt x="11342" y="175881"/>
                  </a:cubicBezTo>
                  <a:lnTo>
                    <a:pt x="56109" y="127304"/>
                  </a:lnTo>
                  <a:cubicBezTo>
                    <a:pt x="63729" y="119684"/>
                    <a:pt x="73254" y="114921"/>
                    <a:pt x="83732" y="114921"/>
                  </a:cubicBezTo>
                  <a:lnTo>
                    <a:pt x="143739" y="114921"/>
                  </a:lnTo>
                  <a:close/>
                  <a:moveTo>
                    <a:pt x="462827" y="172071"/>
                  </a:moveTo>
                  <a:cubicBezTo>
                    <a:pt x="455207" y="172071"/>
                    <a:pt x="448539" y="178739"/>
                    <a:pt x="448539" y="186359"/>
                  </a:cubicBezTo>
                  <a:cubicBezTo>
                    <a:pt x="448539" y="193979"/>
                    <a:pt x="455207" y="200646"/>
                    <a:pt x="462827" y="200646"/>
                  </a:cubicBezTo>
                  <a:cubicBezTo>
                    <a:pt x="470446" y="200646"/>
                    <a:pt x="477114" y="193979"/>
                    <a:pt x="477114" y="186359"/>
                  </a:cubicBezTo>
                  <a:cubicBezTo>
                    <a:pt x="477114" y="178739"/>
                    <a:pt x="470446" y="172071"/>
                    <a:pt x="462827" y="172071"/>
                  </a:cubicBezTo>
                  <a:close/>
                  <a:moveTo>
                    <a:pt x="343764" y="621"/>
                  </a:moveTo>
                  <a:cubicBezTo>
                    <a:pt x="359957" y="621"/>
                    <a:pt x="372339" y="13004"/>
                    <a:pt x="372339" y="29196"/>
                  </a:cubicBezTo>
                  <a:lnTo>
                    <a:pt x="372339" y="105396"/>
                  </a:lnTo>
                  <a:cubicBezTo>
                    <a:pt x="372339" y="121589"/>
                    <a:pt x="359957" y="133971"/>
                    <a:pt x="343764" y="133971"/>
                  </a:cubicBezTo>
                  <a:lnTo>
                    <a:pt x="191364" y="133971"/>
                  </a:lnTo>
                  <a:cubicBezTo>
                    <a:pt x="175171" y="133971"/>
                    <a:pt x="162789" y="121589"/>
                    <a:pt x="162789" y="105396"/>
                  </a:cubicBezTo>
                  <a:lnTo>
                    <a:pt x="162789" y="29196"/>
                  </a:lnTo>
                  <a:cubicBezTo>
                    <a:pt x="162789" y="13004"/>
                    <a:pt x="175171" y="621"/>
                    <a:pt x="191364" y="621"/>
                  </a:cubicBezTo>
                  <a:lnTo>
                    <a:pt x="343764" y="621"/>
                  </a:lnTo>
                  <a:close/>
                </a:path>
              </a:pathLst>
            </a:custGeom>
            <a:solidFill>
              <a:srgbClr val="FFFFFF"/>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sp>
          <p:nvSpPr>
            <p:cNvPr id="134" name="文本框 133"/>
            <p:cNvSpPr txBox="1"/>
            <p:nvPr/>
          </p:nvSpPr>
          <p:spPr>
            <a:xfrm>
              <a:off x="7886957" y="4635947"/>
              <a:ext cx="540000" cy="540000"/>
            </a:xfrm>
            <a:prstGeom prst="roundRect">
              <a:avLst>
                <a:gd name="adj" fmla="val 50000"/>
              </a:avLst>
            </a:prstGeom>
            <a:gradFill>
              <a:gsLst>
                <a:gs pos="0">
                  <a:schemeClr val="accent3">
                    <a:lumMod val="60000"/>
                    <a:lumOff val="40000"/>
                  </a:schemeClr>
                </a:gs>
                <a:gs pos="50000">
                  <a:schemeClr val="accent3"/>
                </a:gs>
              </a:gsLst>
              <a:lin ang="2700000" scaled="0"/>
            </a:gradFill>
          </p:spPr>
          <p:txBody>
            <a:bodyPr wrap="none" lIns="108000" tIns="108000" rIns="108000" bIns="108000" rtlCol="0" anchor="ctr" anchorCtr="0">
              <a:noAutofit/>
            </a:bodyPr>
            <a:lstStyle>
              <a:defPPr>
                <a:defRPr lang="zh-CN"/>
              </a:defPPr>
              <a:lvl1pPr algn="ctr">
                <a:defRPr kumimoji="1" sz="1200" b="1">
                  <a:solidFill>
                    <a:srgbClr val="FFFFFF"/>
                  </a:solidFill>
                </a:defRPr>
              </a:lvl1pPr>
            </a:lstStyle>
            <a:p>
              <a:endParaRPr lang="zh-CN" altLang="en-US" dirty="0"/>
            </a:p>
          </p:txBody>
        </p:sp>
        <p:sp>
          <p:nvSpPr>
            <p:cNvPr id="135" name="任意多边形: 形状 134"/>
            <p:cNvSpPr/>
            <p:nvPr/>
          </p:nvSpPr>
          <p:spPr>
            <a:xfrm>
              <a:off x="8031108" y="4770948"/>
              <a:ext cx="251698" cy="269998"/>
            </a:xfrm>
            <a:custGeom>
              <a:avLst/>
              <a:gdLst>
                <a:gd name="connsiteX0" fmla="*/ 8356 w 487477"/>
                <a:gd name="connsiteY0" fmla="*/ 512114 h 522922"/>
                <a:gd name="connsiteX1" fmla="*/ 8356 w 487477"/>
                <a:gd name="connsiteY1" fmla="*/ 512114 h 522922"/>
                <a:gd name="connsiteX2" fmla="*/ 8356 w 487477"/>
                <a:gd name="connsiteY2" fmla="*/ 512114 h 522922"/>
                <a:gd name="connsiteX3" fmla="*/ 7404 w 487477"/>
                <a:gd name="connsiteY3" fmla="*/ 511161 h 522922"/>
                <a:gd name="connsiteX4" fmla="*/ 5499 w 487477"/>
                <a:gd name="connsiteY4" fmla="*/ 508303 h 522922"/>
                <a:gd name="connsiteX5" fmla="*/ 5499 w 487477"/>
                <a:gd name="connsiteY5" fmla="*/ 508303 h 522922"/>
                <a:gd name="connsiteX6" fmla="*/ 5499 w 487477"/>
                <a:gd name="connsiteY6" fmla="*/ 507351 h 522922"/>
                <a:gd name="connsiteX7" fmla="*/ 4546 w 487477"/>
                <a:gd name="connsiteY7" fmla="*/ 505446 h 522922"/>
                <a:gd name="connsiteX8" fmla="*/ 3593 w 487477"/>
                <a:gd name="connsiteY8" fmla="*/ 503541 h 522922"/>
                <a:gd name="connsiteX9" fmla="*/ 3593 w 487477"/>
                <a:gd name="connsiteY9" fmla="*/ 503541 h 522922"/>
                <a:gd name="connsiteX10" fmla="*/ 3593 w 487477"/>
                <a:gd name="connsiteY10" fmla="*/ 503541 h 522922"/>
                <a:gd name="connsiteX11" fmla="*/ 3593 w 487477"/>
                <a:gd name="connsiteY11" fmla="*/ 503541 h 522922"/>
                <a:gd name="connsiteX12" fmla="*/ 2641 w 487477"/>
                <a:gd name="connsiteY12" fmla="*/ 501636 h 522922"/>
                <a:gd name="connsiteX13" fmla="*/ 2641 w 487477"/>
                <a:gd name="connsiteY13" fmla="*/ 500684 h 522922"/>
                <a:gd name="connsiteX14" fmla="*/ 1689 w 487477"/>
                <a:gd name="connsiteY14" fmla="*/ 498778 h 522922"/>
                <a:gd name="connsiteX15" fmla="*/ 736 w 487477"/>
                <a:gd name="connsiteY15" fmla="*/ 494968 h 522922"/>
                <a:gd name="connsiteX16" fmla="*/ 736 w 487477"/>
                <a:gd name="connsiteY16" fmla="*/ 492111 h 522922"/>
                <a:gd name="connsiteX17" fmla="*/ 736 w 487477"/>
                <a:gd name="connsiteY17" fmla="*/ 485443 h 522922"/>
                <a:gd name="connsiteX18" fmla="*/ 5499 w 487477"/>
                <a:gd name="connsiteY18" fmla="*/ 467346 h 522922"/>
                <a:gd name="connsiteX19" fmla="*/ 155041 w 487477"/>
                <a:gd name="connsiteY19" fmla="*/ 151116 h 522922"/>
                <a:gd name="connsiteX20" fmla="*/ 158851 w 487477"/>
                <a:gd name="connsiteY20" fmla="*/ 134924 h 522922"/>
                <a:gd name="connsiteX21" fmla="*/ 158851 w 487477"/>
                <a:gd name="connsiteY21" fmla="*/ 19671 h 522922"/>
                <a:gd name="connsiteX22" fmla="*/ 120751 w 487477"/>
                <a:gd name="connsiteY22" fmla="*/ 19671 h 522922"/>
                <a:gd name="connsiteX23" fmla="*/ 120751 w 487477"/>
                <a:gd name="connsiteY23" fmla="*/ 621 h 522922"/>
                <a:gd name="connsiteX24" fmla="*/ 368401 w 487477"/>
                <a:gd name="connsiteY24" fmla="*/ 621 h 522922"/>
                <a:gd name="connsiteX25" fmla="*/ 368401 w 487477"/>
                <a:gd name="connsiteY25" fmla="*/ 19671 h 522922"/>
                <a:gd name="connsiteX26" fmla="*/ 330301 w 487477"/>
                <a:gd name="connsiteY26" fmla="*/ 19671 h 522922"/>
                <a:gd name="connsiteX27" fmla="*/ 330301 w 487477"/>
                <a:gd name="connsiteY27" fmla="*/ 134924 h 522922"/>
                <a:gd name="connsiteX28" fmla="*/ 334111 w 487477"/>
                <a:gd name="connsiteY28" fmla="*/ 151116 h 522922"/>
                <a:gd name="connsiteX29" fmla="*/ 483654 w 487477"/>
                <a:gd name="connsiteY29" fmla="*/ 467346 h 522922"/>
                <a:gd name="connsiteX30" fmla="*/ 485558 w 487477"/>
                <a:gd name="connsiteY30" fmla="*/ 504493 h 522922"/>
                <a:gd name="connsiteX31" fmla="*/ 485558 w 487477"/>
                <a:gd name="connsiteY31" fmla="*/ 504493 h 522922"/>
                <a:gd name="connsiteX32" fmla="*/ 484606 w 487477"/>
                <a:gd name="connsiteY32" fmla="*/ 506399 h 522922"/>
                <a:gd name="connsiteX33" fmla="*/ 459841 w 487477"/>
                <a:gd name="connsiteY33" fmla="*/ 523543 h 522922"/>
                <a:gd name="connsiteX34" fmla="*/ 457936 w 487477"/>
                <a:gd name="connsiteY34" fmla="*/ 523543 h 522922"/>
                <a:gd name="connsiteX35" fmla="*/ 32168 w 487477"/>
                <a:gd name="connsiteY35" fmla="*/ 523543 h 522922"/>
                <a:gd name="connsiteX36" fmla="*/ 30264 w 487477"/>
                <a:gd name="connsiteY36" fmla="*/ 523543 h 522922"/>
                <a:gd name="connsiteX37" fmla="*/ 27406 w 487477"/>
                <a:gd name="connsiteY37" fmla="*/ 523543 h 522922"/>
                <a:gd name="connsiteX38" fmla="*/ 23596 w 487477"/>
                <a:gd name="connsiteY38" fmla="*/ 522591 h 522922"/>
                <a:gd name="connsiteX39" fmla="*/ 23596 w 487477"/>
                <a:gd name="connsiteY39" fmla="*/ 522591 h 522922"/>
                <a:gd name="connsiteX40" fmla="*/ 17881 w 487477"/>
                <a:gd name="connsiteY40" fmla="*/ 520686 h 522922"/>
                <a:gd name="connsiteX41" fmla="*/ 15976 w 487477"/>
                <a:gd name="connsiteY41" fmla="*/ 519734 h 522922"/>
                <a:gd name="connsiteX42" fmla="*/ 15024 w 487477"/>
                <a:gd name="connsiteY42" fmla="*/ 518781 h 522922"/>
                <a:gd name="connsiteX43" fmla="*/ 10261 w 487477"/>
                <a:gd name="connsiteY43" fmla="*/ 514971 h 522922"/>
                <a:gd name="connsiteX44" fmla="*/ 8356 w 487477"/>
                <a:gd name="connsiteY44" fmla="*/ 512114 h 522922"/>
                <a:gd name="connsiteX45" fmla="*/ 8356 w 487477"/>
                <a:gd name="connsiteY45" fmla="*/ 512114 h 522922"/>
                <a:gd name="connsiteX46" fmla="*/ 255054 w 487477"/>
                <a:gd name="connsiteY46" fmla="*/ 402576 h 522922"/>
                <a:gd name="connsiteX47" fmla="*/ 252196 w 487477"/>
                <a:gd name="connsiteY47" fmla="*/ 404481 h 522922"/>
                <a:gd name="connsiteX48" fmla="*/ 246481 w 487477"/>
                <a:gd name="connsiteY48" fmla="*/ 408291 h 522922"/>
                <a:gd name="connsiteX49" fmla="*/ 55029 w 487477"/>
                <a:gd name="connsiteY49" fmla="*/ 414959 h 522922"/>
                <a:gd name="connsiteX50" fmla="*/ 51218 w 487477"/>
                <a:gd name="connsiteY50" fmla="*/ 413053 h 522922"/>
                <a:gd name="connsiteX51" fmla="*/ 22643 w 487477"/>
                <a:gd name="connsiteY51" fmla="*/ 474014 h 522922"/>
                <a:gd name="connsiteX52" fmla="*/ 21691 w 487477"/>
                <a:gd name="connsiteY52" fmla="*/ 475918 h 522922"/>
                <a:gd name="connsiteX53" fmla="*/ 21691 w 487477"/>
                <a:gd name="connsiteY53" fmla="*/ 495921 h 522922"/>
                <a:gd name="connsiteX54" fmla="*/ 29311 w 487477"/>
                <a:gd name="connsiteY54" fmla="*/ 502589 h 522922"/>
                <a:gd name="connsiteX55" fmla="*/ 30264 w 487477"/>
                <a:gd name="connsiteY55" fmla="*/ 502589 h 522922"/>
                <a:gd name="connsiteX56" fmla="*/ 31216 w 487477"/>
                <a:gd name="connsiteY56" fmla="*/ 502589 h 522922"/>
                <a:gd name="connsiteX57" fmla="*/ 456983 w 487477"/>
                <a:gd name="connsiteY57" fmla="*/ 502589 h 522922"/>
                <a:gd name="connsiteX58" fmla="*/ 457936 w 487477"/>
                <a:gd name="connsiteY58" fmla="*/ 502589 h 522922"/>
                <a:gd name="connsiteX59" fmla="*/ 466508 w 487477"/>
                <a:gd name="connsiteY59" fmla="*/ 495921 h 522922"/>
                <a:gd name="connsiteX60" fmla="*/ 467461 w 487477"/>
                <a:gd name="connsiteY60" fmla="*/ 477824 h 522922"/>
                <a:gd name="connsiteX61" fmla="*/ 466508 w 487477"/>
                <a:gd name="connsiteY61" fmla="*/ 475918 h 522922"/>
                <a:gd name="connsiteX62" fmla="*/ 465556 w 487477"/>
                <a:gd name="connsiteY62" fmla="*/ 474014 h 522922"/>
                <a:gd name="connsiteX63" fmla="*/ 423646 w 487477"/>
                <a:gd name="connsiteY63" fmla="*/ 385431 h 522922"/>
                <a:gd name="connsiteX64" fmla="*/ 255054 w 487477"/>
                <a:gd name="connsiteY64" fmla="*/ 402576 h 522922"/>
                <a:gd name="connsiteX65" fmla="*/ 305536 w 487477"/>
                <a:gd name="connsiteY65" fmla="*/ 255891 h 522922"/>
                <a:gd name="connsiteX66" fmla="*/ 272199 w 487477"/>
                <a:gd name="connsiteY66" fmla="*/ 289228 h 522922"/>
                <a:gd name="connsiteX67" fmla="*/ 305536 w 487477"/>
                <a:gd name="connsiteY67" fmla="*/ 322566 h 522922"/>
                <a:gd name="connsiteX68" fmla="*/ 338874 w 487477"/>
                <a:gd name="connsiteY68" fmla="*/ 289228 h 522922"/>
                <a:gd name="connsiteX69" fmla="*/ 305536 w 487477"/>
                <a:gd name="connsiteY69" fmla="*/ 255891 h 52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487477" h="522922">
                  <a:moveTo>
                    <a:pt x="8356" y="512114"/>
                  </a:moveTo>
                  <a:lnTo>
                    <a:pt x="8356" y="512114"/>
                  </a:lnTo>
                  <a:lnTo>
                    <a:pt x="8356" y="512114"/>
                  </a:lnTo>
                  <a:lnTo>
                    <a:pt x="7404" y="511161"/>
                  </a:lnTo>
                  <a:cubicBezTo>
                    <a:pt x="6451" y="510209"/>
                    <a:pt x="6451" y="509256"/>
                    <a:pt x="5499" y="508303"/>
                  </a:cubicBezTo>
                  <a:lnTo>
                    <a:pt x="5499" y="508303"/>
                  </a:lnTo>
                  <a:lnTo>
                    <a:pt x="5499" y="507351"/>
                  </a:lnTo>
                  <a:lnTo>
                    <a:pt x="4546" y="505446"/>
                  </a:lnTo>
                  <a:lnTo>
                    <a:pt x="3593" y="503541"/>
                  </a:lnTo>
                  <a:lnTo>
                    <a:pt x="3593" y="503541"/>
                  </a:lnTo>
                  <a:lnTo>
                    <a:pt x="3593" y="503541"/>
                  </a:lnTo>
                  <a:lnTo>
                    <a:pt x="3593" y="503541"/>
                  </a:lnTo>
                  <a:lnTo>
                    <a:pt x="2641" y="501636"/>
                  </a:lnTo>
                  <a:cubicBezTo>
                    <a:pt x="2641" y="501636"/>
                    <a:pt x="2641" y="500684"/>
                    <a:pt x="2641" y="500684"/>
                  </a:cubicBezTo>
                  <a:cubicBezTo>
                    <a:pt x="2641" y="499731"/>
                    <a:pt x="2641" y="499731"/>
                    <a:pt x="1689" y="498778"/>
                  </a:cubicBezTo>
                  <a:cubicBezTo>
                    <a:pt x="1689" y="497826"/>
                    <a:pt x="736" y="495921"/>
                    <a:pt x="736" y="494968"/>
                  </a:cubicBezTo>
                  <a:lnTo>
                    <a:pt x="736" y="492111"/>
                  </a:lnTo>
                  <a:cubicBezTo>
                    <a:pt x="736" y="490206"/>
                    <a:pt x="736" y="487349"/>
                    <a:pt x="736" y="485443"/>
                  </a:cubicBezTo>
                  <a:cubicBezTo>
                    <a:pt x="736" y="478776"/>
                    <a:pt x="2641" y="473061"/>
                    <a:pt x="5499" y="467346"/>
                  </a:cubicBezTo>
                  <a:lnTo>
                    <a:pt x="155041" y="151116"/>
                  </a:lnTo>
                  <a:cubicBezTo>
                    <a:pt x="157899" y="146353"/>
                    <a:pt x="158851" y="140639"/>
                    <a:pt x="158851" y="134924"/>
                  </a:cubicBezTo>
                  <a:lnTo>
                    <a:pt x="158851" y="19671"/>
                  </a:lnTo>
                  <a:lnTo>
                    <a:pt x="120751" y="19671"/>
                  </a:lnTo>
                  <a:lnTo>
                    <a:pt x="120751" y="621"/>
                  </a:lnTo>
                  <a:lnTo>
                    <a:pt x="368401" y="621"/>
                  </a:lnTo>
                  <a:lnTo>
                    <a:pt x="368401" y="19671"/>
                  </a:lnTo>
                  <a:lnTo>
                    <a:pt x="330301" y="19671"/>
                  </a:lnTo>
                  <a:lnTo>
                    <a:pt x="330301" y="134924"/>
                  </a:lnTo>
                  <a:cubicBezTo>
                    <a:pt x="330301" y="140639"/>
                    <a:pt x="331254" y="146353"/>
                    <a:pt x="334111" y="151116"/>
                  </a:cubicBezTo>
                  <a:lnTo>
                    <a:pt x="483654" y="467346"/>
                  </a:lnTo>
                  <a:cubicBezTo>
                    <a:pt x="489368" y="478776"/>
                    <a:pt x="489368" y="492111"/>
                    <a:pt x="485558" y="504493"/>
                  </a:cubicBezTo>
                  <a:lnTo>
                    <a:pt x="485558" y="504493"/>
                  </a:lnTo>
                  <a:lnTo>
                    <a:pt x="484606" y="506399"/>
                  </a:lnTo>
                  <a:cubicBezTo>
                    <a:pt x="479843" y="515924"/>
                    <a:pt x="470318" y="522591"/>
                    <a:pt x="459841" y="523543"/>
                  </a:cubicBezTo>
                  <a:lnTo>
                    <a:pt x="457936" y="523543"/>
                  </a:lnTo>
                  <a:lnTo>
                    <a:pt x="32168" y="523543"/>
                  </a:lnTo>
                  <a:lnTo>
                    <a:pt x="30264" y="523543"/>
                  </a:lnTo>
                  <a:cubicBezTo>
                    <a:pt x="29311" y="523543"/>
                    <a:pt x="28358" y="523543"/>
                    <a:pt x="27406" y="523543"/>
                  </a:cubicBezTo>
                  <a:cubicBezTo>
                    <a:pt x="26454" y="523543"/>
                    <a:pt x="24549" y="523543"/>
                    <a:pt x="23596" y="522591"/>
                  </a:cubicBezTo>
                  <a:lnTo>
                    <a:pt x="23596" y="522591"/>
                  </a:lnTo>
                  <a:cubicBezTo>
                    <a:pt x="21691" y="521639"/>
                    <a:pt x="19786" y="521639"/>
                    <a:pt x="17881" y="520686"/>
                  </a:cubicBezTo>
                  <a:lnTo>
                    <a:pt x="15976" y="519734"/>
                  </a:lnTo>
                  <a:cubicBezTo>
                    <a:pt x="15976" y="519734"/>
                    <a:pt x="15024" y="519734"/>
                    <a:pt x="15024" y="518781"/>
                  </a:cubicBezTo>
                  <a:cubicBezTo>
                    <a:pt x="13118" y="517828"/>
                    <a:pt x="11214" y="515924"/>
                    <a:pt x="10261" y="514971"/>
                  </a:cubicBezTo>
                  <a:lnTo>
                    <a:pt x="8356" y="512114"/>
                  </a:lnTo>
                  <a:lnTo>
                    <a:pt x="8356" y="512114"/>
                  </a:lnTo>
                  <a:close/>
                  <a:moveTo>
                    <a:pt x="255054" y="402576"/>
                  </a:moveTo>
                  <a:lnTo>
                    <a:pt x="252196" y="404481"/>
                  </a:lnTo>
                  <a:lnTo>
                    <a:pt x="246481" y="408291"/>
                  </a:lnTo>
                  <a:cubicBezTo>
                    <a:pt x="198856" y="439724"/>
                    <a:pt x="119799" y="440676"/>
                    <a:pt x="55029" y="414959"/>
                  </a:cubicBezTo>
                  <a:lnTo>
                    <a:pt x="51218" y="413053"/>
                  </a:lnTo>
                  <a:lnTo>
                    <a:pt x="22643" y="474014"/>
                  </a:lnTo>
                  <a:lnTo>
                    <a:pt x="21691" y="475918"/>
                  </a:lnTo>
                  <a:cubicBezTo>
                    <a:pt x="18833" y="482586"/>
                    <a:pt x="18833" y="490206"/>
                    <a:pt x="21691" y="495921"/>
                  </a:cubicBezTo>
                  <a:cubicBezTo>
                    <a:pt x="22643" y="498778"/>
                    <a:pt x="25501" y="501636"/>
                    <a:pt x="29311" y="502589"/>
                  </a:cubicBezTo>
                  <a:lnTo>
                    <a:pt x="30264" y="502589"/>
                  </a:lnTo>
                  <a:lnTo>
                    <a:pt x="31216" y="502589"/>
                  </a:lnTo>
                  <a:lnTo>
                    <a:pt x="456983" y="502589"/>
                  </a:lnTo>
                  <a:lnTo>
                    <a:pt x="457936" y="502589"/>
                  </a:lnTo>
                  <a:cubicBezTo>
                    <a:pt x="461746" y="502589"/>
                    <a:pt x="464604" y="499731"/>
                    <a:pt x="466508" y="495921"/>
                  </a:cubicBezTo>
                  <a:cubicBezTo>
                    <a:pt x="468414" y="490206"/>
                    <a:pt x="469366" y="483539"/>
                    <a:pt x="467461" y="477824"/>
                  </a:cubicBezTo>
                  <a:lnTo>
                    <a:pt x="466508" y="475918"/>
                  </a:lnTo>
                  <a:lnTo>
                    <a:pt x="465556" y="474014"/>
                  </a:lnTo>
                  <a:lnTo>
                    <a:pt x="423646" y="385431"/>
                  </a:lnTo>
                  <a:cubicBezTo>
                    <a:pt x="365543" y="372096"/>
                    <a:pt x="296011" y="376859"/>
                    <a:pt x="255054" y="402576"/>
                  </a:cubicBezTo>
                  <a:close/>
                  <a:moveTo>
                    <a:pt x="305536" y="255891"/>
                  </a:moveTo>
                  <a:cubicBezTo>
                    <a:pt x="287439" y="255891"/>
                    <a:pt x="272199" y="271131"/>
                    <a:pt x="272199" y="289228"/>
                  </a:cubicBezTo>
                  <a:cubicBezTo>
                    <a:pt x="272199" y="307326"/>
                    <a:pt x="287439" y="322566"/>
                    <a:pt x="305536" y="322566"/>
                  </a:cubicBezTo>
                  <a:cubicBezTo>
                    <a:pt x="323633" y="322566"/>
                    <a:pt x="338874" y="307326"/>
                    <a:pt x="338874" y="289228"/>
                  </a:cubicBezTo>
                  <a:cubicBezTo>
                    <a:pt x="338874" y="270178"/>
                    <a:pt x="323633" y="255891"/>
                    <a:pt x="305536" y="255891"/>
                  </a:cubicBezTo>
                  <a:close/>
                </a:path>
              </a:pathLst>
            </a:custGeom>
            <a:solidFill>
              <a:srgbClr val="FFFFFF"/>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grpSp>
    </p:spTree>
    <p:custDataLst>
      <p:tags r:id="rId1"/>
    </p:custData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1630051" y="1355490"/>
            <a:ext cx="8931899" cy="4326087"/>
            <a:chOff x="1630051" y="1355490"/>
            <a:chExt cx="8931899" cy="4326087"/>
          </a:xfrm>
        </p:grpSpPr>
        <p:grpSp>
          <p:nvGrpSpPr>
            <p:cNvPr id="160" name="组合 159"/>
            <p:cNvGrpSpPr/>
            <p:nvPr/>
          </p:nvGrpSpPr>
          <p:grpSpPr>
            <a:xfrm>
              <a:off x="1630051" y="2776624"/>
              <a:ext cx="8931899" cy="2904953"/>
              <a:chOff x="2004231" y="2304687"/>
              <a:chExt cx="8931899" cy="2904953"/>
            </a:xfrm>
          </p:grpSpPr>
          <p:grpSp>
            <p:nvGrpSpPr>
              <p:cNvPr id="108" name="组合 107"/>
              <p:cNvGrpSpPr/>
              <p:nvPr/>
            </p:nvGrpSpPr>
            <p:grpSpPr>
              <a:xfrm>
                <a:off x="5564412" y="2703274"/>
                <a:ext cx="1811536" cy="1800000"/>
                <a:chOff x="4350191" y="1869989"/>
                <a:chExt cx="1811536" cy="1800000"/>
              </a:xfrm>
            </p:grpSpPr>
            <p:sp>
              <p:nvSpPr>
                <p:cNvPr id="33" name="任意多边形: 形状 32"/>
                <p:cNvSpPr/>
                <p:nvPr/>
              </p:nvSpPr>
              <p:spPr>
                <a:xfrm>
                  <a:off x="4880960" y="3400758"/>
                  <a:ext cx="695401" cy="142305"/>
                </a:xfrm>
                <a:custGeom>
                  <a:avLst/>
                  <a:gdLst>
                    <a:gd name="connsiteX0" fmla="*/ 89535 w 172216"/>
                    <a:gd name="connsiteY0" fmla="*/ 35243 h 35242"/>
                    <a:gd name="connsiteX1" fmla="*/ 3810 w 172216"/>
                    <a:gd name="connsiteY1" fmla="*/ 13335 h 35242"/>
                    <a:gd name="connsiteX2" fmla="*/ 952 w 172216"/>
                    <a:gd name="connsiteY2" fmla="*/ 3810 h 35242"/>
                    <a:gd name="connsiteX3" fmla="*/ 10477 w 172216"/>
                    <a:gd name="connsiteY3" fmla="*/ 952 h 35242"/>
                    <a:gd name="connsiteX4" fmla="*/ 89535 w 172216"/>
                    <a:gd name="connsiteY4" fmla="*/ 20955 h 35242"/>
                    <a:gd name="connsiteX5" fmla="*/ 161925 w 172216"/>
                    <a:gd name="connsiteY5" fmla="*/ 3810 h 35242"/>
                    <a:gd name="connsiteX6" fmla="*/ 171450 w 172216"/>
                    <a:gd name="connsiteY6" fmla="*/ 6668 h 35242"/>
                    <a:gd name="connsiteX7" fmla="*/ 168592 w 172216"/>
                    <a:gd name="connsiteY7" fmla="*/ 16193 h 35242"/>
                    <a:gd name="connsiteX8" fmla="*/ 89535 w 172216"/>
                    <a:gd name="connsiteY8" fmla="*/ 35243 h 35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2216" h="35242">
                      <a:moveTo>
                        <a:pt x="89535" y="35243"/>
                      </a:moveTo>
                      <a:cubicBezTo>
                        <a:pt x="59055" y="35243"/>
                        <a:pt x="29527" y="27622"/>
                        <a:pt x="3810" y="13335"/>
                      </a:cubicBezTo>
                      <a:cubicBezTo>
                        <a:pt x="0" y="11430"/>
                        <a:pt x="-952" y="6668"/>
                        <a:pt x="952" y="3810"/>
                      </a:cubicBezTo>
                      <a:cubicBezTo>
                        <a:pt x="2858" y="0"/>
                        <a:pt x="7620" y="-953"/>
                        <a:pt x="10477" y="952"/>
                      </a:cubicBezTo>
                      <a:cubicBezTo>
                        <a:pt x="34290" y="14288"/>
                        <a:pt x="61912" y="20955"/>
                        <a:pt x="89535" y="20955"/>
                      </a:cubicBezTo>
                      <a:cubicBezTo>
                        <a:pt x="115252" y="20955"/>
                        <a:pt x="139065" y="15240"/>
                        <a:pt x="161925" y="3810"/>
                      </a:cubicBezTo>
                      <a:cubicBezTo>
                        <a:pt x="165735" y="1905"/>
                        <a:pt x="169545" y="3810"/>
                        <a:pt x="171450" y="6668"/>
                      </a:cubicBezTo>
                      <a:cubicBezTo>
                        <a:pt x="173355" y="10477"/>
                        <a:pt x="171450" y="14288"/>
                        <a:pt x="168592" y="16193"/>
                      </a:cubicBezTo>
                      <a:cubicBezTo>
                        <a:pt x="142875" y="29527"/>
                        <a:pt x="117158" y="35243"/>
                        <a:pt x="89535" y="35243"/>
                      </a:cubicBezTo>
                      <a:close/>
                    </a:path>
                  </a:pathLst>
                </a:custGeom>
                <a:solidFill>
                  <a:schemeClr val="accent1"/>
                </a:solidFill>
                <a:ln w="9525" cap="flat">
                  <a:noFill/>
                  <a:prstDash val="solid"/>
                  <a:miter/>
                </a:ln>
              </p:spPr>
              <p:txBody>
                <a:bodyPr rtlCol="0" anchor="ctr"/>
                <a:lstStyle/>
                <a:p>
                  <a:endParaRPr lang="zh-CN" altLang="en-US"/>
                </a:p>
              </p:txBody>
            </p:sp>
            <p:sp>
              <p:nvSpPr>
                <p:cNvPr id="34" name="任意多边形: 形状 33"/>
                <p:cNvSpPr/>
                <p:nvPr/>
              </p:nvSpPr>
              <p:spPr>
                <a:xfrm>
                  <a:off x="5400193" y="3373833"/>
                  <a:ext cx="203844" cy="211536"/>
                </a:xfrm>
                <a:custGeom>
                  <a:avLst/>
                  <a:gdLst>
                    <a:gd name="connsiteX0" fmla="*/ 0 w 50482"/>
                    <a:gd name="connsiteY0" fmla="*/ 9525 h 52387"/>
                    <a:gd name="connsiteX1" fmla="*/ 32385 w 50482"/>
                    <a:gd name="connsiteY1" fmla="*/ 19050 h 52387"/>
                    <a:gd name="connsiteX2" fmla="*/ 22860 w 50482"/>
                    <a:gd name="connsiteY2" fmla="*/ 52388 h 52387"/>
                    <a:gd name="connsiteX3" fmla="*/ 40958 w 50482"/>
                    <a:gd name="connsiteY3" fmla="*/ 41910 h 52387"/>
                    <a:gd name="connsiteX4" fmla="*/ 50483 w 50482"/>
                    <a:gd name="connsiteY4" fmla="*/ 9525 h 52387"/>
                    <a:gd name="connsiteX5" fmla="*/ 17145 w 50482"/>
                    <a:gd name="connsiteY5" fmla="*/ 0 h 52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482" h="52387">
                      <a:moveTo>
                        <a:pt x="0" y="9525"/>
                      </a:moveTo>
                      <a:lnTo>
                        <a:pt x="32385" y="19050"/>
                      </a:lnTo>
                      <a:lnTo>
                        <a:pt x="22860" y="52388"/>
                      </a:lnTo>
                      <a:lnTo>
                        <a:pt x="40958" y="41910"/>
                      </a:lnTo>
                      <a:lnTo>
                        <a:pt x="50483" y="9525"/>
                      </a:lnTo>
                      <a:lnTo>
                        <a:pt x="17145" y="0"/>
                      </a:lnTo>
                      <a:close/>
                    </a:path>
                  </a:pathLst>
                </a:custGeom>
                <a:solidFill>
                  <a:schemeClr val="accent1"/>
                </a:solidFill>
                <a:ln w="9525" cap="flat">
                  <a:noFill/>
                  <a:prstDash val="solid"/>
                  <a:miter/>
                </a:ln>
              </p:spPr>
              <p:txBody>
                <a:bodyPr rtlCol="0" anchor="ctr"/>
                <a:lstStyle/>
                <a:p>
                  <a:endParaRPr lang="zh-CN" altLang="en-US"/>
                </a:p>
              </p:txBody>
            </p:sp>
            <p:sp>
              <p:nvSpPr>
                <p:cNvPr id="36" name="任意多边形: 形状 35"/>
                <p:cNvSpPr/>
                <p:nvPr/>
              </p:nvSpPr>
              <p:spPr>
                <a:xfrm>
                  <a:off x="5579099" y="2221973"/>
                  <a:ext cx="378784" cy="636475"/>
                </a:xfrm>
                <a:custGeom>
                  <a:avLst/>
                  <a:gdLst>
                    <a:gd name="connsiteX0" fmla="*/ 86186 w 93806"/>
                    <a:gd name="connsiteY0" fmla="*/ 157624 h 157623"/>
                    <a:gd name="connsiteX1" fmla="*/ 79519 w 93806"/>
                    <a:gd name="connsiteY1" fmla="*/ 150956 h 157623"/>
                    <a:gd name="connsiteX2" fmla="*/ 58564 w 93806"/>
                    <a:gd name="connsiteY2" fmla="*/ 70946 h 157623"/>
                    <a:gd name="connsiteX3" fmla="*/ 3319 w 93806"/>
                    <a:gd name="connsiteY3" fmla="*/ 12844 h 157623"/>
                    <a:gd name="connsiteX4" fmla="*/ 1414 w 93806"/>
                    <a:gd name="connsiteY4" fmla="*/ 3319 h 157623"/>
                    <a:gd name="connsiteX5" fmla="*/ 10939 w 93806"/>
                    <a:gd name="connsiteY5" fmla="*/ 1414 h 157623"/>
                    <a:gd name="connsiteX6" fmla="*/ 70946 w 93806"/>
                    <a:gd name="connsiteY6" fmla="*/ 64278 h 157623"/>
                    <a:gd name="connsiteX7" fmla="*/ 93806 w 93806"/>
                    <a:gd name="connsiteY7" fmla="*/ 150956 h 157623"/>
                    <a:gd name="connsiteX8" fmla="*/ 86186 w 93806"/>
                    <a:gd name="connsiteY8" fmla="*/ 157624 h 157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3806" h="157623">
                      <a:moveTo>
                        <a:pt x="86186" y="157624"/>
                      </a:moveTo>
                      <a:cubicBezTo>
                        <a:pt x="82376" y="157624"/>
                        <a:pt x="79519" y="154766"/>
                        <a:pt x="79519" y="150956"/>
                      </a:cubicBezTo>
                      <a:cubicBezTo>
                        <a:pt x="79519" y="123333"/>
                        <a:pt x="71899" y="95711"/>
                        <a:pt x="58564" y="70946"/>
                      </a:cubicBezTo>
                      <a:cubicBezTo>
                        <a:pt x="45229" y="47133"/>
                        <a:pt x="26179" y="27131"/>
                        <a:pt x="3319" y="12844"/>
                      </a:cubicBezTo>
                      <a:cubicBezTo>
                        <a:pt x="461" y="10939"/>
                        <a:pt x="-1444" y="6176"/>
                        <a:pt x="1414" y="3319"/>
                      </a:cubicBezTo>
                      <a:cubicBezTo>
                        <a:pt x="3319" y="461"/>
                        <a:pt x="8081" y="-1444"/>
                        <a:pt x="10939" y="1414"/>
                      </a:cubicBezTo>
                      <a:cubicBezTo>
                        <a:pt x="35704" y="16653"/>
                        <a:pt x="56659" y="38561"/>
                        <a:pt x="70946" y="64278"/>
                      </a:cubicBezTo>
                      <a:cubicBezTo>
                        <a:pt x="86186" y="90949"/>
                        <a:pt x="93806" y="120476"/>
                        <a:pt x="93806" y="150956"/>
                      </a:cubicBezTo>
                      <a:cubicBezTo>
                        <a:pt x="92854" y="154766"/>
                        <a:pt x="89996" y="157624"/>
                        <a:pt x="86186" y="157624"/>
                      </a:cubicBezTo>
                      <a:close/>
                    </a:path>
                  </a:pathLst>
                </a:custGeom>
                <a:solidFill>
                  <a:schemeClr val="accent1"/>
                </a:solidFill>
                <a:ln w="9525" cap="flat">
                  <a:noFill/>
                  <a:prstDash val="solid"/>
                  <a:miter/>
                </a:ln>
              </p:spPr>
              <p:txBody>
                <a:bodyPr rtlCol="0" anchor="ctr"/>
                <a:lstStyle/>
                <a:p>
                  <a:endParaRPr lang="zh-CN" altLang="en-US"/>
                </a:p>
              </p:txBody>
            </p:sp>
            <p:sp>
              <p:nvSpPr>
                <p:cNvPr id="37" name="任意多边形: 形状 36"/>
                <p:cNvSpPr/>
                <p:nvPr/>
              </p:nvSpPr>
              <p:spPr>
                <a:xfrm>
                  <a:off x="5550191" y="2181525"/>
                  <a:ext cx="203844" cy="211536"/>
                </a:xfrm>
                <a:custGeom>
                  <a:avLst/>
                  <a:gdLst>
                    <a:gd name="connsiteX0" fmla="*/ 26670 w 50482"/>
                    <a:gd name="connsiteY0" fmla="*/ 52388 h 52387"/>
                    <a:gd name="connsiteX1" fmla="*/ 18098 w 50482"/>
                    <a:gd name="connsiteY1" fmla="*/ 19050 h 52387"/>
                    <a:gd name="connsiteX2" fmla="*/ 50482 w 50482"/>
                    <a:gd name="connsiteY2" fmla="*/ 10478 h 52387"/>
                    <a:gd name="connsiteX3" fmla="*/ 32385 w 50482"/>
                    <a:gd name="connsiteY3" fmla="*/ 0 h 52387"/>
                    <a:gd name="connsiteX4" fmla="*/ 0 w 50482"/>
                    <a:gd name="connsiteY4" fmla="*/ 8573 h 52387"/>
                    <a:gd name="connsiteX5" fmla="*/ 8573 w 50482"/>
                    <a:gd name="connsiteY5" fmla="*/ 41910 h 52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482" h="52387">
                      <a:moveTo>
                        <a:pt x="26670" y="52388"/>
                      </a:moveTo>
                      <a:lnTo>
                        <a:pt x="18098" y="19050"/>
                      </a:lnTo>
                      <a:lnTo>
                        <a:pt x="50482" y="10478"/>
                      </a:lnTo>
                      <a:lnTo>
                        <a:pt x="32385" y="0"/>
                      </a:lnTo>
                      <a:lnTo>
                        <a:pt x="0" y="8573"/>
                      </a:lnTo>
                      <a:lnTo>
                        <a:pt x="8573" y="41910"/>
                      </a:lnTo>
                      <a:close/>
                    </a:path>
                  </a:pathLst>
                </a:custGeom>
                <a:solidFill>
                  <a:schemeClr val="accent1"/>
                </a:solidFill>
                <a:ln w="9525" cap="flat">
                  <a:noFill/>
                  <a:prstDash val="solid"/>
                  <a:miter/>
                </a:ln>
              </p:spPr>
              <p:txBody>
                <a:bodyPr rtlCol="0" anchor="ctr"/>
                <a:lstStyle/>
                <a:p>
                  <a:endParaRPr lang="zh-CN" altLang="en-US"/>
                </a:p>
              </p:txBody>
            </p:sp>
            <p:sp>
              <p:nvSpPr>
                <p:cNvPr id="39" name="任意多边形: 形状 38"/>
                <p:cNvSpPr/>
                <p:nvPr/>
              </p:nvSpPr>
              <p:spPr>
                <a:xfrm>
                  <a:off x="4530224" y="2189969"/>
                  <a:ext cx="430753" cy="603093"/>
                </a:xfrm>
                <a:custGeom>
                  <a:avLst/>
                  <a:gdLst>
                    <a:gd name="connsiteX0" fmla="*/ 6850 w 106676"/>
                    <a:gd name="connsiteY0" fmla="*/ 149357 h 149356"/>
                    <a:gd name="connsiteX1" fmla="*/ 6850 w 106676"/>
                    <a:gd name="connsiteY1" fmla="*/ 149357 h 149356"/>
                    <a:gd name="connsiteX2" fmla="*/ 182 w 106676"/>
                    <a:gd name="connsiteY2" fmla="*/ 141737 h 149356"/>
                    <a:gd name="connsiteX3" fmla="*/ 30662 w 106676"/>
                    <a:gd name="connsiteY3" fmla="*/ 57917 h 149356"/>
                    <a:gd name="connsiteX4" fmla="*/ 96385 w 106676"/>
                    <a:gd name="connsiteY4" fmla="*/ 767 h 149356"/>
                    <a:gd name="connsiteX5" fmla="*/ 105910 w 106676"/>
                    <a:gd name="connsiteY5" fmla="*/ 3624 h 149356"/>
                    <a:gd name="connsiteX6" fmla="*/ 103052 w 106676"/>
                    <a:gd name="connsiteY6" fmla="*/ 13149 h 149356"/>
                    <a:gd name="connsiteX7" fmla="*/ 43045 w 106676"/>
                    <a:gd name="connsiteY7" fmla="*/ 65537 h 149356"/>
                    <a:gd name="connsiteX8" fmla="*/ 15422 w 106676"/>
                    <a:gd name="connsiteY8" fmla="*/ 142689 h 149356"/>
                    <a:gd name="connsiteX9" fmla="*/ 6850 w 106676"/>
                    <a:gd name="connsiteY9" fmla="*/ 149357 h 149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676" h="149356">
                      <a:moveTo>
                        <a:pt x="6850" y="149357"/>
                      </a:moveTo>
                      <a:cubicBezTo>
                        <a:pt x="6850" y="149357"/>
                        <a:pt x="6850" y="149357"/>
                        <a:pt x="6850" y="149357"/>
                      </a:cubicBezTo>
                      <a:cubicBezTo>
                        <a:pt x="2087" y="149357"/>
                        <a:pt x="-770" y="145547"/>
                        <a:pt x="182" y="141737"/>
                      </a:cubicBezTo>
                      <a:cubicBezTo>
                        <a:pt x="3040" y="112209"/>
                        <a:pt x="13518" y="82682"/>
                        <a:pt x="30662" y="57917"/>
                      </a:cubicBezTo>
                      <a:cubicBezTo>
                        <a:pt x="47807" y="34104"/>
                        <a:pt x="69715" y="14102"/>
                        <a:pt x="96385" y="767"/>
                      </a:cubicBezTo>
                      <a:cubicBezTo>
                        <a:pt x="100195" y="-1138"/>
                        <a:pt x="104005" y="767"/>
                        <a:pt x="105910" y="3624"/>
                      </a:cubicBezTo>
                      <a:cubicBezTo>
                        <a:pt x="107815" y="7434"/>
                        <a:pt x="105910" y="11244"/>
                        <a:pt x="103052" y="13149"/>
                      </a:cubicBezTo>
                      <a:cubicBezTo>
                        <a:pt x="79240" y="25532"/>
                        <a:pt x="58285" y="43629"/>
                        <a:pt x="43045" y="65537"/>
                      </a:cubicBezTo>
                      <a:cubicBezTo>
                        <a:pt x="26852" y="88397"/>
                        <a:pt x="17327" y="115067"/>
                        <a:pt x="15422" y="142689"/>
                      </a:cubicBezTo>
                      <a:cubicBezTo>
                        <a:pt x="13518" y="146499"/>
                        <a:pt x="10660" y="149357"/>
                        <a:pt x="6850" y="149357"/>
                      </a:cubicBezTo>
                      <a:close/>
                    </a:path>
                  </a:pathLst>
                </a:custGeom>
                <a:solidFill>
                  <a:schemeClr val="accent1"/>
                </a:solidFill>
                <a:ln w="9525" cap="flat">
                  <a:noFill/>
                  <a:prstDash val="solid"/>
                  <a:miter/>
                </a:ln>
              </p:spPr>
              <p:txBody>
                <a:bodyPr rtlCol="0" anchor="ctr"/>
                <a:lstStyle/>
                <a:p>
                  <a:endParaRPr lang="zh-CN" altLang="en-US"/>
                </a:p>
              </p:txBody>
            </p:sp>
            <p:sp>
              <p:nvSpPr>
                <p:cNvPr id="40" name="任意多边形: 形状 39"/>
                <p:cNvSpPr/>
                <p:nvPr/>
              </p:nvSpPr>
              <p:spPr>
                <a:xfrm>
                  <a:off x="4465576" y="2646912"/>
                  <a:ext cx="196152" cy="180767"/>
                </a:xfrm>
                <a:custGeom>
                  <a:avLst/>
                  <a:gdLst>
                    <a:gd name="connsiteX0" fmla="*/ 48578 w 48577"/>
                    <a:gd name="connsiteY0" fmla="*/ 1905 h 44767"/>
                    <a:gd name="connsiteX1" fmla="*/ 23813 w 48577"/>
                    <a:gd name="connsiteY1" fmla="*/ 24765 h 44767"/>
                    <a:gd name="connsiteX2" fmla="*/ 953 w 48577"/>
                    <a:gd name="connsiteY2" fmla="*/ 0 h 44767"/>
                    <a:gd name="connsiteX3" fmla="*/ 0 w 48577"/>
                    <a:gd name="connsiteY3" fmla="*/ 20003 h 44767"/>
                    <a:gd name="connsiteX4" fmla="*/ 21908 w 48577"/>
                    <a:gd name="connsiteY4" fmla="*/ 44767 h 44767"/>
                    <a:gd name="connsiteX5" fmla="*/ 47625 w 48577"/>
                    <a:gd name="connsiteY5" fmla="*/ 22860 h 44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577" h="44767">
                      <a:moveTo>
                        <a:pt x="48578" y="1905"/>
                      </a:moveTo>
                      <a:lnTo>
                        <a:pt x="23813" y="24765"/>
                      </a:lnTo>
                      <a:lnTo>
                        <a:pt x="953" y="0"/>
                      </a:lnTo>
                      <a:lnTo>
                        <a:pt x="0" y="20003"/>
                      </a:lnTo>
                      <a:lnTo>
                        <a:pt x="21908" y="44767"/>
                      </a:lnTo>
                      <a:lnTo>
                        <a:pt x="47625" y="22860"/>
                      </a:lnTo>
                      <a:close/>
                    </a:path>
                  </a:pathLst>
                </a:custGeom>
                <a:solidFill>
                  <a:schemeClr val="accent1"/>
                </a:solidFill>
                <a:ln w="9525" cap="flat">
                  <a:noFill/>
                  <a:prstDash val="solid"/>
                  <a:miter/>
                </a:ln>
              </p:spPr>
              <p:txBody>
                <a:bodyPr rtlCol="0" anchor="ctr"/>
                <a:lstStyle/>
                <a:p>
                  <a:endParaRPr lang="zh-CN" altLang="en-US"/>
                </a:p>
              </p:txBody>
            </p:sp>
            <p:sp>
              <p:nvSpPr>
                <p:cNvPr id="43" name="任意多边形: 形状 42"/>
                <p:cNvSpPr/>
                <p:nvPr/>
              </p:nvSpPr>
              <p:spPr>
                <a:xfrm>
                  <a:off x="5042498" y="1900758"/>
                  <a:ext cx="400000" cy="399996"/>
                </a:xfrm>
                <a:custGeom>
                  <a:avLst/>
                  <a:gdLst>
                    <a:gd name="connsiteX0" fmla="*/ 99060 w 99060"/>
                    <a:gd name="connsiteY0" fmla="*/ 49530 h 99059"/>
                    <a:gd name="connsiteX1" fmla="*/ 49530 w 99060"/>
                    <a:gd name="connsiteY1" fmla="*/ 99060 h 99059"/>
                    <a:gd name="connsiteX2" fmla="*/ 0 w 99060"/>
                    <a:gd name="connsiteY2" fmla="*/ 49530 h 99059"/>
                    <a:gd name="connsiteX3" fmla="*/ 49530 w 99060"/>
                    <a:gd name="connsiteY3" fmla="*/ 0 h 99059"/>
                    <a:gd name="connsiteX4" fmla="*/ 99060 w 99060"/>
                    <a:gd name="connsiteY4" fmla="*/ 49530 h 990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060" h="99059">
                      <a:moveTo>
                        <a:pt x="99060" y="49530"/>
                      </a:moveTo>
                      <a:cubicBezTo>
                        <a:pt x="99060" y="77152"/>
                        <a:pt x="77153" y="99060"/>
                        <a:pt x="49530" y="99060"/>
                      </a:cubicBezTo>
                      <a:cubicBezTo>
                        <a:pt x="21908" y="99060"/>
                        <a:pt x="0" y="77152"/>
                        <a:pt x="0" y="49530"/>
                      </a:cubicBezTo>
                      <a:cubicBezTo>
                        <a:pt x="0" y="21907"/>
                        <a:pt x="21908" y="0"/>
                        <a:pt x="49530" y="0"/>
                      </a:cubicBezTo>
                      <a:cubicBezTo>
                        <a:pt x="77153" y="0"/>
                        <a:pt x="99060" y="21907"/>
                        <a:pt x="99060" y="49530"/>
                      </a:cubicBezTo>
                      <a:close/>
                    </a:path>
                  </a:pathLst>
                </a:custGeom>
                <a:solidFill>
                  <a:schemeClr val="accent1">
                    <a:lumMod val="40000"/>
                    <a:lumOff val="60000"/>
                  </a:schemeClr>
                </a:solidFill>
                <a:ln w="9525" cap="flat">
                  <a:noFill/>
                  <a:prstDash val="solid"/>
                  <a:miter/>
                </a:ln>
              </p:spPr>
              <p:txBody>
                <a:bodyPr rtlCol="0" anchor="ctr"/>
                <a:lstStyle/>
                <a:p>
                  <a:endParaRPr lang="zh-CN" altLang="en-US" dirty="0"/>
                </a:p>
              </p:txBody>
            </p:sp>
            <p:sp>
              <p:nvSpPr>
                <p:cNvPr id="44" name="任意多边形: 形状 43"/>
                <p:cNvSpPr/>
                <p:nvPr/>
              </p:nvSpPr>
              <p:spPr>
                <a:xfrm>
                  <a:off x="5011729" y="1869989"/>
                  <a:ext cx="461539" cy="461538"/>
                </a:xfrm>
                <a:custGeom>
                  <a:avLst/>
                  <a:gdLst>
                    <a:gd name="connsiteX0" fmla="*/ 57150 w 114300"/>
                    <a:gd name="connsiteY0" fmla="*/ 114300 h 114300"/>
                    <a:gd name="connsiteX1" fmla="*/ 0 w 114300"/>
                    <a:gd name="connsiteY1" fmla="*/ 57150 h 114300"/>
                    <a:gd name="connsiteX2" fmla="*/ 57150 w 114300"/>
                    <a:gd name="connsiteY2" fmla="*/ 0 h 114300"/>
                    <a:gd name="connsiteX3" fmla="*/ 114300 w 114300"/>
                    <a:gd name="connsiteY3" fmla="*/ 57150 h 114300"/>
                    <a:gd name="connsiteX4" fmla="*/ 57150 w 114300"/>
                    <a:gd name="connsiteY4" fmla="*/ 114300 h 114300"/>
                    <a:gd name="connsiteX5" fmla="*/ 57150 w 114300"/>
                    <a:gd name="connsiteY5" fmla="*/ 14288 h 114300"/>
                    <a:gd name="connsiteX6" fmla="*/ 14288 w 114300"/>
                    <a:gd name="connsiteY6" fmla="*/ 57150 h 114300"/>
                    <a:gd name="connsiteX7" fmla="*/ 57150 w 114300"/>
                    <a:gd name="connsiteY7" fmla="*/ 100013 h 114300"/>
                    <a:gd name="connsiteX8" fmla="*/ 100013 w 114300"/>
                    <a:gd name="connsiteY8" fmla="*/ 57150 h 114300"/>
                    <a:gd name="connsiteX9" fmla="*/ 57150 w 114300"/>
                    <a:gd name="connsiteY9" fmla="*/ 14288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4300" h="114300">
                      <a:moveTo>
                        <a:pt x="57150" y="114300"/>
                      </a:moveTo>
                      <a:cubicBezTo>
                        <a:pt x="25717" y="114300"/>
                        <a:pt x="0" y="88583"/>
                        <a:pt x="0" y="57150"/>
                      </a:cubicBezTo>
                      <a:cubicBezTo>
                        <a:pt x="0" y="25717"/>
                        <a:pt x="25717" y="0"/>
                        <a:pt x="57150" y="0"/>
                      </a:cubicBezTo>
                      <a:cubicBezTo>
                        <a:pt x="88582" y="0"/>
                        <a:pt x="114300" y="25717"/>
                        <a:pt x="114300" y="57150"/>
                      </a:cubicBezTo>
                      <a:cubicBezTo>
                        <a:pt x="113348" y="88583"/>
                        <a:pt x="88582" y="114300"/>
                        <a:pt x="57150" y="114300"/>
                      </a:cubicBezTo>
                      <a:close/>
                      <a:moveTo>
                        <a:pt x="57150" y="14288"/>
                      </a:moveTo>
                      <a:cubicBezTo>
                        <a:pt x="33338" y="14288"/>
                        <a:pt x="14288" y="33338"/>
                        <a:pt x="14288" y="57150"/>
                      </a:cubicBezTo>
                      <a:cubicBezTo>
                        <a:pt x="14288" y="80963"/>
                        <a:pt x="33338" y="100013"/>
                        <a:pt x="57150" y="100013"/>
                      </a:cubicBezTo>
                      <a:cubicBezTo>
                        <a:pt x="80963" y="100013"/>
                        <a:pt x="100013" y="80963"/>
                        <a:pt x="100013" y="57150"/>
                      </a:cubicBezTo>
                      <a:cubicBezTo>
                        <a:pt x="100013" y="33338"/>
                        <a:pt x="80010" y="14288"/>
                        <a:pt x="57150" y="14288"/>
                      </a:cubicBezTo>
                      <a:close/>
                    </a:path>
                  </a:pathLst>
                </a:custGeom>
                <a:solidFill>
                  <a:schemeClr val="accent1"/>
                </a:solidFill>
                <a:ln w="9525" cap="flat">
                  <a:noFill/>
                  <a:prstDash val="solid"/>
                  <a:miter/>
                </a:ln>
              </p:spPr>
              <p:txBody>
                <a:bodyPr rtlCol="0" anchor="ctr"/>
                <a:lstStyle/>
                <a:p>
                  <a:endParaRPr lang="zh-CN" altLang="en-US"/>
                </a:p>
              </p:txBody>
            </p:sp>
            <p:sp>
              <p:nvSpPr>
                <p:cNvPr id="46" name="任意多边形: 形状 45"/>
                <p:cNvSpPr/>
                <p:nvPr/>
              </p:nvSpPr>
              <p:spPr>
                <a:xfrm>
                  <a:off x="5034806" y="2304606"/>
                  <a:ext cx="415385" cy="269231"/>
                </a:xfrm>
                <a:custGeom>
                  <a:avLst/>
                  <a:gdLst>
                    <a:gd name="connsiteX0" fmla="*/ 101917 w 102870"/>
                    <a:gd name="connsiteY0" fmla="*/ 66675 h 66675"/>
                    <a:gd name="connsiteX1" fmla="*/ 0 w 102870"/>
                    <a:gd name="connsiteY1" fmla="*/ 66675 h 66675"/>
                    <a:gd name="connsiteX2" fmla="*/ 0 w 102870"/>
                    <a:gd name="connsiteY2" fmla="*/ 51435 h 66675"/>
                    <a:gd name="connsiteX3" fmla="*/ 51435 w 102870"/>
                    <a:gd name="connsiteY3" fmla="*/ 0 h 66675"/>
                    <a:gd name="connsiteX4" fmla="*/ 51435 w 102870"/>
                    <a:gd name="connsiteY4" fmla="*/ 0 h 66675"/>
                    <a:gd name="connsiteX5" fmla="*/ 102870 w 102870"/>
                    <a:gd name="connsiteY5" fmla="*/ 51435 h 66675"/>
                    <a:gd name="connsiteX6" fmla="*/ 102870 w 102870"/>
                    <a:gd name="connsiteY6" fmla="*/ 66675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870" h="66675">
                      <a:moveTo>
                        <a:pt x="101917" y="66675"/>
                      </a:moveTo>
                      <a:lnTo>
                        <a:pt x="0" y="66675"/>
                      </a:lnTo>
                      <a:lnTo>
                        <a:pt x="0" y="51435"/>
                      </a:lnTo>
                      <a:cubicBezTo>
                        <a:pt x="0" y="22860"/>
                        <a:pt x="22860" y="0"/>
                        <a:pt x="51435" y="0"/>
                      </a:cubicBezTo>
                      <a:lnTo>
                        <a:pt x="51435" y="0"/>
                      </a:lnTo>
                      <a:cubicBezTo>
                        <a:pt x="80010" y="0"/>
                        <a:pt x="102870" y="22860"/>
                        <a:pt x="102870" y="51435"/>
                      </a:cubicBezTo>
                      <a:lnTo>
                        <a:pt x="102870" y="66675"/>
                      </a:lnTo>
                      <a:close/>
                    </a:path>
                  </a:pathLst>
                </a:custGeom>
                <a:solidFill>
                  <a:schemeClr val="accent1">
                    <a:lumMod val="40000"/>
                    <a:lumOff val="60000"/>
                  </a:schemeClr>
                </a:solidFill>
                <a:ln w="9525" cap="flat">
                  <a:noFill/>
                  <a:prstDash val="solid"/>
                  <a:miter/>
                </a:ln>
              </p:spPr>
              <p:txBody>
                <a:bodyPr rtlCol="0" anchor="ctr"/>
                <a:lstStyle/>
                <a:p>
                  <a:endParaRPr lang="zh-CN" altLang="en-US"/>
                </a:p>
              </p:txBody>
            </p:sp>
            <p:sp>
              <p:nvSpPr>
                <p:cNvPr id="47" name="任意多边形: 形状 46"/>
                <p:cNvSpPr/>
                <p:nvPr/>
              </p:nvSpPr>
              <p:spPr>
                <a:xfrm>
                  <a:off x="5007885" y="2277681"/>
                  <a:ext cx="469227" cy="323077"/>
                </a:xfrm>
                <a:custGeom>
                  <a:avLst/>
                  <a:gdLst>
                    <a:gd name="connsiteX0" fmla="*/ 108585 w 116204"/>
                    <a:gd name="connsiteY0" fmla="*/ 80010 h 80010"/>
                    <a:gd name="connsiteX1" fmla="*/ 6667 w 116204"/>
                    <a:gd name="connsiteY1" fmla="*/ 80010 h 80010"/>
                    <a:gd name="connsiteX2" fmla="*/ 0 w 116204"/>
                    <a:gd name="connsiteY2" fmla="*/ 73343 h 80010"/>
                    <a:gd name="connsiteX3" fmla="*/ 0 w 116204"/>
                    <a:gd name="connsiteY3" fmla="*/ 58103 h 80010"/>
                    <a:gd name="connsiteX4" fmla="*/ 58102 w 116204"/>
                    <a:gd name="connsiteY4" fmla="*/ 0 h 80010"/>
                    <a:gd name="connsiteX5" fmla="*/ 116205 w 116204"/>
                    <a:gd name="connsiteY5" fmla="*/ 58103 h 80010"/>
                    <a:gd name="connsiteX6" fmla="*/ 116205 w 116204"/>
                    <a:gd name="connsiteY6" fmla="*/ 73343 h 80010"/>
                    <a:gd name="connsiteX7" fmla="*/ 108585 w 116204"/>
                    <a:gd name="connsiteY7" fmla="*/ 80010 h 80010"/>
                    <a:gd name="connsiteX8" fmla="*/ 14288 w 116204"/>
                    <a:gd name="connsiteY8" fmla="*/ 65723 h 80010"/>
                    <a:gd name="connsiteX9" fmla="*/ 101917 w 116204"/>
                    <a:gd name="connsiteY9" fmla="*/ 65723 h 80010"/>
                    <a:gd name="connsiteX10" fmla="*/ 101917 w 116204"/>
                    <a:gd name="connsiteY10" fmla="*/ 58103 h 80010"/>
                    <a:gd name="connsiteX11" fmla="*/ 58102 w 116204"/>
                    <a:gd name="connsiteY11" fmla="*/ 14288 h 80010"/>
                    <a:gd name="connsiteX12" fmla="*/ 14288 w 116204"/>
                    <a:gd name="connsiteY12" fmla="*/ 58103 h 80010"/>
                    <a:gd name="connsiteX13" fmla="*/ 14288 w 116204"/>
                    <a:gd name="connsiteY13" fmla="*/ 65723 h 80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6204" h="80010">
                      <a:moveTo>
                        <a:pt x="108585" y="80010"/>
                      </a:moveTo>
                      <a:lnTo>
                        <a:pt x="6667" y="80010"/>
                      </a:lnTo>
                      <a:cubicBezTo>
                        <a:pt x="2857" y="80010"/>
                        <a:pt x="0" y="77153"/>
                        <a:pt x="0" y="73343"/>
                      </a:cubicBezTo>
                      <a:lnTo>
                        <a:pt x="0" y="58103"/>
                      </a:lnTo>
                      <a:cubicBezTo>
                        <a:pt x="0" y="25718"/>
                        <a:pt x="25717" y="0"/>
                        <a:pt x="58102" y="0"/>
                      </a:cubicBezTo>
                      <a:cubicBezTo>
                        <a:pt x="90488" y="0"/>
                        <a:pt x="116205" y="25718"/>
                        <a:pt x="116205" y="58103"/>
                      </a:cubicBezTo>
                      <a:lnTo>
                        <a:pt x="116205" y="73343"/>
                      </a:lnTo>
                      <a:cubicBezTo>
                        <a:pt x="116205" y="77153"/>
                        <a:pt x="112395" y="80010"/>
                        <a:pt x="108585" y="80010"/>
                      </a:cubicBezTo>
                      <a:close/>
                      <a:moveTo>
                        <a:pt x="14288" y="65723"/>
                      </a:moveTo>
                      <a:lnTo>
                        <a:pt x="101917" y="65723"/>
                      </a:lnTo>
                      <a:lnTo>
                        <a:pt x="101917" y="58103"/>
                      </a:lnTo>
                      <a:cubicBezTo>
                        <a:pt x="101917" y="34290"/>
                        <a:pt x="81915" y="14288"/>
                        <a:pt x="58102" y="14288"/>
                      </a:cubicBezTo>
                      <a:cubicBezTo>
                        <a:pt x="34290" y="14288"/>
                        <a:pt x="14288" y="34290"/>
                        <a:pt x="14288" y="58103"/>
                      </a:cubicBezTo>
                      <a:lnTo>
                        <a:pt x="14288" y="65723"/>
                      </a:lnTo>
                      <a:close/>
                    </a:path>
                  </a:pathLst>
                </a:custGeom>
                <a:solidFill>
                  <a:schemeClr val="accent1"/>
                </a:solidFill>
                <a:ln w="9525" cap="flat">
                  <a:noFill/>
                  <a:prstDash val="solid"/>
                  <a:miter/>
                </a:ln>
              </p:spPr>
              <p:txBody>
                <a:bodyPr rtlCol="0" anchor="ctr"/>
                <a:lstStyle/>
                <a:p>
                  <a:endParaRPr lang="zh-CN" altLang="en-US"/>
                </a:p>
              </p:txBody>
            </p:sp>
            <p:sp>
              <p:nvSpPr>
                <p:cNvPr id="50" name="任意多边形: 形状 49"/>
                <p:cNvSpPr/>
                <p:nvPr/>
              </p:nvSpPr>
              <p:spPr>
                <a:xfrm>
                  <a:off x="5727113" y="2969989"/>
                  <a:ext cx="400000" cy="400000"/>
                </a:xfrm>
                <a:custGeom>
                  <a:avLst/>
                  <a:gdLst>
                    <a:gd name="connsiteX0" fmla="*/ 99060 w 99060"/>
                    <a:gd name="connsiteY0" fmla="*/ 49530 h 99060"/>
                    <a:gd name="connsiteX1" fmla="*/ 49530 w 99060"/>
                    <a:gd name="connsiteY1" fmla="*/ 99060 h 99060"/>
                    <a:gd name="connsiteX2" fmla="*/ 0 w 99060"/>
                    <a:gd name="connsiteY2" fmla="*/ 49530 h 99060"/>
                    <a:gd name="connsiteX3" fmla="*/ 49530 w 99060"/>
                    <a:gd name="connsiteY3" fmla="*/ 0 h 99060"/>
                    <a:gd name="connsiteX4" fmla="*/ 99060 w 99060"/>
                    <a:gd name="connsiteY4" fmla="*/ 49530 h 990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060" h="99060">
                      <a:moveTo>
                        <a:pt x="99060" y="49530"/>
                      </a:moveTo>
                      <a:cubicBezTo>
                        <a:pt x="99060" y="77153"/>
                        <a:pt x="77152" y="99060"/>
                        <a:pt x="49530" y="99060"/>
                      </a:cubicBezTo>
                      <a:cubicBezTo>
                        <a:pt x="21908" y="99060"/>
                        <a:pt x="0" y="77153"/>
                        <a:pt x="0" y="49530"/>
                      </a:cubicBezTo>
                      <a:cubicBezTo>
                        <a:pt x="0" y="21908"/>
                        <a:pt x="21908" y="0"/>
                        <a:pt x="49530" y="0"/>
                      </a:cubicBezTo>
                      <a:cubicBezTo>
                        <a:pt x="77152" y="0"/>
                        <a:pt x="99060" y="21908"/>
                        <a:pt x="99060" y="49530"/>
                      </a:cubicBezTo>
                      <a:close/>
                    </a:path>
                  </a:pathLst>
                </a:custGeom>
                <a:solidFill>
                  <a:schemeClr val="accent1">
                    <a:lumMod val="40000"/>
                    <a:lumOff val="60000"/>
                  </a:schemeClr>
                </a:solidFill>
                <a:ln w="9525" cap="flat">
                  <a:noFill/>
                  <a:prstDash val="solid"/>
                  <a:miter/>
                </a:ln>
              </p:spPr>
              <p:txBody>
                <a:bodyPr rtlCol="0" anchor="ctr"/>
                <a:lstStyle/>
                <a:p>
                  <a:endParaRPr lang="zh-CN" altLang="en-US"/>
                </a:p>
              </p:txBody>
            </p:sp>
            <p:sp>
              <p:nvSpPr>
                <p:cNvPr id="51" name="任意多边形: 形状 50"/>
                <p:cNvSpPr/>
                <p:nvPr/>
              </p:nvSpPr>
              <p:spPr>
                <a:xfrm>
                  <a:off x="5696344" y="2939220"/>
                  <a:ext cx="461539" cy="461538"/>
                </a:xfrm>
                <a:custGeom>
                  <a:avLst/>
                  <a:gdLst>
                    <a:gd name="connsiteX0" fmla="*/ 57150 w 114300"/>
                    <a:gd name="connsiteY0" fmla="*/ 114300 h 114300"/>
                    <a:gd name="connsiteX1" fmla="*/ 0 w 114300"/>
                    <a:gd name="connsiteY1" fmla="*/ 57150 h 114300"/>
                    <a:gd name="connsiteX2" fmla="*/ 57150 w 114300"/>
                    <a:gd name="connsiteY2" fmla="*/ 0 h 114300"/>
                    <a:gd name="connsiteX3" fmla="*/ 114300 w 114300"/>
                    <a:gd name="connsiteY3" fmla="*/ 57150 h 114300"/>
                    <a:gd name="connsiteX4" fmla="*/ 57150 w 114300"/>
                    <a:gd name="connsiteY4" fmla="*/ 114300 h 114300"/>
                    <a:gd name="connsiteX5" fmla="*/ 57150 w 114300"/>
                    <a:gd name="connsiteY5" fmla="*/ 14288 h 114300"/>
                    <a:gd name="connsiteX6" fmla="*/ 14288 w 114300"/>
                    <a:gd name="connsiteY6" fmla="*/ 57150 h 114300"/>
                    <a:gd name="connsiteX7" fmla="*/ 57150 w 114300"/>
                    <a:gd name="connsiteY7" fmla="*/ 100013 h 114300"/>
                    <a:gd name="connsiteX8" fmla="*/ 100013 w 114300"/>
                    <a:gd name="connsiteY8" fmla="*/ 57150 h 114300"/>
                    <a:gd name="connsiteX9" fmla="*/ 57150 w 114300"/>
                    <a:gd name="connsiteY9" fmla="*/ 14288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4300" h="114300">
                      <a:moveTo>
                        <a:pt x="57150" y="114300"/>
                      </a:moveTo>
                      <a:cubicBezTo>
                        <a:pt x="25718" y="114300"/>
                        <a:pt x="0" y="88582"/>
                        <a:pt x="0" y="57150"/>
                      </a:cubicBezTo>
                      <a:cubicBezTo>
                        <a:pt x="0" y="25717"/>
                        <a:pt x="25718" y="0"/>
                        <a:pt x="57150" y="0"/>
                      </a:cubicBezTo>
                      <a:cubicBezTo>
                        <a:pt x="88583" y="0"/>
                        <a:pt x="114300" y="25717"/>
                        <a:pt x="114300" y="57150"/>
                      </a:cubicBezTo>
                      <a:cubicBezTo>
                        <a:pt x="114300" y="88582"/>
                        <a:pt x="88583" y="114300"/>
                        <a:pt x="57150" y="114300"/>
                      </a:cubicBezTo>
                      <a:close/>
                      <a:moveTo>
                        <a:pt x="57150" y="14288"/>
                      </a:moveTo>
                      <a:cubicBezTo>
                        <a:pt x="33338" y="14288"/>
                        <a:pt x="14288" y="33338"/>
                        <a:pt x="14288" y="57150"/>
                      </a:cubicBezTo>
                      <a:cubicBezTo>
                        <a:pt x="14288" y="80963"/>
                        <a:pt x="33338" y="100013"/>
                        <a:pt x="57150" y="100013"/>
                      </a:cubicBezTo>
                      <a:cubicBezTo>
                        <a:pt x="80963" y="100013"/>
                        <a:pt x="100013" y="80963"/>
                        <a:pt x="100013" y="57150"/>
                      </a:cubicBezTo>
                      <a:cubicBezTo>
                        <a:pt x="100013" y="33338"/>
                        <a:pt x="80963" y="14288"/>
                        <a:pt x="57150" y="14288"/>
                      </a:cubicBezTo>
                      <a:close/>
                    </a:path>
                  </a:pathLst>
                </a:custGeom>
                <a:solidFill>
                  <a:schemeClr val="accent1"/>
                </a:solidFill>
                <a:ln w="9525" cap="flat">
                  <a:noFill/>
                  <a:prstDash val="solid"/>
                  <a:miter/>
                </a:ln>
              </p:spPr>
              <p:txBody>
                <a:bodyPr rtlCol="0" anchor="ctr"/>
                <a:lstStyle/>
                <a:p>
                  <a:endParaRPr lang="zh-CN" altLang="en-US"/>
                </a:p>
              </p:txBody>
            </p:sp>
            <p:sp>
              <p:nvSpPr>
                <p:cNvPr id="53" name="任意多边形: 形状 52"/>
                <p:cNvSpPr/>
                <p:nvPr/>
              </p:nvSpPr>
              <p:spPr>
                <a:xfrm>
                  <a:off x="5719421" y="3373833"/>
                  <a:ext cx="415381" cy="269231"/>
                </a:xfrm>
                <a:custGeom>
                  <a:avLst/>
                  <a:gdLst>
                    <a:gd name="connsiteX0" fmla="*/ 101917 w 102869"/>
                    <a:gd name="connsiteY0" fmla="*/ 66675 h 66675"/>
                    <a:gd name="connsiteX1" fmla="*/ 0 w 102869"/>
                    <a:gd name="connsiteY1" fmla="*/ 66675 h 66675"/>
                    <a:gd name="connsiteX2" fmla="*/ 0 w 102869"/>
                    <a:gd name="connsiteY2" fmla="*/ 51435 h 66675"/>
                    <a:gd name="connsiteX3" fmla="*/ 51435 w 102869"/>
                    <a:gd name="connsiteY3" fmla="*/ 0 h 66675"/>
                    <a:gd name="connsiteX4" fmla="*/ 51435 w 102869"/>
                    <a:gd name="connsiteY4" fmla="*/ 0 h 66675"/>
                    <a:gd name="connsiteX5" fmla="*/ 102870 w 102869"/>
                    <a:gd name="connsiteY5" fmla="*/ 51435 h 66675"/>
                    <a:gd name="connsiteX6" fmla="*/ 102870 w 102869"/>
                    <a:gd name="connsiteY6" fmla="*/ 66675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869" h="66675">
                      <a:moveTo>
                        <a:pt x="101917" y="66675"/>
                      </a:moveTo>
                      <a:lnTo>
                        <a:pt x="0" y="66675"/>
                      </a:lnTo>
                      <a:lnTo>
                        <a:pt x="0" y="51435"/>
                      </a:lnTo>
                      <a:cubicBezTo>
                        <a:pt x="0" y="22860"/>
                        <a:pt x="22860" y="0"/>
                        <a:pt x="51435" y="0"/>
                      </a:cubicBezTo>
                      <a:lnTo>
                        <a:pt x="51435" y="0"/>
                      </a:lnTo>
                      <a:cubicBezTo>
                        <a:pt x="80010" y="0"/>
                        <a:pt x="102870" y="22860"/>
                        <a:pt x="102870" y="51435"/>
                      </a:cubicBezTo>
                      <a:lnTo>
                        <a:pt x="102870" y="66675"/>
                      </a:lnTo>
                      <a:close/>
                    </a:path>
                  </a:pathLst>
                </a:custGeom>
                <a:solidFill>
                  <a:schemeClr val="accent1">
                    <a:lumMod val="40000"/>
                    <a:lumOff val="60000"/>
                  </a:schemeClr>
                </a:solidFill>
                <a:ln w="9525" cap="flat">
                  <a:noFill/>
                  <a:prstDash val="solid"/>
                  <a:miter/>
                </a:ln>
              </p:spPr>
              <p:txBody>
                <a:bodyPr rtlCol="0" anchor="ctr"/>
                <a:lstStyle/>
                <a:p>
                  <a:endParaRPr lang="zh-CN" altLang="en-US"/>
                </a:p>
              </p:txBody>
            </p:sp>
            <p:sp>
              <p:nvSpPr>
                <p:cNvPr id="54" name="任意多边形: 形状 53"/>
                <p:cNvSpPr/>
                <p:nvPr/>
              </p:nvSpPr>
              <p:spPr>
                <a:xfrm>
                  <a:off x="5692496" y="3346912"/>
                  <a:ext cx="469231" cy="323077"/>
                </a:xfrm>
                <a:custGeom>
                  <a:avLst/>
                  <a:gdLst>
                    <a:gd name="connsiteX0" fmla="*/ 108585 w 116205"/>
                    <a:gd name="connsiteY0" fmla="*/ 80010 h 80010"/>
                    <a:gd name="connsiteX1" fmla="*/ 6668 w 116205"/>
                    <a:gd name="connsiteY1" fmla="*/ 80010 h 80010"/>
                    <a:gd name="connsiteX2" fmla="*/ 0 w 116205"/>
                    <a:gd name="connsiteY2" fmla="*/ 73342 h 80010"/>
                    <a:gd name="connsiteX3" fmla="*/ 0 w 116205"/>
                    <a:gd name="connsiteY3" fmla="*/ 58103 h 80010"/>
                    <a:gd name="connsiteX4" fmla="*/ 58102 w 116205"/>
                    <a:gd name="connsiteY4" fmla="*/ 0 h 80010"/>
                    <a:gd name="connsiteX5" fmla="*/ 116205 w 116205"/>
                    <a:gd name="connsiteY5" fmla="*/ 58103 h 80010"/>
                    <a:gd name="connsiteX6" fmla="*/ 116205 w 116205"/>
                    <a:gd name="connsiteY6" fmla="*/ 73342 h 80010"/>
                    <a:gd name="connsiteX7" fmla="*/ 108585 w 116205"/>
                    <a:gd name="connsiteY7" fmla="*/ 80010 h 80010"/>
                    <a:gd name="connsiteX8" fmla="*/ 14288 w 116205"/>
                    <a:gd name="connsiteY8" fmla="*/ 65723 h 80010"/>
                    <a:gd name="connsiteX9" fmla="*/ 101918 w 116205"/>
                    <a:gd name="connsiteY9" fmla="*/ 65723 h 80010"/>
                    <a:gd name="connsiteX10" fmla="*/ 101918 w 116205"/>
                    <a:gd name="connsiteY10" fmla="*/ 58103 h 80010"/>
                    <a:gd name="connsiteX11" fmla="*/ 58102 w 116205"/>
                    <a:gd name="connsiteY11" fmla="*/ 14288 h 80010"/>
                    <a:gd name="connsiteX12" fmla="*/ 14288 w 116205"/>
                    <a:gd name="connsiteY12" fmla="*/ 58103 h 80010"/>
                    <a:gd name="connsiteX13" fmla="*/ 14288 w 116205"/>
                    <a:gd name="connsiteY13" fmla="*/ 65723 h 80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6205" h="80010">
                      <a:moveTo>
                        <a:pt x="108585" y="80010"/>
                      </a:moveTo>
                      <a:lnTo>
                        <a:pt x="6668" y="80010"/>
                      </a:lnTo>
                      <a:cubicBezTo>
                        <a:pt x="2858" y="80010"/>
                        <a:pt x="0" y="77153"/>
                        <a:pt x="0" y="73342"/>
                      </a:cubicBezTo>
                      <a:lnTo>
                        <a:pt x="0" y="58103"/>
                      </a:lnTo>
                      <a:cubicBezTo>
                        <a:pt x="0" y="25717"/>
                        <a:pt x="25718" y="0"/>
                        <a:pt x="58102" y="0"/>
                      </a:cubicBezTo>
                      <a:cubicBezTo>
                        <a:pt x="90488" y="0"/>
                        <a:pt x="116205" y="25717"/>
                        <a:pt x="116205" y="58103"/>
                      </a:cubicBezTo>
                      <a:lnTo>
                        <a:pt x="116205" y="73342"/>
                      </a:lnTo>
                      <a:cubicBezTo>
                        <a:pt x="116205" y="77153"/>
                        <a:pt x="113348" y="80010"/>
                        <a:pt x="108585" y="80010"/>
                      </a:cubicBezTo>
                      <a:close/>
                      <a:moveTo>
                        <a:pt x="14288" y="65723"/>
                      </a:moveTo>
                      <a:lnTo>
                        <a:pt x="101918" y="65723"/>
                      </a:lnTo>
                      <a:lnTo>
                        <a:pt x="101918" y="58103"/>
                      </a:lnTo>
                      <a:cubicBezTo>
                        <a:pt x="101918" y="34290"/>
                        <a:pt x="81915" y="14288"/>
                        <a:pt x="58102" y="14288"/>
                      </a:cubicBezTo>
                      <a:cubicBezTo>
                        <a:pt x="34290" y="14288"/>
                        <a:pt x="14288" y="34290"/>
                        <a:pt x="14288" y="58103"/>
                      </a:cubicBezTo>
                      <a:lnTo>
                        <a:pt x="14288" y="65723"/>
                      </a:lnTo>
                      <a:close/>
                    </a:path>
                  </a:pathLst>
                </a:custGeom>
                <a:solidFill>
                  <a:schemeClr val="accent1"/>
                </a:solidFill>
                <a:ln w="9525" cap="flat">
                  <a:noFill/>
                  <a:prstDash val="solid"/>
                  <a:miter/>
                </a:ln>
              </p:spPr>
              <p:txBody>
                <a:bodyPr rtlCol="0" anchor="ctr"/>
                <a:lstStyle/>
                <a:p>
                  <a:endParaRPr lang="zh-CN" altLang="en-US"/>
                </a:p>
              </p:txBody>
            </p:sp>
            <p:sp>
              <p:nvSpPr>
                <p:cNvPr id="57" name="任意多边形: 形状 56"/>
                <p:cNvSpPr/>
                <p:nvPr/>
              </p:nvSpPr>
              <p:spPr>
                <a:xfrm>
                  <a:off x="4384804" y="2969989"/>
                  <a:ext cx="400000" cy="400000"/>
                </a:xfrm>
                <a:custGeom>
                  <a:avLst/>
                  <a:gdLst>
                    <a:gd name="connsiteX0" fmla="*/ 99060 w 99060"/>
                    <a:gd name="connsiteY0" fmla="*/ 49530 h 99060"/>
                    <a:gd name="connsiteX1" fmla="*/ 49530 w 99060"/>
                    <a:gd name="connsiteY1" fmla="*/ 99060 h 99060"/>
                    <a:gd name="connsiteX2" fmla="*/ 0 w 99060"/>
                    <a:gd name="connsiteY2" fmla="*/ 49530 h 99060"/>
                    <a:gd name="connsiteX3" fmla="*/ 49530 w 99060"/>
                    <a:gd name="connsiteY3" fmla="*/ 0 h 99060"/>
                    <a:gd name="connsiteX4" fmla="*/ 99060 w 99060"/>
                    <a:gd name="connsiteY4" fmla="*/ 49530 h 990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060" h="99060">
                      <a:moveTo>
                        <a:pt x="99060" y="49530"/>
                      </a:moveTo>
                      <a:cubicBezTo>
                        <a:pt x="99060" y="77153"/>
                        <a:pt x="77152" y="99060"/>
                        <a:pt x="49530" y="99060"/>
                      </a:cubicBezTo>
                      <a:cubicBezTo>
                        <a:pt x="21908" y="99060"/>
                        <a:pt x="0" y="77153"/>
                        <a:pt x="0" y="49530"/>
                      </a:cubicBezTo>
                      <a:cubicBezTo>
                        <a:pt x="0" y="21908"/>
                        <a:pt x="21908" y="0"/>
                        <a:pt x="49530" y="0"/>
                      </a:cubicBezTo>
                      <a:cubicBezTo>
                        <a:pt x="77152" y="0"/>
                        <a:pt x="99060" y="21908"/>
                        <a:pt x="99060" y="49530"/>
                      </a:cubicBezTo>
                      <a:close/>
                    </a:path>
                  </a:pathLst>
                </a:custGeom>
                <a:solidFill>
                  <a:schemeClr val="accent1">
                    <a:lumMod val="40000"/>
                    <a:lumOff val="60000"/>
                  </a:schemeClr>
                </a:solidFill>
                <a:ln w="9525" cap="flat">
                  <a:noFill/>
                  <a:prstDash val="solid"/>
                  <a:miter/>
                </a:ln>
              </p:spPr>
              <p:txBody>
                <a:bodyPr rtlCol="0" anchor="ctr"/>
                <a:lstStyle/>
                <a:p>
                  <a:endParaRPr lang="zh-CN" altLang="en-US"/>
                </a:p>
              </p:txBody>
            </p:sp>
            <p:sp>
              <p:nvSpPr>
                <p:cNvPr id="58" name="任意多边形: 形状 57"/>
                <p:cNvSpPr/>
                <p:nvPr/>
              </p:nvSpPr>
              <p:spPr>
                <a:xfrm>
                  <a:off x="4350191" y="2939220"/>
                  <a:ext cx="461539" cy="461538"/>
                </a:xfrm>
                <a:custGeom>
                  <a:avLst/>
                  <a:gdLst>
                    <a:gd name="connsiteX0" fmla="*/ 57150 w 114300"/>
                    <a:gd name="connsiteY0" fmla="*/ 114300 h 114300"/>
                    <a:gd name="connsiteX1" fmla="*/ 0 w 114300"/>
                    <a:gd name="connsiteY1" fmla="*/ 57150 h 114300"/>
                    <a:gd name="connsiteX2" fmla="*/ 57150 w 114300"/>
                    <a:gd name="connsiteY2" fmla="*/ 0 h 114300"/>
                    <a:gd name="connsiteX3" fmla="*/ 114300 w 114300"/>
                    <a:gd name="connsiteY3" fmla="*/ 57150 h 114300"/>
                    <a:gd name="connsiteX4" fmla="*/ 57150 w 114300"/>
                    <a:gd name="connsiteY4" fmla="*/ 114300 h 114300"/>
                    <a:gd name="connsiteX5" fmla="*/ 57150 w 114300"/>
                    <a:gd name="connsiteY5" fmla="*/ 14288 h 114300"/>
                    <a:gd name="connsiteX6" fmla="*/ 14288 w 114300"/>
                    <a:gd name="connsiteY6" fmla="*/ 57150 h 114300"/>
                    <a:gd name="connsiteX7" fmla="*/ 57150 w 114300"/>
                    <a:gd name="connsiteY7" fmla="*/ 100013 h 114300"/>
                    <a:gd name="connsiteX8" fmla="*/ 100013 w 114300"/>
                    <a:gd name="connsiteY8" fmla="*/ 57150 h 114300"/>
                    <a:gd name="connsiteX9" fmla="*/ 57150 w 114300"/>
                    <a:gd name="connsiteY9" fmla="*/ 14288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4300" h="114300">
                      <a:moveTo>
                        <a:pt x="57150" y="114300"/>
                      </a:moveTo>
                      <a:cubicBezTo>
                        <a:pt x="25718" y="114300"/>
                        <a:pt x="0" y="88582"/>
                        <a:pt x="0" y="57150"/>
                      </a:cubicBezTo>
                      <a:cubicBezTo>
                        <a:pt x="0" y="25717"/>
                        <a:pt x="25718" y="0"/>
                        <a:pt x="57150" y="0"/>
                      </a:cubicBezTo>
                      <a:cubicBezTo>
                        <a:pt x="88583" y="0"/>
                        <a:pt x="114300" y="25717"/>
                        <a:pt x="114300" y="57150"/>
                      </a:cubicBezTo>
                      <a:cubicBezTo>
                        <a:pt x="114300" y="88582"/>
                        <a:pt x="88583" y="114300"/>
                        <a:pt x="57150" y="114300"/>
                      </a:cubicBezTo>
                      <a:close/>
                      <a:moveTo>
                        <a:pt x="57150" y="14288"/>
                      </a:moveTo>
                      <a:cubicBezTo>
                        <a:pt x="33338" y="14288"/>
                        <a:pt x="14288" y="33338"/>
                        <a:pt x="14288" y="57150"/>
                      </a:cubicBezTo>
                      <a:cubicBezTo>
                        <a:pt x="14288" y="80963"/>
                        <a:pt x="33338" y="100013"/>
                        <a:pt x="57150" y="100013"/>
                      </a:cubicBezTo>
                      <a:cubicBezTo>
                        <a:pt x="80963" y="100013"/>
                        <a:pt x="100013" y="80963"/>
                        <a:pt x="100013" y="57150"/>
                      </a:cubicBezTo>
                      <a:cubicBezTo>
                        <a:pt x="100013" y="33338"/>
                        <a:pt x="80963" y="14288"/>
                        <a:pt x="57150" y="14288"/>
                      </a:cubicBezTo>
                      <a:close/>
                    </a:path>
                  </a:pathLst>
                </a:custGeom>
                <a:solidFill>
                  <a:schemeClr val="accent1"/>
                </a:solidFill>
                <a:ln w="9525" cap="flat">
                  <a:noFill/>
                  <a:prstDash val="solid"/>
                  <a:miter/>
                </a:ln>
              </p:spPr>
              <p:txBody>
                <a:bodyPr rtlCol="0" anchor="ctr"/>
                <a:lstStyle/>
                <a:p>
                  <a:endParaRPr lang="zh-CN" altLang="en-US"/>
                </a:p>
              </p:txBody>
            </p:sp>
            <p:sp>
              <p:nvSpPr>
                <p:cNvPr id="60" name="任意多边形: 形状 59"/>
                <p:cNvSpPr/>
                <p:nvPr/>
              </p:nvSpPr>
              <p:spPr>
                <a:xfrm>
                  <a:off x="4377116" y="3373833"/>
                  <a:ext cx="415381" cy="269231"/>
                </a:xfrm>
                <a:custGeom>
                  <a:avLst/>
                  <a:gdLst>
                    <a:gd name="connsiteX0" fmla="*/ 101917 w 102869"/>
                    <a:gd name="connsiteY0" fmla="*/ 66675 h 66675"/>
                    <a:gd name="connsiteX1" fmla="*/ 0 w 102869"/>
                    <a:gd name="connsiteY1" fmla="*/ 66675 h 66675"/>
                    <a:gd name="connsiteX2" fmla="*/ 0 w 102869"/>
                    <a:gd name="connsiteY2" fmla="*/ 51435 h 66675"/>
                    <a:gd name="connsiteX3" fmla="*/ 51435 w 102869"/>
                    <a:gd name="connsiteY3" fmla="*/ 0 h 66675"/>
                    <a:gd name="connsiteX4" fmla="*/ 51435 w 102869"/>
                    <a:gd name="connsiteY4" fmla="*/ 0 h 66675"/>
                    <a:gd name="connsiteX5" fmla="*/ 102870 w 102869"/>
                    <a:gd name="connsiteY5" fmla="*/ 51435 h 66675"/>
                    <a:gd name="connsiteX6" fmla="*/ 102870 w 102869"/>
                    <a:gd name="connsiteY6" fmla="*/ 66675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869" h="66675">
                      <a:moveTo>
                        <a:pt x="101917" y="66675"/>
                      </a:moveTo>
                      <a:lnTo>
                        <a:pt x="0" y="66675"/>
                      </a:lnTo>
                      <a:lnTo>
                        <a:pt x="0" y="51435"/>
                      </a:lnTo>
                      <a:cubicBezTo>
                        <a:pt x="0" y="22860"/>
                        <a:pt x="22860" y="0"/>
                        <a:pt x="51435" y="0"/>
                      </a:cubicBezTo>
                      <a:lnTo>
                        <a:pt x="51435" y="0"/>
                      </a:lnTo>
                      <a:cubicBezTo>
                        <a:pt x="80010" y="0"/>
                        <a:pt x="102870" y="22860"/>
                        <a:pt x="102870" y="51435"/>
                      </a:cubicBezTo>
                      <a:lnTo>
                        <a:pt x="102870" y="66675"/>
                      </a:lnTo>
                      <a:close/>
                    </a:path>
                  </a:pathLst>
                </a:custGeom>
                <a:solidFill>
                  <a:schemeClr val="accent1">
                    <a:lumMod val="40000"/>
                    <a:lumOff val="60000"/>
                  </a:schemeClr>
                </a:solidFill>
                <a:ln w="9525" cap="flat">
                  <a:noFill/>
                  <a:prstDash val="solid"/>
                  <a:miter/>
                </a:ln>
              </p:spPr>
              <p:txBody>
                <a:bodyPr rtlCol="0" anchor="ctr"/>
                <a:lstStyle/>
                <a:p>
                  <a:endParaRPr lang="zh-CN" altLang="en-US"/>
                </a:p>
              </p:txBody>
            </p:sp>
            <p:sp>
              <p:nvSpPr>
                <p:cNvPr id="61" name="任意多边形: 形状 60"/>
                <p:cNvSpPr/>
                <p:nvPr/>
              </p:nvSpPr>
              <p:spPr>
                <a:xfrm>
                  <a:off x="4350191" y="3346912"/>
                  <a:ext cx="469231" cy="323077"/>
                </a:xfrm>
                <a:custGeom>
                  <a:avLst/>
                  <a:gdLst>
                    <a:gd name="connsiteX0" fmla="*/ 108585 w 116205"/>
                    <a:gd name="connsiteY0" fmla="*/ 80010 h 80010"/>
                    <a:gd name="connsiteX1" fmla="*/ 6668 w 116205"/>
                    <a:gd name="connsiteY1" fmla="*/ 80010 h 80010"/>
                    <a:gd name="connsiteX2" fmla="*/ 0 w 116205"/>
                    <a:gd name="connsiteY2" fmla="*/ 73342 h 80010"/>
                    <a:gd name="connsiteX3" fmla="*/ 0 w 116205"/>
                    <a:gd name="connsiteY3" fmla="*/ 58103 h 80010"/>
                    <a:gd name="connsiteX4" fmla="*/ 58103 w 116205"/>
                    <a:gd name="connsiteY4" fmla="*/ 0 h 80010"/>
                    <a:gd name="connsiteX5" fmla="*/ 116205 w 116205"/>
                    <a:gd name="connsiteY5" fmla="*/ 58103 h 80010"/>
                    <a:gd name="connsiteX6" fmla="*/ 116205 w 116205"/>
                    <a:gd name="connsiteY6" fmla="*/ 73342 h 80010"/>
                    <a:gd name="connsiteX7" fmla="*/ 108585 w 116205"/>
                    <a:gd name="connsiteY7" fmla="*/ 80010 h 80010"/>
                    <a:gd name="connsiteX8" fmla="*/ 13335 w 116205"/>
                    <a:gd name="connsiteY8" fmla="*/ 65723 h 80010"/>
                    <a:gd name="connsiteX9" fmla="*/ 100965 w 116205"/>
                    <a:gd name="connsiteY9" fmla="*/ 65723 h 80010"/>
                    <a:gd name="connsiteX10" fmla="*/ 100965 w 116205"/>
                    <a:gd name="connsiteY10" fmla="*/ 58103 h 80010"/>
                    <a:gd name="connsiteX11" fmla="*/ 57150 w 116205"/>
                    <a:gd name="connsiteY11" fmla="*/ 14288 h 80010"/>
                    <a:gd name="connsiteX12" fmla="*/ 13335 w 116205"/>
                    <a:gd name="connsiteY12" fmla="*/ 58103 h 80010"/>
                    <a:gd name="connsiteX13" fmla="*/ 13335 w 116205"/>
                    <a:gd name="connsiteY13" fmla="*/ 65723 h 80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6205" h="80010">
                      <a:moveTo>
                        <a:pt x="108585" y="80010"/>
                      </a:moveTo>
                      <a:lnTo>
                        <a:pt x="6668" y="80010"/>
                      </a:lnTo>
                      <a:cubicBezTo>
                        <a:pt x="2858" y="80010"/>
                        <a:pt x="0" y="77153"/>
                        <a:pt x="0" y="73342"/>
                      </a:cubicBezTo>
                      <a:lnTo>
                        <a:pt x="0" y="58103"/>
                      </a:lnTo>
                      <a:cubicBezTo>
                        <a:pt x="0" y="25717"/>
                        <a:pt x="25718" y="0"/>
                        <a:pt x="58103" y="0"/>
                      </a:cubicBezTo>
                      <a:cubicBezTo>
                        <a:pt x="90488" y="0"/>
                        <a:pt x="116205" y="25717"/>
                        <a:pt x="116205" y="58103"/>
                      </a:cubicBezTo>
                      <a:lnTo>
                        <a:pt x="116205" y="73342"/>
                      </a:lnTo>
                      <a:cubicBezTo>
                        <a:pt x="115253" y="77153"/>
                        <a:pt x="112395" y="80010"/>
                        <a:pt x="108585" y="80010"/>
                      </a:cubicBezTo>
                      <a:close/>
                      <a:moveTo>
                        <a:pt x="13335" y="65723"/>
                      </a:moveTo>
                      <a:lnTo>
                        <a:pt x="100965" y="65723"/>
                      </a:lnTo>
                      <a:lnTo>
                        <a:pt x="100965" y="58103"/>
                      </a:lnTo>
                      <a:cubicBezTo>
                        <a:pt x="100965" y="34290"/>
                        <a:pt x="80963" y="14288"/>
                        <a:pt x="57150" y="14288"/>
                      </a:cubicBezTo>
                      <a:cubicBezTo>
                        <a:pt x="33338" y="14288"/>
                        <a:pt x="13335" y="34290"/>
                        <a:pt x="13335" y="58103"/>
                      </a:cubicBezTo>
                      <a:lnTo>
                        <a:pt x="13335" y="65723"/>
                      </a:lnTo>
                      <a:close/>
                    </a:path>
                  </a:pathLst>
                </a:custGeom>
                <a:solidFill>
                  <a:schemeClr val="accent1"/>
                </a:solidFill>
                <a:ln w="9525" cap="flat">
                  <a:noFill/>
                  <a:prstDash val="solid"/>
                  <a:miter/>
                </a:ln>
              </p:spPr>
              <p:txBody>
                <a:bodyPr rtlCol="0" anchor="ctr"/>
                <a:lstStyle/>
                <a:p>
                  <a:endParaRPr lang="zh-CN" altLang="en-US"/>
                </a:p>
              </p:txBody>
            </p:sp>
          </p:grpSp>
          <p:grpSp>
            <p:nvGrpSpPr>
              <p:cNvPr id="159" name="组合 158"/>
              <p:cNvGrpSpPr/>
              <p:nvPr/>
            </p:nvGrpSpPr>
            <p:grpSpPr>
              <a:xfrm>
                <a:off x="2004231" y="3516302"/>
                <a:ext cx="8931899" cy="481723"/>
                <a:chOff x="2004231" y="3516302"/>
                <a:chExt cx="8931899" cy="481723"/>
              </a:xfrm>
            </p:grpSpPr>
            <p:grpSp>
              <p:nvGrpSpPr>
                <p:cNvPr id="141" name="组合 140"/>
                <p:cNvGrpSpPr/>
                <p:nvPr/>
              </p:nvGrpSpPr>
              <p:grpSpPr>
                <a:xfrm>
                  <a:off x="8287512" y="3516303"/>
                  <a:ext cx="2648618" cy="481722"/>
                  <a:chOff x="6979258" y="2391806"/>
                  <a:chExt cx="2648618" cy="481722"/>
                </a:xfrm>
              </p:grpSpPr>
              <p:sp>
                <p:nvSpPr>
                  <p:cNvPr id="142" name="矩形: 圆角 141"/>
                  <p:cNvSpPr/>
                  <p:nvPr/>
                </p:nvSpPr>
                <p:spPr>
                  <a:xfrm>
                    <a:off x="6979258" y="2391806"/>
                    <a:ext cx="2648618" cy="481722"/>
                  </a:xfrm>
                  <a:prstGeom prst="roundRect">
                    <a:avLst>
                      <a:gd name="adj" fmla="val 18537"/>
                    </a:avLst>
                  </a:prstGeom>
                  <a:solidFill>
                    <a:schemeClr val="tx1">
                      <a:lumMod val="50000"/>
                      <a:lumOff val="50000"/>
                      <a:alpha val="20000"/>
                    </a:schemeClr>
                  </a:solid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defTabSz="913765">
                      <a:lnSpc>
                        <a:spcPct val="120000"/>
                      </a:lnSpc>
                    </a:pPr>
                    <a:r>
                      <a:rPr lang="en-US" altLang="zh-CN" sz="1200" b="1" dirty="0">
                        <a:solidFill>
                          <a:schemeClr val="tx1"/>
                        </a:solidFill>
                        <a:latin typeface="Arial" panose="020B0604020202090204" pitchFamily="34" charset="0"/>
                        <a:ea typeface="华文楷体" panose="02010600040101010101" pitchFamily="2" charset="-122"/>
                      </a:rPr>
                      <a:t>Text here</a:t>
                    </a:r>
                    <a:endParaRPr lang="zh-CN" altLang="en-US" sz="1200" b="1" dirty="0">
                      <a:solidFill>
                        <a:schemeClr val="tx1"/>
                      </a:solidFill>
                      <a:latin typeface="Arial" panose="020B0604020202090204" pitchFamily="34" charset="0"/>
                      <a:ea typeface="华文楷体" panose="02010600040101010101" pitchFamily="2" charset="-122"/>
                    </a:endParaRPr>
                  </a:p>
                </p:txBody>
              </p:sp>
              <p:sp>
                <p:nvSpPr>
                  <p:cNvPr id="143" name="矩形 142"/>
                  <p:cNvSpPr/>
                  <p:nvPr/>
                </p:nvSpPr>
                <p:spPr>
                  <a:xfrm>
                    <a:off x="8053453" y="2478778"/>
                    <a:ext cx="1480433" cy="307778"/>
                  </a:xfrm>
                  <a:prstGeom prst="rect">
                    <a:avLst/>
                  </a:prstGeom>
                  <a:no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0000" tIns="90000" rIns="90000" bIns="90000" numCol="1" spcCol="0" rtlCol="0" fromWordArt="0" anchor="ctr" anchorCtr="0" forceAA="0" compatLnSpc="1">
                    <a:noAutofit/>
                  </a:bodyPr>
                  <a:lstStyle/>
                  <a:p>
                    <a:r>
                      <a:rPr lang="en-US" altLang="zh-CN" sz="800" dirty="0">
                        <a:solidFill>
                          <a:schemeClr val="tx1"/>
                        </a:solidFill>
                        <a:latin typeface="Arial" panose="020B0604020202090204" pitchFamily="34" charset="0"/>
                        <a:ea typeface="华文楷体" panose="02010600040101010101" pitchFamily="2" charset="-122"/>
                      </a:rPr>
                      <a:t>Theme  color makes PPT more convenient to change.</a:t>
                    </a:r>
                    <a:endParaRPr lang="en-US" altLang="zh-CN" sz="800" dirty="0">
                      <a:solidFill>
                        <a:schemeClr val="tx1"/>
                      </a:solidFill>
                      <a:latin typeface="Arial" panose="020B0604020202090204" pitchFamily="34" charset="0"/>
                      <a:ea typeface="华文楷体" panose="02010600040101010101" pitchFamily="2" charset="-122"/>
                    </a:endParaRPr>
                  </a:p>
                </p:txBody>
              </p:sp>
            </p:grpSp>
            <p:grpSp>
              <p:nvGrpSpPr>
                <p:cNvPr id="150" name="组合 149"/>
                <p:cNvGrpSpPr/>
                <p:nvPr/>
              </p:nvGrpSpPr>
              <p:grpSpPr>
                <a:xfrm flipH="1">
                  <a:off x="2004231" y="3516302"/>
                  <a:ext cx="2648618" cy="481722"/>
                  <a:chOff x="6979258" y="2391806"/>
                  <a:chExt cx="2648618" cy="481722"/>
                </a:xfrm>
              </p:grpSpPr>
              <p:sp>
                <p:nvSpPr>
                  <p:cNvPr id="151" name="矩形: 圆角 150"/>
                  <p:cNvSpPr/>
                  <p:nvPr/>
                </p:nvSpPr>
                <p:spPr>
                  <a:xfrm flipH="1">
                    <a:off x="6979258" y="2391806"/>
                    <a:ext cx="2648618" cy="481722"/>
                  </a:xfrm>
                  <a:prstGeom prst="roundRect">
                    <a:avLst>
                      <a:gd name="adj" fmla="val 18537"/>
                    </a:avLst>
                  </a:prstGeom>
                  <a:solidFill>
                    <a:schemeClr val="tx1">
                      <a:lumMod val="50000"/>
                      <a:lumOff val="50000"/>
                      <a:alpha val="20000"/>
                    </a:schemeClr>
                  </a:solid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defTabSz="913765">
                      <a:lnSpc>
                        <a:spcPct val="120000"/>
                      </a:lnSpc>
                    </a:pPr>
                    <a:r>
                      <a:rPr lang="en-US" altLang="zh-CN" sz="1200" b="1" dirty="0">
                        <a:solidFill>
                          <a:schemeClr val="tx1"/>
                        </a:solidFill>
                        <a:latin typeface="Arial" panose="020B0604020202090204" pitchFamily="34" charset="0"/>
                        <a:ea typeface="华文楷体" panose="02010600040101010101" pitchFamily="2" charset="-122"/>
                      </a:rPr>
                      <a:t>Text here</a:t>
                    </a:r>
                    <a:endParaRPr lang="zh-CN" altLang="en-US" sz="1200" b="1" dirty="0">
                      <a:solidFill>
                        <a:schemeClr val="tx1"/>
                      </a:solidFill>
                      <a:latin typeface="Arial" panose="020B0604020202090204" pitchFamily="34" charset="0"/>
                      <a:ea typeface="华文楷体" panose="02010600040101010101" pitchFamily="2" charset="-122"/>
                    </a:endParaRPr>
                  </a:p>
                </p:txBody>
              </p:sp>
              <p:sp>
                <p:nvSpPr>
                  <p:cNvPr id="152" name="矩形 151"/>
                  <p:cNvSpPr/>
                  <p:nvPr/>
                </p:nvSpPr>
                <p:spPr>
                  <a:xfrm>
                    <a:off x="7051340" y="2478778"/>
                    <a:ext cx="1480433" cy="307778"/>
                  </a:xfrm>
                  <a:prstGeom prst="rect">
                    <a:avLst/>
                  </a:prstGeom>
                  <a:no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0000" tIns="90000" rIns="90000" bIns="90000" numCol="1" spcCol="0" rtlCol="0" fromWordArt="0" anchor="ctr" anchorCtr="0" forceAA="0" compatLnSpc="1">
                    <a:noAutofit/>
                  </a:bodyPr>
                  <a:lstStyle/>
                  <a:p>
                    <a:r>
                      <a:rPr lang="en-US" altLang="zh-CN" sz="800" dirty="0">
                        <a:solidFill>
                          <a:schemeClr val="tx1"/>
                        </a:solidFill>
                        <a:latin typeface="Arial" panose="020B0604020202090204" pitchFamily="34" charset="0"/>
                        <a:ea typeface="华文楷体" panose="02010600040101010101" pitchFamily="2" charset="-122"/>
                      </a:rPr>
                      <a:t>Theme  color makes PPT more convenient to change.</a:t>
                    </a:r>
                    <a:endParaRPr lang="en-US" altLang="zh-CN" sz="800" dirty="0">
                      <a:solidFill>
                        <a:schemeClr val="tx1"/>
                      </a:solidFill>
                      <a:latin typeface="Arial" panose="020B0604020202090204" pitchFamily="34" charset="0"/>
                      <a:ea typeface="华文楷体" panose="02010600040101010101" pitchFamily="2" charset="-122"/>
                    </a:endParaRPr>
                  </a:p>
                </p:txBody>
              </p:sp>
            </p:grpSp>
          </p:grpSp>
          <p:grpSp>
            <p:nvGrpSpPr>
              <p:cNvPr id="158" name="组合 157"/>
              <p:cNvGrpSpPr/>
              <p:nvPr/>
            </p:nvGrpSpPr>
            <p:grpSpPr>
              <a:xfrm>
                <a:off x="2455728" y="2304687"/>
                <a:ext cx="8028905" cy="2904953"/>
                <a:chOff x="2563121" y="2304687"/>
                <a:chExt cx="8028905" cy="2904953"/>
              </a:xfrm>
            </p:grpSpPr>
            <p:grpSp>
              <p:nvGrpSpPr>
                <p:cNvPr id="113" name="组合 112"/>
                <p:cNvGrpSpPr/>
                <p:nvPr/>
              </p:nvGrpSpPr>
              <p:grpSpPr>
                <a:xfrm>
                  <a:off x="7943408" y="2304687"/>
                  <a:ext cx="2648618" cy="481722"/>
                  <a:chOff x="6979258" y="2391806"/>
                  <a:chExt cx="2648618" cy="481722"/>
                </a:xfrm>
              </p:grpSpPr>
              <p:sp>
                <p:nvSpPr>
                  <p:cNvPr id="111" name="矩形: 圆角 110"/>
                  <p:cNvSpPr/>
                  <p:nvPr/>
                </p:nvSpPr>
                <p:spPr>
                  <a:xfrm>
                    <a:off x="6979258" y="2391806"/>
                    <a:ext cx="2648618" cy="481722"/>
                  </a:xfrm>
                  <a:prstGeom prst="roundRect">
                    <a:avLst>
                      <a:gd name="adj" fmla="val 18537"/>
                    </a:avLst>
                  </a:prstGeom>
                  <a:solidFill>
                    <a:schemeClr val="tx1">
                      <a:lumMod val="50000"/>
                      <a:lumOff val="50000"/>
                      <a:alpha val="20000"/>
                    </a:schemeClr>
                  </a:solid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defTabSz="913765">
                      <a:lnSpc>
                        <a:spcPct val="120000"/>
                      </a:lnSpc>
                    </a:pPr>
                    <a:r>
                      <a:rPr lang="en-US" altLang="zh-CN" sz="1200" b="1" dirty="0">
                        <a:solidFill>
                          <a:schemeClr val="tx1"/>
                        </a:solidFill>
                        <a:latin typeface="Arial" panose="020B0604020202090204" pitchFamily="34" charset="0"/>
                        <a:ea typeface="华文楷体" panose="02010600040101010101" pitchFamily="2" charset="-122"/>
                      </a:rPr>
                      <a:t>Text here</a:t>
                    </a:r>
                    <a:endParaRPr lang="zh-CN" altLang="en-US" sz="1200" b="1" dirty="0">
                      <a:solidFill>
                        <a:schemeClr val="tx1"/>
                      </a:solidFill>
                      <a:latin typeface="Arial" panose="020B0604020202090204" pitchFamily="34" charset="0"/>
                      <a:ea typeface="华文楷体" panose="02010600040101010101" pitchFamily="2" charset="-122"/>
                    </a:endParaRPr>
                  </a:p>
                </p:txBody>
              </p:sp>
              <p:sp>
                <p:nvSpPr>
                  <p:cNvPr id="112" name="矩形 111"/>
                  <p:cNvSpPr/>
                  <p:nvPr/>
                </p:nvSpPr>
                <p:spPr>
                  <a:xfrm>
                    <a:off x="8053453" y="2478778"/>
                    <a:ext cx="1480433" cy="307778"/>
                  </a:xfrm>
                  <a:prstGeom prst="rect">
                    <a:avLst/>
                  </a:prstGeom>
                  <a:no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0000" tIns="90000" rIns="90000" bIns="90000" numCol="1" spcCol="0" rtlCol="0" fromWordArt="0" anchor="ctr" anchorCtr="0" forceAA="0" compatLnSpc="1">
                    <a:noAutofit/>
                  </a:bodyPr>
                  <a:lstStyle/>
                  <a:p>
                    <a:r>
                      <a:rPr lang="en-US" altLang="zh-CN" sz="800" dirty="0">
                        <a:solidFill>
                          <a:schemeClr val="tx1"/>
                        </a:solidFill>
                        <a:latin typeface="Arial" panose="020B0604020202090204" pitchFamily="34" charset="0"/>
                        <a:ea typeface="华文楷体" panose="02010600040101010101" pitchFamily="2" charset="-122"/>
                      </a:rPr>
                      <a:t>Theme  color makes PPT more convenient to change.</a:t>
                    </a:r>
                    <a:endParaRPr lang="en-US" altLang="zh-CN" sz="800" dirty="0">
                      <a:solidFill>
                        <a:schemeClr val="tx1"/>
                      </a:solidFill>
                      <a:latin typeface="Arial" panose="020B0604020202090204" pitchFamily="34" charset="0"/>
                      <a:ea typeface="华文楷体" panose="02010600040101010101" pitchFamily="2" charset="-122"/>
                    </a:endParaRPr>
                  </a:p>
                </p:txBody>
              </p:sp>
            </p:grpSp>
            <p:grpSp>
              <p:nvGrpSpPr>
                <p:cNvPr id="144" name="组合 143"/>
                <p:cNvGrpSpPr/>
                <p:nvPr/>
              </p:nvGrpSpPr>
              <p:grpSpPr>
                <a:xfrm>
                  <a:off x="7943408" y="4727918"/>
                  <a:ext cx="2648618" cy="481722"/>
                  <a:chOff x="6979258" y="2391806"/>
                  <a:chExt cx="2648618" cy="481722"/>
                </a:xfrm>
              </p:grpSpPr>
              <p:sp>
                <p:nvSpPr>
                  <p:cNvPr id="145" name="矩形: 圆角 144"/>
                  <p:cNvSpPr/>
                  <p:nvPr/>
                </p:nvSpPr>
                <p:spPr>
                  <a:xfrm>
                    <a:off x="6979258" y="2391806"/>
                    <a:ext cx="2648618" cy="481722"/>
                  </a:xfrm>
                  <a:prstGeom prst="roundRect">
                    <a:avLst>
                      <a:gd name="adj" fmla="val 18537"/>
                    </a:avLst>
                  </a:prstGeom>
                  <a:solidFill>
                    <a:schemeClr val="tx1">
                      <a:lumMod val="50000"/>
                      <a:lumOff val="50000"/>
                      <a:alpha val="20000"/>
                    </a:schemeClr>
                  </a:solid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defTabSz="913765">
                      <a:lnSpc>
                        <a:spcPct val="120000"/>
                      </a:lnSpc>
                    </a:pPr>
                    <a:r>
                      <a:rPr lang="en-US" altLang="zh-CN" sz="1200" b="1" dirty="0">
                        <a:solidFill>
                          <a:schemeClr val="tx1"/>
                        </a:solidFill>
                        <a:latin typeface="Arial" panose="020B0604020202090204" pitchFamily="34" charset="0"/>
                        <a:ea typeface="华文楷体" panose="02010600040101010101" pitchFamily="2" charset="-122"/>
                      </a:rPr>
                      <a:t>Text here</a:t>
                    </a:r>
                    <a:endParaRPr lang="zh-CN" altLang="en-US" sz="1200" b="1" dirty="0">
                      <a:solidFill>
                        <a:schemeClr val="tx1"/>
                      </a:solidFill>
                      <a:latin typeface="Arial" panose="020B0604020202090204" pitchFamily="34" charset="0"/>
                      <a:ea typeface="华文楷体" panose="02010600040101010101" pitchFamily="2" charset="-122"/>
                    </a:endParaRPr>
                  </a:p>
                </p:txBody>
              </p:sp>
              <p:sp>
                <p:nvSpPr>
                  <p:cNvPr id="146" name="矩形 145"/>
                  <p:cNvSpPr/>
                  <p:nvPr/>
                </p:nvSpPr>
                <p:spPr>
                  <a:xfrm>
                    <a:off x="8053453" y="2478778"/>
                    <a:ext cx="1480433" cy="307778"/>
                  </a:xfrm>
                  <a:prstGeom prst="rect">
                    <a:avLst/>
                  </a:prstGeom>
                  <a:no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0000" tIns="90000" rIns="90000" bIns="90000" numCol="1" spcCol="0" rtlCol="0" fromWordArt="0" anchor="ctr" anchorCtr="0" forceAA="0" compatLnSpc="1">
                    <a:noAutofit/>
                  </a:bodyPr>
                  <a:lstStyle/>
                  <a:p>
                    <a:r>
                      <a:rPr lang="en-US" altLang="zh-CN" sz="800" dirty="0">
                        <a:solidFill>
                          <a:schemeClr val="tx1"/>
                        </a:solidFill>
                        <a:latin typeface="Arial" panose="020B0604020202090204" pitchFamily="34" charset="0"/>
                        <a:ea typeface="华文楷体" panose="02010600040101010101" pitchFamily="2" charset="-122"/>
                      </a:rPr>
                      <a:t>Theme  color makes PPT more convenient to change.</a:t>
                    </a:r>
                    <a:endParaRPr lang="en-US" altLang="zh-CN" sz="800" dirty="0">
                      <a:solidFill>
                        <a:schemeClr val="tx1"/>
                      </a:solidFill>
                      <a:latin typeface="Arial" panose="020B0604020202090204" pitchFamily="34" charset="0"/>
                      <a:ea typeface="华文楷体" panose="02010600040101010101" pitchFamily="2" charset="-122"/>
                    </a:endParaRPr>
                  </a:p>
                </p:txBody>
              </p:sp>
            </p:grpSp>
            <p:grpSp>
              <p:nvGrpSpPr>
                <p:cNvPr id="147" name="组合 146"/>
                <p:cNvGrpSpPr/>
                <p:nvPr/>
              </p:nvGrpSpPr>
              <p:grpSpPr>
                <a:xfrm flipH="1">
                  <a:off x="2563121" y="2304687"/>
                  <a:ext cx="2648618" cy="481722"/>
                  <a:chOff x="6979258" y="2391806"/>
                  <a:chExt cx="2648618" cy="481722"/>
                </a:xfrm>
              </p:grpSpPr>
              <p:sp>
                <p:nvSpPr>
                  <p:cNvPr id="148" name="矩形: 圆角 147"/>
                  <p:cNvSpPr/>
                  <p:nvPr/>
                </p:nvSpPr>
                <p:spPr>
                  <a:xfrm flipH="1">
                    <a:off x="6979258" y="2391806"/>
                    <a:ext cx="2648618" cy="481722"/>
                  </a:xfrm>
                  <a:prstGeom prst="roundRect">
                    <a:avLst>
                      <a:gd name="adj" fmla="val 18537"/>
                    </a:avLst>
                  </a:prstGeom>
                  <a:solidFill>
                    <a:schemeClr val="tx1">
                      <a:lumMod val="50000"/>
                      <a:lumOff val="50000"/>
                      <a:alpha val="20000"/>
                    </a:schemeClr>
                  </a:solid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defTabSz="913765">
                      <a:lnSpc>
                        <a:spcPct val="120000"/>
                      </a:lnSpc>
                    </a:pPr>
                    <a:r>
                      <a:rPr lang="en-US" altLang="zh-CN" sz="1200" b="1" dirty="0">
                        <a:solidFill>
                          <a:schemeClr val="tx1"/>
                        </a:solidFill>
                        <a:latin typeface="Arial" panose="020B0604020202090204" pitchFamily="34" charset="0"/>
                        <a:ea typeface="华文楷体" panose="02010600040101010101" pitchFamily="2" charset="-122"/>
                      </a:rPr>
                      <a:t>Text here</a:t>
                    </a:r>
                    <a:endParaRPr lang="zh-CN" altLang="en-US" sz="1200" b="1" dirty="0">
                      <a:solidFill>
                        <a:schemeClr val="tx1"/>
                      </a:solidFill>
                      <a:latin typeface="Arial" panose="020B0604020202090204" pitchFamily="34" charset="0"/>
                      <a:ea typeface="华文楷体" panose="02010600040101010101" pitchFamily="2" charset="-122"/>
                    </a:endParaRPr>
                  </a:p>
                </p:txBody>
              </p:sp>
              <p:sp>
                <p:nvSpPr>
                  <p:cNvPr id="149" name="矩形 148"/>
                  <p:cNvSpPr/>
                  <p:nvPr/>
                </p:nvSpPr>
                <p:spPr>
                  <a:xfrm>
                    <a:off x="7051340" y="2478778"/>
                    <a:ext cx="1480433" cy="307778"/>
                  </a:xfrm>
                  <a:prstGeom prst="rect">
                    <a:avLst/>
                  </a:prstGeom>
                  <a:no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0000" tIns="90000" rIns="90000" bIns="90000" numCol="1" spcCol="0" rtlCol="0" fromWordArt="0" anchor="ctr" anchorCtr="0" forceAA="0" compatLnSpc="1">
                    <a:noAutofit/>
                  </a:bodyPr>
                  <a:lstStyle/>
                  <a:p>
                    <a:r>
                      <a:rPr lang="en-US" altLang="zh-CN" sz="800" dirty="0">
                        <a:solidFill>
                          <a:schemeClr val="tx1"/>
                        </a:solidFill>
                        <a:latin typeface="Arial" panose="020B0604020202090204" pitchFamily="34" charset="0"/>
                        <a:ea typeface="华文楷体" panose="02010600040101010101" pitchFamily="2" charset="-122"/>
                      </a:rPr>
                      <a:t>Theme  color makes PPT more convenient to change.</a:t>
                    </a:r>
                    <a:endParaRPr lang="en-US" altLang="zh-CN" sz="800" dirty="0">
                      <a:solidFill>
                        <a:schemeClr val="tx1"/>
                      </a:solidFill>
                      <a:latin typeface="Arial" panose="020B0604020202090204" pitchFamily="34" charset="0"/>
                      <a:ea typeface="华文楷体" panose="02010600040101010101" pitchFamily="2" charset="-122"/>
                    </a:endParaRPr>
                  </a:p>
                </p:txBody>
              </p:sp>
            </p:grpSp>
            <p:grpSp>
              <p:nvGrpSpPr>
                <p:cNvPr id="153" name="组合 152"/>
                <p:cNvGrpSpPr/>
                <p:nvPr/>
              </p:nvGrpSpPr>
              <p:grpSpPr>
                <a:xfrm flipH="1">
                  <a:off x="2563121" y="4727918"/>
                  <a:ext cx="2648618" cy="481722"/>
                  <a:chOff x="6979258" y="2391806"/>
                  <a:chExt cx="2648618" cy="481722"/>
                </a:xfrm>
              </p:grpSpPr>
              <p:sp>
                <p:nvSpPr>
                  <p:cNvPr id="154" name="矩形: 圆角 153"/>
                  <p:cNvSpPr/>
                  <p:nvPr/>
                </p:nvSpPr>
                <p:spPr>
                  <a:xfrm flipH="1">
                    <a:off x="6979258" y="2391806"/>
                    <a:ext cx="2648618" cy="481722"/>
                  </a:xfrm>
                  <a:prstGeom prst="roundRect">
                    <a:avLst>
                      <a:gd name="adj" fmla="val 18537"/>
                    </a:avLst>
                  </a:prstGeom>
                  <a:solidFill>
                    <a:schemeClr val="tx1">
                      <a:lumMod val="50000"/>
                      <a:lumOff val="50000"/>
                      <a:alpha val="20000"/>
                    </a:schemeClr>
                  </a:solid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defTabSz="913765">
                      <a:lnSpc>
                        <a:spcPct val="120000"/>
                      </a:lnSpc>
                    </a:pPr>
                    <a:r>
                      <a:rPr lang="en-US" altLang="zh-CN" sz="1200" b="1" dirty="0">
                        <a:solidFill>
                          <a:schemeClr val="tx1"/>
                        </a:solidFill>
                        <a:latin typeface="Arial" panose="020B0604020202090204" pitchFamily="34" charset="0"/>
                        <a:ea typeface="华文楷体" panose="02010600040101010101" pitchFamily="2" charset="-122"/>
                      </a:rPr>
                      <a:t>Text here</a:t>
                    </a:r>
                    <a:endParaRPr lang="zh-CN" altLang="en-US" sz="1200" b="1" dirty="0">
                      <a:solidFill>
                        <a:schemeClr val="tx1"/>
                      </a:solidFill>
                      <a:latin typeface="Arial" panose="020B0604020202090204" pitchFamily="34" charset="0"/>
                      <a:ea typeface="华文楷体" panose="02010600040101010101" pitchFamily="2" charset="-122"/>
                    </a:endParaRPr>
                  </a:p>
                </p:txBody>
              </p:sp>
              <p:sp>
                <p:nvSpPr>
                  <p:cNvPr id="155" name="矩形 154"/>
                  <p:cNvSpPr/>
                  <p:nvPr/>
                </p:nvSpPr>
                <p:spPr>
                  <a:xfrm>
                    <a:off x="7051340" y="2478778"/>
                    <a:ext cx="1480433" cy="307778"/>
                  </a:xfrm>
                  <a:prstGeom prst="rect">
                    <a:avLst/>
                  </a:prstGeom>
                  <a:no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0000" tIns="90000" rIns="90000" bIns="90000" numCol="1" spcCol="0" rtlCol="0" fromWordArt="0" anchor="ctr" anchorCtr="0" forceAA="0" compatLnSpc="1">
                    <a:noAutofit/>
                  </a:bodyPr>
                  <a:lstStyle/>
                  <a:p>
                    <a:r>
                      <a:rPr lang="en-US" altLang="zh-CN" sz="800" dirty="0">
                        <a:solidFill>
                          <a:schemeClr val="tx1"/>
                        </a:solidFill>
                        <a:latin typeface="Arial" panose="020B0604020202090204" pitchFamily="34" charset="0"/>
                        <a:ea typeface="华文楷体" panose="02010600040101010101" pitchFamily="2" charset="-122"/>
                      </a:rPr>
                      <a:t>Theme  color makes PPT more convenient to change.</a:t>
                    </a:r>
                    <a:endParaRPr lang="en-US" altLang="zh-CN" sz="800" dirty="0">
                      <a:solidFill>
                        <a:schemeClr val="tx1"/>
                      </a:solidFill>
                      <a:latin typeface="Arial" panose="020B0604020202090204" pitchFamily="34" charset="0"/>
                      <a:ea typeface="华文楷体" panose="02010600040101010101" pitchFamily="2" charset="-122"/>
                    </a:endParaRPr>
                  </a:p>
                </p:txBody>
              </p:sp>
            </p:grpSp>
          </p:grpSp>
        </p:grpSp>
        <p:sp>
          <p:nvSpPr>
            <p:cNvPr id="161" name="矩形 160"/>
            <p:cNvSpPr/>
            <p:nvPr/>
          </p:nvSpPr>
          <p:spPr>
            <a:xfrm>
              <a:off x="2032984" y="1355490"/>
              <a:ext cx="8126033" cy="815667"/>
            </a:xfrm>
            <a:prstGeom prst="rect">
              <a:avLst/>
            </a:prstGeom>
          </p:spPr>
          <p:txBody>
            <a:bodyPr wrap="none" anchor="b" anchorCtr="0">
              <a:noAutofit/>
            </a:bodyPr>
            <a:lstStyle/>
            <a:p>
              <a:pPr algn="ctr">
                <a:buSzPct val="25000"/>
              </a:pPr>
              <a:r>
                <a:rPr lang="en-US" altLang="zh-CN" sz="3200" b="1" dirty="0">
                  <a:solidFill>
                    <a:schemeClr val="accent1"/>
                  </a:solidFill>
                  <a:latin typeface="Arial" panose="020B0604020202090204" pitchFamily="34" charset="0"/>
                  <a:ea typeface="华文楷体" panose="02010600040101010101" pitchFamily="2" charset="-122"/>
                </a:rPr>
                <a:t>Unified fonts</a:t>
              </a:r>
              <a:r>
                <a:rPr lang="zh-CN" altLang="en-US" sz="3200" b="1" dirty="0">
                  <a:solidFill>
                    <a:schemeClr val="accent1"/>
                  </a:solidFill>
                  <a:latin typeface="Arial" panose="020B0604020202090204" pitchFamily="34" charset="0"/>
                  <a:ea typeface="华文楷体" panose="02010600040101010101" pitchFamily="2" charset="-122"/>
                </a:rPr>
                <a:t> </a:t>
              </a:r>
              <a:r>
                <a:rPr lang="en-US" altLang="zh-CN" sz="3200" b="1" dirty="0">
                  <a:solidFill>
                    <a:schemeClr val="accent1"/>
                  </a:solidFill>
                  <a:latin typeface="Arial" panose="020B0604020202090204" pitchFamily="34" charset="0"/>
                  <a:ea typeface="华文楷体" panose="02010600040101010101" pitchFamily="2" charset="-122"/>
                </a:rPr>
                <a:t>make </a:t>
              </a:r>
              <a:r>
                <a:rPr lang="en-US" altLang="zh-CN" sz="3200" b="1" dirty="0">
                  <a:latin typeface="Arial" panose="020B0604020202090204" pitchFamily="34" charset="0"/>
                  <a:ea typeface="华文楷体" panose="02010600040101010101" pitchFamily="2" charset="-122"/>
                </a:rPr>
                <a:t>Rea</a:t>
              </a:r>
              <a:r>
                <a:rPr lang="en-US" altLang="zh-CN" sz="100" b="1" dirty="0">
                  <a:latin typeface="Arial" panose="020B0604020202090204" pitchFamily="34" charset="0"/>
                  <a:ea typeface="华文楷体" panose="02010600040101010101" pitchFamily="2" charset="-122"/>
                </a:rPr>
                <a:t> </a:t>
              </a:r>
              <a:r>
                <a:rPr lang="en-US" altLang="zh-CN" sz="3200" b="1" dirty="0">
                  <a:latin typeface="Arial" panose="020B0604020202090204" pitchFamily="34" charset="0"/>
                  <a:ea typeface="华文楷体" panose="02010600040101010101" pitchFamily="2" charset="-122"/>
                </a:rPr>
                <a:t>ding more fluent.</a:t>
              </a:r>
              <a:endParaRPr lang="en-US" altLang="zh-CN" sz="3200" b="1" dirty="0">
                <a:latin typeface="Arial" panose="020B0604020202090204" pitchFamily="34" charset="0"/>
                <a:ea typeface="华文楷体" panose="02010600040101010101" pitchFamily="2" charset="-122"/>
              </a:endParaRPr>
            </a:p>
          </p:txBody>
        </p:sp>
      </p:grpSp>
    </p:spTree>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1364184" y="1692275"/>
            <a:ext cx="9463632" cy="3549651"/>
            <a:chOff x="1364184" y="1692275"/>
            <a:chExt cx="9463632" cy="3549651"/>
          </a:xfrm>
        </p:grpSpPr>
        <p:sp>
          <p:nvSpPr>
            <p:cNvPr id="6" name="任意多边形: 形状 5"/>
            <p:cNvSpPr/>
            <p:nvPr/>
          </p:nvSpPr>
          <p:spPr bwMode="auto">
            <a:xfrm>
              <a:off x="4224338" y="1692275"/>
              <a:ext cx="2820988" cy="3281363"/>
            </a:xfrm>
            <a:custGeom>
              <a:avLst/>
              <a:gdLst>
                <a:gd name="T0" fmla="*/ 880 w 2842"/>
                <a:gd name="T1" fmla="*/ 2984 h 3305"/>
                <a:gd name="T2" fmla="*/ 2481 w 2842"/>
                <a:gd name="T3" fmla="*/ 1511 h 3305"/>
                <a:gd name="T4" fmla="*/ 2429 w 2842"/>
                <a:gd name="T5" fmla="*/ 300 h 3305"/>
                <a:gd name="T6" fmla="*/ 2429 w 2842"/>
                <a:gd name="T7" fmla="*/ 300 h 3305"/>
                <a:gd name="T8" fmla="*/ 1245 w 2842"/>
                <a:gd name="T9" fmla="*/ 555 h 3305"/>
                <a:gd name="T10" fmla="*/ 223 w 2842"/>
                <a:gd name="T11" fmla="*/ 2476 h 3305"/>
                <a:gd name="T12" fmla="*/ 880 w 2842"/>
                <a:gd name="T13" fmla="*/ 2984 h 3305"/>
              </a:gdLst>
              <a:ahLst/>
              <a:cxnLst>
                <a:cxn ang="0">
                  <a:pos x="T0" y="T1"/>
                </a:cxn>
                <a:cxn ang="0">
                  <a:pos x="T2" y="T3"/>
                </a:cxn>
                <a:cxn ang="0">
                  <a:pos x="T4" y="T5"/>
                </a:cxn>
                <a:cxn ang="0">
                  <a:pos x="T6" y="T7"/>
                </a:cxn>
                <a:cxn ang="0">
                  <a:pos x="T8" y="T9"/>
                </a:cxn>
                <a:cxn ang="0">
                  <a:pos x="T10" y="T11"/>
                </a:cxn>
                <a:cxn ang="0">
                  <a:pos x="T12" y="T13"/>
                </a:cxn>
              </a:cxnLst>
              <a:rect l="0" t="0" r="r" b="b"/>
              <a:pathLst>
                <a:path w="2842" h="3305">
                  <a:moveTo>
                    <a:pt x="880" y="2984"/>
                  </a:moveTo>
                  <a:cubicBezTo>
                    <a:pt x="2481" y="1511"/>
                    <a:pt x="2481" y="1511"/>
                    <a:pt x="2481" y="1511"/>
                  </a:cubicBezTo>
                  <a:cubicBezTo>
                    <a:pt x="2842" y="1178"/>
                    <a:pt x="2817" y="601"/>
                    <a:pt x="2429" y="300"/>
                  </a:cubicBezTo>
                  <a:cubicBezTo>
                    <a:pt x="2429" y="300"/>
                    <a:pt x="2429" y="300"/>
                    <a:pt x="2429" y="300"/>
                  </a:cubicBezTo>
                  <a:cubicBezTo>
                    <a:pt x="2040" y="0"/>
                    <a:pt x="1475" y="122"/>
                    <a:pt x="1245" y="555"/>
                  </a:cubicBezTo>
                  <a:cubicBezTo>
                    <a:pt x="223" y="2476"/>
                    <a:pt x="223" y="2476"/>
                    <a:pt x="223" y="2476"/>
                  </a:cubicBezTo>
                  <a:cubicBezTo>
                    <a:pt x="0" y="2895"/>
                    <a:pt x="531" y="3305"/>
                    <a:pt x="880" y="2984"/>
                  </a:cubicBezTo>
                  <a:close/>
                </a:path>
              </a:pathLst>
            </a:custGeom>
            <a:solidFill>
              <a:schemeClr val="accent1"/>
            </a:solidFill>
            <a:ln>
              <a:noFill/>
            </a:ln>
          </p:spPr>
          <p:txBody>
            <a:bodyPr vert="horz" wrap="square" lIns="91440" tIns="45720" rIns="91440" bIns="45720" numCol="1" anchor="t" anchorCtr="0" compatLnSpc="1"/>
            <a:lstStyle/>
            <a:p>
              <a:endParaRPr lang="zh-CN" altLang="en-US"/>
            </a:p>
          </p:txBody>
        </p:sp>
        <p:sp>
          <p:nvSpPr>
            <p:cNvPr id="7" name="任意多边形: 形状 6"/>
            <p:cNvSpPr/>
            <p:nvPr/>
          </p:nvSpPr>
          <p:spPr bwMode="auto">
            <a:xfrm>
              <a:off x="5556250" y="1757363"/>
              <a:ext cx="2498725" cy="3484563"/>
            </a:xfrm>
            <a:custGeom>
              <a:avLst/>
              <a:gdLst>
                <a:gd name="T0" fmla="*/ 150 w 2517"/>
                <a:gd name="T1" fmla="*/ 766 h 3510"/>
                <a:gd name="T2" fmla="*/ 839 w 2517"/>
                <a:gd name="T3" fmla="*/ 2830 h 3510"/>
                <a:gd name="T4" fmla="*/ 1964 w 2517"/>
                <a:gd name="T5" fmla="*/ 3278 h 3510"/>
                <a:gd name="T6" fmla="*/ 1964 w 2517"/>
                <a:gd name="T7" fmla="*/ 3278 h 3510"/>
                <a:gd name="T8" fmla="*/ 2216 w 2517"/>
                <a:gd name="T9" fmla="*/ 2093 h 3510"/>
                <a:gd name="T10" fmla="*/ 882 w 2517"/>
                <a:gd name="T11" fmla="*/ 374 h 3510"/>
                <a:gd name="T12" fmla="*/ 150 w 2517"/>
                <a:gd name="T13" fmla="*/ 766 h 3510"/>
              </a:gdLst>
              <a:ahLst/>
              <a:cxnLst>
                <a:cxn ang="0">
                  <a:pos x="T0" y="T1"/>
                </a:cxn>
                <a:cxn ang="0">
                  <a:pos x="T2" y="T3"/>
                </a:cxn>
                <a:cxn ang="0">
                  <a:pos x="T4" y="T5"/>
                </a:cxn>
                <a:cxn ang="0">
                  <a:pos x="T6" y="T7"/>
                </a:cxn>
                <a:cxn ang="0">
                  <a:pos x="T8" y="T9"/>
                </a:cxn>
                <a:cxn ang="0">
                  <a:pos x="T10" y="T11"/>
                </a:cxn>
                <a:cxn ang="0">
                  <a:pos x="T12" y="T13"/>
                </a:cxn>
              </a:cxnLst>
              <a:rect l="0" t="0" r="r" b="b"/>
              <a:pathLst>
                <a:path w="2517" h="3510">
                  <a:moveTo>
                    <a:pt x="150" y="766"/>
                  </a:moveTo>
                  <a:cubicBezTo>
                    <a:pt x="839" y="2830"/>
                    <a:pt x="839" y="2830"/>
                    <a:pt x="839" y="2830"/>
                  </a:cubicBezTo>
                  <a:cubicBezTo>
                    <a:pt x="994" y="3296"/>
                    <a:pt x="1531" y="3510"/>
                    <a:pt x="1964" y="3278"/>
                  </a:cubicBezTo>
                  <a:cubicBezTo>
                    <a:pt x="1964" y="3278"/>
                    <a:pt x="1964" y="3278"/>
                    <a:pt x="1964" y="3278"/>
                  </a:cubicBezTo>
                  <a:cubicBezTo>
                    <a:pt x="2397" y="3047"/>
                    <a:pt x="2517" y="2481"/>
                    <a:pt x="2216" y="2093"/>
                  </a:cubicBezTo>
                  <a:cubicBezTo>
                    <a:pt x="882" y="374"/>
                    <a:pt x="882" y="374"/>
                    <a:pt x="882" y="374"/>
                  </a:cubicBezTo>
                  <a:cubicBezTo>
                    <a:pt x="592" y="0"/>
                    <a:pt x="0" y="316"/>
                    <a:pt x="150" y="766"/>
                  </a:cubicBezTo>
                  <a:close/>
                </a:path>
              </a:pathLst>
            </a:custGeom>
            <a:solidFill>
              <a:srgbClr val="CECEC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dirty="0"/>
            </a:p>
          </p:txBody>
        </p:sp>
        <p:sp>
          <p:nvSpPr>
            <p:cNvPr id="8" name="任意多边形: 形状 7"/>
            <p:cNvSpPr/>
            <p:nvPr/>
          </p:nvSpPr>
          <p:spPr bwMode="auto">
            <a:xfrm>
              <a:off x="4219575" y="3406775"/>
              <a:ext cx="3581400" cy="1704975"/>
            </a:xfrm>
            <a:custGeom>
              <a:avLst/>
              <a:gdLst>
                <a:gd name="T0" fmla="*/ 3153 w 3608"/>
                <a:gd name="T1" fmla="*/ 740 h 1717"/>
                <a:gd name="T2" fmla="*/ 1062 w 3608"/>
                <a:gd name="T3" fmla="*/ 136 h 1717"/>
                <a:gd name="T4" fmla="*/ 55 w 3608"/>
                <a:gd name="T5" fmla="*/ 809 h 1717"/>
                <a:gd name="T6" fmla="*/ 55 w 3608"/>
                <a:gd name="T7" fmla="*/ 809 h 1717"/>
                <a:gd name="T8" fmla="*/ 887 w 3608"/>
                <a:gd name="T9" fmla="*/ 1689 h 1717"/>
                <a:gd name="T10" fmla="*/ 3060 w 3608"/>
                <a:gd name="T11" fmla="*/ 1565 h 1717"/>
                <a:gd name="T12" fmla="*/ 3153 w 3608"/>
                <a:gd name="T13" fmla="*/ 740 h 1717"/>
              </a:gdLst>
              <a:ahLst/>
              <a:cxnLst>
                <a:cxn ang="0">
                  <a:pos x="T0" y="T1"/>
                </a:cxn>
                <a:cxn ang="0">
                  <a:pos x="T2" y="T3"/>
                </a:cxn>
                <a:cxn ang="0">
                  <a:pos x="T4" y="T5"/>
                </a:cxn>
                <a:cxn ang="0">
                  <a:pos x="T6" y="T7"/>
                </a:cxn>
                <a:cxn ang="0">
                  <a:pos x="T8" y="T9"/>
                </a:cxn>
                <a:cxn ang="0">
                  <a:pos x="T10" y="T11"/>
                </a:cxn>
                <a:cxn ang="0">
                  <a:pos x="T12" y="T13"/>
                </a:cxn>
              </a:cxnLst>
              <a:rect l="0" t="0" r="r" b="b"/>
              <a:pathLst>
                <a:path w="3608" h="1717">
                  <a:moveTo>
                    <a:pt x="3153" y="740"/>
                  </a:moveTo>
                  <a:cubicBezTo>
                    <a:pt x="1062" y="136"/>
                    <a:pt x="1062" y="136"/>
                    <a:pt x="1062" y="136"/>
                  </a:cubicBezTo>
                  <a:cubicBezTo>
                    <a:pt x="590" y="0"/>
                    <a:pt x="110" y="321"/>
                    <a:pt x="55" y="809"/>
                  </a:cubicBezTo>
                  <a:cubicBezTo>
                    <a:pt x="55" y="809"/>
                    <a:pt x="55" y="809"/>
                    <a:pt x="55" y="809"/>
                  </a:cubicBezTo>
                  <a:cubicBezTo>
                    <a:pt x="0" y="1297"/>
                    <a:pt x="397" y="1717"/>
                    <a:pt x="887" y="1689"/>
                  </a:cubicBezTo>
                  <a:cubicBezTo>
                    <a:pt x="3060" y="1565"/>
                    <a:pt x="3060" y="1565"/>
                    <a:pt x="3060" y="1565"/>
                  </a:cubicBezTo>
                  <a:cubicBezTo>
                    <a:pt x="3533" y="1538"/>
                    <a:pt x="3608" y="871"/>
                    <a:pt x="3153" y="740"/>
                  </a:cubicBezTo>
                  <a:close/>
                </a:path>
              </a:pathLst>
            </a:custGeom>
            <a:solidFill>
              <a:schemeClr val="bg2"/>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a:bodyPr>
            <a:lstStyle/>
            <a:p>
              <a:pPr algn="ctr" defTabSz="914400"/>
              <a:endParaRPr lang="zh-CN" altLang="en-US" sz="2000" b="1">
                <a:solidFill>
                  <a:schemeClr val="bg2">
                    <a:lumMod val="75000"/>
                  </a:schemeClr>
                </a:solidFill>
              </a:endParaRPr>
            </a:p>
          </p:txBody>
        </p:sp>
        <p:sp>
          <p:nvSpPr>
            <p:cNvPr id="9" name="任意多边形: 形状 8"/>
            <p:cNvSpPr/>
            <p:nvPr/>
          </p:nvSpPr>
          <p:spPr bwMode="auto">
            <a:xfrm>
              <a:off x="5840413" y="2105025"/>
              <a:ext cx="511175" cy="512763"/>
            </a:xfrm>
            <a:custGeom>
              <a:avLst/>
              <a:gdLst>
                <a:gd name="T0" fmla="*/ 507 w 515"/>
                <a:gd name="T1" fmla="*/ 273 h 515"/>
                <a:gd name="T2" fmla="*/ 243 w 515"/>
                <a:gd name="T3" fmla="*/ 507 h 515"/>
                <a:gd name="T4" fmla="*/ 8 w 515"/>
                <a:gd name="T5" fmla="*/ 243 h 515"/>
                <a:gd name="T6" fmla="*/ 273 w 515"/>
                <a:gd name="T7" fmla="*/ 8 h 515"/>
                <a:gd name="T8" fmla="*/ 507 w 515"/>
                <a:gd name="T9" fmla="*/ 273 h 515"/>
              </a:gdLst>
              <a:ahLst/>
              <a:cxnLst>
                <a:cxn ang="0">
                  <a:pos x="T0" y="T1"/>
                </a:cxn>
                <a:cxn ang="0">
                  <a:pos x="T2" y="T3"/>
                </a:cxn>
                <a:cxn ang="0">
                  <a:pos x="T4" y="T5"/>
                </a:cxn>
                <a:cxn ang="0">
                  <a:pos x="T6" y="T7"/>
                </a:cxn>
                <a:cxn ang="0">
                  <a:pos x="T8" y="T9"/>
                </a:cxn>
              </a:cxnLst>
              <a:rect l="0" t="0" r="r" b="b"/>
              <a:pathLst>
                <a:path w="515" h="515">
                  <a:moveTo>
                    <a:pt x="507" y="273"/>
                  </a:moveTo>
                  <a:cubicBezTo>
                    <a:pt x="499" y="410"/>
                    <a:pt x="380" y="515"/>
                    <a:pt x="243" y="507"/>
                  </a:cubicBezTo>
                  <a:cubicBezTo>
                    <a:pt x="105" y="499"/>
                    <a:pt x="0" y="380"/>
                    <a:pt x="8" y="243"/>
                  </a:cubicBezTo>
                  <a:cubicBezTo>
                    <a:pt x="17" y="105"/>
                    <a:pt x="135" y="0"/>
                    <a:pt x="273" y="8"/>
                  </a:cubicBezTo>
                  <a:cubicBezTo>
                    <a:pt x="410" y="17"/>
                    <a:pt x="515" y="135"/>
                    <a:pt x="507" y="273"/>
                  </a:cubicBezTo>
                  <a:close/>
                </a:path>
              </a:pathLst>
            </a:custGeom>
            <a:solidFill>
              <a:srgbClr val="FFFFFF"/>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000" b="1" dirty="0">
                  <a:solidFill>
                    <a:schemeClr val="bg2">
                      <a:lumMod val="10000"/>
                    </a:schemeClr>
                  </a:solidFill>
                  <a:latin typeface="Arial" panose="020B0604020202090204" pitchFamily="34" charset="0"/>
                  <a:ea typeface="华文楷体" panose="02010600040101010101" pitchFamily="2" charset="-122"/>
                </a:rPr>
                <a:t>02</a:t>
              </a:r>
              <a:endParaRPr lang="zh-CN" altLang="en-US" sz="2000" b="1" dirty="0">
                <a:solidFill>
                  <a:schemeClr val="bg2">
                    <a:lumMod val="10000"/>
                  </a:schemeClr>
                </a:solidFill>
                <a:latin typeface="Arial" panose="020B0604020202090204" pitchFamily="34" charset="0"/>
                <a:ea typeface="华文楷体" panose="02010600040101010101" pitchFamily="2" charset="-122"/>
              </a:endParaRPr>
            </a:p>
          </p:txBody>
        </p:sp>
        <p:sp>
          <p:nvSpPr>
            <p:cNvPr id="10" name="任意多边形: 形状 9"/>
            <p:cNvSpPr/>
            <p:nvPr/>
          </p:nvSpPr>
          <p:spPr bwMode="auto">
            <a:xfrm>
              <a:off x="7067550" y="4291013"/>
              <a:ext cx="511175" cy="511175"/>
            </a:xfrm>
            <a:custGeom>
              <a:avLst/>
              <a:gdLst>
                <a:gd name="T0" fmla="*/ 507 w 515"/>
                <a:gd name="T1" fmla="*/ 272 h 515"/>
                <a:gd name="T2" fmla="*/ 243 w 515"/>
                <a:gd name="T3" fmla="*/ 506 h 515"/>
                <a:gd name="T4" fmla="*/ 9 w 515"/>
                <a:gd name="T5" fmla="*/ 242 h 515"/>
                <a:gd name="T6" fmla="*/ 273 w 515"/>
                <a:gd name="T7" fmla="*/ 8 h 515"/>
                <a:gd name="T8" fmla="*/ 507 w 515"/>
                <a:gd name="T9" fmla="*/ 272 h 515"/>
              </a:gdLst>
              <a:ahLst/>
              <a:cxnLst>
                <a:cxn ang="0">
                  <a:pos x="T0" y="T1"/>
                </a:cxn>
                <a:cxn ang="0">
                  <a:pos x="T2" y="T3"/>
                </a:cxn>
                <a:cxn ang="0">
                  <a:pos x="T4" y="T5"/>
                </a:cxn>
                <a:cxn ang="0">
                  <a:pos x="T6" y="T7"/>
                </a:cxn>
                <a:cxn ang="0">
                  <a:pos x="T8" y="T9"/>
                </a:cxn>
              </a:cxnLst>
              <a:rect l="0" t="0" r="r" b="b"/>
              <a:pathLst>
                <a:path w="515" h="515">
                  <a:moveTo>
                    <a:pt x="507" y="272"/>
                  </a:moveTo>
                  <a:cubicBezTo>
                    <a:pt x="499" y="410"/>
                    <a:pt x="381" y="515"/>
                    <a:pt x="243" y="506"/>
                  </a:cubicBezTo>
                  <a:cubicBezTo>
                    <a:pt x="105" y="498"/>
                    <a:pt x="0" y="380"/>
                    <a:pt x="9" y="242"/>
                  </a:cubicBezTo>
                  <a:cubicBezTo>
                    <a:pt x="17" y="104"/>
                    <a:pt x="135" y="0"/>
                    <a:pt x="273" y="8"/>
                  </a:cubicBezTo>
                  <a:cubicBezTo>
                    <a:pt x="411" y="16"/>
                    <a:pt x="515" y="134"/>
                    <a:pt x="507" y="272"/>
                  </a:cubicBezTo>
                  <a:close/>
                </a:path>
              </a:pathLst>
            </a:custGeom>
            <a:solidFill>
              <a:srgbClr val="FFFFFF"/>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000" b="1" dirty="0">
                  <a:solidFill>
                    <a:schemeClr val="bg2">
                      <a:lumMod val="10000"/>
                    </a:schemeClr>
                  </a:solidFill>
                  <a:latin typeface="Arial" panose="020B0604020202090204" pitchFamily="34" charset="0"/>
                  <a:ea typeface="华文楷体" panose="02010600040101010101" pitchFamily="2" charset="-122"/>
                </a:rPr>
                <a:t>03</a:t>
              </a:r>
              <a:endParaRPr lang="zh-CN" altLang="en-US" sz="2000" b="1" dirty="0">
                <a:solidFill>
                  <a:schemeClr val="bg2">
                    <a:lumMod val="10000"/>
                  </a:schemeClr>
                </a:solidFill>
                <a:latin typeface="Arial" panose="020B0604020202090204" pitchFamily="34" charset="0"/>
                <a:ea typeface="华文楷体" panose="02010600040101010101" pitchFamily="2" charset="-122"/>
              </a:endParaRPr>
            </a:p>
          </p:txBody>
        </p:sp>
        <p:sp>
          <p:nvSpPr>
            <p:cNvPr id="11" name="任意多边形: 形状 10"/>
            <p:cNvSpPr/>
            <p:nvPr/>
          </p:nvSpPr>
          <p:spPr bwMode="auto">
            <a:xfrm>
              <a:off x="4224338" y="3490913"/>
              <a:ext cx="1835150" cy="1482725"/>
            </a:xfrm>
            <a:custGeom>
              <a:avLst/>
              <a:gdLst>
                <a:gd name="T0" fmla="*/ 1850 w 1850"/>
                <a:gd name="T1" fmla="*/ 281 h 1494"/>
                <a:gd name="T2" fmla="*/ 1058 w 1850"/>
                <a:gd name="T3" fmla="*/ 52 h 1494"/>
                <a:gd name="T4" fmla="*/ 533 w 1850"/>
                <a:gd name="T5" fmla="*/ 82 h 1494"/>
                <a:gd name="T6" fmla="*/ 223 w 1850"/>
                <a:gd name="T7" fmla="*/ 665 h 1494"/>
                <a:gd name="T8" fmla="*/ 880 w 1850"/>
                <a:gd name="T9" fmla="*/ 1173 h 1494"/>
                <a:gd name="T10" fmla="*/ 1850 w 1850"/>
                <a:gd name="T11" fmla="*/ 281 h 1494"/>
              </a:gdLst>
              <a:ahLst/>
              <a:cxnLst>
                <a:cxn ang="0">
                  <a:pos x="T0" y="T1"/>
                </a:cxn>
                <a:cxn ang="0">
                  <a:pos x="T2" y="T3"/>
                </a:cxn>
                <a:cxn ang="0">
                  <a:pos x="T4" y="T5"/>
                </a:cxn>
                <a:cxn ang="0">
                  <a:pos x="T6" y="T7"/>
                </a:cxn>
                <a:cxn ang="0">
                  <a:pos x="T8" y="T9"/>
                </a:cxn>
                <a:cxn ang="0">
                  <a:pos x="T10" y="T11"/>
                </a:cxn>
              </a:cxnLst>
              <a:rect l="0" t="0" r="r" b="b"/>
              <a:pathLst>
                <a:path w="1850" h="1494">
                  <a:moveTo>
                    <a:pt x="1850" y="281"/>
                  </a:moveTo>
                  <a:cubicBezTo>
                    <a:pt x="1058" y="52"/>
                    <a:pt x="1058" y="52"/>
                    <a:pt x="1058" y="52"/>
                  </a:cubicBezTo>
                  <a:cubicBezTo>
                    <a:pt x="876" y="0"/>
                    <a:pt x="693" y="15"/>
                    <a:pt x="533" y="82"/>
                  </a:cubicBezTo>
                  <a:cubicBezTo>
                    <a:pt x="223" y="665"/>
                    <a:pt x="223" y="665"/>
                    <a:pt x="223" y="665"/>
                  </a:cubicBezTo>
                  <a:cubicBezTo>
                    <a:pt x="0" y="1084"/>
                    <a:pt x="531" y="1494"/>
                    <a:pt x="880" y="1173"/>
                  </a:cubicBezTo>
                  <a:lnTo>
                    <a:pt x="1850" y="281"/>
                  </a:lnTo>
                  <a:close/>
                </a:path>
              </a:pathLst>
            </a:custGeom>
            <a:solidFill>
              <a:schemeClr val="accent1"/>
            </a:solidFill>
            <a:ln>
              <a:noFill/>
            </a:ln>
          </p:spPr>
          <p:txBody>
            <a:bodyPr vert="horz" wrap="square" lIns="91440" tIns="45720" rIns="91440" bIns="45720" numCol="1" anchor="t" anchorCtr="0" compatLnSpc="1"/>
            <a:lstStyle/>
            <a:p>
              <a:endParaRPr lang="zh-CN" altLang="en-US"/>
            </a:p>
          </p:txBody>
        </p:sp>
        <p:sp>
          <p:nvSpPr>
            <p:cNvPr id="12" name="任意多边形: 形状 11"/>
            <p:cNvSpPr/>
            <p:nvPr/>
          </p:nvSpPr>
          <p:spPr bwMode="auto">
            <a:xfrm>
              <a:off x="4529138" y="4113213"/>
              <a:ext cx="511175" cy="512763"/>
            </a:xfrm>
            <a:custGeom>
              <a:avLst/>
              <a:gdLst>
                <a:gd name="T0" fmla="*/ 507 w 515"/>
                <a:gd name="T1" fmla="*/ 273 h 516"/>
                <a:gd name="T2" fmla="*/ 243 w 515"/>
                <a:gd name="T3" fmla="*/ 507 h 516"/>
                <a:gd name="T4" fmla="*/ 8 w 515"/>
                <a:gd name="T5" fmla="*/ 243 h 516"/>
                <a:gd name="T6" fmla="*/ 273 w 515"/>
                <a:gd name="T7" fmla="*/ 9 h 516"/>
                <a:gd name="T8" fmla="*/ 507 w 515"/>
                <a:gd name="T9" fmla="*/ 273 h 516"/>
              </a:gdLst>
              <a:ahLst/>
              <a:cxnLst>
                <a:cxn ang="0">
                  <a:pos x="T0" y="T1"/>
                </a:cxn>
                <a:cxn ang="0">
                  <a:pos x="T2" y="T3"/>
                </a:cxn>
                <a:cxn ang="0">
                  <a:pos x="T4" y="T5"/>
                </a:cxn>
                <a:cxn ang="0">
                  <a:pos x="T6" y="T7"/>
                </a:cxn>
                <a:cxn ang="0">
                  <a:pos x="T8" y="T9"/>
                </a:cxn>
              </a:cxnLst>
              <a:rect l="0" t="0" r="r" b="b"/>
              <a:pathLst>
                <a:path w="515" h="516">
                  <a:moveTo>
                    <a:pt x="507" y="273"/>
                  </a:moveTo>
                  <a:cubicBezTo>
                    <a:pt x="499" y="411"/>
                    <a:pt x="380" y="516"/>
                    <a:pt x="243" y="507"/>
                  </a:cubicBezTo>
                  <a:cubicBezTo>
                    <a:pt x="105" y="499"/>
                    <a:pt x="0" y="381"/>
                    <a:pt x="8" y="243"/>
                  </a:cubicBezTo>
                  <a:cubicBezTo>
                    <a:pt x="17" y="105"/>
                    <a:pt x="135" y="0"/>
                    <a:pt x="273" y="9"/>
                  </a:cubicBezTo>
                  <a:cubicBezTo>
                    <a:pt x="410" y="17"/>
                    <a:pt x="515" y="135"/>
                    <a:pt x="507" y="273"/>
                  </a:cubicBezTo>
                  <a:close/>
                </a:path>
              </a:pathLst>
            </a:custGeom>
            <a:solidFill>
              <a:srgbClr val="FFFFFF"/>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000" b="1" dirty="0">
                  <a:solidFill>
                    <a:schemeClr val="bg2">
                      <a:lumMod val="10000"/>
                    </a:schemeClr>
                  </a:solidFill>
                  <a:latin typeface="Arial" panose="020B0604020202090204" pitchFamily="34" charset="0"/>
                  <a:ea typeface="华文楷体" panose="02010600040101010101" pitchFamily="2" charset="-122"/>
                </a:rPr>
                <a:t>01</a:t>
              </a:r>
              <a:endParaRPr lang="zh-CN" altLang="en-US" sz="2000" b="1" dirty="0">
                <a:solidFill>
                  <a:schemeClr val="bg2">
                    <a:lumMod val="10000"/>
                  </a:schemeClr>
                </a:solidFill>
                <a:latin typeface="Arial" panose="020B0604020202090204" pitchFamily="34" charset="0"/>
                <a:ea typeface="华文楷体" panose="02010600040101010101" pitchFamily="2" charset="-122"/>
              </a:endParaRPr>
            </a:p>
          </p:txBody>
        </p:sp>
        <p:sp>
          <p:nvSpPr>
            <p:cNvPr id="13" name="任意多边形: 形状 12"/>
            <p:cNvSpPr/>
            <p:nvPr/>
          </p:nvSpPr>
          <p:spPr bwMode="auto">
            <a:xfrm>
              <a:off x="4708525" y="3452813"/>
              <a:ext cx="1377950" cy="342900"/>
            </a:xfrm>
            <a:custGeom>
              <a:avLst/>
              <a:gdLst>
                <a:gd name="T0" fmla="*/ 68 w 868"/>
                <a:gd name="T1" fmla="*/ 0 h 216"/>
                <a:gd name="T2" fmla="*/ 0 w 868"/>
                <a:gd name="T3" fmla="*/ 127 h 216"/>
                <a:gd name="T4" fmla="*/ 833 w 868"/>
                <a:gd name="T5" fmla="*/ 216 h 216"/>
                <a:gd name="T6" fmla="*/ 868 w 868"/>
                <a:gd name="T7" fmla="*/ 185 h 216"/>
                <a:gd name="T8" fmla="*/ 611 w 868"/>
                <a:gd name="T9" fmla="*/ 4 h 216"/>
                <a:gd name="T10" fmla="*/ 68 w 868"/>
                <a:gd name="T11" fmla="*/ 0 h 216"/>
              </a:gdLst>
              <a:ahLst/>
              <a:cxnLst>
                <a:cxn ang="0">
                  <a:pos x="T0" y="T1"/>
                </a:cxn>
                <a:cxn ang="0">
                  <a:pos x="T2" y="T3"/>
                </a:cxn>
                <a:cxn ang="0">
                  <a:pos x="T4" y="T5"/>
                </a:cxn>
                <a:cxn ang="0">
                  <a:pos x="T6" y="T7"/>
                </a:cxn>
                <a:cxn ang="0">
                  <a:pos x="T8" y="T9"/>
                </a:cxn>
                <a:cxn ang="0">
                  <a:pos x="T10" y="T11"/>
                </a:cxn>
              </a:cxnLst>
              <a:rect l="0" t="0" r="r" b="b"/>
              <a:pathLst>
                <a:path w="868" h="216">
                  <a:moveTo>
                    <a:pt x="68" y="0"/>
                  </a:moveTo>
                  <a:lnTo>
                    <a:pt x="0" y="127"/>
                  </a:lnTo>
                  <a:lnTo>
                    <a:pt x="833" y="216"/>
                  </a:lnTo>
                  <a:lnTo>
                    <a:pt x="868" y="185"/>
                  </a:lnTo>
                  <a:lnTo>
                    <a:pt x="611" y="4"/>
                  </a:lnTo>
                  <a:lnTo>
                    <a:pt x="68" y="0"/>
                  </a:lnTo>
                  <a:close/>
                </a:path>
              </a:pathLst>
            </a:custGeom>
            <a:solidFill>
              <a:schemeClr val="accent1"/>
            </a:solidFill>
            <a:ln>
              <a:noFill/>
            </a:ln>
          </p:spPr>
          <p:txBody>
            <a:bodyPr vert="horz" wrap="square" lIns="91440" tIns="45720" rIns="91440" bIns="45720" numCol="1" anchor="t" anchorCtr="0" compatLnSpc="1"/>
            <a:lstStyle/>
            <a:p>
              <a:endParaRPr lang="zh-CN" altLang="en-US"/>
            </a:p>
          </p:txBody>
        </p:sp>
        <p:sp>
          <p:nvSpPr>
            <p:cNvPr id="14" name="椭圆 13"/>
            <p:cNvSpPr/>
            <p:nvPr/>
          </p:nvSpPr>
          <p:spPr>
            <a:xfrm>
              <a:off x="5424480" y="2999841"/>
              <a:ext cx="1332447" cy="1332447"/>
            </a:xfrm>
            <a:prstGeom prst="ellipse">
              <a:avLst/>
            </a:prstGeom>
            <a:solidFill>
              <a:srgbClr val="FFFFFF"/>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000" b="1" dirty="0">
                  <a:solidFill>
                    <a:schemeClr val="bg2">
                      <a:lumMod val="10000"/>
                    </a:schemeClr>
                  </a:solidFill>
                  <a:latin typeface="Arial" panose="020B0604020202090204" pitchFamily="34" charset="0"/>
                  <a:ea typeface="华文楷体" panose="02010600040101010101" pitchFamily="2" charset="-122"/>
                </a:rPr>
                <a:t>Text   here</a:t>
              </a:r>
              <a:endParaRPr lang="zh-CN" altLang="en-US" sz="2000" b="1" dirty="0">
                <a:solidFill>
                  <a:schemeClr val="bg2">
                    <a:lumMod val="10000"/>
                  </a:schemeClr>
                </a:solidFill>
                <a:latin typeface="Arial" panose="020B0604020202090204" pitchFamily="34" charset="0"/>
                <a:ea typeface="华文楷体" panose="02010600040101010101" pitchFamily="2" charset="-122"/>
              </a:endParaRPr>
            </a:p>
          </p:txBody>
        </p:sp>
        <p:sp>
          <p:nvSpPr>
            <p:cNvPr id="15" name="文本框 14"/>
            <p:cNvSpPr txBox="1"/>
            <p:nvPr/>
          </p:nvSpPr>
          <p:spPr>
            <a:xfrm>
              <a:off x="1364184" y="4555560"/>
              <a:ext cx="2876555" cy="455189"/>
            </a:xfrm>
            <a:prstGeom prst="rect">
              <a:avLst/>
            </a:prstGeom>
          </p:spPr>
          <p:txBody>
            <a:bodyPr wrap="square" rtlCol="0">
              <a:spAutoFit/>
            </a:bodyPr>
            <a:lstStyle>
              <a:defPPr>
                <a:defRPr lang="zh-CN"/>
              </a:defPPr>
              <a:lvl1pPr>
                <a:lnSpc>
                  <a:spcPts val="1500"/>
                </a:lnSpc>
                <a:defRPr sz="900"/>
              </a:lvl1pPr>
            </a:lstStyle>
            <a:p>
              <a:pPr algn="r"/>
              <a:r>
                <a:rPr lang="en-US" altLang="zh-CN" dirty="0">
                  <a:solidFill>
                    <a:schemeClr val="accent1"/>
                  </a:solidFill>
                  <a:latin typeface="Arial" panose="020B0604020202090204" pitchFamily="34" charset="0"/>
                  <a:ea typeface="华文楷体" panose="02010600040101010101" pitchFamily="2" charset="-122"/>
                </a:rPr>
                <a:t>Unified fonts make reading more </a:t>
              </a:r>
              <a:r>
                <a:rPr lang="en-US" altLang="zh-CN" dirty="0" err="1">
                  <a:solidFill>
                    <a:schemeClr val="accent1"/>
                  </a:solidFill>
                  <a:latin typeface="Arial" panose="020B0604020202090204" pitchFamily="34" charset="0"/>
                  <a:ea typeface="华文楷体" panose="02010600040101010101" pitchFamily="2" charset="-122"/>
                </a:rPr>
                <a:t>fluent.Copy</a:t>
              </a:r>
              <a:r>
                <a:rPr lang="en-US" altLang="zh-CN" dirty="0">
                  <a:solidFill>
                    <a:schemeClr val="accent1"/>
                  </a:solidFill>
                  <a:latin typeface="Arial" panose="020B0604020202090204" pitchFamily="34" charset="0"/>
                  <a:ea typeface="华文楷体" panose="02010600040101010101" pitchFamily="2" charset="-122"/>
                </a:rPr>
                <a:t> paste fonts. Choose the only </a:t>
              </a:r>
              <a:r>
                <a:rPr lang="en-US" altLang="zh-CN" dirty="0" err="1">
                  <a:solidFill>
                    <a:schemeClr val="accent1"/>
                  </a:solidFill>
                  <a:latin typeface="Arial" panose="020B0604020202090204" pitchFamily="34" charset="0"/>
                  <a:ea typeface="华文楷体" panose="02010600040101010101" pitchFamily="2" charset="-122"/>
                </a:rPr>
                <a:t>optio</a:t>
              </a:r>
              <a:r>
                <a:rPr lang="en-US" altLang="zh-CN" dirty="0">
                  <a:solidFill>
                    <a:schemeClr val="accent1"/>
                  </a:solidFill>
                  <a:latin typeface="Arial" panose="020B0604020202090204" pitchFamily="34" charset="0"/>
                  <a:ea typeface="华文楷体" panose="02010600040101010101" pitchFamily="2" charset="-122"/>
                </a:rPr>
                <a:t> to retain text……</a:t>
              </a:r>
              <a:endParaRPr lang="en-US" altLang="zh-CN" dirty="0">
                <a:solidFill>
                  <a:schemeClr val="accent1"/>
                </a:solidFill>
                <a:latin typeface="Arial" panose="020B0604020202090204" pitchFamily="34" charset="0"/>
                <a:ea typeface="华文楷体" panose="02010600040101010101" pitchFamily="2" charset="-122"/>
              </a:endParaRPr>
            </a:p>
          </p:txBody>
        </p:sp>
        <p:sp>
          <p:nvSpPr>
            <p:cNvPr id="16" name="文本框 15"/>
            <p:cNvSpPr txBox="1"/>
            <p:nvPr/>
          </p:nvSpPr>
          <p:spPr>
            <a:xfrm>
              <a:off x="1835995" y="4235451"/>
              <a:ext cx="2404744" cy="307777"/>
            </a:xfrm>
            <a:prstGeom prst="rect">
              <a:avLst/>
            </a:prstGeom>
            <a:noFill/>
          </p:spPr>
          <p:txBody>
            <a:bodyPr wrap="square" rtlCol="0">
              <a:spAutoFit/>
            </a:bodyPr>
            <a:lstStyle/>
            <a:p>
              <a:pPr algn="r"/>
              <a:r>
                <a:rPr lang="en-US" altLang="zh-CN" sz="1400" b="1" dirty="0">
                  <a:solidFill>
                    <a:schemeClr val="accent1"/>
                  </a:solidFill>
                  <a:latin typeface="Arial" panose="020B0604020202090204" pitchFamily="34" charset="0"/>
                  <a:ea typeface="华文楷体" panose="02010600040101010101" pitchFamily="2" charset="-122"/>
                </a:rPr>
                <a:t>Supporting text here.</a:t>
              </a:r>
              <a:endParaRPr lang="en-US" altLang="zh-CN" sz="1400" b="1" dirty="0">
                <a:solidFill>
                  <a:schemeClr val="accent1"/>
                </a:solidFill>
                <a:latin typeface="Arial" panose="020B0604020202090204" pitchFamily="34" charset="0"/>
                <a:ea typeface="华文楷体" panose="02010600040101010101" pitchFamily="2" charset="-122"/>
              </a:endParaRPr>
            </a:p>
          </p:txBody>
        </p:sp>
        <p:sp>
          <p:nvSpPr>
            <p:cNvPr id="17" name="文本框 16"/>
            <p:cNvSpPr txBox="1"/>
            <p:nvPr/>
          </p:nvSpPr>
          <p:spPr>
            <a:xfrm>
              <a:off x="7951261" y="4721780"/>
              <a:ext cx="2876555" cy="455189"/>
            </a:xfrm>
            <a:prstGeom prst="rect">
              <a:avLst/>
            </a:prstGeom>
          </p:spPr>
          <p:txBody>
            <a:bodyPr wrap="square" rtlCol="0">
              <a:spAutoFit/>
            </a:bodyPr>
            <a:lstStyle>
              <a:defPPr>
                <a:defRPr lang="zh-CN"/>
              </a:defPPr>
              <a:lvl1pPr>
                <a:lnSpc>
                  <a:spcPts val="1500"/>
                </a:lnSpc>
                <a:defRPr sz="900"/>
              </a:lvl1pPr>
            </a:lstStyle>
            <a:p>
              <a:r>
                <a:rPr lang="en-US" altLang="zh-CN" dirty="0">
                  <a:latin typeface="Arial" panose="020B0604020202090204" pitchFamily="34" charset="0"/>
                  <a:ea typeface="华文楷体" panose="02010600040101010101" pitchFamily="2" charset="-122"/>
                </a:rPr>
                <a:t>Unified fonts make reading more </a:t>
              </a:r>
              <a:r>
                <a:rPr lang="en-US" altLang="zh-CN" dirty="0" err="1">
                  <a:latin typeface="Arial" panose="020B0604020202090204" pitchFamily="34" charset="0"/>
                  <a:ea typeface="华文楷体" panose="02010600040101010101" pitchFamily="2" charset="-122"/>
                </a:rPr>
                <a:t>fluent.Copy</a:t>
              </a:r>
              <a:r>
                <a:rPr lang="en-US" altLang="zh-CN" dirty="0">
                  <a:latin typeface="Arial" panose="020B0604020202090204" pitchFamily="34" charset="0"/>
                  <a:ea typeface="华文楷体" panose="02010600040101010101" pitchFamily="2" charset="-122"/>
                </a:rPr>
                <a:t> paste fonts. Choose the only </a:t>
              </a:r>
              <a:r>
                <a:rPr lang="en-US" altLang="zh-CN" dirty="0" err="1">
                  <a:latin typeface="Arial" panose="020B0604020202090204" pitchFamily="34" charset="0"/>
                  <a:ea typeface="华文楷体" panose="02010600040101010101" pitchFamily="2" charset="-122"/>
                </a:rPr>
                <a:t>optio</a:t>
              </a:r>
              <a:r>
                <a:rPr lang="en-US" altLang="zh-CN" dirty="0">
                  <a:latin typeface="Arial" panose="020B0604020202090204" pitchFamily="34" charset="0"/>
                  <a:ea typeface="华文楷体" panose="02010600040101010101" pitchFamily="2" charset="-122"/>
                </a:rPr>
                <a:t> to retain text……</a:t>
              </a:r>
              <a:endParaRPr lang="en-US" altLang="zh-CN" dirty="0">
                <a:latin typeface="Arial" panose="020B0604020202090204" pitchFamily="34" charset="0"/>
                <a:ea typeface="华文楷体" panose="02010600040101010101" pitchFamily="2" charset="-122"/>
              </a:endParaRPr>
            </a:p>
          </p:txBody>
        </p:sp>
        <p:sp>
          <p:nvSpPr>
            <p:cNvPr id="18" name="文本框 17"/>
            <p:cNvSpPr txBox="1"/>
            <p:nvPr/>
          </p:nvSpPr>
          <p:spPr>
            <a:xfrm>
              <a:off x="7951262" y="4401671"/>
              <a:ext cx="2404744" cy="307777"/>
            </a:xfrm>
            <a:prstGeom prst="rect">
              <a:avLst/>
            </a:prstGeom>
            <a:noFill/>
          </p:spPr>
          <p:txBody>
            <a:bodyPr wrap="square" rtlCol="0">
              <a:spAutoFit/>
            </a:bodyPr>
            <a:lstStyle/>
            <a:p>
              <a:r>
                <a:rPr lang="en-US" altLang="zh-CN" sz="1400" b="1" dirty="0">
                  <a:latin typeface="Arial" panose="020B0604020202090204" pitchFamily="34" charset="0"/>
                  <a:ea typeface="华文楷体" panose="02010600040101010101" pitchFamily="2" charset="-122"/>
                </a:rPr>
                <a:t>Supporting text here.</a:t>
              </a:r>
              <a:endParaRPr lang="en-US" altLang="zh-CN" sz="1400" b="1" dirty="0">
                <a:latin typeface="Arial" panose="020B0604020202090204" pitchFamily="34" charset="0"/>
                <a:ea typeface="华文楷体" panose="02010600040101010101" pitchFamily="2" charset="-122"/>
              </a:endParaRPr>
            </a:p>
          </p:txBody>
        </p:sp>
        <p:sp>
          <p:nvSpPr>
            <p:cNvPr id="19" name="文本框 18"/>
            <p:cNvSpPr txBox="1"/>
            <p:nvPr/>
          </p:nvSpPr>
          <p:spPr>
            <a:xfrm>
              <a:off x="7065962" y="2302440"/>
              <a:ext cx="2876555" cy="455189"/>
            </a:xfrm>
            <a:prstGeom prst="rect">
              <a:avLst/>
            </a:prstGeom>
          </p:spPr>
          <p:txBody>
            <a:bodyPr wrap="square" rtlCol="0">
              <a:spAutoFit/>
            </a:bodyPr>
            <a:lstStyle>
              <a:defPPr>
                <a:defRPr lang="zh-CN"/>
              </a:defPPr>
              <a:lvl1pPr>
                <a:lnSpc>
                  <a:spcPts val="1500"/>
                </a:lnSpc>
                <a:defRPr sz="900"/>
              </a:lvl1pPr>
            </a:lstStyle>
            <a:p>
              <a:r>
                <a:rPr lang="en-US" altLang="zh-CN" dirty="0">
                  <a:latin typeface="Arial" panose="020B0604020202090204" pitchFamily="34" charset="0"/>
                  <a:ea typeface="华文楷体" panose="02010600040101010101" pitchFamily="2" charset="-122"/>
                </a:rPr>
                <a:t>Unified fonts make reading more </a:t>
              </a:r>
              <a:r>
                <a:rPr lang="en-US" altLang="zh-CN" dirty="0" err="1">
                  <a:latin typeface="Arial" panose="020B0604020202090204" pitchFamily="34" charset="0"/>
                  <a:ea typeface="华文楷体" panose="02010600040101010101" pitchFamily="2" charset="-122"/>
                </a:rPr>
                <a:t>fluent.Copy</a:t>
              </a:r>
              <a:r>
                <a:rPr lang="en-US" altLang="zh-CN" dirty="0">
                  <a:latin typeface="Arial" panose="020B0604020202090204" pitchFamily="34" charset="0"/>
                  <a:ea typeface="华文楷体" panose="02010600040101010101" pitchFamily="2" charset="-122"/>
                </a:rPr>
                <a:t> paste fonts. Choose the only </a:t>
              </a:r>
              <a:r>
                <a:rPr lang="en-US" altLang="zh-CN" dirty="0" err="1">
                  <a:latin typeface="Arial" panose="020B0604020202090204" pitchFamily="34" charset="0"/>
                  <a:ea typeface="华文楷体" panose="02010600040101010101" pitchFamily="2" charset="-122"/>
                </a:rPr>
                <a:t>optio</a:t>
              </a:r>
              <a:r>
                <a:rPr lang="en-US" altLang="zh-CN" dirty="0">
                  <a:latin typeface="Arial" panose="020B0604020202090204" pitchFamily="34" charset="0"/>
                  <a:ea typeface="华文楷体" panose="02010600040101010101" pitchFamily="2" charset="-122"/>
                </a:rPr>
                <a:t> to retain text……</a:t>
              </a:r>
              <a:endParaRPr lang="en-US" altLang="zh-CN" dirty="0">
                <a:latin typeface="Arial" panose="020B0604020202090204" pitchFamily="34" charset="0"/>
                <a:ea typeface="华文楷体" panose="02010600040101010101" pitchFamily="2" charset="-122"/>
              </a:endParaRPr>
            </a:p>
          </p:txBody>
        </p:sp>
        <p:sp>
          <p:nvSpPr>
            <p:cNvPr id="20" name="文本框 19"/>
            <p:cNvSpPr txBox="1"/>
            <p:nvPr/>
          </p:nvSpPr>
          <p:spPr>
            <a:xfrm>
              <a:off x="7065963" y="1982331"/>
              <a:ext cx="2404744" cy="307777"/>
            </a:xfrm>
            <a:prstGeom prst="rect">
              <a:avLst/>
            </a:prstGeom>
            <a:noFill/>
          </p:spPr>
          <p:txBody>
            <a:bodyPr wrap="square" rtlCol="0">
              <a:spAutoFit/>
            </a:bodyPr>
            <a:lstStyle/>
            <a:p>
              <a:r>
                <a:rPr lang="en-US" altLang="zh-CN" sz="1400" b="1" dirty="0">
                  <a:latin typeface="Arial" panose="020B0604020202090204" pitchFamily="34" charset="0"/>
                  <a:ea typeface="华文楷体" panose="02010600040101010101" pitchFamily="2" charset="-122"/>
                </a:rPr>
                <a:t>Supporting text here.</a:t>
              </a:r>
              <a:endParaRPr lang="en-US" altLang="zh-CN" sz="1400" b="1" dirty="0">
                <a:latin typeface="Arial" panose="020B0604020202090204" pitchFamily="34" charset="0"/>
                <a:ea typeface="华文楷体" panose="02010600040101010101" pitchFamily="2" charset="-122"/>
              </a:endParaRPr>
            </a:p>
          </p:txBody>
        </p:sp>
      </p:grpSp>
    </p:spTree>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1863718" y="1832200"/>
            <a:ext cx="8464565" cy="3600000"/>
            <a:chOff x="1863718" y="1832200"/>
            <a:chExt cx="8464565" cy="3600000"/>
          </a:xfrm>
        </p:grpSpPr>
        <p:grpSp>
          <p:nvGrpSpPr>
            <p:cNvPr id="39" name="组合 38"/>
            <p:cNvGrpSpPr/>
            <p:nvPr/>
          </p:nvGrpSpPr>
          <p:grpSpPr>
            <a:xfrm>
              <a:off x="1863718" y="1832200"/>
              <a:ext cx="6036804" cy="3600000"/>
              <a:chOff x="2442785" y="1928982"/>
              <a:chExt cx="6036804" cy="3600000"/>
            </a:xfrm>
          </p:grpSpPr>
          <p:grpSp>
            <p:nvGrpSpPr>
              <p:cNvPr id="40" name="组合 39"/>
              <p:cNvGrpSpPr/>
              <p:nvPr/>
            </p:nvGrpSpPr>
            <p:grpSpPr>
              <a:xfrm flipH="1">
                <a:off x="2442785" y="1928982"/>
                <a:ext cx="2436804" cy="926844"/>
                <a:chOff x="2981986" y="1494463"/>
                <a:chExt cx="2436804" cy="926844"/>
              </a:xfrm>
            </p:grpSpPr>
            <p:grpSp>
              <p:nvGrpSpPr>
                <p:cNvPr id="42" name="组合 41"/>
                <p:cNvGrpSpPr/>
                <p:nvPr/>
              </p:nvGrpSpPr>
              <p:grpSpPr>
                <a:xfrm>
                  <a:off x="3565318" y="1494463"/>
                  <a:ext cx="1853472" cy="926844"/>
                  <a:chOff x="7119257" y="2386978"/>
                  <a:chExt cx="2200862" cy="911887"/>
                </a:xfrm>
                <a:noFill/>
              </p:grpSpPr>
              <p:sp>
                <p:nvSpPr>
                  <p:cNvPr id="46" name="矩形 45"/>
                  <p:cNvSpPr/>
                  <p:nvPr/>
                </p:nvSpPr>
                <p:spPr>
                  <a:xfrm>
                    <a:off x="7119257" y="2386978"/>
                    <a:ext cx="2200862" cy="4568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b"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r>
                      <a:rPr kumimoji="1" lang="en-US" altLang="zh-CN" sz="1600" b="1" dirty="0">
                        <a:solidFill>
                          <a:schemeClr val="tx1"/>
                        </a:solidFill>
                        <a:latin typeface="Arial" panose="020B0604020202090204" pitchFamily="34" charset="0"/>
                        <a:ea typeface="华文楷体" panose="02010600040101010101" pitchFamily="2" charset="-122"/>
                      </a:rPr>
                      <a:t>Text</a:t>
                    </a:r>
                    <a:r>
                      <a:rPr kumimoji="1" lang="zh-CN" altLang="en-US" sz="1600" b="1" dirty="0">
                        <a:solidFill>
                          <a:schemeClr val="tx1"/>
                        </a:solidFill>
                        <a:latin typeface="Arial" panose="020B0604020202090204" pitchFamily="34" charset="0"/>
                        <a:ea typeface="华文楷体" panose="02010600040101010101" pitchFamily="2" charset="-122"/>
                      </a:rPr>
                      <a:t> </a:t>
                    </a:r>
                    <a:r>
                      <a:rPr kumimoji="1" lang="en-US" altLang="zh-CN" sz="1600" b="1" dirty="0">
                        <a:solidFill>
                          <a:schemeClr val="tx1"/>
                        </a:solidFill>
                        <a:latin typeface="Arial" panose="020B0604020202090204" pitchFamily="34" charset="0"/>
                        <a:ea typeface="华文楷体" panose="02010600040101010101" pitchFamily="2" charset="-122"/>
                      </a:rPr>
                      <a:t>here</a:t>
                    </a:r>
                    <a:endParaRPr kumimoji="1" lang="en-US" altLang="zh-CN" sz="1600" b="1" dirty="0">
                      <a:solidFill>
                        <a:schemeClr val="tx1"/>
                      </a:solidFill>
                      <a:latin typeface="Arial" panose="020B0604020202090204" pitchFamily="34" charset="0"/>
                      <a:ea typeface="华文楷体" panose="02010600040101010101" pitchFamily="2" charset="-122"/>
                    </a:endParaRPr>
                  </a:p>
                </p:txBody>
              </p:sp>
              <p:sp>
                <p:nvSpPr>
                  <p:cNvPr id="47" name="矩形 46"/>
                  <p:cNvSpPr/>
                  <p:nvPr/>
                </p:nvSpPr>
                <p:spPr>
                  <a:xfrm>
                    <a:off x="7119257" y="2711125"/>
                    <a:ext cx="2199239" cy="5877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t"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nSpc>
                        <a:spcPct val="130000"/>
                      </a:lnSpc>
                    </a:pPr>
                    <a:r>
                      <a:rPr kumimoji="1" lang="en-US" altLang="zh-CN" sz="1000" dirty="0">
                        <a:solidFill>
                          <a:schemeClr val="tx1"/>
                        </a:solidFill>
                        <a:latin typeface="Arial" panose="020B0604020202090204" pitchFamily="34" charset="0"/>
                        <a:ea typeface="华文楷体" panose="02010600040101010101" pitchFamily="2" charset="-122"/>
                      </a:rPr>
                      <a:t>Theme color makes PPT more convenient to change.</a:t>
                    </a:r>
                    <a:endParaRPr kumimoji="1" lang="en-US" altLang="zh-CN" sz="1000" dirty="0">
                      <a:solidFill>
                        <a:schemeClr val="tx1"/>
                      </a:solidFill>
                      <a:latin typeface="Arial" panose="020B0604020202090204" pitchFamily="34" charset="0"/>
                      <a:ea typeface="华文楷体" panose="02010600040101010101" pitchFamily="2" charset="-122"/>
                    </a:endParaRPr>
                  </a:p>
                </p:txBody>
              </p:sp>
            </p:grpSp>
            <p:grpSp>
              <p:nvGrpSpPr>
                <p:cNvPr id="43" name="组合 42"/>
                <p:cNvGrpSpPr/>
                <p:nvPr/>
              </p:nvGrpSpPr>
              <p:grpSpPr>
                <a:xfrm>
                  <a:off x="2981986" y="1688554"/>
                  <a:ext cx="540000" cy="540000"/>
                  <a:chOff x="2832175" y="5599496"/>
                  <a:chExt cx="540000" cy="540000"/>
                </a:xfrm>
              </p:grpSpPr>
              <p:sp>
                <p:nvSpPr>
                  <p:cNvPr id="44" name="文本框 43"/>
                  <p:cNvSpPr txBox="1"/>
                  <p:nvPr/>
                </p:nvSpPr>
                <p:spPr>
                  <a:xfrm flipH="1">
                    <a:off x="2832175" y="5599496"/>
                    <a:ext cx="540000" cy="540000"/>
                  </a:xfrm>
                  <a:prstGeom prst="ellipse">
                    <a:avLst/>
                  </a:prstGeom>
                  <a:solidFill>
                    <a:schemeClr val="accent1"/>
                  </a:solidFill>
                </p:spPr>
                <p:txBody>
                  <a:bodyPr wrap="none" lIns="108000" tIns="108000" rIns="108000" bIns="108000" rtlCol="0" anchor="ctr" anchorCtr="0">
                    <a:noAutofit/>
                  </a:bodyPr>
                  <a:lstStyle/>
                  <a:p>
                    <a:pPr algn="ctr"/>
                    <a:endParaRPr kumimoji="1" lang="zh-CN" altLang="en-US" sz="2000" b="1" dirty="0">
                      <a:noFill/>
                    </a:endParaRPr>
                  </a:p>
                </p:txBody>
              </p:sp>
              <p:sp>
                <p:nvSpPr>
                  <p:cNvPr id="45" name="任意多边形: 形状 44"/>
                  <p:cNvSpPr/>
                  <p:nvPr/>
                </p:nvSpPr>
                <p:spPr>
                  <a:xfrm flipH="1">
                    <a:off x="2989061" y="5731793"/>
                    <a:ext cx="226228" cy="275406"/>
                  </a:xfrm>
                  <a:custGeom>
                    <a:avLst/>
                    <a:gdLst>
                      <a:gd name="connsiteX0" fmla="*/ 284197 w 438150"/>
                      <a:gd name="connsiteY0" fmla="*/ 621 h 533400"/>
                      <a:gd name="connsiteX1" fmla="*/ 286102 w 438150"/>
                      <a:gd name="connsiteY1" fmla="*/ 621 h 533400"/>
                      <a:gd name="connsiteX2" fmla="*/ 286102 w 438150"/>
                      <a:gd name="connsiteY2" fmla="*/ 124446 h 533400"/>
                      <a:gd name="connsiteX3" fmla="*/ 286102 w 438150"/>
                      <a:gd name="connsiteY3" fmla="*/ 126351 h 533400"/>
                      <a:gd name="connsiteX4" fmla="*/ 314677 w 438150"/>
                      <a:gd name="connsiteY4" fmla="*/ 153021 h 533400"/>
                      <a:gd name="connsiteX5" fmla="*/ 314677 w 438150"/>
                      <a:gd name="connsiteY5" fmla="*/ 153021 h 533400"/>
                      <a:gd name="connsiteX6" fmla="*/ 438502 w 438150"/>
                      <a:gd name="connsiteY6" fmla="*/ 153021 h 533400"/>
                      <a:gd name="connsiteX7" fmla="*/ 438502 w 438150"/>
                      <a:gd name="connsiteY7" fmla="*/ 154926 h 533400"/>
                      <a:gd name="connsiteX8" fmla="*/ 438502 w 438150"/>
                      <a:gd name="connsiteY8" fmla="*/ 505446 h 533400"/>
                      <a:gd name="connsiteX9" fmla="*/ 409927 w 438150"/>
                      <a:gd name="connsiteY9" fmla="*/ 534021 h 533400"/>
                      <a:gd name="connsiteX10" fmla="*/ 28927 w 438150"/>
                      <a:gd name="connsiteY10" fmla="*/ 534021 h 533400"/>
                      <a:gd name="connsiteX11" fmla="*/ 352 w 438150"/>
                      <a:gd name="connsiteY11" fmla="*/ 505446 h 533400"/>
                      <a:gd name="connsiteX12" fmla="*/ 352 w 438150"/>
                      <a:gd name="connsiteY12" fmla="*/ 29196 h 533400"/>
                      <a:gd name="connsiteX13" fmla="*/ 28927 w 438150"/>
                      <a:gd name="connsiteY13" fmla="*/ 621 h 533400"/>
                      <a:gd name="connsiteX14" fmla="*/ 284197 w 438150"/>
                      <a:gd name="connsiteY14" fmla="*/ 621 h 533400"/>
                      <a:gd name="connsiteX15" fmla="*/ 248002 w 438150"/>
                      <a:gd name="connsiteY15" fmla="*/ 200646 h 533400"/>
                      <a:gd name="connsiteX16" fmla="*/ 152752 w 438150"/>
                      <a:gd name="connsiteY16" fmla="*/ 200646 h 533400"/>
                      <a:gd name="connsiteX17" fmla="*/ 152752 w 438150"/>
                      <a:gd name="connsiteY17" fmla="*/ 410196 h 533400"/>
                      <a:gd name="connsiteX18" fmla="*/ 171802 w 438150"/>
                      <a:gd name="connsiteY18" fmla="*/ 410196 h 533400"/>
                      <a:gd name="connsiteX19" fmla="*/ 171802 w 438150"/>
                      <a:gd name="connsiteY19" fmla="*/ 314946 h 533400"/>
                      <a:gd name="connsiteX20" fmla="*/ 248002 w 438150"/>
                      <a:gd name="connsiteY20" fmla="*/ 314946 h 533400"/>
                      <a:gd name="connsiteX21" fmla="*/ 249907 w 438150"/>
                      <a:gd name="connsiteY21" fmla="*/ 314946 h 533400"/>
                      <a:gd name="connsiteX22" fmla="*/ 305152 w 438150"/>
                      <a:gd name="connsiteY22" fmla="*/ 257796 h 533400"/>
                      <a:gd name="connsiteX23" fmla="*/ 248002 w 438150"/>
                      <a:gd name="connsiteY23" fmla="*/ 200646 h 533400"/>
                      <a:gd name="connsiteX24" fmla="*/ 248002 w 438150"/>
                      <a:gd name="connsiteY24" fmla="*/ 200646 h 533400"/>
                      <a:gd name="connsiteX25" fmla="*/ 248002 w 438150"/>
                      <a:gd name="connsiteY25" fmla="*/ 219696 h 533400"/>
                      <a:gd name="connsiteX26" fmla="*/ 286102 w 438150"/>
                      <a:gd name="connsiteY26" fmla="*/ 257796 h 533400"/>
                      <a:gd name="connsiteX27" fmla="*/ 248002 w 438150"/>
                      <a:gd name="connsiteY27" fmla="*/ 295896 h 533400"/>
                      <a:gd name="connsiteX28" fmla="*/ 248002 w 438150"/>
                      <a:gd name="connsiteY28" fmla="*/ 295896 h 533400"/>
                      <a:gd name="connsiteX29" fmla="*/ 171802 w 438150"/>
                      <a:gd name="connsiteY29" fmla="*/ 295896 h 533400"/>
                      <a:gd name="connsiteX30" fmla="*/ 171802 w 438150"/>
                      <a:gd name="connsiteY30" fmla="*/ 219696 h 533400"/>
                      <a:gd name="connsiteX31" fmla="*/ 248002 w 438150"/>
                      <a:gd name="connsiteY31" fmla="*/ 219696 h 533400"/>
                      <a:gd name="connsiteX32" fmla="*/ 428977 w 438150"/>
                      <a:gd name="connsiteY32" fmla="*/ 133971 h 533400"/>
                      <a:gd name="connsiteX33" fmla="*/ 314677 w 438150"/>
                      <a:gd name="connsiteY33" fmla="*/ 133971 h 533400"/>
                      <a:gd name="connsiteX34" fmla="*/ 313724 w 438150"/>
                      <a:gd name="connsiteY34" fmla="*/ 133971 h 533400"/>
                      <a:gd name="connsiteX35" fmla="*/ 305152 w 438150"/>
                      <a:gd name="connsiteY35" fmla="*/ 124446 h 533400"/>
                      <a:gd name="connsiteX36" fmla="*/ 305152 w 438150"/>
                      <a:gd name="connsiteY36" fmla="*/ 124446 h 533400"/>
                      <a:gd name="connsiteX37" fmla="*/ 305152 w 438150"/>
                      <a:gd name="connsiteY37" fmla="*/ 10146 h 533400"/>
                      <a:gd name="connsiteX38" fmla="*/ 428977 w 438150"/>
                      <a:gd name="connsiteY38" fmla="*/ 133971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38150" h="533400">
                        <a:moveTo>
                          <a:pt x="284197" y="621"/>
                        </a:moveTo>
                        <a:cubicBezTo>
                          <a:pt x="285149" y="621"/>
                          <a:pt x="286102" y="621"/>
                          <a:pt x="286102" y="621"/>
                        </a:cubicBezTo>
                        <a:lnTo>
                          <a:pt x="286102" y="124446"/>
                        </a:lnTo>
                        <a:lnTo>
                          <a:pt x="286102" y="126351"/>
                        </a:lnTo>
                        <a:cubicBezTo>
                          <a:pt x="287055" y="141591"/>
                          <a:pt x="299437" y="153021"/>
                          <a:pt x="314677" y="153021"/>
                        </a:cubicBezTo>
                        <a:lnTo>
                          <a:pt x="314677" y="153021"/>
                        </a:lnTo>
                        <a:lnTo>
                          <a:pt x="438502" y="153021"/>
                        </a:lnTo>
                        <a:cubicBezTo>
                          <a:pt x="438502" y="153974"/>
                          <a:pt x="438502" y="154926"/>
                          <a:pt x="438502" y="154926"/>
                        </a:cubicBezTo>
                        <a:lnTo>
                          <a:pt x="438502" y="505446"/>
                        </a:lnTo>
                        <a:cubicBezTo>
                          <a:pt x="438502" y="521639"/>
                          <a:pt x="426120" y="534021"/>
                          <a:pt x="409927" y="534021"/>
                        </a:cubicBezTo>
                        <a:lnTo>
                          <a:pt x="28927" y="534021"/>
                        </a:lnTo>
                        <a:cubicBezTo>
                          <a:pt x="12734" y="534021"/>
                          <a:pt x="352" y="521639"/>
                          <a:pt x="352" y="505446"/>
                        </a:cubicBezTo>
                        <a:lnTo>
                          <a:pt x="352" y="29196"/>
                        </a:lnTo>
                        <a:cubicBezTo>
                          <a:pt x="352" y="13004"/>
                          <a:pt x="12734" y="621"/>
                          <a:pt x="28927" y="621"/>
                        </a:cubicBezTo>
                        <a:lnTo>
                          <a:pt x="284197" y="621"/>
                        </a:lnTo>
                        <a:close/>
                        <a:moveTo>
                          <a:pt x="248002" y="200646"/>
                        </a:moveTo>
                        <a:lnTo>
                          <a:pt x="152752" y="200646"/>
                        </a:lnTo>
                        <a:lnTo>
                          <a:pt x="152752" y="410196"/>
                        </a:lnTo>
                        <a:lnTo>
                          <a:pt x="171802" y="410196"/>
                        </a:lnTo>
                        <a:lnTo>
                          <a:pt x="171802" y="314946"/>
                        </a:lnTo>
                        <a:lnTo>
                          <a:pt x="248002" y="314946"/>
                        </a:lnTo>
                        <a:lnTo>
                          <a:pt x="249907" y="314946"/>
                        </a:lnTo>
                        <a:cubicBezTo>
                          <a:pt x="280387" y="313994"/>
                          <a:pt x="305152" y="288276"/>
                          <a:pt x="305152" y="257796"/>
                        </a:cubicBezTo>
                        <a:cubicBezTo>
                          <a:pt x="305152" y="226364"/>
                          <a:pt x="279434" y="200646"/>
                          <a:pt x="248002" y="200646"/>
                        </a:cubicBezTo>
                        <a:lnTo>
                          <a:pt x="248002" y="200646"/>
                        </a:lnTo>
                        <a:close/>
                        <a:moveTo>
                          <a:pt x="248002" y="219696"/>
                        </a:moveTo>
                        <a:cubicBezTo>
                          <a:pt x="268957" y="219696"/>
                          <a:pt x="286102" y="236841"/>
                          <a:pt x="286102" y="257796"/>
                        </a:cubicBezTo>
                        <a:cubicBezTo>
                          <a:pt x="286102" y="278751"/>
                          <a:pt x="268957" y="295896"/>
                          <a:pt x="248002" y="295896"/>
                        </a:cubicBezTo>
                        <a:lnTo>
                          <a:pt x="248002" y="295896"/>
                        </a:lnTo>
                        <a:lnTo>
                          <a:pt x="171802" y="295896"/>
                        </a:lnTo>
                        <a:lnTo>
                          <a:pt x="171802" y="219696"/>
                        </a:lnTo>
                        <a:lnTo>
                          <a:pt x="248002" y="219696"/>
                        </a:lnTo>
                        <a:close/>
                        <a:moveTo>
                          <a:pt x="428977" y="133971"/>
                        </a:moveTo>
                        <a:lnTo>
                          <a:pt x="314677" y="133971"/>
                        </a:lnTo>
                        <a:lnTo>
                          <a:pt x="313724" y="133971"/>
                        </a:lnTo>
                        <a:cubicBezTo>
                          <a:pt x="308962" y="133019"/>
                          <a:pt x="305152" y="129209"/>
                          <a:pt x="305152" y="124446"/>
                        </a:cubicBezTo>
                        <a:lnTo>
                          <a:pt x="305152" y="124446"/>
                        </a:lnTo>
                        <a:lnTo>
                          <a:pt x="305152" y="10146"/>
                        </a:lnTo>
                        <a:lnTo>
                          <a:pt x="428977" y="133971"/>
                        </a:lnTo>
                        <a:close/>
                      </a:path>
                    </a:pathLst>
                  </a:custGeom>
                  <a:solidFill>
                    <a:schemeClr val="bg1"/>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grpSp>
          </p:grpSp>
          <p:sp>
            <p:nvSpPr>
              <p:cNvPr id="41" name="空心弧 40"/>
              <p:cNvSpPr/>
              <p:nvPr/>
            </p:nvSpPr>
            <p:spPr>
              <a:xfrm flipH="1">
                <a:off x="4879589" y="1928982"/>
                <a:ext cx="3600000" cy="3600000"/>
              </a:xfrm>
              <a:prstGeom prst="blockArc">
                <a:avLst>
                  <a:gd name="adj1" fmla="val 16200000"/>
                  <a:gd name="adj2" fmla="val 0"/>
                  <a:gd name="adj3" fmla="val 16361"/>
                </a:avLst>
              </a:prstGeom>
              <a:solidFill>
                <a:schemeClr val="tx1">
                  <a:lumMod val="25000"/>
                  <a:lumOff val="75000"/>
                  <a:alpha val="50000"/>
                </a:schemeClr>
              </a:solidFill>
              <a:ln w="38100" cap="flat" cmpd="sng" algn="ctr">
                <a:solidFill>
                  <a:schemeClr val="bg1"/>
                </a:solidFill>
                <a:prstDash val="solid"/>
                <a:miter lim="800000"/>
              </a:ln>
            </p:spPr>
            <p:txBody>
              <a:bodyPr lIns="108000" tIns="108000" rIns="108000" bIns="108000" rtlCol="0" anchor="ctr"/>
              <a:lstStyle/>
              <a:p>
                <a:endParaRPr lang="zh-CN" altLang="en-US">
                  <a:solidFill>
                    <a:schemeClr val="tx1"/>
                  </a:solidFill>
                </a:endParaRPr>
              </a:p>
            </p:txBody>
          </p:sp>
        </p:grpSp>
        <p:grpSp>
          <p:nvGrpSpPr>
            <p:cNvPr id="92" name="组合 91"/>
            <p:cNvGrpSpPr/>
            <p:nvPr/>
          </p:nvGrpSpPr>
          <p:grpSpPr>
            <a:xfrm>
              <a:off x="4291479" y="1832200"/>
              <a:ext cx="6036804" cy="3600000"/>
              <a:chOff x="4291479" y="1832200"/>
              <a:chExt cx="6036804" cy="3600000"/>
            </a:xfrm>
          </p:grpSpPr>
          <p:grpSp>
            <p:nvGrpSpPr>
              <p:cNvPr id="91" name="组合 90"/>
              <p:cNvGrpSpPr/>
              <p:nvPr/>
            </p:nvGrpSpPr>
            <p:grpSpPr>
              <a:xfrm>
                <a:off x="7891479" y="1832200"/>
                <a:ext cx="2436804" cy="926844"/>
                <a:chOff x="7891479" y="1832200"/>
                <a:chExt cx="2436804" cy="926844"/>
              </a:xfrm>
            </p:grpSpPr>
            <p:grpSp>
              <p:nvGrpSpPr>
                <p:cNvPr id="51" name="组合 50"/>
                <p:cNvGrpSpPr/>
                <p:nvPr/>
              </p:nvGrpSpPr>
              <p:grpSpPr>
                <a:xfrm>
                  <a:off x="8474811" y="1832200"/>
                  <a:ext cx="1853472" cy="926844"/>
                  <a:chOff x="7119257" y="2386978"/>
                  <a:chExt cx="2200862" cy="911887"/>
                </a:xfrm>
                <a:noFill/>
              </p:grpSpPr>
              <p:sp>
                <p:nvSpPr>
                  <p:cNvPr id="55" name="矩形 54"/>
                  <p:cNvSpPr/>
                  <p:nvPr/>
                </p:nvSpPr>
                <p:spPr>
                  <a:xfrm>
                    <a:off x="7119257" y="2386978"/>
                    <a:ext cx="2200862" cy="4568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b"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r>
                      <a:rPr kumimoji="1" lang="en-US" altLang="zh-CN" sz="1600" b="1" dirty="0">
                        <a:solidFill>
                          <a:schemeClr val="tx1"/>
                        </a:solidFill>
                        <a:latin typeface="Arial" panose="020B0604020202090204" pitchFamily="34" charset="0"/>
                        <a:ea typeface="华文楷体" panose="02010600040101010101" pitchFamily="2" charset="-122"/>
                      </a:rPr>
                      <a:t>Text</a:t>
                    </a:r>
                    <a:r>
                      <a:rPr kumimoji="1" lang="zh-CN" altLang="en-US" sz="1600" b="1" dirty="0">
                        <a:solidFill>
                          <a:schemeClr val="tx1"/>
                        </a:solidFill>
                        <a:latin typeface="Arial" panose="020B0604020202090204" pitchFamily="34" charset="0"/>
                        <a:ea typeface="华文楷体" panose="02010600040101010101" pitchFamily="2" charset="-122"/>
                      </a:rPr>
                      <a:t> </a:t>
                    </a:r>
                    <a:r>
                      <a:rPr kumimoji="1" lang="en-US" altLang="zh-CN" sz="1600" b="1" dirty="0">
                        <a:solidFill>
                          <a:schemeClr val="tx1"/>
                        </a:solidFill>
                        <a:latin typeface="Arial" panose="020B0604020202090204" pitchFamily="34" charset="0"/>
                        <a:ea typeface="华文楷体" panose="02010600040101010101" pitchFamily="2" charset="-122"/>
                      </a:rPr>
                      <a:t>here</a:t>
                    </a:r>
                    <a:endParaRPr kumimoji="1" lang="en-US" altLang="zh-CN" sz="1600" b="1" dirty="0">
                      <a:solidFill>
                        <a:schemeClr val="tx1"/>
                      </a:solidFill>
                      <a:latin typeface="Arial" panose="020B0604020202090204" pitchFamily="34" charset="0"/>
                      <a:ea typeface="华文楷体" panose="02010600040101010101" pitchFamily="2" charset="-122"/>
                    </a:endParaRPr>
                  </a:p>
                </p:txBody>
              </p:sp>
              <p:sp>
                <p:nvSpPr>
                  <p:cNvPr id="56" name="矩形 55"/>
                  <p:cNvSpPr/>
                  <p:nvPr/>
                </p:nvSpPr>
                <p:spPr>
                  <a:xfrm>
                    <a:off x="7119257" y="2711125"/>
                    <a:ext cx="2199239" cy="5877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t"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nSpc>
                        <a:spcPct val="130000"/>
                      </a:lnSpc>
                    </a:pPr>
                    <a:r>
                      <a:rPr kumimoji="1" lang="en-US" altLang="zh-CN" sz="1000" dirty="0">
                        <a:solidFill>
                          <a:schemeClr val="tx1"/>
                        </a:solidFill>
                        <a:latin typeface="Arial" panose="020B0604020202090204" pitchFamily="34" charset="0"/>
                        <a:ea typeface="华文楷体" panose="02010600040101010101" pitchFamily="2" charset="-122"/>
                      </a:rPr>
                      <a:t>Theme color makes PPT more convenient to change.</a:t>
                    </a:r>
                    <a:endParaRPr kumimoji="1" lang="en-US" altLang="zh-CN" sz="1000" dirty="0">
                      <a:solidFill>
                        <a:schemeClr val="tx1"/>
                      </a:solidFill>
                      <a:latin typeface="Arial" panose="020B0604020202090204" pitchFamily="34" charset="0"/>
                      <a:ea typeface="华文楷体" panose="02010600040101010101" pitchFamily="2" charset="-122"/>
                    </a:endParaRPr>
                  </a:p>
                </p:txBody>
              </p:sp>
            </p:grpSp>
            <p:grpSp>
              <p:nvGrpSpPr>
                <p:cNvPr id="79" name="组合 78"/>
                <p:cNvGrpSpPr/>
                <p:nvPr/>
              </p:nvGrpSpPr>
              <p:grpSpPr>
                <a:xfrm>
                  <a:off x="7891479" y="2026291"/>
                  <a:ext cx="540000" cy="540000"/>
                  <a:chOff x="4584079" y="5599496"/>
                  <a:chExt cx="540000" cy="540000"/>
                </a:xfrm>
              </p:grpSpPr>
              <p:sp>
                <p:nvSpPr>
                  <p:cNvPr id="80" name="文本框 79"/>
                  <p:cNvSpPr txBox="1"/>
                  <p:nvPr/>
                </p:nvSpPr>
                <p:spPr>
                  <a:xfrm>
                    <a:off x="4584079" y="5599496"/>
                    <a:ext cx="540000" cy="540000"/>
                  </a:xfrm>
                  <a:prstGeom prst="ellipse">
                    <a:avLst/>
                  </a:prstGeom>
                  <a:solidFill>
                    <a:schemeClr val="accent1"/>
                  </a:solidFill>
                </p:spPr>
                <p:txBody>
                  <a:bodyPr wrap="none" lIns="108000" tIns="108000" rIns="108000" bIns="108000" rtlCol="0" anchor="ctr" anchorCtr="0">
                    <a:noAutofit/>
                  </a:bodyPr>
                  <a:lstStyle/>
                  <a:p>
                    <a:pPr algn="ctr"/>
                    <a:endParaRPr kumimoji="1" lang="zh-CN" altLang="en-US" sz="2000" b="1" dirty="0">
                      <a:noFill/>
                    </a:endParaRPr>
                  </a:p>
                </p:txBody>
              </p:sp>
              <p:sp>
                <p:nvSpPr>
                  <p:cNvPr id="81" name="任意多边形: 形状 80"/>
                  <p:cNvSpPr/>
                  <p:nvPr/>
                </p:nvSpPr>
                <p:spPr>
                  <a:xfrm>
                    <a:off x="4716376" y="5766219"/>
                    <a:ext cx="275406" cy="206554"/>
                  </a:xfrm>
                  <a:custGeom>
                    <a:avLst/>
                    <a:gdLst>
                      <a:gd name="connsiteX0" fmla="*/ 505433 w 533400"/>
                      <a:gd name="connsiteY0" fmla="*/ 621 h 400050"/>
                      <a:gd name="connsiteX1" fmla="*/ 534008 w 533400"/>
                      <a:gd name="connsiteY1" fmla="*/ 29196 h 400050"/>
                      <a:gd name="connsiteX2" fmla="*/ 534008 w 533400"/>
                      <a:gd name="connsiteY2" fmla="*/ 372096 h 400050"/>
                      <a:gd name="connsiteX3" fmla="*/ 505433 w 533400"/>
                      <a:gd name="connsiteY3" fmla="*/ 400671 h 400050"/>
                      <a:gd name="connsiteX4" fmla="*/ 29183 w 533400"/>
                      <a:gd name="connsiteY4" fmla="*/ 400671 h 400050"/>
                      <a:gd name="connsiteX5" fmla="*/ 608 w 533400"/>
                      <a:gd name="connsiteY5" fmla="*/ 372096 h 400050"/>
                      <a:gd name="connsiteX6" fmla="*/ 608 w 533400"/>
                      <a:gd name="connsiteY6" fmla="*/ 29196 h 400050"/>
                      <a:gd name="connsiteX7" fmla="*/ 29183 w 533400"/>
                      <a:gd name="connsiteY7" fmla="*/ 621 h 400050"/>
                      <a:gd name="connsiteX8" fmla="*/ 505433 w 533400"/>
                      <a:gd name="connsiteY8" fmla="*/ 621 h 400050"/>
                      <a:gd name="connsiteX9" fmla="*/ 391133 w 533400"/>
                      <a:gd name="connsiteY9" fmla="*/ 198741 h 400050"/>
                      <a:gd name="connsiteX10" fmla="*/ 351128 w 533400"/>
                      <a:gd name="connsiteY10" fmla="*/ 204456 h 400050"/>
                      <a:gd name="connsiteX11" fmla="*/ 351128 w 533400"/>
                      <a:gd name="connsiteY11" fmla="*/ 204456 h 400050"/>
                      <a:gd name="connsiteX12" fmla="*/ 267308 w 533400"/>
                      <a:gd name="connsiteY12" fmla="*/ 315899 h 400050"/>
                      <a:gd name="connsiteX13" fmla="*/ 264451 w 533400"/>
                      <a:gd name="connsiteY13" fmla="*/ 318756 h 400050"/>
                      <a:gd name="connsiteX14" fmla="*/ 224446 w 533400"/>
                      <a:gd name="connsiteY14" fmla="*/ 318756 h 400050"/>
                      <a:gd name="connsiteX15" fmla="*/ 224446 w 533400"/>
                      <a:gd name="connsiteY15" fmla="*/ 318756 h 400050"/>
                      <a:gd name="connsiteX16" fmla="*/ 162533 w 533400"/>
                      <a:gd name="connsiteY16" fmla="*/ 257796 h 400050"/>
                      <a:gd name="connsiteX17" fmla="*/ 160628 w 533400"/>
                      <a:gd name="connsiteY17" fmla="*/ 255891 h 400050"/>
                      <a:gd name="connsiteX18" fmla="*/ 120623 w 533400"/>
                      <a:gd name="connsiteY18" fmla="*/ 259701 h 400050"/>
                      <a:gd name="connsiteX19" fmla="*/ 120623 w 533400"/>
                      <a:gd name="connsiteY19" fmla="*/ 259701 h 400050"/>
                      <a:gd name="connsiteX20" fmla="*/ 32993 w 533400"/>
                      <a:gd name="connsiteY20" fmla="*/ 366381 h 400050"/>
                      <a:gd name="connsiteX21" fmla="*/ 31088 w 533400"/>
                      <a:gd name="connsiteY21" fmla="*/ 372096 h 400050"/>
                      <a:gd name="connsiteX22" fmla="*/ 40613 w 533400"/>
                      <a:gd name="connsiteY22" fmla="*/ 381621 h 400050"/>
                      <a:gd name="connsiteX23" fmla="*/ 40613 w 533400"/>
                      <a:gd name="connsiteY23" fmla="*/ 381621 h 400050"/>
                      <a:gd name="connsiteX24" fmla="*/ 497813 w 533400"/>
                      <a:gd name="connsiteY24" fmla="*/ 381621 h 400050"/>
                      <a:gd name="connsiteX25" fmla="*/ 503528 w 533400"/>
                      <a:gd name="connsiteY25" fmla="*/ 379716 h 400050"/>
                      <a:gd name="connsiteX26" fmla="*/ 506386 w 533400"/>
                      <a:gd name="connsiteY26" fmla="*/ 366381 h 400050"/>
                      <a:gd name="connsiteX27" fmla="*/ 506386 w 533400"/>
                      <a:gd name="connsiteY27" fmla="*/ 366381 h 400050"/>
                      <a:gd name="connsiteX28" fmla="*/ 398753 w 533400"/>
                      <a:gd name="connsiteY28" fmla="*/ 205409 h 400050"/>
                      <a:gd name="connsiteX29" fmla="*/ 391133 w 533400"/>
                      <a:gd name="connsiteY29" fmla="*/ 198741 h 400050"/>
                      <a:gd name="connsiteX30" fmla="*/ 95858 w 533400"/>
                      <a:gd name="connsiteY30" fmla="*/ 57771 h 400050"/>
                      <a:gd name="connsiteX31" fmla="*/ 57758 w 533400"/>
                      <a:gd name="connsiteY31" fmla="*/ 95871 h 400050"/>
                      <a:gd name="connsiteX32" fmla="*/ 95858 w 533400"/>
                      <a:gd name="connsiteY32" fmla="*/ 133971 h 400050"/>
                      <a:gd name="connsiteX33" fmla="*/ 133958 w 533400"/>
                      <a:gd name="connsiteY33" fmla="*/ 95871 h 400050"/>
                      <a:gd name="connsiteX34" fmla="*/ 95858 w 533400"/>
                      <a:gd name="connsiteY34" fmla="*/ 57771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33400" h="400050">
                        <a:moveTo>
                          <a:pt x="505433" y="621"/>
                        </a:moveTo>
                        <a:cubicBezTo>
                          <a:pt x="521626" y="621"/>
                          <a:pt x="534008" y="13004"/>
                          <a:pt x="534008" y="29196"/>
                        </a:cubicBezTo>
                        <a:lnTo>
                          <a:pt x="534008" y="372096"/>
                        </a:lnTo>
                        <a:cubicBezTo>
                          <a:pt x="534008" y="388289"/>
                          <a:pt x="521626" y="400671"/>
                          <a:pt x="505433" y="400671"/>
                        </a:cubicBezTo>
                        <a:lnTo>
                          <a:pt x="29183" y="400671"/>
                        </a:lnTo>
                        <a:cubicBezTo>
                          <a:pt x="12990" y="400671"/>
                          <a:pt x="608" y="388289"/>
                          <a:pt x="608" y="372096"/>
                        </a:cubicBezTo>
                        <a:lnTo>
                          <a:pt x="608" y="29196"/>
                        </a:lnTo>
                        <a:cubicBezTo>
                          <a:pt x="608" y="13004"/>
                          <a:pt x="12990" y="621"/>
                          <a:pt x="29183" y="621"/>
                        </a:cubicBezTo>
                        <a:lnTo>
                          <a:pt x="505433" y="621"/>
                        </a:lnTo>
                        <a:close/>
                        <a:moveTo>
                          <a:pt x="391133" y="198741"/>
                        </a:moveTo>
                        <a:cubicBezTo>
                          <a:pt x="378751" y="189216"/>
                          <a:pt x="360653" y="192074"/>
                          <a:pt x="351128" y="204456"/>
                        </a:cubicBezTo>
                        <a:lnTo>
                          <a:pt x="351128" y="204456"/>
                        </a:lnTo>
                        <a:lnTo>
                          <a:pt x="267308" y="315899"/>
                        </a:lnTo>
                        <a:cubicBezTo>
                          <a:pt x="266355" y="316851"/>
                          <a:pt x="265403" y="317804"/>
                          <a:pt x="264451" y="318756"/>
                        </a:cubicBezTo>
                        <a:cubicBezTo>
                          <a:pt x="253021" y="330186"/>
                          <a:pt x="234923" y="330186"/>
                          <a:pt x="224446" y="318756"/>
                        </a:cubicBezTo>
                        <a:lnTo>
                          <a:pt x="224446" y="318756"/>
                        </a:lnTo>
                        <a:lnTo>
                          <a:pt x="162533" y="257796"/>
                        </a:lnTo>
                        <a:cubicBezTo>
                          <a:pt x="161580" y="256844"/>
                          <a:pt x="161580" y="256844"/>
                          <a:pt x="160628" y="255891"/>
                        </a:cubicBezTo>
                        <a:cubicBezTo>
                          <a:pt x="148246" y="245414"/>
                          <a:pt x="130148" y="247319"/>
                          <a:pt x="120623" y="259701"/>
                        </a:cubicBezTo>
                        <a:lnTo>
                          <a:pt x="120623" y="259701"/>
                        </a:lnTo>
                        <a:lnTo>
                          <a:pt x="32993" y="366381"/>
                        </a:lnTo>
                        <a:cubicBezTo>
                          <a:pt x="32040" y="368286"/>
                          <a:pt x="31088" y="370191"/>
                          <a:pt x="31088" y="372096"/>
                        </a:cubicBezTo>
                        <a:cubicBezTo>
                          <a:pt x="31088" y="377811"/>
                          <a:pt x="34898" y="381621"/>
                          <a:pt x="40613" y="381621"/>
                        </a:cubicBezTo>
                        <a:lnTo>
                          <a:pt x="40613" y="381621"/>
                        </a:lnTo>
                        <a:lnTo>
                          <a:pt x="497813" y="381621"/>
                        </a:lnTo>
                        <a:cubicBezTo>
                          <a:pt x="499718" y="381621"/>
                          <a:pt x="501623" y="380669"/>
                          <a:pt x="503528" y="379716"/>
                        </a:cubicBezTo>
                        <a:cubicBezTo>
                          <a:pt x="508290" y="376859"/>
                          <a:pt x="509243" y="371144"/>
                          <a:pt x="506386" y="366381"/>
                        </a:cubicBezTo>
                        <a:lnTo>
                          <a:pt x="506386" y="366381"/>
                        </a:lnTo>
                        <a:lnTo>
                          <a:pt x="398753" y="205409"/>
                        </a:lnTo>
                        <a:cubicBezTo>
                          <a:pt x="395896" y="202551"/>
                          <a:pt x="393990" y="200646"/>
                          <a:pt x="391133" y="198741"/>
                        </a:cubicBezTo>
                        <a:close/>
                        <a:moveTo>
                          <a:pt x="95858" y="57771"/>
                        </a:moveTo>
                        <a:cubicBezTo>
                          <a:pt x="74903" y="57771"/>
                          <a:pt x="57758" y="74916"/>
                          <a:pt x="57758" y="95871"/>
                        </a:cubicBezTo>
                        <a:cubicBezTo>
                          <a:pt x="57758" y="116826"/>
                          <a:pt x="74903" y="133971"/>
                          <a:pt x="95858" y="133971"/>
                        </a:cubicBezTo>
                        <a:cubicBezTo>
                          <a:pt x="116813" y="133971"/>
                          <a:pt x="133958" y="116826"/>
                          <a:pt x="133958" y="95871"/>
                        </a:cubicBezTo>
                        <a:cubicBezTo>
                          <a:pt x="133958" y="74916"/>
                          <a:pt x="116813" y="57771"/>
                          <a:pt x="95858" y="57771"/>
                        </a:cubicBezTo>
                        <a:close/>
                      </a:path>
                    </a:pathLst>
                  </a:custGeom>
                  <a:solidFill>
                    <a:schemeClr val="bg1"/>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grpSp>
          </p:grpSp>
          <p:sp>
            <p:nvSpPr>
              <p:cNvPr id="50" name="空心弧 49"/>
              <p:cNvSpPr/>
              <p:nvPr/>
            </p:nvSpPr>
            <p:spPr>
              <a:xfrm>
                <a:off x="4291479" y="1832200"/>
                <a:ext cx="3600000" cy="3600000"/>
              </a:xfrm>
              <a:prstGeom prst="blockArc">
                <a:avLst>
                  <a:gd name="adj1" fmla="val 16200000"/>
                  <a:gd name="adj2" fmla="val 0"/>
                  <a:gd name="adj3" fmla="val 16361"/>
                </a:avLst>
              </a:prstGeom>
              <a:solidFill>
                <a:schemeClr val="tx1">
                  <a:lumMod val="25000"/>
                  <a:lumOff val="75000"/>
                  <a:alpha val="50000"/>
                </a:schemeClr>
              </a:solidFill>
              <a:ln w="38100" cap="flat" cmpd="sng" algn="ctr">
                <a:solidFill>
                  <a:schemeClr val="bg1"/>
                </a:solidFill>
                <a:prstDash val="solid"/>
                <a:miter lim="800000"/>
              </a:ln>
            </p:spPr>
            <p:txBody>
              <a:bodyPr lIns="108000" tIns="108000" rIns="108000" bIns="108000" rtlCol="0" anchor="ctr"/>
              <a:lstStyle/>
              <a:p>
                <a:endParaRPr lang="zh-CN" altLang="en-US">
                  <a:solidFill>
                    <a:schemeClr val="tx1"/>
                  </a:solidFill>
                </a:endParaRPr>
              </a:p>
            </p:txBody>
          </p:sp>
        </p:grpSp>
        <p:grpSp>
          <p:nvGrpSpPr>
            <p:cNvPr id="96" name="组合 95"/>
            <p:cNvGrpSpPr/>
            <p:nvPr/>
          </p:nvGrpSpPr>
          <p:grpSpPr>
            <a:xfrm>
              <a:off x="1863718" y="1832200"/>
              <a:ext cx="6036804" cy="3600000"/>
              <a:chOff x="1863718" y="1832200"/>
              <a:chExt cx="6036804" cy="3600000"/>
            </a:xfrm>
          </p:grpSpPr>
          <p:grpSp>
            <p:nvGrpSpPr>
              <p:cNvPr id="95" name="组合 94"/>
              <p:cNvGrpSpPr/>
              <p:nvPr/>
            </p:nvGrpSpPr>
            <p:grpSpPr>
              <a:xfrm>
                <a:off x="1863718" y="4505356"/>
                <a:ext cx="2436804" cy="926844"/>
                <a:chOff x="1863718" y="4505356"/>
                <a:chExt cx="2436804" cy="926844"/>
              </a:xfrm>
            </p:grpSpPr>
            <p:grpSp>
              <p:nvGrpSpPr>
                <p:cNvPr id="60" name="组合 59"/>
                <p:cNvGrpSpPr/>
                <p:nvPr/>
              </p:nvGrpSpPr>
              <p:grpSpPr>
                <a:xfrm flipH="1">
                  <a:off x="1863718" y="4505356"/>
                  <a:ext cx="1853472" cy="926844"/>
                  <a:chOff x="7119257" y="2386978"/>
                  <a:chExt cx="2200862" cy="911887"/>
                </a:xfrm>
                <a:noFill/>
              </p:grpSpPr>
              <p:sp>
                <p:nvSpPr>
                  <p:cNvPr id="64" name="矩形 63"/>
                  <p:cNvSpPr/>
                  <p:nvPr/>
                </p:nvSpPr>
                <p:spPr>
                  <a:xfrm>
                    <a:off x="7119257" y="2386978"/>
                    <a:ext cx="2200862" cy="4568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b"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r>
                      <a:rPr kumimoji="1" lang="en-US" altLang="zh-CN" sz="1600" b="1" dirty="0">
                        <a:solidFill>
                          <a:schemeClr val="tx1"/>
                        </a:solidFill>
                        <a:latin typeface="Arial" panose="020B0604020202090204" pitchFamily="34" charset="0"/>
                        <a:ea typeface="华文楷体" panose="02010600040101010101" pitchFamily="2" charset="-122"/>
                      </a:rPr>
                      <a:t>Text</a:t>
                    </a:r>
                    <a:r>
                      <a:rPr kumimoji="1" lang="zh-CN" altLang="en-US" sz="1600" b="1" dirty="0">
                        <a:solidFill>
                          <a:schemeClr val="tx1"/>
                        </a:solidFill>
                        <a:latin typeface="Arial" panose="020B0604020202090204" pitchFamily="34" charset="0"/>
                        <a:ea typeface="华文楷体" panose="02010600040101010101" pitchFamily="2" charset="-122"/>
                      </a:rPr>
                      <a:t> </a:t>
                    </a:r>
                    <a:r>
                      <a:rPr kumimoji="1" lang="en-US" altLang="zh-CN" sz="1600" b="1" dirty="0">
                        <a:solidFill>
                          <a:schemeClr val="tx1"/>
                        </a:solidFill>
                        <a:latin typeface="Arial" panose="020B0604020202090204" pitchFamily="34" charset="0"/>
                        <a:ea typeface="华文楷体" panose="02010600040101010101" pitchFamily="2" charset="-122"/>
                      </a:rPr>
                      <a:t>here</a:t>
                    </a:r>
                    <a:endParaRPr kumimoji="1" lang="en-US" altLang="zh-CN" sz="1600" b="1" dirty="0">
                      <a:solidFill>
                        <a:schemeClr val="tx1"/>
                      </a:solidFill>
                      <a:latin typeface="Arial" panose="020B0604020202090204" pitchFamily="34" charset="0"/>
                      <a:ea typeface="华文楷体" panose="02010600040101010101" pitchFamily="2" charset="-122"/>
                    </a:endParaRPr>
                  </a:p>
                </p:txBody>
              </p:sp>
              <p:sp>
                <p:nvSpPr>
                  <p:cNvPr id="65" name="矩形 64"/>
                  <p:cNvSpPr/>
                  <p:nvPr/>
                </p:nvSpPr>
                <p:spPr>
                  <a:xfrm>
                    <a:off x="7119257" y="2711125"/>
                    <a:ext cx="2199239" cy="5877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t"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nSpc>
                        <a:spcPct val="130000"/>
                      </a:lnSpc>
                    </a:pPr>
                    <a:r>
                      <a:rPr kumimoji="1" lang="en-US" altLang="zh-CN" sz="1000" dirty="0">
                        <a:solidFill>
                          <a:schemeClr val="tx1"/>
                        </a:solidFill>
                        <a:latin typeface="Arial" panose="020B0604020202090204" pitchFamily="34" charset="0"/>
                        <a:ea typeface="华文楷体" panose="02010600040101010101" pitchFamily="2" charset="-122"/>
                      </a:rPr>
                      <a:t>Theme color makes PPT more convenient to change.</a:t>
                    </a:r>
                    <a:endParaRPr kumimoji="1" lang="en-US" altLang="zh-CN" sz="1000" dirty="0">
                      <a:solidFill>
                        <a:schemeClr val="tx1"/>
                      </a:solidFill>
                      <a:latin typeface="Arial" panose="020B0604020202090204" pitchFamily="34" charset="0"/>
                      <a:ea typeface="华文楷体" panose="02010600040101010101" pitchFamily="2" charset="-122"/>
                    </a:endParaRPr>
                  </a:p>
                </p:txBody>
              </p:sp>
            </p:grpSp>
            <p:grpSp>
              <p:nvGrpSpPr>
                <p:cNvPr id="85" name="组合 84"/>
                <p:cNvGrpSpPr/>
                <p:nvPr/>
              </p:nvGrpSpPr>
              <p:grpSpPr>
                <a:xfrm>
                  <a:off x="3760522" y="4699447"/>
                  <a:ext cx="540000" cy="540000"/>
                  <a:chOff x="6335984" y="5599496"/>
                  <a:chExt cx="540000" cy="540000"/>
                </a:xfrm>
              </p:grpSpPr>
              <p:sp>
                <p:nvSpPr>
                  <p:cNvPr id="86" name="文本框 85"/>
                  <p:cNvSpPr txBox="1"/>
                  <p:nvPr/>
                </p:nvSpPr>
                <p:spPr>
                  <a:xfrm>
                    <a:off x="6335984" y="5599496"/>
                    <a:ext cx="540000" cy="540000"/>
                  </a:xfrm>
                  <a:prstGeom prst="ellipse">
                    <a:avLst/>
                  </a:prstGeom>
                  <a:solidFill>
                    <a:schemeClr val="accent1"/>
                  </a:solidFill>
                </p:spPr>
                <p:txBody>
                  <a:bodyPr wrap="none" lIns="108000" tIns="108000" rIns="108000" bIns="108000" rtlCol="0" anchor="ctr" anchorCtr="0">
                    <a:noAutofit/>
                  </a:bodyPr>
                  <a:lstStyle/>
                  <a:p>
                    <a:pPr algn="ctr"/>
                    <a:endParaRPr kumimoji="1" lang="zh-CN" altLang="en-US" sz="2000" b="1" dirty="0">
                      <a:noFill/>
                    </a:endParaRPr>
                  </a:p>
                </p:txBody>
              </p:sp>
              <p:sp>
                <p:nvSpPr>
                  <p:cNvPr id="87" name="任意多边形: 形状 86"/>
                  <p:cNvSpPr/>
                  <p:nvPr/>
                </p:nvSpPr>
                <p:spPr>
                  <a:xfrm>
                    <a:off x="6468280" y="5734252"/>
                    <a:ext cx="275408" cy="270488"/>
                  </a:xfrm>
                  <a:custGeom>
                    <a:avLst/>
                    <a:gdLst>
                      <a:gd name="connsiteX0" fmla="*/ 343764 w 533400"/>
                      <a:gd name="connsiteY0" fmla="*/ 276846 h 523875"/>
                      <a:gd name="connsiteX1" fmla="*/ 372339 w 533400"/>
                      <a:gd name="connsiteY1" fmla="*/ 305421 h 523875"/>
                      <a:gd name="connsiteX2" fmla="*/ 372339 w 533400"/>
                      <a:gd name="connsiteY2" fmla="*/ 495921 h 523875"/>
                      <a:gd name="connsiteX3" fmla="*/ 343764 w 533400"/>
                      <a:gd name="connsiteY3" fmla="*/ 524496 h 523875"/>
                      <a:gd name="connsiteX4" fmla="*/ 191364 w 533400"/>
                      <a:gd name="connsiteY4" fmla="*/ 524496 h 523875"/>
                      <a:gd name="connsiteX5" fmla="*/ 162789 w 533400"/>
                      <a:gd name="connsiteY5" fmla="*/ 495921 h 523875"/>
                      <a:gd name="connsiteX6" fmla="*/ 162789 w 533400"/>
                      <a:gd name="connsiteY6" fmla="*/ 305421 h 523875"/>
                      <a:gd name="connsiteX7" fmla="*/ 191364 w 533400"/>
                      <a:gd name="connsiteY7" fmla="*/ 276846 h 523875"/>
                      <a:gd name="connsiteX8" fmla="*/ 343764 w 533400"/>
                      <a:gd name="connsiteY8" fmla="*/ 276846 h 523875"/>
                      <a:gd name="connsiteX9" fmla="*/ 143739 w 533400"/>
                      <a:gd name="connsiteY9" fmla="*/ 114921 h 523875"/>
                      <a:gd name="connsiteX10" fmla="*/ 179934 w 533400"/>
                      <a:gd name="connsiteY10" fmla="*/ 153021 h 523875"/>
                      <a:gd name="connsiteX11" fmla="*/ 181839 w 533400"/>
                      <a:gd name="connsiteY11" fmla="*/ 153021 h 523875"/>
                      <a:gd name="connsiteX12" fmla="*/ 353289 w 533400"/>
                      <a:gd name="connsiteY12" fmla="*/ 153021 h 523875"/>
                      <a:gd name="connsiteX13" fmla="*/ 391389 w 533400"/>
                      <a:gd name="connsiteY13" fmla="*/ 116826 h 523875"/>
                      <a:gd name="connsiteX14" fmla="*/ 391389 w 533400"/>
                      <a:gd name="connsiteY14" fmla="*/ 114921 h 523875"/>
                      <a:gd name="connsiteX15" fmla="*/ 505689 w 533400"/>
                      <a:gd name="connsiteY15" fmla="*/ 114921 h 523875"/>
                      <a:gd name="connsiteX16" fmla="*/ 534264 w 533400"/>
                      <a:gd name="connsiteY16" fmla="*/ 143496 h 523875"/>
                      <a:gd name="connsiteX17" fmla="*/ 534264 w 533400"/>
                      <a:gd name="connsiteY17" fmla="*/ 381621 h 523875"/>
                      <a:gd name="connsiteX18" fmla="*/ 505689 w 533400"/>
                      <a:gd name="connsiteY18" fmla="*/ 410196 h 523875"/>
                      <a:gd name="connsiteX19" fmla="*/ 391389 w 533400"/>
                      <a:gd name="connsiteY19" fmla="*/ 410196 h 523875"/>
                      <a:gd name="connsiteX20" fmla="*/ 391389 w 533400"/>
                      <a:gd name="connsiteY20" fmla="*/ 295896 h 523875"/>
                      <a:gd name="connsiteX21" fmla="*/ 355194 w 533400"/>
                      <a:gd name="connsiteY21" fmla="*/ 257796 h 523875"/>
                      <a:gd name="connsiteX22" fmla="*/ 353289 w 533400"/>
                      <a:gd name="connsiteY22" fmla="*/ 257796 h 523875"/>
                      <a:gd name="connsiteX23" fmla="*/ 181839 w 533400"/>
                      <a:gd name="connsiteY23" fmla="*/ 257796 h 523875"/>
                      <a:gd name="connsiteX24" fmla="*/ 143739 w 533400"/>
                      <a:gd name="connsiteY24" fmla="*/ 293991 h 523875"/>
                      <a:gd name="connsiteX25" fmla="*/ 143739 w 533400"/>
                      <a:gd name="connsiteY25" fmla="*/ 295896 h 523875"/>
                      <a:gd name="connsiteX26" fmla="*/ 143739 w 533400"/>
                      <a:gd name="connsiteY26" fmla="*/ 410196 h 523875"/>
                      <a:gd name="connsiteX27" fmla="*/ 29439 w 533400"/>
                      <a:gd name="connsiteY27" fmla="*/ 410196 h 523875"/>
                      <a:gd name="connsiteX28" fmla="*/ 864 w 533400"/>
                      <a:gd name="connsiteY28" fmla="*/ 381621 h 523875"/>
                      <a:gd name="connsiteX29" fmla="*/ 864 w 533400"/>
                      <a:gd name="connsiteY29" fmla="*/ 201599 h 523875"/>
                      <a:gd name="connsiteX30" fmla="*/ 11342 w 533400"/>
                      <a:gd name="connsiteY30" fmla="*/ 175881 h 523875"/>
                      <a:gd name="connsiteX31" fmla="*/ 56109 w 533400"/>
                      <a:gd name="connsiteY31" fmla="*/ 127304 h 523875"/>
                      <a:gd name="connsiteX32" fmla="*/ 83732 w 533400"/>
                      <a:gd name="connsiteY32" fmla="*/ 114921 h 523875"/>
                      <a:gd name="connsiteX33" fmla="*/ 143739 w 533400"/>
                      <a:gd name="connsiteY33" fmla="*/ 114921 h 523875"/>
                      <a:gd name="connsiteX34" fmla="*/ 462827 w 533400"/>
                      <a:gd name="connsiteY34" fmla="*/ 172071 h 523875"/>
                      <a:gd name="connsiteX35" fmla="*/ 448539 w 533400"/>
                      <a:gd name="connsiteY35" fmla="*/ 186359 h 523875"/>
                      <a:gd name="connsiteX36" fmla="*/ 462827 w 533400"/>
                      <a:gd name="connsiteY36" fmla="*/ 200646 h 523875"/>
                      <a:gd name="connsiteX37" fmla="*/ 477114 w 533400"/>
                      <a:gd name="connsiteY37" fmla="*/ 186359 h 523875"/>
                      <a:gd name="connsiteX38" fmla="*/ 462827 w 533400"/>
                      <a:gd name="connsiteY38" fmla="*/ 172071 h 523875"/>
                      <a:gd name="connsiteX39" fmla="*/ 343764 w 533400"/>
                      <a:gd name="connsiteY39" fmla="*/ 621 h 523875"/>
                      <a:gd name="connsiteX40" fmla="*/ 372339 w 533400"/>
                      <a:gd name="connsiteY40" fmla="*/ 29196 h 523875"/>
                      <a:gd name="connsiteX41" fmla="*/ 372339 w 533400"/>
                      <a:gd name="connsiteY41" fmla="*/ 105396 h 523875"/>
                      <a:gd name="connsiteX42" fmla="*/ 343764 w 533400"/>
                      <a:gd name="connsiteY42" fmla="*/ 133971 h 523875"/>
                      <a:gd name="connsiteX43" fmla="*/ 191364 w 533400"/>
                      <a:gd name="connsiteY43" fmla="*/ 133971 h 523875"/>
                      <a:gd name="connsiteX44" fmla="*/ 162789 w 533400"/>
                      <a:gd name="connsiteY44" fmla="*/ 105396 h 523875"/>
                      <a:gd name="connsiteX45" fmla="*/ 162789 w 533400"/>
                      <a:gd name="connsiteY45" fmla="*/ 29196 h 523875"/>
                      <a:gd name="connsiteX46" fmla="*/ 191364 w 533400"/>
                      <a:gd name="connsiteY46" fmla="*/ 621 h 523875"/>
                      <a:gd name="connsiteX47" fmla="*/ 343764 w 533400"/>
                      <a:gd name="connsiteY47" fmla="*/ 621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533400" h="523875">
                        <a:moveTo>
                          <a:pt x="343764" y="276846"/>
                        </a:moveTo>
                        <a:cubicBezTo>
                          <a:pt x="359957" y="276846"/>
                          <a:pt x="372339" y="289229"/>
                          <a:pt x="372339" y="305421"/>
                        </a:cubicBezTo>
                        <a:lnTo>
                          <a:pt x="372339" y="495921"/>
                        </a:lnTo>
                        <a:cubicBezTo>
                          <a:pt x="372339" y="512114"/>
                          <a:pt x="359957" y="524496"/>
                          <a:pt x="343764" y="524496"/>
                        </a:cubicBezTo>
                        <a:lnTo>
                          <a:pt x="191364" y="524496"/>
                        </a:lnTo>
                        <a:cubicBezTo>
                          <a:pt x="175171" y="524496"/>
                          <a:pt x="162789" y="512114"/>
                          <a:pt x="162789" y="495921"/>
                        </a:cubicBezTo>
                        <a:lnTo>
                          <a:pt x="162789" y="305421"/>
                        </a:lnTo>
                        <a:cubicBezTo>
                          <a:pt x="162789" y="289229"/>
                          <a:pt x="175171" y="276846"/>
                          <a:pt x="191364" y="276846"/>
                        </a:cubicBezTo>
                        <a:lnTo>
                          <a:pt x="343764" y="276846"/>
                        </a:lnTo>
                        <a:close/>
                        <a:moveTo>
                          <a:pt x="143739" y="114921"/>
                        </a:moveTo>
                        <a:cubicBezTo>
                          <a:pt x="143739" y="134924"/>
                          <a:pt x="159932" y="152069"/>
                          <a:pt x="179934" y="153021"/>
                        </a:cubicBezTo>
                        <a:lnTo>
                          <a:pt x="181839" y="153021"/>
                        </a:lnTo>
                        <a:lnTo>
                          <a:pt x="353289" y="153021"/>
                        </a:lnTo>
                        <a:cubicBezTo>
                          <a:pt x="373292" y="153021"/>
                          <a:pt x="390436" y="136829"/>
                          <a:pt x="391389" y="116826"/>
                        </a:cubicBezTo>
                        <a:lnTo>
                          <a:pt x="391389" y="114921"/>
                        </a:lnTo>
                        <a:lnTo>
                          <a:pt x="505689" y="114921"/>
                        </a:lnTo>
                        <a:cubicBezTo>
                          <a:pt x="521882" y="114921"/>
                          <a:pt x="534264" y="127304"/>
                          <a:pt x="534264" y="143496"/>
                        </a:cubicBezTo>
                        <a:lnTo>
                          <a:pt x="534264" y="381621"/>
                        </a:lnTo>
                        <a:cubicBezTo>
                          <a:pt x="534264" y="397814"/>
                          <a:pt x="521882" y="410196"/>
                          <a:pt x="505689" y="410196"/>
                        </a:cubicBezTo>
                        <a:lnTo>
                          <a:pt x="391389" y="410196"/>
                        </a:lnTo>
                        <a:lnTo>
                          <a:pt x="391389" y="295896"/>
                        </a:lnTo>
                        <a:cubicBezTo>
                          <a:pt x="391389" y="275894"/>
                          <a:pt x="375196" y="258749"/>
                          <a:pt x="355194" y="257796"/>
                        </a:cubicBezTo>
                        <a:lnTo>
                          <a:pt x="353289" y="257796"/>
                        </a:lnTo>
                        <a:lnTo>
                          <a:pt x="181839" y="257796"/>
                        </a:lnTo>
                        <a:cubicBezTo>
                          <a:pt x="161836" y="257796"/>
                          <a:pt x="144692" y="273989"/>
                          <a:pt x="143739" y="293991"/>
                        </a:cubicBezTo>
                        <a:lnTo>
                          <a:pt x="143739" y="295896"/>
                        </a:lnTo>
                        <a:lnTo>
                          <a:pt x="143739" y="410196"/>
                        </a:lnTo>
                        <a:lnTo>
                          <a:pt x="29439" y="410196"/>
                        </a:lnTo>
                        <a:cubicBezTo>
                          <a:pt x="13246" y="410196"/>
                          <a:pt x="864" y="397814"/>
                          <a:pt x="864" y="381621"/>
                        </a:cubicBezTo>
                        <a:lnTo>
                          <a:pt x="864" y="201599"/>
                        </a:lnTo>
                        <a:cubicBezTo>
                          <a:pt x="864" y="192074"/>
                          <a:pt x="4674" y="182549"/>
                          <a:pt x="11342" y="175881"/>
                        </a:cubicBezTo>
                        <a:lnTo>
                          <a:pt x="56109" y="127304"/>
                        </a:lnTo>
                        <a:cubicBezTo>
                          <a:pt x="63729" y="119684"/>
                          <a:pt x="73254" y="114921"/>
                          <a:pt x="83732" y="114921"/>
                        </a:cubicBezTo>
                        <a:lnTo>
                          <a:pt x="143739" y="114921"/>
                        </a:lnTo>
                        <a:close/>
                        <a:moveTo>
                          <a:pt x="462827" y="172071"/>
                        </a:moveTo>
                        <a:cubicBezTo>
                          <a:pt x="455207" y="172071"/>
                          <a:pt x="448539" y="178739"/>
                          <a:pt x="448539" y="186359"/>
                        </a:cubicBezTo>
                        <a:cubicBezTo>
                          <a:pt x="448539" y="193979"/>
                          <a:pt x="455207" y="200646"/>
                          <a:pt x="462827" y="200646"/>
                        </a:cubicBezTo>
                        <a:cubicBezTo>
                          <a:pt x="470446" y="200646"/>
                          <a:pt x="477114" y="193979"/>
                          <a:pt x="477114" y="186359"/>
                        </a:cubicBezTo>
                        <a:cubicBezTo>
                          <a:pt x="477114" y="178739"/>
                          <a:pt x="470446" y="172071"/>
                          <a:pt x="462827" y="172071"/>
                        </a:cubicBezTo>
                        <a:close/>
                        <a:moveTo>
                          <a:pt x="343764" y="621"/>
                        </a:moveTo>
                        <a:cubicBezTo>
                          <a:pt x="359957" y="621"/>
                          <a:pt x="372339" y="13004"/>
                          <a:pt x="372339" y="29196"/>
                        </a:cubicBezTo>
                        <a:lnTo>
                          <a:pt x="372339" y="105396"/>
                        </a:lnTo>
                        <a:cubicBezTo>
                          <a:pt x="372339" y="121589"/>
                          <a:pt x="359957" y="133971"/>
                          <a:pt x="343764" y="133971"/>
                        </a:cubicBezTo>
                        <a:lnTo>
                          <a:pt x="191364" y="133971"/>
                        </a:lnTo>
                        <a:cubicBezTo>
                          <a:pt x="175171" y="133971"/>
                          <a:pt x="162789" y="121589"/>
                          <a:pt x="162789" y="105396"/>
                        </a:cubicBezTo>
                        <a:lnTo>
                          <a:pt x="162789" y="29196"/>
                        </a:lnTo>
                        <a:cubicBezTo>
                          <a:pt x="162789" y="13004"/>
                          <a:pt x="175171" y="621"/>
                          <a:pt x="191364" y="621"/>
                        </a:cubicBezTo>
                        <a:lnTo>
                          <a:pt x="343764" y="621"/>
                        </a:lnTo>
                        <a:close/>
                      </a:path>
                    </a:pathLst>
                  </a:custGeom>
                  <a:solidFill>
                    <a:schemeClr val="bg1"/>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grpSp>
          </p:grpSp>
          <p:sp>
            <p:nvSpPr>
              <p:cNvPr id="59" name="空心弧 58"/>
              <p:cNvSpPr/>
              <p:nvPr/>
            </p:nvSpPr>
            <p:spPr>
              <a:xfrm flipH="1" flipV="1">
                <a:off x="4300522" y="1832200"/>
                <a:ext cx="3600000" cy="3600000"/>
              </a:xfrm>
              <a:prstGeom prst="blockArc">
                <a:avLst>
                  <a:gd name="adj1" fmla="val 16200000"/>
                  <a:gd name="adj2" fmla="val 0"/>
                  <a:gd name="adj3" fmla="val 16361"/>
                </a:avLst>
              </a:prstGeom>
              <a:solidFill>
                <a:schemeClr val="tx1">
                  <a:lumMod val="25000"/>
                  <a:lumOff val="75000"/>
                  <a:alpha val="50000"/>
                </a:schemeClr>
              </a:solidFill>
              <a:ln w="38100" cap="flat" cmpd="sng" algn="ctr">
                <a:solidFill>
                  <a:schemeClr val="bg1"/>
                </a:solidFill>
                <a:prstDash val="solid"/>
                <a:miter lim="800000"/>
              </a:ln>
            </p:spPr>
            <p:txBody>
              <a:bodyPr lIns="108000" tIns="108000" rIns="108000" bIns="108000" rtlCol="0" anchor="ctr"/>
              <a:lstStyle/>
              <a:p>
                <a:endParaRPr lang="zh-CN" altLang="en-US">
                  <a:solidFill>
                    <a:schemeClr val="tx1"/>
                  </a:solidFill>
                </a:endParaRPr>
              </a:p>
            </p:txBody>
          </p:sp>
        </p:grpSp>
        <p:grpSp>
          <p:nvGrpSpPr>
            <p:cNvPr id="94" name="组合 93"/>
            <p:cNvGrpSpPr/>
            <p:nvPr/>
          </p:nvGrpSpPr>
          <p:grpSpPr>
            <a:xfrm>
              <a:off x="4291479" y="1832200"/>
              <a:ext cx="6036804" cy="3600000"/>
              <a:chOff x="4291479" y="1832200"/>
              <a:chExt cx="6036804" cy="3600000"/>
            </a:xfrm>
          </p:grpSpPr>
          <p:grpSp>
            <p:nvGrpSpPr>
              <p:cNvPr id="93" name="组合 92"/>
              <p:cNvGrpSpPr/>
              <p:nvPr/>
            </p:nvGrpSpPr>
            <p:grpSpPr>
              <a:xfrm>
                <a:off x="7891479" y="4505356"/>
                <a:ext cx="2436804" cy="926844"/>
                <a:chOff x="7891479" y="4505356"/>
                <a:chExt cx="2436804" cy="926844"/>
              </a:xfrm>
            </p:grpSpPr>
            <p:grpSp>
              <p:nvGrpSpPr>
                <p:cNvPr id="69" name="组合 68"/>
                <p:cNvGrpSpPr/>
                <p:nvPr/>
              </p:nvGrpSpPr>
              <p:grpSpPr>
                <a:xfrm>
                  <a:off x="8474811" y="4505356"/>
                  <a:ext cx="1853472" cy="926844"/>
                  <a:chOff x="7119257" y="2386978"/>
                  <a:chExt cx="2200862" cy="911887"/>
                </a:xfrm>
                <a:noFill/>
              </p:grpSpPr>
              <p:sp>
                <p:nvSpPr>
                  <p:cNvPr id="73" name="矩形 72"/>
                  <p:cNvSpPr/>
                  <p:nvPr/>
                </p:nvSpPr>
                <p:spPr>
                  <a:xfrm>
                    <a:off x="7119257" y="2386978"/>
                    <a:ext cx="2200862" cy="4568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b"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r>
                      <a:rPr kumimoji="1" lang="en-US" altLang="zh-CN" sz="1600" b="1" dirty="0">
                        <a:solidFill>
                          <a:schemeClr val="tx1"/>
                        </a:solidFill>
                        <a:latin typeface="Arial" panose="020B0604020202090204" pitchFamily="34" charset="0"/>
                        <a:ea typeface="华文楷体" panose="02010600040101010101" pitchFamily="2" charset="-122"/>
                      </a:rPr>
                      <a:t>Text</a:t>
                    </a:r>
                    <a:r>
                      <a:rPr kumimoji="1" lang="zh-CN" altLang="en-US" sz="1600" b="1" dirty="0">
                        <a:solidFill>
                          <a:schemeClr val="tx1"/>
                        </a:solidFill>
                        <a:latin typeface="Arial" panose="020B0604020202090204" pitchFamily="34" charset="0"/>
                        <a:ea typeface="华文楷体" panose="02010600040101010101" pitchFamily="2" charset="-122"/>
                      </a:rPr>
                      <a:t> </a:t>
                    </a:r>
                    <a:r>
                      <a:rPr kumimoji="1" lang="en-US" altLang="zh-CN" sz="1600" b="1" dirty="0">
                        <a:solidFill>
                          <a:schemeClr val="tx1"/>
                        </a:solidFill>
                        <a:latin typeface="Arial" panose="020B0604020202090204" pitchFamily="34" charset="0"/>
                        <a:ea typeface="华文楷体" panose="02010600040101010101" pitchFamily="2" charset="-122"/>
                      </a:rPr>
                      <a:t>here</a:t>
                    </a:r>
                    <a:endParaRPr kumimoji="1" lang="en-US" altLang="zh-CN" sz="1600" b="1" dirty="0">
                      <a:solidFill>
                        <a:schemeClr val="tx1"/>
                      </a:solidFill>
                      <a:latin typeface="Arial" panose="020B0604020202090204" pitchFamily="34" charset="0"/>
                      <a:ea typeface="华文楷体" panose="02010600040101010101" pitchFamily="2" charset="-122"/>
                    </a:endParaRPr>
                  </a:p>
                </p:txBody>
              </p:sp>
              <p:sp>
                <p:nvSpPr>
                  <p:cNvPr id="74" name="矩形 73"/>
                  <p:cNvSpPr/>
                  <p:nvPr/>
                </p:nvSpPr>
                <p:spPr>
                  <a:xfrm>
                    <a:off x="7119257" y="2711125"/>
                    <a:ext cx="2199239" cy="5877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t"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nSpc>
                        <a:spcPct val="130000"/>
                      </a:lnSpc>
                    </a:pPr>
                    <a:r>
                      <a:rPr kumimoji="1" lang="en-US" altLang="zh-CN" sz="1000" dirty="0">
                        <a:solidFill>
                          <a:schemeClr val="tx1"/>
                        </a:solidFill>
                        <a:latin typeface="Arial" panose="020B0604020202090204" pitchFamily="34" charset="0"/>
                        <a:ea typeface="华文楷体" panose="02010600040101010101" pitchFamily="2" charset="-122"/>
                      </a:rPr>
                      <a:t>Theme color makes PPT more convenient to change.</a:t>
                    </a:r>
                    <a:endParaRPr kumimoji="1" lang="en-US" altLang="zh-CN" sz="1000" dirty="0">
                      <a:solidFill>
                        <a:schemeClr val="tx1"/>
                      </a:solidFill>
                      <a:latin typeface="Arial" panose="020B0604020202090204" pitchFamily="34" charset="0"/>
                      <a:ea typeface="华文楷体" panose="02010600040101010101" pitchFamily="2" charset="-122"/>
                    </a:endParaRPr>
                  </a:p>
                </p:txBody>
              </p:sp>
            </p:grpSp>
            <p:grpSp>
              <p:nvGrpSpPr>
                <p:cNvPr id="82" name="组合 81"/>
                <p:cNvGrpSpPr/>
                <p:nvPr/>
              </p:nvGrpSpPr>
              <p:grpSpPr>
                <a:xfrm>
                  <a:off x="7891479" y="4699447"/>
                  <a:ext cx="540000" cy="540000"/>
                  <a:chOff x="5460031" y="5599496"/>
                  <a:chExt cx="540000" cy="540000"/>
                </a:xfrm>
              </p:grpSpPr>
              <p:sp>
                <p:nvSpPr>
                  <p:cNvPr id="83" name="文本框 82"/>
                  <p:cNvSpPr txBox="1"/>
                  <p:nvPr/>
                </p:nvSpPr>
                <p:spPr>
                  <a:xfrm>
                    <a:off x="5460031" y="5599496"/>
                    <a:ext cx="540000" cy="540000"/>
                  </a:xfrm>
                  <a:prstGeom prst="ellipse">
                    <a:avLst/>
                  </a:prstGeom>
                  <a:solidFill>
                    <a:schemeClr val="accent1"/>
                  </a:solidFill>
                </p:spPr>
                <p:txBody>
                  <a:bodyPr wrap="none" lIns="108000" tIns="108000" rIns="108000" bIns="108000" rtlCol="0" anchor="ctr" anchorCtr="0">
                    <a:noAutofit/>
                  </a:bodyPr>
                  <a:lstStyle/>
                  <a:p>
                    <a:pPr algn="ctr"/>
                    <a:endParaRPr kumimoji="1" lang="zh-CN" altLang="en-US" sz="2000" b="1" dirty="0">
                      <a:noFill/>
                    </a:endParaRPr>
                  </a:p>
                </p:txBody>
              </p:sp>
              <p:sp>
                <p:nvSpPr>
                  <p:cNvPr id="84" name="任意多边形: 形状 83"/>
                  <p:cNvSpPr/>
                  <p:nvPr/>
                </p:nvSpPr>
                <p:spPr>
                  <a:xfrm>
                    <a:off x="5604182" y="5734497"/>
                    <a:ext cx="251698" cy="269998"/>
                  </a:xfrm>
                  <a:custGeom>
                    <a:avLst/>
                    <a:gdLst>
                      <a:gd name="connsiteX0" fmla="*/ 8356 w 487477"/>
                      <a:gd name="connsiteY0" fmla="*/ 512114 h 522922"/>
                      <a:gd name="connsiteX1" fmla="*/ 8356 w 487477"/>
                      <a:gd name="connsiteY1" fmla="*/ 512114 h 522922"/>
                      <a:gd name="connsiteX2" fmla="*/ 8356 w 487477"/>
                      <a:gd name="connsiteY2" fmla="*/ 512114 h 522922"/>
                      <a:gd name="connsiteX3" fmla="*/ 7404 w 487477"/>
                      <a:gd name="connsiteY3" fmla="*/ 511161 h 522922"/>
                      <a:gd name="connsiteX4" fmla="*/ 5499 w 487477"/>
                      <a:gd name="connsiteY4" fmla="*/ 508303 h 522922"/>
                      <a:gd name="connsiteX5" fmla="*/ 5499 w 487477"/>
                      <a:gd name="connsiteY5" fmla="*/ 508303 h 522922"/>
                      <a:gd name="connsiteX6" fmla="*/ 5499 w 487477"/>
                      <a:gd name="connsiteY6" fmla="*/ 507351 h 522922"/>
                      <a:gd name="connsiteX7" fmla="*/ 4546 w 487477"/>
                      <a:gd name="connsiteY7" fmla="*/ 505446 h 522922"/>
                      <a:gd name="connsiteX8" fmla="*/ 3593 w 487477"/>
                      <a:gd name="connsiteY8" fmla="*/ 503541 h 522922"/>
                      <a:gd name="connsiteX9" fmla="*/ 3593 w 487477"/>
                      <a:gd name="connsiteY9" fmla="*/ 503541 h 522922"/>
                      <a:gd name="connsiteX10" fmla="*/ 3593 w 487477"/>
                      <a:gd name="connsiteY10" fmla="*/ 503541 h 522922"/>
                      <a:gd name="connsiteX11" fmla="*/ 3593 w 487477"/>
                      <a:gd name="connsiteY11" fmla="*/ 503541 h 522922"/>
                      <a:gd name="connsiteX12" fmla="*/ 2641 w 487477"/>
                      <a:gd name="connsiteY12" fmla="*/ 501636 h 522922"/>
                      <a:gd name="connsiteX13" fmla="*/ 2641 w 487477"/>
                      <a:gd name="connsiteY13" fmla="*/ 500684 h 522922"/>
                      <a:gd name="connsiteX14" fmla="*/ 1689 w 487477"/>
                      <a:gd name="connsiteY14" fmla="*/ 498778 h 522922"/>
                      <a:gd name="connsiteX15" fmla="*/ 736 w 487477"/>
                      <a:gd name="connsiteY15" fmla="*/ 494968 h 522922"/>
                      <a:gd name="connsiteX16" fmla="*/ 736 w 487477"/>
                      <a:gd name="connsiteY16" fmla="*/ 492111 h 522922"/>
                      <a:gd name="connsiteX17" fmla="*/ 736 w 487477"/>
                      <a:gd name="connsiteY17" fmla="*/ 485443 h 522922"/>
                      <a:gd name="connsiteX18" fmla="*/ 5499 w 487477"/>
                      <a:gd name="connsiteY18" fmla="*/ 467346 h 522922"/>
                      <a:gd name="connsiteX19" fmla="*/ 155041 w 487477"/>
                      <a:gd name="connsiteY19" fmla="*/ 151116 h 522922"/>
                      <a:gd name="connsiteX20" fmla="*/ 158851 w 487477"/>
                      <a:gd name="connsiteY20" fmla="*/ 134924 h 522922"/>
                      <a:gd name="connsiteX21" fmla="*/ 158851 w 487477"/>
                      <a:gd name="connsiteY21" fmla="*/ 19671 h 522922"/>
                      <a:gd name="connsiteX22" fmla="*/ 120751 w 487477"/>
                      <a:gd name="connsiteY22" fmla="*/ 19671 h 522922"/>
                      <a:gd name="connsiteX23" fmla="*/ 120751 w 487477"/>
                      <a:gd name="connsiteY23" fmla="*/ 621 h 522922"/>
                      <a:gd name="connsiteX24" fmla="*/ 368401 w 487477"/>
                      <a:gd name="connsiteY24" fmla="*/ 621 h 522922"/>
                      <a:gd name="connsiteX25" fmla="*/ 368401 w 487477"/>
                      <a:gd name="connsiteY25" fmla="*/ 19671 h 522922"/>
                      <a:gd name="connsiteX26" fmla="*/ 330301 w 487477"/>
                      <a:gd name="connsiteY26" fmla="*/ 19671 h 522922"/>
                      <a:gd name="connsiteX27" fmla="*/ 330301 w 487477"/>
                      <a:gd name="connsiteY27" fmla="*/ 134924 h 522922"/>
                      <a:gd name="connsiteX28" fmla="*/ 334111 w 487477"/>
                      <a:gd name="connsiteY28" fmla="*/ 151116 h 522922"/>
                      <a:gd name="connsiteX29" fmla="*/ 483654 w 487477"/>
                      <a:gd name="connsiteY29" fmla="*/ 467346 h 522922"/>
                      <a:gd name="connsiteX30" fmla="*/ 485558 w 487477"/>
                      <a:gd name="connsiteY30" fmla="*/ 504493 h 522922"/>
                      <a:gd name="connsiteX31" fmla="*/ 485558 w 487477"/>
                      <a:gd name="connsiteY31" fmla="*/ 504493 h 522922"/>
                      <a:gd name="connsiteX32" fmla="*/ 484606 w 487477"/>
                      <a:gd name="connsiteY32" fmla="*/ 506399 h 522922"/>
                      <a:gd name="connsiteX33" fmla="*/ 459841 w 487477"/>
                      <a:gd name="connsiteY33" fmla="*/ 523543 h 522922"/>
                      <a:gd name="connsiteX34" fmla="*/ 457936 w 487477"/>
                      <a:gd name="connsiteY34" fmla="*/ 523543 h 522922"/>
                      <a:gd name="connsiteX35" fmla="*/ 32168 w 487477"/>
                      <a:gd name="connsiteY35" fmla="*/ 523543 h 522922"/>
                      <a:gd name="connsiteX36" fmla="*/ 30264 w 487477"/>
                      <a:gd name="connsiteY36" fmla="*/ 523543 h 522922"/>
                      <a:gd name="connsiteX37" fmla="*/ 27406 w 487477"/>
                      <a:gd name="connsiteY37" fmla="*/ 523543 h 522922"/>
                      <a:gd name="connsiteX38" fmla="*/ 23596 w 487477"/>
                      <a:gd name="connsiteY38" fmla="*/ 522591 h 522922"/>
                      <a:gd name="connsiteX39" fmla="*/ 23596 w 487477"/>
                      <a:gd name="connsiteY39" fmla="*/ 522591 h 522922"/>
                      <a:gd name="connsiteX40" fmla="*/ 17881 w 487477"/>
                      <a:gd name="connsiteY40" fmla="*/ 520686 h 522922"/>
                      <a:gd name="connsiteX41" fmla="*/ 15976 w 487477"/>
                      <a:gd name="connsiteY41" fmla="*/ 519734 h 522922"/>
                      <a:gd name="connsiteX42" fmla="*/ 15024 w 487477"/>
                      <a:gd name="connsiteY42" fmla="*/ 518781 h 522922"/>
                      <a:gd name="connsiteX43" fmla="*/ 10261 w 487477"/>
                      <a:gd name="connsiteY43" fmla="*/ 514971 h 522922"/>
                      <a:gd name="connsiteX44" fmla="*/ 8356 w 487477"/>
                      <a:gd name="connsiteY44" fmla="*/ 512114 h 522922"/>
                      <a:gd name="connsiteX45" fmla="*/ 8356 w 487477"/>
                      <a:gd name="connsiteY45" fmla="*/ 512114 h 522922"/>
                      <a:gd name="connsiteX46" fmla="*/ 255054 w 487477"/>
                      <a:gd name="connsiteY46" fmla="*/ 402576 h 522922"/>
                      <a:gd name="connsiteX47" fmla="*/ 252196 w 487477"/>
                      <a:gd name="connsiteY47" fmla="*/ 404481 h 522922"/>
                      <a:gd name="connsiteX48" fmla="*/ 246481 w 487477"/>
                      <a:gd name="connsiteY48" fmla="*/ 408291 h 522922"/>
                      <a:gd name="connsiteX49" fmla="*/ 55029 w 487477"/>
                      <a:gd name="connsiteY49" fmla="*/ 414959 h 522922"/>
                      <a:gd name="connsiteX50" fmla="*/ 51218 w 487477"/>
                      <a:gd name="connsiteY50" fmla="*/ 413053 h 522922"/>
                      <a:gd name="connsiteX51" fmla="*/ 22643 w 487477"/>
                      <a:gd name="connsiteY51" fmla="*/ 474014 h 522922"/>
                      <a:gd name="connsiteX52" fmla="*/ 21691 w 487477"/>
                      <a:gd name="connsiteY52" fmla="*/ 475918 h 522922"/>
                      <a:gd name="connsiteX53" fmla="*/ 21691 w 487477"/>
                      <a:gd name="connsiteY53" fmla="*/ 495921 h 522922"/>
                      <a:gd name="connsiteX54" fmla="*/ 29311 w 487477"/>
                      <a:gd name="connsiteY54" fmla="*/ 502589 h 522922"/>
                      <a:gd name="connsiteX55" fmla="*/ 30264 w 487477"/>
                      <a:gd name="connsiteY55" fmla="*/ 502589 h 522922"/>
                      <a:gd name="connsiteX56" fmla="*/ 31216 w 487477"/>
                      <a:gd name="connsiteY56" fmla="*/ 502589 h 522922"/>
                      <a:gd name="connsiteX57" fmla="*/ 456983 w 487477"/>
                      <a:gd name="connsiteY57" fmla="*/ 502589 h 522922"/>
                      <a:gd name="connsiteX58" fmla="*/ 457936 w 487477"/>
                      <a:gd name="connsiteY58" fmla="*/ 502589 h 522922"/>
                      <a:gd name="connsiteX59" fmla="*/ 466508 w 487477"/>
                      <a:gd name="connsiteY59" fmla="*/ 495921 h 522922"/>
                      <a:gd name="connsiteX60" fmla="*/ 467461 w 487477"/>
                      <a:gd name="connsiteY60" fmla="*/ 477824 h 522922"/>
                      <a:gd name="connsiteX61" fmla="*/ 466508 w 487477"/>
                      <a:gd name="connsiteY61" fmla="*/ 475918 h 522922"/>
                      <a:gd name="connsiteX62" fmla="*/ 465556 w 487477"/>
                      <a:gd name="connsiteY62" fmla="*/ 474014 h 522922"/>
                      <a:gd name="connsiteX63" fmla="*/ 423646 w 487477"/>
                      <a:gd name="connsiteY63" fmla="*/ 385431 h 522922"/>
                      <a:gd name="connsiteX64" fmla="*/ 255054 w 487477"/>
                      <a:gd name="connsiteY64" fmla="*/ 402576 h 522922"/>
                      <a:gd name="connsiteX65" fmla="*/ 305536 w 487477"/>
                      <a:gd name="connsiteY65" fmla="*/ 255891 h 522922"/>
                      <a:gd name="connsiteX66" fmla="*/ 272199 w 487477"/>
                      <a:gd name="connsiteY66" fmla="*/ 289228 h 522922"/>
                      <a:gd name="connsiteX67" fmla="*/ 305536 w 487477"/>
                      <a:gd name="connsiteY67" fmla="*/ 322566 h 522922"/>
                      <a:gd name="connsiteX68" fmla="*/ 338874 w 487477"/>
                      <a:gd name="connsiteY68" fmla="*/ 289228 h 522922"/>
                      <a:gd name="connsiteX69" fmla="*/ 305536 w 487477"/>
                      <a:gd name="connsiteY69" fmla="*/ 255891 h 52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487477" h="522922">
                        <a:moveTo>
                          <a:pt x="8356" y="512114"/>
                        </a:moveTo>
                        <a:lnTo>
                          <a:pt x="8356" y="512114"/>
                        </a:lnTo>
                        <a:lnTo>
                          <a:pt x="8356" y="512114"/>
                        </a:lnTo>
                        <a:lnTo>
                          <a:pt x="7404" y="511161"/>
                        </a:lnTo>
                        <a:cubicBezTo>
                          <a:pt x="6451" y="510209"/>
                          <a:pt x="6451" y="509256"/>
                          <a:pt x="5499" y="508303"/>
                        </a:cubicBezTo>
                        <a:lnTo>
                          <a:pt x="5499" y="508303"/>
                        </a:lnTo>
                        <a:lnTo>
                          <a:pt x="5499" y="507351"/>
                        </a:lnTo>
                        <a:lnTo>
                          <a:pt x="4546" y="505446"/>
                        </a:lnTo>
                        <a:lnTo>
                          <a:pt x="3593" y="503541"/>
                        </a:lnTo>
                        <a:lnTo>
                          <a:pt x="3593" y="503541"/>
                        </a:lnTo>
                        <a:lnTo>
                          <a:pt x="3593" y="503541"/>
                        </a:lnTo>
                        <a:lnTo>
                          <a:pt x="3593" y="503541"/>
                        </a:lnTo>
                        <a:lnTo>
                          <a:pt x="2641" y="501636"/>
                        </a:lnTo>
                        <a:cubicBezTo>
                          <a:pt x="2641" y="501636"/>
                          <a:pt x="2641" y="500684"/>
                          <a:pt x="2641" y="500684"/>
                        </a:cubicBezTo>
                        <a:cubicBezTo>
                          <a:pt x="2641" y="499731"/>
                          <a:pt x="2641" y="499731"/>
                          <a:pt x="1689" y="498778"/>
                        </a:cubicBezTo>
                        <a:cubicBezTo>
                          <a:pt x="1689" y="497826"/>
                          <a:pt x="736" y="495921"/>
                          <a:pt x="736" y="494968"/>
                        </a:cubicBezTo>
                        <a:lnTo>
                          <a:pt x="736" y="492111"/>
                        </a:lnTo>
                        <a:cubicBezTo>
                          <a:pt x="736" y="490206"/>
                          <a:pt x="736" y="487349"/>
                          <a:pt x="736" y="485443"/>
                        </a:cubicBezTo>
                        <a:cubicBezTo>
                          <a:pt x="736" y="478776"/>
                          <a:pt x="2641" y="473061"/>
                          <a:pt x="5499" y="467346"/>
                        </a:cubicBezTo>
                        <a:lnTo>
                          <a:pt x="155041" y="151116"/>
                        </a:lnTo>
                        <a:cubicBezTo>
                          <a:pt x="157899" y="146353"/>
                          <a:pt x="158851" y="140639"/>
                          <a:pt x="158851" y="134924"/>
                        </a:cubicBezTo>
                        <a:lnTo>
                          <a:pt x="158851" y="19671"/>
                        </a:lnTo>
                        <a:lnTo>
                          <a:pt x="120751" y="19671"/>
                        </a:lnTo>
                        <a:lnTo>
                          <a:pt x="120751" y="621"/>
                        </a:lnTo>
                        <a:lnTo>
                          <a:pt x="368401" y="621"/>
                        </a:lnTo>
                        <a:lnTo>
                          <a:pt x="368401" y="19671"/>
                        </a:lnTo>
                        <a:lnTo>
                          <a:pt x="330301" y="19671"/>
                        </a:lnTo>
                        <a:lnTo>
                          <a:pt x="330301" y="134924"/>
                        </a:lnTo>
                        <a:cubicBezTo>
                          <a:pt x="330301" y="140639"/>
                          <a:pt x="331254" y="146353"/>
                          <a:pt x="334111" y="151116"/>
                        </a:cubicBezTo>
                        <a:lnTo>
                          <a:pt x="483654" y="467346"/>
                        </a:lnTo>
                        <a:cubicBezTo>
                          <a:pt x="489368" y="478776"/>
                          <a:pt x="489368" y="492111"/>
                          <a:pt x="485558" y="504493"/>
                        </a:cubicBezTo>
                        <a:lnTo>
                          <a:pt x="485558" y="504493"/>
                        </a:lnTo>
                        <a:lnTo>
                          <a:pt x="484606" y="506399"/>
                        </a:lnTo>
                        <a:cubicBezTo>
                          <a:pt x="479843" y="515924"/>
                          <a:pt x="470318" y="522591"/>
                          <a:pt x="459841" y="523543"/>
                        </a:cubicBezTo>
                        <a:lnTo>
                          <a:pt x="457936" y="523543"/>
                        </a:lnTo>
                        <a:lnTo>
                          <a:pt x="32168" y="523543"/>
                        </a:lnTo>
                        <a:lnTo>
                          <a:pt x="30264" y="523543"/>
                        </a:lnTo>
                        <a:cubicBezTo>
                          <a:pt x="29311" y="523543"/>
                          <a:pt x="28358" y="523543"/>
                          <a:pt x="27406" y="523543"/>
                        </a:cubicBezTo>
                        <a:cubicBezTo>
                          <a:pt x="26454" y="523543"/>
                          <a:pt x="24549" y="523543"/>
                          <a:pt x="23596" y="522591"/>
                        </a:cubicBezTo>
                        <a:lnTo>
                          <a:pt x="23596" y="522591"/>
                        </a:lnTo>
                        <a:cubicBezTo>
                          <a:pt x="21691" y="521639"/>
                          <a:pt x="19786" y="521639"/>
                          <a:pt x="17881" y="520686"/>
                        </a:cubicBezTo>
                        <a:lnTo>
                          <a:pt x="15976" y="519734"/>
                        </a:lnTo>
                        <a:cubicBezTo>
                          <a:pt x="15976" y="519734"/>
                          <a:pt x="15024" y="519734"/>
                          <a:pt x="15024" y="518781"/>
                        </a:cubicBezTo>
                        <a:cubicBezTo>
                          <a:pt x="13118" y="517828"/>
                          <a:pt x="11214" y="515924"/>
                          <a:pt x="10261" y="514971"/>
                        </a:cubicBezTo>
                        <a:lnTo>
                          <a:pt x="8356" y="512114"/>
                        </a:lnTo>
                        <a:lnTo>
                          <a:pt x="8356" y="512114"/>
                        </a:lnTo>
                        <a:close/>
                        <a:moveTo>
                          <a:pt x="255054" y="402576"/>
                        </a:moveTo>
                        <a:lnTo>
                          <a:pt x="252196" y="404481"/>
                        </a:lnTo>
                        <a:lnTo>
                          <a:pt x="246481" y="408291"/>
                        </a:lnTo>
                        <a:cubicBezTo>
                          <a:pt x="198856" y="439724"/>
                          <a:pt x="119799" y="440676"/>
                          <a:pt x="55029" y="414959"/>
                        </a:cubicBezTo>
                        <a:lnTo>
                          <a:pt x="51218" y="413053"/>
                        </a:lnTo>
                        <a:lnTo>
                          <a:pt x="22643" y="474014"/>
                        </a:lnTo>
                        <a:lnTo>
                          <a:pt x="21691" y="475918"/>
                        </a:lnTo>
                        <a:cubicBezTo>
                          <a:pt x="18833" y="482586"/>
                          <a:pt x="18833" y="490206"/>
                          <a:pt x="21691" y="495921"/>
                        </a:cubicBezTo>
                        <a:cubicBezTo>
                          <a:pt x="22643" y="498778"/>
                          <a:pt x="25501" y="501636"/>
                          <a:pt x="29311" y="502589"/>
                        </a:cubicBezTo>
                        <a:lnTo>
                          <a:pt x="30264" y="502589"/>
                        </a:lnTo>
                        <a:lnTo>
                          <a:pt x="31216" y="502589"/>
                        </a:lnTo>
                        <a:lnTo>
                          <a:pt x="456983" y="502589"/>
                        </a:lnTo>
                        <a:lnTo>
                          <a:pt x="457936" y="502589"/>
                        </a:lnTo>
                        <a:cubicBezTo>
                          <a:pt x="461746" y="502589"/>
                          <a:pt x="464604" y="499731"/>
                          <a:pt x="466508" y="495921"/>
                        </a:cubicBezTo>
                        <a:cubicBezTo>
                          <a:pt x="468414" y="490206"/>
                          <a:pt x="469366" y="483539"/>
                          <a:pt x="467461" y="477824"/>
                        </a:cubicBezTo>
                        <a:lnTo>
                          <a:pt x="466508" y="475918"/>
                        </a:lnTo>
                        <a:lnTo>
                          <a:pt x="465556" y="474014"/>
                        </a:lnTo>
                        <a:lnTo>
                          <a:pt x="423646" y="385431"/>
                        </a:lnTo>
                        <a:cubicBezTo>
                          <a:pt x="365543" y="372096"/>
                          <a:pt x="296011" y="376859"/>
                          <a:pt x="255054" y="402576"/>
                        </a:cubicBezTo>
                        <a:close/>
                        <a:moveTo>
                          <a:pt x="305536" y="255891"/>
                        </a:moveTo>
                        <a:cubicBezTo>
                          <a:pt x="287439" y="255891"/>
                          <a:pt x="272199" y="271131"/>
                          <a:pt x="272199" y="289228"/>
                        </a:cubicBezTo>
                        <a:cubicBezTo>
                          <a:pt x="272199" y="307326"/>
                          <a:pt x="287439" y="322566"/>
                          <a:pt x="305536" y="322566"/>
                        </a:cubicBezTo>
                        <a:cubicBezTo>
                          <a:pt x="323633" y="322566"/>
                          <a:pt x="338874" y="307326"/>
                          <a:pt x="338874" y="289228"/>
                        </a:cubicBezTo>
                        <a:cubicBezTo>
                          <a:pt x="338874" y="270178"/>
                          <a:pt x="323633" y="255891"/>
                          <a:pt x="305536" y="255891"/>
                        </a:cubicBezTo>
                        <a:close/>
                      </a:path>
                    </a:pathLst>
                  </a:custGeom>
                  <a:solidFill>
                    <a:schemeClr val="bg1"/>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grpSp>
          </p:grpSp>
          <p:sp>
            <p:nvSpPr>
              <p:cNvPr id="68" name="空心弧 67"/>
              <p:cNvSpPr/>
              <p:nvPr/>
            </p:nvSpPr>
            <p:spPr>
              <a:xfrm flipV="1">
                <a:off x="4291479" y="1832200"/>
                <a:ext cx="3600000" cy="3600000"/>
              </a:xfrm>
              <a:prstGeom prst="blockArc">
                <a:avLst>
                  <a:gd name="adj1" fmla="val 16200000"/>
                  <a:gd name="adj2" fmla="val 0"/>
                  <a:gd name="adj3" fmla="val 16361"/>
                </a:avLst>
              </a:prstGeom>
              <a:solidFill>
                <a:schemeClr val="tx1">
                  <a:lumMod val="25000"/>
                  <a:lumOff val="75000"/>
                  <a:alpha val="50000"/>
                </a:schemeClr>
              </a:solidFill>
              <a:ln w="38100" cap="flat" cmpd="sng" algn="ctr">
                <a:solidFill>
                  <a:schemeClr val="bg1"/>
                </a:solidFill>
                <a:prstDash val="solid"/>
                <a:miter lim="800000"/>
              </a:ln>
            </p:spPr>
            <p:txBody>
              <a:bodyPr lIns="108000" tIns="108000" rIns="108000" bIns="108000" rtlCol="0" anchor="ctr"/>
              <a:lstStyle/>
              <a:p>
                <a:endParaRPr lang="zh-CN" altLang="en-US">
                  <a:solidFill>
                    <a:schemeClr val="tx1"/>
                  </a:solidFill>
                </a:endParaRPr>
              </a:p>
            </p:txBody>
          </p:sp>
        </p:grpSp>
        <p:grpSp>
          <p:nvGrpSpPr>
            <p:cNvPr id="129" name="组合 128"/>
            <p:cNvGrpSpPr/>
            <p:nvPr/>
          </p:nvGrpSpPr>
          <p:grpSpPr>
            <a:xfrm>
              <a:off x="4964017" y="2205957"/>
              <a:ext cx="2263967" cy="2852486"/>
              <a:chOff x="4381159" y="1123904"/>
              <a:chExt cx="3633952" cy="4578600"/>
            </a:xfrm>
          </p:grpSpPr>
          <p:sp>
            <p:nvSpPr>
              <p:cNvPr id="130" name="任意多边形: 形状 129"/>
              <p:cNvSpPr/>
              <p:nvPr/>
            </p:nvSpPr>
            <p:spPr>
              <a:xfrm>
                <a:off x="4381159" y="3451780"/>
                <a:ext cx="1670339" cy="2098194"/>
              </a:xfrm>
              <a:custGeom>
                <a:avLst/>
                <a:gdLst>
                  <a:gd name="connsiteX0" fmla="*/ 341257 w 1576447"/>
                  <a:gd name="connsiteY0" fmla="*/ 984448 h 1980251"/>
                  <a:gd name="connsiteX1" fmla="*/ -845 w 1576447"/>
                  <a:gd name="connsiteY1" fmla="*/ 1326275 h 1980251"/>
                  <a:gd name="connsiteX2" fmla="*/ 652903 w 1576447"/>
                  <a:gd name="connsiteY2" fmla="*/ 1980023 h 1980251"/>
                  <a:gd name="connsiteX3" fmla="*/ 980224 w 1576447"/>
                  <a:gd name="connsiteY3" fmla="*/ 1652634 h 1980251"/>
                  <a:gd name="connsiteX4" fmla="*/ 1352095 w 1576447"/>
                  <a:gd name="connsiteY4" fmla="*/ 1612415 h 1980251"/>
                  <a:gd name="connsiteX5" fmla="*/ 1575602 w 1576447"/>
                  <a:gd name="connsiteY5" fmla="*/ 1319332 h 1980251"/>
                  <a:gd name="connsiteX6" fmla="*/ 1575602 w 1576447"/>
                  <a:gd name="connsiteY6" fmla="*/ 1319332 h 1980251"/>
                  <a:gd name="connsiteX7" fmla="*/ 996586 w 1576447"/>
                  <a:gd name="connsiteY7" fmla="*/ 417326 h 1980251"/>
                  <a:gd name="connsiteX8" fmla="*/ 1054474 w 1576447"/>
                  <a:gd name="connsiteY8" fmla="*/ 42980 h 1980251"/>
                  <a:gd name="connsiteX9" fmla="*/ 1054474 w 1576447"/>
                  <a:gd name="connsiteY9" fmla="*/ 42980 h 1980251"/>
                  <a:gd name="connsiteX10" fmla="*/ 845920 w 1576447"/>
                  <a:gd name="connsiteY10" fmla="*/ 42946 h 1980251"/>
                  <a:gd name="connsiteX11" fmla="*/ 845885 w 1576447"/>
                  <a:gd name="connsiteY11" fmla="*/ 42980 h 1980251"/>
                  <a:gd name="connsiteX12" fmla="*/ 368757 w 1576447"/>
                  <a:gd name="connsiteY12" fmla="*/ 519902 h 1980251"/>
                  <a:gd name="connsiteX13" fmla="*/ 326682 w 1576447"/>
                  <a:gd name="connsiteY13" fmla="*/ 605909 h 1980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76447" h="1980251">
                    <a:moveTo>
                      <a:pt x="341257" y="984448"/>
                    </a:moveTo>
                    <a:lnTo>
                      <a:pt x="-845" y="1326275"/>
                    </a:lnTo>
                    <a:lnTo>
                      <a:pt x="652903" y="1980023"/>
                    </a:lnTo>
                    <a:lnTo>
                      <a:pt x="980224" y="1652634"/>
                    </a:lnTo>
                    <a:cubicBezTo>
                      <a:pt x="1105555" y="1659220"/>
                      <a:pt x="1231094" y="1645642"/>
                      <a:pt x="1352095" y="1612415"/>
                    </a:cubicBezTo>
                    <a:cubicBezTo>
                      <a:pt x="1484164" y="1576273"/>
                      <a:pt x="1575671" y="1456242"/>
                      <a:pt x="1575602" y="1319332"/>
                    </a:cubicBezTo>
                    <a:lnTo>
                      <a:pt x="1575602" y="1319332"/>
                    </a:lnTo>
                    <a:lnTo>
                      <a:pt x="996586" y="417326"/>
                    </a:lnTo>
                    <a:cubicBezTo>
                      <a:pt x="1115937" y="297976"/>
                      <a:pt x="1173825" y="162331"/>
                      <a:pt x="1054474" y="42980"/>
                    </a:cubicBezTo>
                    <a:lnTo>
                      <a:pt x="1054474" y="42980"/>
                    </a:lnTo>
                    <a:cubicBezTo>
                      <a:pt x="996861" y="-14619"/>
                      <a:pt x="903519" y="-14633"/>
                      <a:pt x="845920" y="42946"/>
                    </a:cubicBezTo>
                    <a:cubicBezTo>
                      <a:pt x="845906" y="42960"/>
                      <a:pt x="845899" y="42966"/>
                      <a:pt x="845885" y="42980"/>
                    </a:cubicBezTo>
                    <a:lnTo>
                      <a:pt x="368757" y="519902"/>
                    </a:lnTo>
                    <a:cubicBezTo>
                      <a:pt x="345554" y="543091"/>
                      <a:pt x="330745" y="573355"/>
                      <a:pt x="326682" y="605909"/>
                    </a:cubicBezTo>
                    <a:close/>
                  </a:path>
                </a:pathLst>
              </a:custGeom>
              <a:solidFill>
                <a:srgbClr val="FFC5BB"/>
              </a:solidFill>
              <a:ln w="19050" cap="rnd">
                <a:solidFill>
                  <a:srgbClr val="000000"/>
                </a:solidFill>
                <a:prstDash val="solid"/>
                <a:round/>
              </a:ln>
            </p:spPr>
            <p:txBody>
              <a:bodyPr rtlCol="0" anchor="ctr"/>
              <a:lstStyle/>
              <a:p>
                <a:endParaRPr lang="zh-CN" altLang="en-US"/>
              </a:p>
            </p:txBody>
          </p:sp>
          <p:sp>
            <p:nvSpPr>
              <p:cNvPr id="131" name="矩形: 圆角 130"/>
              <p:cNvSpPr/>
              <p:nvPr/>
            </p:nvSpPr>
            <p:spPr>
              <a:xfrm>
                <a:off x="5378482" y="1407999"/>
                <a:ext cx="1980294" cy="3460144"/>
              </a:xfrm>
              <a:prstGeom prst="roundRect">
                <a:avLst>
                  <a:gd name="adj" fmla="val 10211"/>
                </a:avLst>
              </a:prstGeom>
              <a:solidFill>
                <a:srgbClr val="5EB5F9"/>
              </a:solidFill>
              <a:ln w="19050" cap="rnd">
                <a:solidFill>
                  <a:srgbClr val="000000"/>
                </a:solidFill>
                <a:prstDash val="solid"/>
                <a:round/>
              </a:ln>
            </p:spPr>
            <p:txBody>
              <a:bodyPr rtlCol="0" anchor="ctr"/>
              <a:lstStyle/>
              <a:p>
                <a:endParaRPr lang="zh-CN" altLang="en-US"/>
              </a:p>
            </p:txBody>
          </p:sp>
          <p:sp>
            <p:nvSpPr>
              <p:cNvPr id="132" name="矩形: 圆角 131"/>
              <p:cNvSpPr/>
              <p:nvPr/>
            </p:nvSpPr>
            <p:spPr>
              <a:xfrm>
                <a:off x="5566058" y="1655674"/>
                <a:ext cx="1605069" cy="2964798"/>
              </a:xfrm>
              <a:prstGeom prst="roundRect">
                <a:avLst>
                  <a:gd name="adj" fmla="val 8284"/>
                </a:avLst>
              </a:prstGeom>
              <a:solidFill>
                <a:srgbClr val="87E9B6"/>
              </a:solidFill>
              <a:ln w="19050" cap="rnd">
                <a:solidFill>
                  <a:srgbClr val="000000"/>
                </a:solidFill>
                <a:prstDash val="solid"/>
                <a:round/>
              </a:ln>
            </p:spPr>
            <p:txBody>
              <a:bodyPr rot="0" spcFirstLastPara="0" vertOverflow="overflow" horzOverflow="overflow" vert="horz" wrap="square" lIns="91440" tIns="45720" rIns="91440" bIns="45720" numCol="1" spcCol="0" rtlCol="0" fromWordArt="0" anchor="ctr" anchorCtr="0" forceAA="0" compatLnSpc="1">
                <a:noAutofit/>
              </a:bodyPr>
              <a:lstStyle/>
              <a:p>
                <a:endParaRPr lang="zh-CN" altLang="en-US"/>
              </a:p>
            </p:txBody>
          </p:sp>
          <p:sp>
            <p:nvSpPr>
              <p:cNvPr id="133" name="任意多边形: 形状 132"/>
              <p:cNvSpPr/>
              <p:nvPr/>
            </p:nvSpPr>
            <p:spPr>
              <a:xfrm>
                <a:off x="5747660" y="2691532"/>
                <a:ext cx="1209886" cy="649849"/>
              </a:xfrm>
              <a:custGeom>
                <a:avLst/>
                <a:gdLst>
                  <a:gd name="connsiteX0" fmla="*/ 1141031 w 1141876"/>
                  <a:gd name="connsiteY0" fmla="*/ -229 h 613320"/>
                  <a:gd name="connsiteX1" fmla="*/ -845 w 1141876"/>
                  <a:gd name="connsiteY1" fmla="*/ 613025 h 613320"/>
                </a:gdLst>
                <a:ahLst/>
                <a:cxnLst>
                  <a:cxn ang="0">
                    <a:pos x="connsiteX0" y="connsiteY0"/>
                  </a:cxn>
                  <a:cxn ang="0">
                    <a:pos x="connsiteX1" y="connsiteY1"/>
                  </a:cxn>
                </a:cxnLst>
                <a:rect l="l" t="t" r="r" b="b"/>
                <a:pathLst>
                  <a:path w="1141876" h="613320">
                    <a:moveTo>
                      <a:pt x="1141031" y="-229"/>
                    </a:moveTo>
                    <a:cubicBezTo>
                      <a:pt x="933542" y="378724"/>
                      <a:pt x="377146" y="617700"/>
                      <a:pt x="-845" y="613025"/>
                    </a:cubicBezTo>
                  </a:path>
                </a:pathLst>
              </a:custGeom>
              <a:noFill/>
              <a:ln w="19050" cap="rnd">
                <a:solidFill>
                  <a:srgbClr val="000000"/>
                </a:solidFill>
                <a:prstDash val="solid"/>
                <a:round/>
              </a:ln>
            </p:spPr>
            <p:txBody>
              <a:bodyPr rtlCol="0" anchor="ctr"/>
              <a:lstStyle/>
              <a:p>
                <a:endParaRPr lang="zh-CN" altLang="en-US"/>
              </a:p>
            </p:txBody>
          </p:sp>
          <p:sp>
            <p:nvSpPr>
              <p:cNvPr id="134" name="任意多边形: 形状 133"/>
              <p:cNvSpPr/>
              <p:nvPr/>
            </p:nvSpPr>
            <p:spPr>
              <a:xfrm>
                <a:off x="6817319" y="2670479"/>
                <a:ext cx="169947" cy="169947"/>
              </a:xfrm>
              <a:custGeom>
                <a:avLst/>
                <a:gdLst>
                  <a:gd name="connsiteX0" fmla="*/ 0 w 160394"/>
                  <a:gd name="connsiteY0" fmla="*/ 0 h 160394"/>
                  <a:gd name="connsiteX1" fmla="*/ 160395 w 160394"/>
                  <a:gd name="connsiteY1" fmla="*/ 0 h 160394"/>
                  <a:gd name="connsiteX2" fmla="*/ 160395 w 160394"/>
                  <a:gd name="connsiteY2" fmla="*/ 160395 h 160394"/>
                </a:gdLst>
                <a:ahLst/>
                <a:cxnLst>
                  <a:cxn ang="0">
                    <a:pos x="connsiteX0" y="connsiteY0"/>
                  </a:cxn>
                  <a:cxn ang="0">
                    <a:pos x="connsiteX1" y="connsiteY1"/>
                  </a:cxn>
                  <a:cxn ang="0">
                    <a:pos x="connsiteX2" y="connsiteY2"/>
                  </a:cxn>
                </a:cxnLst>
                <a:rect l="l" t="t" r="r" b="b"/>
                <a:pathLst>
                  <a:path w="160394" h="160394">
                    <a:moveTo>
                      <a:pt x="0" y="0"/>
                    </a:moveTo>
                    <a:lnTo>
                      <a:pt x="160395" y="0"/>
                    </a:lnTo>
                    <a:lnTo>
                      <a:pt x="160395" y="160395"/>
                    </a:lnTo>
                  </a:path>
                </a:pathLst>
              </a:custGeom>
              <a:noFill/>
              <a:ln w="19050" cap="rnd">
                <a:solidFill>
                  <a:srgbClr val="000000"/>
                </a:solidFill>
                <a:prstDash val="solid"/>
                <a:round/>
              </a:ln>
            </p:spPr>
            <p:txBody>
              <a:bodyPr rtlCol="0" anchor="ctr"/>
              <a:lstStyle/>
              <a:p>
                <a:endParaRPr lang="zh-CN" altLang="en-US"/>
              </a:p>
            </p:txBody>
          </p:sp>
          <p:sp>
            <p:nvSpPr>
              <p:cNvPr id="135" name="任意多边形: 形状 134"/>
              <p:cNvSpPr/>
              <p:nvPr/>
            </p:nvSpPr>
            <p:spPr>
              <a:xfrm>
                <a:off x="6806247" y="1123904"/>
                <a:ext cx="1208864" cy="719405"/>
              </a:xfrm>
              <a:custGeom>
                <a:avLst/>
                <a:gdLst>
                  <a:gd name="connsiteX0" fmla="*/ 1046018 w 1140912"/>
                  <a:gd name="connsiteY0" fmla="*/ -229 h 678966"/>
                  <a:gd name="connsiteX1" fmla="*/ 93136 w 1140912"/>
                  <a:gd name="connsiteY1" fmla="*/ -229 h 678966"/>
                  <a:gd name="connsiteX2" fmla="*/ -845 w 1140912"/>
                  <a:gd name="connsiteY2" fmla="*/ 93616 h 678966"/>
                  <a:gd name="connsiteX3" fmla="*/ -845 w 1140912"/>
                  <a:gd name="connsiteY3" fmla="*/ 93685 h 678966"/>
                  <a:gd name="connsiteX4" fmla="*/ -845 w 1140912"/>
                  <a:gd name="connsiteY4" fmla="*/ 477312 h 678966"/>
                  <a:gd name="connsiteX5" fmla="*/ 93136 w 1140912"/>
                  <a:gd name="connsiteY5" fmla="*/ 571294 h 678966"/>
                  <a:gd name="connsiteX6" fmla="*/ 158587 w 1140912"/>
                  <a:gd name="connsiteY6" fmla="*/ 571294 h 678966"/>
                  <a:gd name="connsiteX7" fmla="*/ 208019 w 1140912"/>
                  <a:gd name="connsiteY7" fmla="*/ 620725 h 678966"/>
                  <a:gd name="connsiteX8" fmla="*/ 208019 w 1140912"/>
                  <a:gd name="connsiteY8" fmla="*/ 657919 h 678966"/>
                  <a:gd name="connsiteX9" fmla="*/ 228438 w 1140912"/>
                  <a:gd name="connsiteY9" fmla="*/ 678737 h 678966"/>
                  <a:gd name="connsiteX10" fmla="*/ 243357 w 1140912"/>
                  <a:gd name="connsiteY10" fmla="*/ 672563 h 678966"/>
                  <a:gd name="connsiteX11" fmla="*/ 325857 w 1140912"/>
                  <a:gd name="connsiteY11" fmla="*/ 590063 h 678966"/>
                  <a:gd name="connsiteX12" fmla="*/ 371301 w 1140912"/>
                  <a:gd name="connsiteY12" fmla="*/ 571225 h 678966"/>
                  <a:gd name="connsiteX13" fmla="*/ 1046087 w 1140912"/>
                  <a:gd name="connsiteY13" fmla="*/ 571225 h 678966"/>
                  <a:gd name="connsiteX14" fmla="*/ 1140068 w 1140912"/>
                  <a:gd name="connsiteY14" fmla="*/ 477243 h 678966"/>
                  <a:gd name="connsiteX15" fmla="*/ 1140068 w 1140912"/>
                  <a:gd name="connsiteY15" fmla="*/ 93616 h 678966"/>
                  <a:gd name="connsiteX16" fmla="*/ 1046087 w 1140912"/>
                  <a:gd name="connsiteY16" fmla="*/ -229 h 678966"/>
                  <a:gd name="connsiteX17" fmla="*/ 1046018 w 1140912"/>
                  <a:gd name="connsiteY17" fmla="*/ -229 h 678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40912" h="678966">
                    <a:moveTo>
                      <a:pt x="1046018" y="-229"/>
                    </a:moveTo>
                    <a:lnTo>
                      <a:pt x="93136" y="-229"/>
                    </a:lnTo>
                    <a:cubicBezTo>
                      <a:pt x="41299" y="-270"/>
                      <a:pt x="-776" y="41750"/>
                      <a:pt x="-845" y="93616"/>
                    </a:cubicBezTo>
                    <a:cubicBezTo>
                      <a:pt x="-845" y="93636"/>
                      <a:pt x="-845" y="93664"/>
                      <a:pt x="-845" y="93685"/>
                    </a:cubicBezTo>
                    <a:lnTo>
                      <a:pt x="-845" y="477312"/>
                    </a:lnTo>
                    <a:cubicBezTo>
                      <a:pt x="-845" y="529219"/>
                      <a:pt x="41230" y="571294"/>
                      <a:pt x="93136" y="571294"/>
                    </a:cubicBezTo>
                    <a:lnTo>
                      <a:pt x="158587" y="571294"/>
                    </a:lnTo>
                    <a:cubicBezTo>
                      <a:pt x="185881" y="571294"/>
                      <a:pt x="208019" y="593424"/>
                      <a:pt x="208019" y="620725"/>
                    </a:cubicBezTo>
                    <a:lnTo>
                      <a:pt x="208019" y="657919"/>
                    </a:lnTo>
                    <a:cubicBezTo>
                      <a:pt x="207881" y="669311"/>
                      <a:pt x="217094" y="678627"/>
                      <a:pt x="228438" y="678737"/>
                    </a:cubicBezTo>
                    <a:cubicBezTo>
                      <a:pt x="234075" y="678785"/>
                      <a:pt x="239437" y="676558"/>
                      <a:pt x="243357" y="672563"/>
                    </a:cubicBezTo>
                    <a:lnTo>
                      <a:pt x="325857" y="590063"/>
                    </a:lnTo>
                    <a:cubicBezTo>
                      <a:pt x="337889" y="577983"/>
                      <a:pt x="354251" y="571197"/>
                      <a:pt x="371301" y="571225"/>
                    </a:cubicBezTo>
                    <a:lnTo>
                      <a:pt x="1046087" y="571225"/>
                    </a:lnTo>
                    <a:cubicBezTo>
                      <a:pt x="1097993" y="571225"/>
                      <a:pt x="1140068" y="529150"/>
                      <a:pt x="1140068" y="477243"/>
                    </a:cubicBezTo>
                    <a:lnTo>
                      <a:pt x="1140068" y="93616"/>
                    </a:lnTo>
                    <a:cubicBezTo>
                      <a:pt x="1139999" y="41750"/>
                      <a:pt x="1097924" y="-270"/>
                      <a:pt x="1046087" y="-229"/>
                    </a:cubicBezTo>
                    <a:cubicBezTo>
                      <a:pt x="1046087" y="-229"/>
                      <a:pt x="1046018" y="-229"/>
                      <a:pt x="1046018" y="-229"/>
                    </a:cubicBezTo>
                    <a:close/>
                  </a:path>
                </a:pathLst>
              </a:custGeom>
              <a:solidFill>
                <a:srgbClr val="B6F8F0"/>
              </a:solidFill>
              <a:ln w="19050" cap="rnd">
                <a:solidFill>
                  <a:srgbClr val="000000"/>
                </a:solidFill>
                <a:prstDash val="solid"/>
                <a:round/>
              </a:ln>
            </p:spPr>
            <p:txBody>
              <a:bodyPr rot="0" spcFirstLastPara="0" vertOverflow="overflow" horzOverflow="overflow" vert="horz" wrap="square" lIns="91440" tIns="45720" rIns="91440" bIns="45720" numCol="1" spcCol="0" rtlCol="0" fromWordArt="0" anchor="ctr" anchorCtr="0" forceAA="0" compatLnSpc="1">
                <a:noAutofit/>
              </a:bodyPr>
              <a:lstStyle/>
              <a:p>
                <a:endParaRPr lang="zh-CN" altLang="en-US"/>
              </a:p>
            </p:txBody>
          </p:sp>
          <p:sp>
            <p:nvSpPr>
              <p:cNvPr id="136" name="任意多边形: 形状 135"/>
              <p:cNvSpPr/>
              <p:nvPr/>
            </p:nvSpPr>
            <p:spPr>
              <a:xfrm>
                <a:off x="6958493" y="1272580"/>
                <a:ext cx="317313" cy="317313"/>
              </a:xfrm>
              <a:custGeom>
                <a:avLst/>
                <a:gdLst>
                  <a:gd name="connsiteX0" fmla="*/ 299477 w 299476"/>
                  <a:gd name="connsiteY0" fmla="*/ 149738 h 299476"/>
                  <a:gd name="connsiteX1" fmla="*/ 149738 w 299476"/>
                  <a:gd name="connsiteY1" fmla="*/ 299477 h 299476"/>
                  <a:gd name="connsiteX2" fmla="*/ 0 w 299476"/>
                  <a:gd name="connsiteY2" fmla="*/ 149738 h 299476"/>
                  <a:gd name="connsiteX3" fmla="*/ 149738 w 299476"/>
                  <a:gd name="connsiteY3" fmla="*/ 0 h 299476"/>
                  <a:gd name="connsiteX4" fmla="*/ 299477 w 299476"/>
                  <a:gd name="connsiteY4" fmla="*/ 149738 h 299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9476" h="299476">
                    <a:moveTo>
                      <a:pt x="299477" y="149738"/>
                    </a:moveTo>
                    <a:cubicBezTo>
                      <a:pt x="299477" y="232437"/>
                      <a:pt x="232437" y="299477"/>
                      <a:pt x="149738" y="299477"/>
                    </a:cubicBezTo>
                    <a:cubicBezTo>
                      <a:pt x="67040" y="299477"/>
                      <a:pt x="0" y="232437"/>
                      <a:pt x="0" y="149738"/>
                    </a:cubicBezTo>
                    <a:cubicBezTo>
                      <a:pt x="0" y="67040"/>
                      <a:pt x="67040" y="0"/>
                      <a:pt x="149738" y="0"/>
                    </a:cubicBezTo>
                    <a:cubicBezTo>
                      <a:pt x="232437" y="0"/>
                      <a:pt x="299477" y="67040"/>
                      <a:pt x="299477" y="149738"/>
                    </a:cubicBezTo>
                    <a:close/>
                  </a:path>
                </a:pathLst>
              </a:custGeom>
              <a:solidFill>
                <a:srgbClr val="FFCD2D"/>
              </a:solidFill>
              <a:ln w="19050" cap="rnd">
                <a:solidFill>
                  <a:srgbClr val="000000"/>
                </a:solidFill>
                <a:prstDash val="solid"/>
                <a:round/>
              </a:ln>
            </p:spPr>
            <p:txBody>
              <a:bodyPr rot="0" spcFirstLastPara="0" vertOverflow="overflow" horzOverflow="overflow" vert="horz" wrap="square" lIns="91440" tIns="45720" rIns="91440" bIns="45720" numCol="1" spcCol="0" rtlCol="0" fromWordArt="0" anchor="ctr" anchorCtr="0" forceAA="0" compatLnSpc="1">
                <a:noAutofit/>
              </a:bodyPr>
              <a:lstStyle/>
              <a:p>
                <a:endParaRPr lang="zh-CN" altLang="en-US"/>
              </a:p>
            </p:txBody>
          </p:sp>
          <p:sp>
            <p:nvSpPr>
              <p:cNvPr id="137" name="任意多边形: 形状 136"/>
              <p:cNvSpPr/>
              <p:nvPr/>
            </p:nvSpPr>
            <p:spPr>
              <a:xfrm>
                <a:off x="7059548" y="1353074"/>
                <a:ext cx="115586" cy="166087"/>
              </a:xfrm>
              <a:custGeom>
                <a:avLst/>
                <a:gdLst>
                  <a:gd name="connsiteX0" fmla="*/ 11374 w 109089"/>
                  <a:gd name="connsiteY0" fmla="*/ -229 h 156751"/>
                  <a:gd name="connsiteX1" fmla="*/ 11374 w 109089"/>
                  <a:gd name="connsiteY1" fmla="*/ -229 h 156751"/>
                  <a:gd name="connsiteX2" fmla="*/ 22512 w 109089"/>
                  <a:gd name="connsiteY2" fmla="*/ 6646 h 156751"/>
                  <a:gd name="connsiteX3" fmla="*/ 53518 w 109089"/>
                  <a:gd name="connsiteY3" fmla="*/ 67284 h 156751"/>
                  <a:gd name="connsiteX4" fmla="*/ 84525 w 109089"/>
                  <a:gd name="connsiteY4" fmla="*/ 6646 h 156751"/>
                  <a:gd name="connsiteX5" fmla="*/ 95662 w 109089"/>
                  <a:gd name="connsiteY5" fmla="*/ -229 h 156751"/>
                  <a:gd name="connsiteX6" fmla="*/ 95662 w 109089"/>
                  <a:gd name="connsiteY6" fmla="*/ -229 h 156751"/>
                  <a:gd name="connsiteX7" fmla="*/ 108244 w 109089"/>
                  <a:gd name="connsiteY7" fmla="*/ 12380 h 156751"/>
                  <a:gd name="connsiteX8" fmla="*/ 106663 w 109089"/>
                  <a:gd name="connsiteY8" fmla="*/ 18403 h 156751"/>
                  <a:gd name="connsiteX9" fmla="*/ 74143 w 109089"/>
                  <a:gd name="connsiteY9" fmla="*/ 76841 h 156751"/>
                  <a:gd name="connsiteX10" fmla="*/ 96556 w 109089"/>
                  <a:gd name="connsiteY10" fmla="*/ 76841 h 156751"/>
                  <a:gd name="connsiteX11" fmla="*/ 103431 w 109089"/>
                  <a:gd name="connsiteY11" fmla="*/ 83716 h 156751"/>
                  <a:gd name="connsiteX12" fmla="*/ 103431 w 109089"/>
                  <a:gd name="connsiteY12" fmla="*/ 83716 h 156751"/>
                  <a:gd name="connsiteX13" fmla="*/ 96556 w 109089"/>
                  <a:gd name="connsiteY13" fmla="*/ 90591 h 156751"/>
                  <a:gd name="connsiteX14" fmla="*/ 66512 w 109089"/>
                  <a:gd name="connsiteY14" fmla="*/ 90591 h 156751"/>
                  <a:gd name="connsiteX15" fmla="*/ 66512 w 109089"/>
                  <a:gd name="connsiteY15" fmla="*/ 90591 h 156751"/>
                  <a:gd name="connsiteX16" fmla="*/ 66512 w 109089"/>
                  <a:gd name="connsiteY16" fmla="*/ 109428 h 156751"/>
                  <a:gd name="connsiteX17" fmla="*/ 96831 w 109089"/>
                  <a:gd name="connsiteY17" fmla="*/ 109428 h 156751"/>
                  <a:gd name="connsiteX18" fmla="*/ 103706 w 109089"/>
                  <a:gd name="connsiteY18" fmla="*/ 116303 h 156751"/>
                  <a:gd name="connsiteX19" fmla="*/ 103706 w 109089"/>
                  <a:gd name="connsiteY19" fmla="*/ 116303 h 156751"/>
                  <a:gd name="connsiteX20" fmla="*/ 96831 w 109089"/>
                  <a:gd name="connsiteY20" fmla="*/ 123178 h 156751"/>
                  <a:gd name="connsiteX21" fmla="*/ 66512 w 109089"/>
                  <a:gd name="connsiteY21" fmla="*/ 123178 h 156751"/>
                  <a:gd name="connsiteX22" fmla="*/ 66512 w 109089"/>
                  <a:gd name="connsiteY22" fmla="*/ 143804 h 156751"/>
                  <a:gd name="connsiteX23" fmla="*/ 53794 w 109089"/>
                  <a:gd name="connsiteY23" fmla="*/ 156522 h 156751"/>
                  <a:gd name="connsiteX24" fmla="*/ 53794 w 109089"/>
                  <a:gd name="connsiteY24" fmla="*/ 156522 h 156751"/>
                  <a:gd name="connsiteX25" fmla="*/ 40937 w 109089"/>
                  <a:gd name="connsiteY25" fmla="*/ 143941 h 156751"/>
                  <a:gd name="connsiteX26" fmla="*/ 40937 w 109089"/>
                  <a:gd name="connsiteY26" fmla="*/ 143804 h 156751"/>
                  <a:gd name="connsiteX27" fmla="*/ 40937 w 109089"/>
                  <a:gd name="connsiteY27" fmla="*/ 123178 h 156751"/>
                  <a:gd name="connsiteX28" fmla="*/ 10825 w 109089"/>
                  <a:gd name="connsiteY28" fmla="*/ 123178 h 156751"/>
                  <a:gd name="connsiteX29" fmla="*/ 3950 w 109089"/>
                  <a:gd name="connsiteY29" fmla="*/ 116303 h 156751"/>
                  <a:gd name="connsiteX30" fmla="*/ 3950 w 109089"/>
                  <a:gd name="connsiteY30" fmla="*/ 116303 h 156751"/>
                  <a:gd name="connsiteX31" fmla="*/ 10825 w 109089"/>
                  <a:gd name="connsiteY31" fmla="*/ 109428 h 156751"/>
                  <a:gd name="connsiteX32" fmla="*/ 40937 w 109089"/>
                  <a:gd name="connsiteY32" fmla="*/ 109428 h 156751"/>
                  <a:gd name="connsiteX33" fmla="*/ 40937 w 109089"/>
                  <a:gd name="connsiteY33" fmla="*/ 90591 h 156751"/>
                  <a:gd name="connsiteX34" fmla="*/ 40937 w 109089"/>
                  <a:gd name="connsiteY34" fmla="*/ 90591 h 156751"/>
                  <a:gd name="connsiteX35" fmla="*/ 11031 w 109089"/>
                  <a:gd name="connsiteY35" fmla="*/ 90591 h 156751"/>
                  <a:gd name="connsiteX36" fmla="*/ 4156 w 109089"/>
                  <a:gd name="connsiteY36" fmla="*/ 83716 h 156751"/>
                  <a:gd name="connsiteX37" fmla="*/ 4156 w 109089"/>
                  <a:gd name="connsiteY37" fmla="*/ 83716 h 156751"/>
                  <a:gd name="connsiteX38" fmla="*/ 11031 w 109089"/>
                  <a:gd name="connsiteY38" fmla="*/ 76841 h 156751"/>
                  <a:gd name="connsiteX39" fmla="*/ 33237 w 109089"/>
                  <a:gd name="connsiteY39" fmla="*/ 76841 h 156751"/>
                  <a:gd name="connsiteX40" fmla="*/ 718 w 109089"/>
                  <a:gd name="connsiteY40" fmla="*/ 18403 h 156751"/>
                  <a:gd name="connsiteX41" fmla="*/ 5668 w 109089"/>
                  <a:gd name="connsiteY41" fmla="*/ 1318 h 156751"/>
                  <a:gd name="connsiteX42" fmla="*/ 11374 w 109089"/>
                  <a:gd name="connsiteY42" fmla="*/ -229 h 156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09089" h="156751">
                    <a:moveTo>
                      <a:pt x="11374" y="-229"/>
                    </a:moveTo>
                    <a:lnTo>
                      <a:pt x="11374" y="-229"/>
                    </a:lnTo>
                    <a:cubicBezTo>
                      <a:pt x="16118" y="-215"/>
                      <a:pt x="20381" y="2439"/>
                      <a:pt x="22512" y="6646"/>
                    </a:cubicBezTo>
                    <a:lnTo>
                      <a:pt x="53518" y="67284"/>
                    </a:lnTo>
                    <a:lnTo>
                      <a:pt x="84525" y="6646"/>
                    </a:lnTo>
                    <a:cubicBezTo>
                      <a:pt x="86656" y="2439"/>
                      <a:pt x="90919" y="-215"/>
                      <a:pt x="95662" y="-229"/>
                    </a:cubicBezTo>
                    <a:lnTo>
                      <a:pt x="95662" y="-229"/>
                    </a:lnTo>
                    <a:cubicBezTo>
                      <a:pt x="102606" y="-215"/>
                      <a:pt x="108244" y="5436"/>
                      <a:pt x="108244" y="12380"/>
                    </a:cubicBezTo>
                    <a:cubicBezTo>
                      <a:pt x="108175" y="14491"/>
                      <a:pt x="107694" y="16560"/>
                      <a:pt x="106663" y="18403"/>
                    </a:cubicBezTo>
                    <a:lnTo>
                      <a:pt x="74143" y="76841"/>
                    </a:lnTo>
                    <a:lnTo>
                      <a:pt x="96556" y="76841"/>
                    </a:lnTo>
                    <a:cubicBezTo>
                      <a:pt x="100338" y="76841"/>
                      <a:pt x="103431" y="79921"/>
                      <a:pt x="103431" y="83716"/>
                    </a:cubicBezTo>
                    <a:lnTo>
                      <a:pt x="103431" y="83716"/>
                    </a:lnTo>
                    <a:cubicBezTo>
                      <a:pt x="103431" y="87511"/>
                      <a:pt x="100338" y="90591"/>
                      <a:pt x="96556" y="90591"/>
                    </a:cubicBezTo>
                    <a:lnTo>
                      <a:pt x="66512" y="90591"/>
                    </a:lnTo>
                    <a:lnTo>
                      <a:pt x="66512" y="90591"/>
                    </a:lnTo>
                    <a:lnTo>
                      <a:pt x="66512" y="109428"/>
                    </a:lnTo>
                    <a:lnTo>
                      <a:pt x="96831" y="109428"/>
                    </a:lnTo>
                    <a:cubicBezTo>
                      <a:pt x="100613" y="109428"/>
                      <a:pt x="103706" y="112508"/>
                      <a:pt x="103706" y="116303"/>
                    </a:cubicBezTo>
                    <a:lnTo>
                      <a:pt x="103706" y="116303"/>
                    </a:lnTo>
                    <a:cubicBezTo>
                      <a:pt x="103706" y="120098"/>
                      <a:pt x="100613" y="123178"/>
                      <a:pt x="96831" y="123178"/>
                    </a:cubicBezTo>
                    <a:lnTo>
                      <a:pt x="66512" y="123178"/>
                    </a:lnTo>
                    <a:lnTo>
                      <a:pt x="66512" y="143804"/>
                    </a:lnTo>
                    <a:cubicBezTo>
                      <a:pt x="66512" y="150830"/>
                      <a:pt x="60806" y="156522"/>
                      <a:pt x="53794" y="156522"/>
                    </a:cubicBezTo>
                    <a:lnTo>
                      <a:pt x="53794" y="156522"/>
                    </a:lnTo>
                    <a:cubicBezTo>
                      <a:pt x="46781" y="156598"/>
                      <a:pt x="41006" y="150967"/>
                      <a:pt x="40937" y="143941"/>
                    </a:cubicBezTo>
                    <a:cubicBezTo>
                      <a:pt x="40937" y="143893"/>
                      <a:pt x="40937" y="143852"/>
                      <a:pt x="40937" y="143804"/>
                    </a:cubicBezTo>
                    <a:lnTo>
                      <a:pt x="40937" y="123178"/>
                    </a:lnTo>
                    <a:lnTo>
                      <a:pt x="10825" y="123178"/>
                    </a:lnTo>
                    <a:cubicBezTo>
                      <a:pt x="7043" y="123178"/>
                      <a:pt x="3950" y="120098"/>
                      <a:pt x="3950" y="116303"/>
                    </a:cubicBezTo>
                    <a:lnTo>
                      <a:pt x="3950" y="116303"/>
                    </a:lnTo>
                    <a:cubicBezTo>
                      <a:pt x="3950" y="112508"/>
                      <a:pt x="7043" y="109428"/>
                      <a:pt x="10825" y="109428"/>
                    </a:cubicBezTo>
                    <a:lnTo>
                      <a:pt x="40937" y="109428"/>
                    </a:lnTo>
                    <a:lnTo>
                      <a:pt x="40937" y="90591"/>
                    </a:lnTo>
                    <a:lnTo>
                      <a:pt x="40937" y="90591"/>
                    </a:lnTo>
                    <a:lnTo>
                      <a:pt x="11031" y="90591"/>
                    </a:lnTo>
                    <a:cubicBezTo>
                      <a:pt x="7249" y="90591"/>
                      <a:pt x="4156" y="87511"/>
                      <a:pt x="4156" y="83716"/>
                    </a:cubicBezTo>
                    <a:lnTo>
                      <a:pt x="4156" y="83716"/>
                    </a:lnTo>
                    <a:cubicBezTo>
                      <a:pt x="4156" y="79921"/>
                      <a:pt x="7249" y="76841"/>
                      <a:pt x="11031" y="76841"/>
                    </a:cubicBezTo>
                    <a:lnTo>
                      <a:pt x="33237" y="76841"/>
                    </a:lnTo>
                    <a:lnTo>
                      <a:pt x="718" y="18403"/>
                    </a:lnTo>
                    <a:cubicBezTo>
                      <a:pt x="-2650" y="12312"/>
                      <a:pt x="-382" y="4666"/>
                      <a:pt x="5668" y="1318"/>
                    </a:cubicBezTo>
                    <a:cubicBezTo>
                      <a:pt x="7456" y="363"/>
                      <a:pt x="9381" y="-167"/>
                      <a:pt x="11374" y="-229"/>
                    </a:cubicBezTo>
                    <a:close/>
                  </a:path>
                </a:pathLst>
              </a:custGeom>
              <a:solidFill>
                <a:srgbClr val="000000"/>
              </a:solidFill>
              <a:ln w="6870" cap="flat">
                <a:noFill/>
                <a:prstDash val="solid"/>
                <a:miter/>
              </a:ln>
            </p:spPr>
            <p:txBody>
              <a:bodyPr rtlCol="0" anchor="ctr"/>
              <a:lstStyle/>
              <a:p>
                <a:endParaRPr lang="zh-CN" altLang="en-US"/>
              </a:p>
            </p:txBody>
          </p:sp>
          <p:sp>
            <p:nvSpPr>
              <p:cNvPr id="138" name="任意多边形: 形状 137"/>
              <p:cNvSpPr/>
              <p:nvPr/>
            </p:nvSpPr>
            <p:spPr>
              <a:xfrm>
                <a:off x="7402848" y="1389133"/>
                <a:ext cx="84208" cy="84208"/>
              </a:xfrm>
              <a:custGeom>
                <a:avLst/>
                <a:gdLst>
                  <a:gd name="connsiteX0" fmla="*/ 79476 w 79475"/>
                  <a:gd name="connsiteY0" fmla="*/ 39738 h 79475"/>
                  <a:gd name="connsiteX1" fmla="*/ 39738 w 79475"/>
                  <a:gd name="connsiteY1" fmla="*/ 79475 h 79475"/>
                  <a:gd name="connsiteX2" fmla="*/ 0 w 79475"/>
                  <a:gd name="connsiteY2" fmla="*/ 39738 h 79475"/>
                  <a:gd name="connsiteX3" fmla="*/ 39738 w 79475"/>
                  <a:gd name="connsiteY3" fmla="*/ 0 h 79475"/>
                  <a:gd name="connsiteX4" fmla="*/ 79476 w 79475"/>
                  <a:gd name="connsiteY4" fmla="*/ 39738 h 79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475" h="79475">
                    <a:moveTo>
                      <a:pt x="79476" y="39738"/>
                    </a:moveTo>
                    <a:cubicBezTo>
                      <a:pt x="79476" y="61684"/>
                      <a:pt x="61684" y="79475"/>
                      <a:pt x="39738" y="79475"/>
                    </a:cubicBezTo>
                    <a:cubicBezTo>
                      <a:pt x="17791" y="79475"/>
                      <a:pt x="0" y="61684"/>
                      <a:pt x="0" y="39738"/>
                    </a:cubicBezTo>
                    <a:cubicBezTo>
                      <a:pt x="0" y="17791"/>
                      <a:pt x="17791" y="0"/>
                      <a:pt x="39738" y="0"/>
                    </a:cubicBezTo>
                    <a:cubicBezTo>
                      <a:pt x="61684" y="0"/>
                      <a:pt x="79476" y="17791"/>
                      <a:pt x="79476" y="39738"/>
                    </a:cubicBezTo>
                    <a:close/>
                  </a:path>
                </a:pathLst>
              </a:custGeom>
              <a:solidFill>
                <a:srgbClr val="FFCD2D"/>
              </a:solidFill>
              <a:ln w="19050" cap="rnd">
                <a:solidFill>
                  <a:srgbClr val="000000"/>
                </a:solidFill>
                <a:prstDash val="solid"/>
                <a:round/>
              </a:ln>
            </p:spPr>
            <p:txBody>
              <a:bodyPr rot="0" spcFirstLastPara="0" vertOverflow="overflow" horzOverflow="overflow" vert="horz" wrap="square" lIns="91440" tIns="45720" rIns="91440" bIns="45720" numCol="1" spcCol="0" rtlCol="0" fromWordArt="0" anchor="ctr" anchorCtr="0" forceAA="0" compatLnSpc="1">
                <a:noAutofit/>
              </a:bodyPr>
              <a:lstStyle/>
              <a:p>
                <a:endParaRPr lang="zh-CN" altLang="en-US"/>
              </a:p>
            </p:txBody>
          </p:sp>
          <p:sp>
            <p:nvSpPr>
              <p:cNvPr id="139" name="任意多边形: 形状 138"/>
              <p:cNvSpPr/>
              <p:nvPr/>
            </p:nvSpPr>
            <p:spPr>
              <a:xfrm>
                <a:off x="7592246" y="1389133"/>
                <a:ext cx="84208" cy="84208"/>
              </a:xfrm>
              <a:custGeom>
                <a:avLst/>
                <a:gdLst>
                  <a:gd name="connsiteX0" fmla="*/ 79476 w 79475"/>
                  <a:gd name="connsiteY0" fmla="*/ 39738 h 79475"/>
                  <a:gd name="connsiteX1" fmla="*/ 39738 w 79475"/>
                  <a:gd name="connsiteY1" fmla="*/ 79475 h 79475"/>
                  <a:gd name="connsiteX2" fmla="*/ 0 w 79475"/>
                  <a:gd name="connsiteY2" fmla="*/ 39738 h 79475"/>
                  <a:gd name="connsiteX3" fmla="*/ 39738 w 79475"/>
                  <a:gd name="connsiteY3" fmla="*/ 0 h 79475"/>
                  <a:gd name="connsiteX4" fmla="*/ 79476 w 79475"/>
                  <a:gd name="connsiteY4" fmla="*/ 39738 h 79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475" h="79475">
                    <a:moveTo>
                      <a:pt x="79476" y="39738"/>
                    </a:moveTo>
                    <a:cubicBezTo>
                      <a:pt x="79476" y="61684"/>
                      <a:pt x="61684" y="79475"/>
                      <a:pt x="39738" y="79475"/>
                    </a:cubicBezTo>
                    <a:cubicBezTo>
                      <a:pt x="17791" y="79475"/>
                      <a:pt x="0" y="61684"/>
                      <a:pt x="0" y="39738"/>
                    </a:cubicBezTo>
                    <a:cubicBezTo>
                      <a:pt x="0" y="17791"/>
                      <a:pt x="17791" y="0"/>
                      <a:pt x="39738" y="0"/>
                    </a:cubicBezTo>
                    <a:cubicBezTo>
                      <a:pt x="61684" y="0"/>
                      <a:pt x="79476" y="17791"/>
                      <a:pt x="79476" y="39738"/>
                    </a:cubicBezTo>
                    <a:close/>
                  </a:path>
                </a:pathLst>
              </a:custGeom>
              <a:solidFill>
                <a:srgbClr val="FFCD2D"/>
              </a:solidFill>
              <a:ln w="19050" cap="rnd">
                <a:solidFill>
                  <a:srgbClr val="000000"/>
                </a:solidFill>
                <a:prstDash val="solid"/>
                <a:round/>
              </a:ln>
            </p:spPr>
            <p:txBody>
              <a:bodyPr rot="0" spcFirstLastPara="0" vertOverflow="overflow" horzOverflow="overflow" vert="horz" wrap="square" lIns="91440" tIns="45720" rIns="91440" bIns="45720" numCol="1" spcCol="0" rtlCol="0" fromWordArt="0" anchor="ctr" anchorCtr="0" forceAA="0" compatLnSpc="1">
                <a:noAutofit/>
              </a:bodyPr>
              <a:lstStyle/>
              <a:p>
                <a:endParaRPr lang="zh-CN" altLang="en-US"/>
              </a:p>
            </p:txBody>
          </p:sp>
          <p:sp>
            <p:nvSpPr>
              <p:cNvPr id="140" name="任意多边形: 形状 139"/>
              <p:cNvSpPr/>
              <p:nvPr/>
            </p:nvSpPr>
            <p:spPr>
              <a:xfrm>
                <a:off x="7781643" y="1389133"/>
                <a:ext cx="84208" cy="84208"/>
              </a:xfrm>
              <a:custGeom>
                <a:avLst/>
                <a:gdLst>
                  <a:gd name="connsiteX0" fmla="*/ 79476 w 79475"/>
                  <a:gd name="connsiteY0" fmla="*/ 39738 h 79475"/>
                  <a:gd name="connsiteX1" fmla="*/ 39738 w 79475"/>
                  <a:gd name="connsiteY1" fmla="*/ 79475 h 79475"/>
                  <a:gd name="connsiteX2" fmla="*/ 0 w 79475"/>
                  <a:gd name="connsiteY2" fmla="*/ 39738 h 79475"/>
                  <a:gd name="connsiteX3" fmla="*/ 39738 w 79475"/>
                  <a:gd name="connsiteY3" fmla="*/ 0 h 79475"/>
                  <a:gd name="connsiteX4" fmla="*/ 79476 w 79475"/>
                  <a:gd name="connsiteY4" fmla="*/ 39738 h 79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475" h="79475">
                    <a:moveTo>
                      <a:pt x="79476" y="39738"/>
                    </a:moveTo>
                    <a:cubicBezTo>
                      <a:pt x="79476" y="61684"/>
                      <a:pt x="61684" y="79475"/>
                      <a:pt x="39738" y="79475"/>
                    </a:cubicBezTo>
                    <a:cubicBezTo>
                      <a:pt x="17791" y="79475"/>
                      <a:pt x="0" y="61684"/>
                      <a:pt x="0" y="39738"/>
                    </a:cubicBezTo>
                    <a:cubicBezTo>
                      <a:pt x="0" y="17791"/>
                      <a:pt x="17791" y="0"/>
                      <a:pt x="39738" y="0"/>
                    </a:cubicBezTo>
                    <a:cubicBezTo>
                      <a:pt x="61684" y="0"/>
                      <a:pt x="79476" y="17791"/>
                      <a:pt x="79476" y="39738"/>
                    </a:cubicBezTo>
                    <a:close/>
                  </a:path>
                </a:pathLst>
              </a:custGeom>
              <a:solidFill>
                <a:srgbClr val="FFCD2D"/>
              </a:solidFill>
              <a:ln w="19050" cap="rnd">
                <a:solidFill>
                  <a:srgbClr val="000000"/>
                </a:solidFill>
                <a:prstDash val="solid"/>
                <a:round/>
              </a:ln>
            </p:spPr>
            <p:txBody>
              <a:bodyPr rot="0" spcFirstLastPara="0" vertOverflow="overflow" horzOverflow="overflow" vert="horz" wrap="square" lIns="91440" tIns="45720" rIns="91440" bIns="45720" numCol="1" spcCol="0" rtlCol="0" fromWordArt="0" anchor="ctr" anchorCtr="0" forceAA="0" compatLnSpc="1">
                <a:noAutofit/>
              </a:bodyPr>
              <a:lstStyle/>
              <a:p>
                <a:endParaRPr lang="zh-CN" altLang="en-US"/>
              </a:p>
            </p:txBody>
          </p:sp>
          <p:sp>
            <p:nvSpPr>
              <p:cNvPr id="141" name="任意多边形: 形状 140"/>
              <p:cNvSpPr/>
              <p:nvPr/>
            </p:nvSpPr>
            <p:spPr>
              <a:xfrm>
                <a:off x="4482487" y="2273837"/>
                <a:ext cx="699240" cy="611154"/>
              </a:xfrm>
              <a:custGeom>
                <a:avLst/>
                <a:gdLst>
                  <a:gd name="connsiteX0" fmla="*/ 578721 w 659935"/>
                  <a:gd name="connsiteY0" fmla="*/ -229 h 576800"/>
                  <a:gd name="connsiteX1" fmla="*/ 79593 w 659935"/>
                  <a:gd name="connsiteY1" fmla="*/ -229 h 576800"/>
                  <a:gd name="connsiteX2" fmla="*/ -845 w 659935"/>
                  <a:gd name="connsiteY2" fmla="*/ 80072 h 576800"/>
                  <a:gd name="connsiteX3" fmla="*/ -845 w 659935"/>
                  <a:gd name="connsiteY3" fmla="*/ 80141 h 576800"/>
                  <a:gd name="connsiteX4" fmla="*/ -845 w 659935"/>
                  <a:gd name="connsiteY4" fmla="*/ 408424 h 576800"/>
                  <a:gd name="connsiteX5" fmla="*/ 79593 w 659935"/>
                  <a:gd name="connsiteY5" fmla="*/ 488862 h 576800"/>
                  <a:gd name="connsiteX6" fmla="*/ 340844 w 659935"/>
                  <a:gd name="connsiteY6" fmla="*/ 488862 h 576800"/>
                  <a:gd name="connsiteX7" fmla="*/ 379688 w 659935"/>
                  <a:gd name="connsiteY7" fmla="*/ 504949 h 576800"/>
                  <a:gd name="connsiteX8" fmla="*/ 445139 w 659935"/>
                  <a:gd name="connsiteY8" fmla="*/ 570400 h 576800"/>
                  <a:gd name="connsiteX9" fmla="*/ 474310 w 659935"/>
                  <a:gd name="connsiteY9" fmla="*/ 570661 h 576800"/>
                  <a:gd name="connsiteX10" fmla="*/ 480476 w 659935"/>
                  <a:gd name="connsiteY10" fmla="*/ 555756 h 576800"/>
                  <a:gd name="connsiteX11" fmla="*/ 480476 w 659935"/>
                  <a:gd name="connsiteY11" fmla="*/ 523374 h 576800"/>
                  <a:gd name="connsiteX12" fmla="*/ 514852 w 659935"/>
                  <a:gd name="connsiteY12" fmla="*/ 488999 h 576800"/>
                  <a:gd name="connsiteX13" fmla="*/ 578652 w 659935"/>
                  <a:gd name="connsiteY13" fmla="*/ 488999 h 576800"/>
                  <a:gd name="connsiteX14" fmla="*/ 659090 w 659935"/>
                  <a:gd name="connsiteY14" fmla="*/ 408561 h 576800"/>
                  <a:gd name="connsiteX15" fmla="*/ 659090 w 659935"/>
                  <a:gd name="connsiteY15" fmla="*/ 80141 h 576800"/>
                  <a:gd name="connsiteX16" fmla="*/ 578721 w 659935"/>
                  <a:gd name="connsiteY16" fmla="*/ -229 h 57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59935" h="576800">
                    <a:moveTo>
                      <a:pt x="578721" y="-229"/>
                    </a:moveTo>
                    <a:lnTo>
                      <a:pt x="79593" y="-229"/>
                    </a:lnTo>
                    <a:cubicBezTo>
                      <a:pt x="35208" y="-270"/>
                      <a:pt x="-804" y="35687"/>
                      <a:pt x="-845" y="80072"/>
                    </a:cubicBezTo>
                    <a:cubicBezTo>
                      <a:pt x="-845" y="80092"/>
                      <a:pt x="-845" y="80120"/>
                      <a:pt x="-845" y="80141"/>
                    </a:cubicBezTo>
                    <a:lnTo>
                      <a:pt x="-845" y="408424"/>
                    </a:lnTo>
                    <a:cubicBezTo>
                      <a:pt x="-845" y="452850"/>
                      <a:pt x="35166" y="488862"/>
                      <a:pt x="79593" y="488862"/>
                    </a:cubicBezTo>
                    <a:lnTo>
                      <a:pt x="340844" y="488862"/>
                    </a:lnTo>
                    <a:cubicBezTo>
                      <a:pt x="355413" y="488869"/>
                      <a:pt x="369383" y="494658"/>
                      <a:pt x="379688" y="504949"/>
                    </a:cubicBezTo>
                    <a:lnTo>
                      <a:pt x="445139" y="570400"/>
                    </a:lnTo>
                    <a:cubicBezTo>
                      <a:pt x="453121" y="578526"/>
                      <a:pt x="466183" y="578643"/>
                      <a:pt x="474310" y="570661"/>
                    </a:cubicBezTo>
                    <a:cubicBezTo>
                      <a:pt x="478304" y="566735"/>
                      <a:pt x="480532" y="561352"/>
                      <a:pt x="480476" y="555756"/>
                    </a:cubicBezTo>
                    <a:lnTo>
                      <a:pt x="480476" y="523374"/>
                    </a:lnTo>
                    <a:cubicBezTo>
                      <a:pt x="480476" y="504393"/>
                      <a:pt x="495870" y="488999"/>
                      <a:pt x="514852" y="488999"/>
                    </a:cubicBezTo>
                    <a:lnTo>
                      <a:pt x="578652" y="488999"/>
                    </a:lnTo>
                    <a:cubicBezTo>
                      <a:pt x="623079" y="488999"/>
                      <a:pt x="659090" y="452988"/>
                      <a:pt x="659090" y="408561"/>
                    </a:cubicBezTo>
                    <a:lnTo>
                      <a:pt x="659090" y="80141"/>
                    </a:lnTo>
                    <a:cubicBezTo>
                      <a:pt x="659090" y="35755"/>
                      <a:pt x="623106" y="-229"/>
                      <a:pt x="578721" y="-229"/>
                    </a:cubicBezTo>
                    <a:close/>
                  </a:path>
                </a:pathLst>
              </a:custGeom>
              <a:solidFill>
                <a:srgbClr val="B6F8F0"/>
              </a:solidFill>
              <a:ln w="19050" cap="rnd">
                <a:solidFill>
                  <a:srgbClr val="000000"/>
                </a:solidFill>
                <a:prstDash val="solid"/>
                <a:round/>
              </a:ln>
            </p:spPr>
            <p:txBody>
              <a:bodyPr rot="0" spcFirstLastPara="0" vertOverflow="overflow" horzOverflow="overflow" vert="horz" wrap="square" lIns="91440" tIns="45720" rIns="91440" bIns="45720" numCol="1" spcCol="0" rtlCol="0" fromWordArt="0" anchor="ctr" anchorCtr="0" forceAA="0" compatLnSpc="1">
                <a:noAutofit/>
              </a:bodyPr>
              <a:lstStyle/>
              <a:p>
                <a:endParaRPr lang="zh-CN" altLang="en-US"/>
              </a:p>
            </p:txBody>
          </p:sp>
          <p:sp>
            <p:nvSpPr>
              <p:cNvPr id="142" name="矩形: 圆角 141"/>
              <p:cNvSpPr/>
              <p:nvPr/>
            </p:nvSpPr>
            <p:spPr>
              <a:xfrm>
                <a:off x="4602681" y="2547371"/>
                <a:ext cx="96956" cy="138405"/>
              </a:xfrm>
              <a:prstGeom prst="roundRect">
                <a:avLst>
                  <a:gd name="adj" fmla="val 50000"/>
                </a:avLst>
              </a:prstGeom>
              <a:solidFill>
                <a:srgbClr val="FF724B"/>
              </a:solidFill>
              <a:ln w="19050" cap="rnd">
                <a:solidFill>
                  <a:srgbClr val="000000"/>
                </a:solidFill>
                <a:prstDash val="solid"/>
                <a:round/>
              </a:ln>
            </p:spPr>
            <p:txBody>
              <a:bodyPr rot="0" spcFirstLastPara="0" vertOverflow="overflow" horzOverflow="overflow" vert="horz" wrap="square" lIns="91440" tIns="45720" rIns="91440" bIns="45720" numCol="1" spcCol="0" rtlCol="0" fromWordArt="0" anchor="ctr" anchorCtr="0" forceAA="0" compatLnSpc="1">
                <a:noAutofit/>
              </a:bodyPr>
              <a:lstStyle/>
              <a:p>
                <a:endParaRPr lang="zh-CN" altLang="en-US"/>
              </a:p>
            </p:txBody>
          </p:sp>
          <p:sp>
            <p:nvSpPr>
              <p:cNvPr id="143" name="矩形: 圆角 142"/>
              <p:cNvSpPr/>
              <p:nvPr/>
            </p:nvSpPr>
            <p:spPr>
              <a:xfrm>
                <a:off x="4783702" y="2387112"/>
                <a:ext cx="96956" cy="298664"/>
              </a:xfrm>
              <a:prstGeom prst="roundRect">
                <a:avLst>
                  <a:gd name="adj" fmla="val 50000"/>
                </a:avLst>
              </a:prstGeom>
              <a:solidFill>
                <a:srgbClr val="87E9B6"/>
              </a:solidFill>
              <a:ln w="19050" cap="rnd">
                <a:solidFill>
                  <a:srgbClr val="000000"/>
                </a:solidFill>
                <a:prstDash val="solid"/>
                <a:round/>
              </a:ln>
            </p:spPr>
            <p:txBody>
              <a:bodyPr rot="0" spcFirstLastPara="0" vertOverflow="overflow" horzOverflow="overflow" vert="horz" wrap="square" lIns="91440" tIns="45720" rIns="91440" bIns="45720" numCol="1" spcCol="0" rtlCol="0" fromWordArt="0" anchor="ctr" anchorCtr="0" forceAA="0" compatLnSpc="1">
                <a:noAutofit/>
              </a:bodyPr>
              <a:lstStyle/>
              <a:p>
                <a:endParaRPr lang="zh-CN" altLang="en-US"/>
              </a:p>
            </p:txBody>
          </p:sp>
          <p:sp>
            <p:nvSpPr>
              <p:cNvPr id="144" name="矩形: 圆角 143"/>
              <p:cNvSpPr/>
              <p:nvPr/>
            </p:nvSpPr>
            <p:spPr>
              <a:xfrm>
                <a:off x="4964649" y="2430819"/>
                <a:ext cx="96956" cy="254958"/>
              </a:xfrm>
              <a:prstGeom prst="roundRect">
                <a:avLst>
                  <a:gd name="adj" fmla="val 50000"/>
                </a:avLst>
              </a:prstGeom>
              <a:solidFill>
                <a:srgbClr val="FFCD2D"/>
              </a:solidFill>
              <a:ln w="19050" cap="rnd">
                <a:solidFill>
                  <a:srgbClr val="000000"/>
                </a:solidFill>
                <a:prstDash val="solid"/>
                <a:round/>
              </a:ln>
            </p:spPr>
            <p:txBody>
              <a:bodyPr rot="0" spcFirstLastPara="0" vertOverflow="overflow" horzOverflow="overflow" vert="horz" wrap="square" lIns="91440" tIns="45720" rIns="91440" bIns="45720" numCol="1" spcCol="0" rtlCol="0" fromWordArt="0" anchor="ctr" anchorCtr="0" forceAA="0" compatLnSpc="1">
                <a:noAutofit/>
              </a:bodyPr>
              <a:lstStyle/>
              <a:p>
                <a:endParaRPr lang="zh-CN" altLang="en-US"/>
              </a:p>
            </p:txBody>
          </p:sp>
          <p:sp>
            <p:nvSpPr>
              <p:cNvPr id="145" name="矩形: 圆角 144"/>
              <p:cNvSpPr/>
              <p:nvPr/>
            </p:nvSpPr>
            <p:spPr>
              <a:xfrm>
                <a:off x="6398678" y="2118458"/>
                <a:ext cx="568192" cy="98632"/>
              </a:xfrm>
              <a:prstGeom prst="roundRect">
                <a:avLst>
                  <a:gd name="adj" fmla="val 50000"/>
                </a:avLst>
              </a:prstGeom>
              <a:solidFill>
                <a:srgbClr val="5EB5F9"/>
              </a:solidFill>
              <a:ln w="19050" cap="rnd">
                <a:solidFill>
                  <a:srgbClr val="000000"/>
                </a:solidFill>
                <a:prstDash val="solid"/>
                <a:round/>
              </a:ln>
            </p:spPr>
            <p:txBody>
              <a:bodyPr rot="0" spcFirstLastPara="0" vertOverflow="overflow" horzOverflow="overflow" vert="horz" wrap="square" lIns="91440" tIns="45720" rIns="91440" bIns="45720" numCol="1" spcCol="0" rtlCol="0" fromWordArt="0" anchor="ctr" anchorCtr="0" forceAA="0" compatLnSpc="1">
                <a:noAutofit/>
              </a:bodyPr>
              <a:lstStyle/>
              <a:p>
                <a:endParaRPr lang="zh-CN" altLang="en-US"/>
              </a:p>
            </p:txBody>
          </p:sp>
          <p:sp>
            <p:nvSpPr>
              <p:cNvPr id="146" name="矩形: 圆角 145"/>
              <p:cNvSpPr/>
              <p:nvPr/>
            </p:nvSpPr>
            <p:spPr>
              <a:xfrm>
                <a:off x="6398678" y="2335465"/>
                <a:ext cx="320518" cy="98632"/>
              </a:xfrm>
              <a:prstGeom prst="roundRect">
                <a:avLst>
                  <a:gd name="adj" fmla="val 50000"/>
                </a:avLst>
              </a:prstGeom>
              <a:solidFill>
                <a:srgbClr val="5EB5F9"/>
              </a:solidFill>
              <a:ln w="19050" cap="rnd">
                <a:solidFill>
                  <a:srgbClr val="000000"/>
                </a:solidFill>
                <a:prstDash val="solid"/>
                <a:round/>
              </a:ln>
            </p:spPr>
            <p:txBody>
              <a:bodyPr rot="0" spcFirstLastPara="0" vertOverflow="overflow" horzOverflow="overflow" vert="horz" wrap="square" lIns="91440" tIns="45720" rIns="91440" bIns="45720" numCol="1" spcCol="0" rtlCol="0" fromWordArt="0" anchor="ctr" anchorCtr="0" forceAA="0" compatLnSpc="1">
                <a:noAutofit/>
              </a:bodyPr>
              <a:lstStyle/>
              <a:p>
                <a:endParaRPr lang="zh-CN" altLang="en-US"/>
              </a:p>
            </p:txBody>
          </p:sp>
          <p:sp>
            <p:nvSpPr>
              <p:cNvPr id="147" name="任意多边形: 形状 146"/>
              <p:cNvSpPr/>
              <p:nvPr/>
            </p:nvSpPr>
            <p:spPr>
              <a:xfrm>
                <a:off x="5770389" y="2041315"/>
                <a:ext cx="469851" cy="469851"/>
              </a:xfrm>
              <a:custGeom>
                <a:avLst/>
                <a:gdLst>
                  <a:gd name="connsiteX0" fmla="*/ 443440 w 443440"/>
                  <a:gd name="connsiteY0" fmla="*/ 221720 h 443440"/>
                  <a:gd name="connsiteX1" fmla="*/ 221720 w 443440"/>
                  <a:gd name="connsiteY1" fmla="*/ 443440 h 443440"/>
                  <a:gd name="connsiteX2" fmla="*/ 0 w 443440"/>
                  <a:gd name="connsiteY2" fmla="*/ 221720 h 443440"/>
                  <a:gd name="connsiteX3" fmla="*/ 221720 w 443440"/>
                  <a:gd name="connsiteY3" fmla="*/ 0 h 443440"/>
                  <a:gd name="connsiteX4" fmla="*/ 443440 w 443440"/>
                  <a:gd name="connsiteY4" fmla="*/ 221720 h 443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440" h="443440">
                    <a:moveTo>
                      <a:pt x="443440" y="221720"/>
                    </a:moveTo>
                    <a:cubicBezTo>
                      <a:pt x="443440" y="344173"/>
                      <a:pt x="344173" y="443440"/>
                      <a:pt x="221720" y="443440"/>
                    </a:cubicBezTo>
                    <a:cubicBezTo>
                      <a:pt x="99267" y="443440"/>
                      <a:pt x="0" y="344173"/>
                      <a:pt x="0" y="221720"/>
                    </a:cubicBezTo>
                    <a:cubicBezTo>
                      <a:pt x="0" y="99267"/>
                      <a:pt x="99267" y="0"/>
                      <a:pt x="221720" y="0"/>
                    </a:cubicBezTo>
                    <a:cubicBezTo>
                      <a:pt x="344173" y="0"/>
                      <a:pt x="443440" y="99267"/>
                      <a:pt x="443440" y="221720"/>
                    </a:cubicBezTo>
                    <a:close/>
                  </a:path>
                </a:pathLst>
              </a:custGeom>
              <a:solidFill>
                <a:srgbClr val="FFCD2D"/>
              </a:solidFill>
              <a:ln w="19050" cap="rnd">
                <a:solidFill>
                  <a:srgbClr val="000000"/>
                </a:solidFill>
                <a:prstDash val="solid"/>
                <a:round/>
              </a:ln>
            </p:spPr>
            <p:txBody>
              <a:bodyPr rtlCol="0" anchor="ctr"/>
              <a:lstStyle/>
              <a:p>
                <a:endParaRPr lang="zh-CN" altLang="en-US"/>
              </a:p>
            </p:txBody>
          </p:sp>
          <p:sp>
            <p:nvSpPr>
              <p:cNvPr id="148" name="任意多边形: 形状 147"/>
              <p:cNvSpPr/>
              <p:nvPr/>
            </p:nvSpPr>
            <p:spPr>
              <a:xfrm>
                <a:off x="5919687" y="2160490"/>
                <a:ext cx="171366" cy="245998"/>
              </a:xfrm>
              <a:custGeom>
                <a:avLst/>
                <a:gdLst>
                  <a:gd name="connsiteX0" fmla="*/ 17544 w 161733"/>
                  <a:gd name="connsiteY0" fmla="*/ -229 h 232170"/>
                  <a:gd name="connsiteX1" fmla="*/ 17544 w 161733"/>
                  <a:gd name="connsiteY1" fmla="*/ -229 h 232170"/>
                  <a:gd name="connsiteX2" fmla="*/ 34044 w 161733"/>
                  <a:gd name="connsiteY2" fmla="*/ 9878 h 232170"/>
                  <a:gd name="connsiteX3" fmla="*/ 79969 w 161733"/>
                  <a:gd name="connsiteY3" fmla="*/ 99597 h 232170"/>
                  <a:gd name="connsiteX4" fmla="*/ 125895 w 161733"/>
                  <a:gd name="connsiteY4" fmla="*/ 9878 h 232170"/>
                  <a:gd name="connsiteX5" fmla="*/ 142395 w 161733"/>
                  <a:gd name="connsiteY5" fmla="*/ -229 h 232170"/>
                  <a:gd name="connsiteX6" fmla="*/ 142395 w 161733"/>
                  <a:gd name="connsiteY6" fmla="*/ -229 h 232170"/>
                  <a:gd name="connsiteX7" fmla="*/ 160888 w 161733"/>
                  <a:gd name="connsiteY7" fmla="*/ 18375 h 232170"/>
                  <a:gd name="connsiteX8" fmla="*/ 158620 w 161733"/>
                  <a:gd name="connsiteY8" fmla="*/ 27272 h 232170"/>
                  <a:gd name="connsiteX9" fmla="*/ 110495 w 161733"/>
                  <a:gd name="connsiteY9" fmla="*/ 113897 h 232170"/>
                  <a:gd name="connsiteX10" fmla="*/ 143632 w 161733"/>
                  <a:gd name="connsiteY10" fmla="*/ 113897 h 232170"/>
                  <a:gd name="connsiteX11" fmla="*/ 153739 w 161733"/>
                  <a:gd name="connsiteY11" fmla="*/ 123866 h 232170"/>
                  <a:gd name="connsiteX12" fmla="*/ 153739 w 161733"/>
                  <a:gd name="connsiteY12" fmla="*/ 123935 h 232170"/>
                  <a:gd name="connsiteX13" fmla="*/ 153739 w 161733"/>
                  <a:gd name="connsiteY13" fmla="*/ 123935 h 232170"/>
                  <a:gd name="connsiteX14" fmla="*/ 143632 w 161733"/>
                  <a:gd name="connsiteY14" fmla="*/ 134041 h 232170"/>
                  <a:gd name="connsiteX15" fmla="*/ 99219 w 161733"/>
                  <a:gd name="connsiteY15" fmla="*/ 134041 h 232170"/>
                  <a:gd name="connsiteX16" fmla="*/ 99219 w 161733"/>
                  <a:gd name="connsiteY16" fmla="*/ 134385 h 232170"/>
                  <a:gd name="connsiteX17" fmla="*/ 99219 w 161733"/>
                  <a:gd name="connsiteY17" fmla="*/ 162297 h 232170"/>
                  <a:gd name="connsiteX18" fmla="*/ 144114 w 161733"/>
                  <a:gd name="connsiteY18" fmla="*/ 162297 h 232170"/>
                  <a:gd name="connsiteX19" fmla="*/ 154220 w 161733"/>
                  <a:gd name="connsiteY19" fmla="*/ 172404 h 232170"/>
                  <a:gd name="connsiteX20" fmla="*/ 154220 w 161733"/>
                  <a:gd name="connsiteY20" fmla="*/ 172404 h 232170"/>
                  <a:gd name="connsiteX21" fmla="*/ 144114 w 161733"/>
                  <a:gd name="connsiteY21" fmla="*/ 182510 h 232170"/>
                  <a:gd name="connsiteX22" fmla="*/ 99219 w 161733"/>
                  <a:gd name="connsiteY22" fmla="*/ 182510 h 232170"/>
                  <a:gd name="connsiteX23" fmla="*/ 99219 w 161733"/>
                  <a:gd name="connsiteY23" fmla="*/ 213104 h 232170"/>
                  <a:gd name="connsiteX24" fmla="*/ 80382 w 161733"/>
                  <a:gd name="connsiteY24" fmla="*/ 231942 h 232170"/>
                  <a:gd name="connsiteX25" fmla="*/ 80382 w 161733"/>
                  <a:gd name="connsiteY25" fmla="*/ 231942 h 232170"/>
                  <a:gd name="connsiteX26" fmla="*/ 61544 w 161733"/>
                  <a:gd name="connsiteY26" fmla="*/ 213104 h 232170"/>
                  <a:gd name="connsiteX27" fmla="*/ 61544 w 161733"/>
                  <a:gd name="connsiteY27" fmla="*/ 182510 h 232170"/>
                  <a:gd name="connsiteX28" fmla="*/ 16719 w 161733"/>
                  <a:gd name="connsiteY28" fmla="*/ 182510 h 232170"/>
                  <a:gd name="connsiteX29" fmla="*/ 6682 w 161733"/>
                  <a:gd name="connsiteY29" fmla="*/ 172472 h 232170"/>
                  <a:gd name="connsiteX30" fmla="*/ 6682 w 161733"/>
                  <a:gd name="connsiteY30" fmla="*/ 172404 h 232170"/>
                  <a:gd name="connsiteX31" fmla="*/ 6682 w 161733"/>
                  <a:gd name="connsiteY31" fmla="*/ 172404 h 232170"/>
                  <a:gd name="connsiteX32" fmla="*/ 16650 w 161733"/>
                  <a:gd name="connsiteY32" fmla="*/ 162297 h 232170"/>
                  <a:gd name="connsiteX33" fmla="*/ 16719 w 161733"/>
                  <a:gd name="connsiteY33" fmla="*/ 162297 h 232170"/>
                  <a:gd name="connsiteX34" fmla="*/ 61338 w 161733"/>
                  <a:gd name="connsiteY34" fmla="*/ 162297 h 232170"/>
                  <a:gd name="connsiteX35" fmla="*/ 61338 w 161733"/>
                  <a:gd name="connsiteY35" fmla="*/ 134385 h 232170"/>
                  <a:gd name="connsiteX36" fmla="*/ 61338 w 161733"/>
                  <a:gd name="connsiteY36" fmla="*/ 134041 h 232170"/>
                  <a:gd name="connsiteX37" fmla="*/ 16719 w 161733"/>
                  <a:gd name="connsiteY37" fmla="*/ 134041 h 232170"/>
                  <a:gd name="connsiteX38" fmla="*/ 6682 w 161733"/>
                  <a:gd name="connsiteY38" fmla="*/ 124003 h 232170"/>
                  <a:gd name="connsiteX39" fmla="*/ 6682 w 161733"/>
                  <a:gd name="connsiteY39" fmla="*/ 123935 h 232170"/>
                  <a:gd name="connsiteX40" fmla="*/ 6682 w 161733"/>
                  <a:gd name="connsiteY40" fmla="*/ 123935 h 232170"/>
                  <a:gd name="connsiteX41" fmla="*/ 16719 w 161733"/>
                  <a:gd name="connsiteY41" fmla="*/ 113897 h 232170"/>
                  <a:gd name="connsiteX42" fmla="*/ 49582 w 161733"/>
                  <a:gd name="connsiteY42" fmla="*/ 113897 h 232170"/>
                  <a:gd name="connsiteX43" fmla="*/ 1456 w 161733"/>
                  <a:gd name="connsiteY43" fmla="*/ 27272 h 232170"/>
                  <a:gd name="connsiteX44" fmla="*/ 8812 w 161733"/>
                  <a:gd name="connsiteY44" fmla="*/ 2068 h 232170"/>
                  <a:gd name="connsiteX45" fmla="*/ 17544 w 161733"/>
                  <a:gd name="connsiteY45" fmla="*/ -229 h 232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61733" h="232170">
                    <a:moveTo>
                      <a:pt x="17544" y="-229"/>
                    </a:moveTo>
                    <a:lnTo>
                      <a:pt x="17544" y="-229"/>
                    </a:lnTo>
                    <a:cubicBezTo>
                      <a:pt x="24488" y="-222"/>
                      <a:pt x="30882" y="3683"/>
                      <a:pt x="34044" y="9878"/>
                    </a:cubicBezTo>
                    <a:lnTo>
                      <a:pt x="79969" y="99597"/>
                    </a:lnTo>
                    <a:lnTo>
                      <a:pt x="125895" y="9878"/>
                    </a:lnTo>
                    <a:cubicBezTo>
                      <a:pt x="129057" y="3683"/>
                      <a:pt x="135451" y="-222"/>
                      <a:pt x="142395" y="-229"/>
                    </a:cubicBezTo>
                    <a:lnTo>
                      <a:pt x="142395" y="-229"/>
                    </a:lnTo>
                    <a:cubicBezTo>
                      <a:pt x="152639" y="-201"/>
                      <a:pt x="160957" y="8125"/>
                      <a:pt x="160888" y="18375"/>
                    </a:cubicBezTo>
                    <a:cubicBezTo>
                      <a:pt x="160888" y="21490"/>
                      <a:pt x="160132" y="24549"/>
                      <a:pt x="158620" y="27272"/>
                    </a:cubicBezTo>
                    <a:lnTo>
                      <a:pt x="110495" y="113897"/>
                    </a:lnTo>
                    <a:lnTo>
                      <a:pt x="143632" y="113897"/>
                    </a:lnTo>
                    <a:cubicBezTo>
                      <a:pt x="149201" y="113856"/>
                      <a:pt x="153670" y="118325"/>
                      <a:pt x="153739" y="123866"/>
                    </a:cubicBezTo>
                    <a:cubicBezTo>
                      <a:pt x="153739" y="123886"/>
                      <a:pt x="153739" y="123914"/>
                      <a:pt x="153739" y="123935"/>
                    </a:cubicBezTo>
                    <a:lnTo>
                      <a:pt x="153739" y="123935"/>
                    </a:lnTo>
                    <a:cubicBezTo>
                      <a:pt x="153739" y="129517"/>
                      <a:pt x="149201" y="134041"/>
                      <a:pt x="143632" y="134041"/>
                    </a:cubicBezTo>
                    <a:lnTo>
                      <a:pt x="99219" y="134041"/>
                    </a:lnTo>
                    <a:lnTo>
                      <a:pt x="99219" y="134385"/>
                    </a:lnTo>
                    <a:lnTo>
                      <a:pt x="99219" y="162297"/>
                    </a:lnTo>
                    <a:lnTo>
                      <a:pt x="144114" y="162297"/>
                    </a:lnTo>
                    <a:cubicBezTo>
                      <a:pt x="149682" y="162297"/>
                      <a:pt x="154220" y="166821"/>
                      <a:pt x="154220" y="172404"/>
                    </a:cubicBezTo>
                    <a:lnTo>
                      <a:pt x="154220" y="172404"/>
                    </a:lnTo>
                    <a:cubicBezTo>
                      <a:pt x="154220" y="177986"/>
                      <a:pt x="149682" y="182510"/>
                      <a:pt x="144114" y="182510"/>
                    </a:cubicBezTo>
                    <a:lnTo>
                      <a:pt x="99219" y="182510"/>
                    </a:lnTo>
                    <a:lnTo>
                      <a:pt x="99219" y="213104"/>
                    </a:lnTo>
                    <a:cubicBezTo>
                      <a:pt x="99219" y="223506"/>
                      <a:pt x="90763" y="231942"/>
                      <a:pt x="80382" y="231942"/>
                    </a:cubicBezTo>
                    <a:lnTo>
                      <a:pt x="80382" y="231942"/>
                    </a:lnTo>
                    <a:cubicBezTo>
                      <a:pt x="70000" y="231942"/>
                      <a:pt x="61544" y="223506"/>
                      <a:pt x="61544" y="213104"/>
                    </a:cubicBezTo>
                    <a:lnTo>
                      <a:pt x="61544" y="182510"/>
                    </a:lnTo>
                    <a:lnTo>
                      <a:pt x="16719" y="182510"/>
                    </a:lnTo>
                    <a:cubicBezTo>
                      <a:pt x="11150" y="182510"/>
                      <a:pt x="6682" y="178014"/>
                      <a:pt x="6682" y="172472"/>
                    </a:cubicBezTo>
                    <a:cubicBezTo>
                      <a:pt x="6682" y="172452"/>
                      <a:pt x="6682" y="172424"/>
                      <a:pt x="6682" y="172404"/>
                    </a:cubicBezTo>
                    <a:lnTo>
                      <a:pt x="6682" y="172404"/>
                    </a:lnTo>
                    <a:cubicBezTo>
                      <a:pt x="6613" y="166862"/>
                      <a:pt x="11082" y="162339"/>
                      <a:pt x="16650" y="162297"/>
                    </a:cubicBezTo>
                    <a:cubicBezTo>
                      <a:pt x="16650" y="162297"/>
                      <a:pt x="16719" y="162297"/>
                      <a:pt x="16719" y="162297"/>
                    </a:cubicBezTo>
                    <a:lnTo>
                      <a:pt x="61338" y="162297"/>
                    </a:lnTo>
                    <a:lnTo>
                      <a:pt x="61338" y="134385"/>
                    </a:lnTo>
                    <a:lnTo>
                      <a:pt x="61338" y="134041"/>
                    </a:lnTo>
                    <a:lnTo>
                      <a:pt x="16719" y="134041"/>
                    </a:lnTo>
                    <a:cubicBezTo>
                      <a:pt x="11150" y="134041"/>
                      <a:pt x="6682" y="129545"/>
                      <a:pt x="6682" y="124003"/>
                    </a:cubicBezTo>
                    <a:cubicBezTo>
                      <a:pt x="6682" y="123983"/>
                      <a:pt x="6682" y="123955"/>
                      <a:pt x="6682" y="123935"/>
                    </a:cubicBezTo>
                    <a:lnTo>
                      <a:pt x="6682" y="123935"/>
                    </a:lnTo>
                    <a:cubicBezTo>
                      <a:pt x="6682" y="118393"/>
                      <a:pt x="11150" y="113897"/>
                      <a:pt x="16719" y="113897"/>
                    </a:cubicBezTo>
                    <a:lnTo>
                      <a:pt x="49582" y="113897"/>
                    </a:lnTo>
                    <a:lnTo>
                      <a:pt x="1456" y="27272"/>
                    </a:lnTo>
                    <a:cubicBezTo>
                      <a:pt x="-3493" y="18286"/>
                      <a:pt x="-193" y="7004"/>
                      <a:pt x="8812" y="2068"/>
                    </a:cubicBezTo>
                    <a:cubicBezTo>
                      <a:pt x="11494" y="589"/>
                      <a:pt x="14450" y="-201"/>
                      <a:pt x="17544" y="-229"/>
                    </a:cubicBezTo>
                    <a:close/>
                  </a:path>
                </a:pathLst>
              </a:custGeom>
              <a:solidFill>
                <a:srgbClr val="000000"/>
              </a:solidFill>
              <a:ln w="6870" cap="flat">
                <a:noFill/>
                <a:prstDash val="solid"/>
                <a:miter/>
              </a:ln>
            </p:spPr>
            <p:txBody>
              <a:bodyPr rtlCol="0" anchor="ctr"/>
              <a:lstStyle/>
              <a:p>
                <a:endParaRPr lang="zh-CN" altLang="en-US"/>
              </a:p>
            </p:txBody>
          </p:sp>
          <p:sp>
            <p:nvSpPr>
              <p:cNvPr id="149" name="矩形: 圆角 148"/>
              <p:cNvSpPr/>
              <p:nvPr/>
            </p:nvSpPr>
            <p:spPr>
              <a:xfrm rot="18900000">
                <a:off x="4645080" y="4522632"/>
                <a:ext cx="330935" cy="1179872"/>
              </a:xfrm>
              <a:prstGeom prst="roundRect">
                <a:avLst>
                  <a:gd name="adj" fmla="val 23136"/>
                </a:avLst>
              </a:prstGeom>
              <a:solidFill>
                <a:srgbClr val="87E9B6"/>
              </a:solidFill>
              <a:ln w="19050" cap="rnd">
                <a:solidFill>
                  <a:srgbClr val="000000"/>
                </a:solidFill>
                <a:prstDash val="solid"/>
                <a:round/>
              </a:ln>
            </p:spPr>
            <p:txBody>
              <a:bodyPr rtlCol="0" anchor="ctr"/>
              <a:lstStyle/>
              <a:p>
                <a:endParaRPr lang="zh-CN" altLang="en-US"/>
              </a:p>
            </p:txBody>
          </p:sp>
          <p:sp>
            <p:nvSpPr>
              <p:cNvPr id="150" name="任意多边形: 形状 149"/>
              <p:cNvSpPr/>
              <p:nvPr/>
            </p:nvSpPr>
            <p:spPr>
              <a:xfrm>
                <a:off x="4724769" y="3455423"/>
                <a:ext cx="840473" cy="1394509"/>
              </a:xfrm>
              <a:custGeom>
                <a:avLst/>
                <a:gdLst>
                  <a:gd name="connsiteX0" fmla="*/ 513133 w 793229"/>
                  <a:gd name="connsiteY0" fmla="*/ 1315894 h 1316122"/>
                  <a:gd name="connsiteX1" fmla="*/ 408839 w 793229"/>
                  <a:gd name="connsiteY1" fmla="*/ 677340 h 1316122"/>
                  <a:gd name="connsiteX2" fmla="*/ 668853 w 793229"/>
                  <a:gd name="connsiteY2" fmla="*/ 417326 h 1316122"/>
                  <a:gd name="connsiteX3" fmla="*/ 726741 w 793229"/>
                  <a:gd name="connsiteY3" fmla="*/ 42980 h 1316122"/>
                  <a:gd name="connsiteX4" fmla="*/ 726741 w 793229"/>
                  <a:gd name="connsiteY4" fmla="*/ 42980 h 1316122"/>
                  <a:gd name="connsiteX5" fmla="*/ 518187 w 793229"/>
                  <a:gd name="connsiteY5" fmla="*/ 42946 h 1316122"/>
                  <a:gd name="connsiteX6" fmla="*/ 518152 w 793229"/>
                  <a:gd name="connsiteY6" fmla="*/ 42980 h 1316122"/>
                  <a:gd name="connsiteX7" fmla="*/ 41231 w 793229"/>
                  <a:gd name="connsiteY7" fmla="*/ 519902 h 1316122"/>
                  <a:gd name="connsiteX8" fmla="*/ -845 w 793229"/>
                  <a:gd name="connsiteY8" fmla="*/ 605909 h 1316122"/>
                  <a:gd name="connsiteX9" fmla="*/ 13318 w 793229"/>
                  <a:gd name="connsiteY9" fmla="*/ 984448 h 131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3229" h="1316122">
                    <a:moveTo>
                      <a:pt x="513133" y="1315894"/>
                    </a:moveTo>
                    <a:cubicBezTo>
                      <a:pt x="698759" y="1013942"/>
                      <a:pt x="408839" y="677340"/>
                      <a:pt x="408839" y="677340"/>
                    </a:cubicBezTo>
                    <a:lnTo>
                      <a:pt x="668853" y="417326"/>
                    </a:lnTo>
                    <a:cubicBezTo>
                      <a:pt x="788204" y="297976"/>
                      <a:pt x="846091" y="162331"/>
                      <a:pt x="726741" y="42980"/>
                    </a:cubicBezTo>
                    <a:lnTo>
                      <a:pt x="726741" y="42980"/>
                    </a:lnTo>
                    <a:cubicBezTo>
                      <a:pt x="669128" y="-14619"/>
                      <a:pt x="575786" y="-14633"/>
                      <a:pt x="518187" y="42946"/>
                    </a:cubicBezTo>
                    <a:cubicBezTo>
                      <a:pt x="518173" y="42960"/>
                      <a:pt x="518166" y="42966"/>
                      <a:pt x="518152" y="42980"/>
                    </a:cubicBezTo>
                    <a:lnTo>
                      <a:pt x="41231" y="519902"/>
                    </a:lnTo>
                    <a:cubicBezTo>
                      <a:pt x="18027" y="543091"/>
                      <a:pt x="3218" y="573355"/>
                      <a:pt x="-845" y="605909"/>
                    </a:cubicBezTo>
                    <a:lnTo>
                      <a:pt x="13318" y="984448"/>
                    </a:lnTo>
                  </a:path>
                </a:pathLst>
              </a:custGeom>
              <a:solidFill>
                <a:srgbClr val="FFC5BB"/>
              </a:solidFill>
              <a:ln w="19050" cap="rnd">
                <a:solidFill>
                  <a:srgbClr val="000000"/>
                </a:solidFill>
                <a:prstDash val="solid"/>
                <a:round/>
              </a:ln>
            </p:spPr>
            <p:txBody>
              <a:bodyPr rtlCol="0" anchor="ctr"/>
              <a:lstStyle/>
              <a:p>
                <a:endParaRPr lang="zh-CN" altLang="en-US"/>
              </a:p>
            </p:txBody>
          </p:sp>
          <p:sp>
            <p:nvSpPr>
              <p:cNvPr id="151" name="任意多边形: 形状 150"/>
              <p:cNvSpPr/>
              <p:nvPr/>
            </p:nvSpPr>
            <p:spPr>
              <a:xfrm rot="16200000">
                <a:off x="6338981" y="3701493"/>
                <a:ext cx="1114530" cy="175921"/>
              </a:xfrm>
              <a:custGeom>
                <a:avLst/>
                <a:gdLst>
                  <a:gd name="connsiteX0" fmla="*/ -845 w 1051881"/>
                  <a:gd name="connsiteY0" fmla="*/ -229 h 166032"/>
                  <a:gd name="connsiteX1" fmla="*/ 973623 w 1051881"/>
                  <a:gd name="connsiteY1" fmla="*/ -229 h 166032"/>
                  <a:gd name="connsiteX2" fmla="*/ 1051036 w 1051881"/>
                  <a:gd name="connsiteY2" fmla="*/ 77184 h 166032"/>
                  <a:gd name="connsiteX3" fmla="*/ 1051036 w 1051881"/>
                  <a:gd name="connsiteY3" fmla="*/ 88391 h 166032"/>
                  <a:gd name="connsiteX4" fmla="*/ 973623 w 1051881"/>
                  <a:gd name="connsiteY4" fmla="*/ 165804 h 166032"/>
                  <a:gd name="connsiteX5" fmla="*/ -845 w 1051881"/>
                  <a:gd name="connsiteY5" fmla="*/ 165804 h 166032"/>
                  <a:gd name="connsiteX6" fmla="*/ -845 w 1051881"/>
                  <a:gd name="connsiteY6" fmla="*/ 165804 h 166032"/>
                  <a:gd name="connsiteX7" fmla="*/ -845 w 1051881"/>
                  <a:gd name="connsiteY7" fmla="*/ -229 h 166032"/>
                  <a:gd name="connsiteX8" fmla="*/ -845 w 1051881"/>
                  <a:gd name="connsiteY8" fmla="*/ -229 h 166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1881" h="166032">
                    <a:moveTo>
                      <a:pt x="-845" y="-229"/>
                    </a:moveTo>
                    <a:lnTo>
                      <a:pt x="973623" y="-229"/>
                    </a:lnTo>
                    <a:cubicBezTo>
                      <a:pt x="1016386" y="-229"/>
                      <a:pt x="1051036" y="34429"/>
                      <a:pt x="1051036" y="77184"/>
                    </a:cubicBezTo>
                    <a:lnTo>
                      <a:pt x="1051036" y="88391"/>
                    </a:lnTo>
                    <a:cubicBezTo>
                      <a:pt x="1051036" y="131147"/>
                      <a:pt x="1016386" y="165804"/>
                      <a:pt x="973623" y="165804"/>
                    </a:cubicBezTo>
                    <a:lnTo>
                      <a:pt x="-845" y="165804"/>
                    </a:lnTo>
                    <a:lnTo>
                      <a:pt x="-845" y="165804"/>
                    </a:lnTo>
                    <a:lnTo>
                      <a:pt x="-845" y="-229"/>
                    </a:lnTo>
                    <a:lnTo>
                      <a:pt x="-845" y="-229"/>
                    </a:lnTo>
                    <a:close/>
                  </a:path>
                </a:pathLst>
              </a:custGeom>
              <a:solidFill>
                <a:srgbClr val="FF724B"/>
              </a:solidFill>
              <a:ln w="19050" cap="rnd">
                <a:solidFill>
                  <a:srgbClr val="000000"/>
                </a:solidFill>
                <a:prstDash val="solid"/>
                <a:round/>
              </a:ln>
            </p:spPr>
            <p:txBody>
              <a:bodyPr rtlCol="0" anchor="ctr"/>
              <a:lstStyle/>
              <a:p>
                <a:endParaRPr lang="zh-CN" altLang="en-US"/>
              </a:p>
            </p:txBody>
          </p:sp>
          <p:sp>
            <p:nvSpPr>
              <p:cNvPr id="152" name="任意多边形: 形状 151"/>
              <p:cNvSpPr/>
              <p:nvPr/>
            </p:nvSpPr>
            <p:spPr>
              <a:xfrm rot="16200000">
                <a:off x="5856492" y="3919482"/>
                <a:ext cx="672432" cy="175921"/>
              </a:xfrm>
              <a:custGeom>
                <a:avLst/>
                <a:gdLst>
                  <a:gd name="connsiteX0" fmla="*/ -845 w 634634"/>
                  <a:gd name="connsiteY0" fmla="*/ -229 h 166032"/>
                  <a:gd name="connsiteX1" fmla="*/ 556377 w 634634"/>
                  <a:gd name="connsiteY1" fmla="*/ -229 h 166032"/>
                  <a:gd name="connsiteX2" fmla="*/ 633790 w 634634"/>
                  <a:gd name="connsiteY2" fmla="*/ 77184 h 166032"/>
                  <a:gd name="connsiteX3" fmla="*/ 633790 w 634634"/>
                  <a:gd name="connsiteY3" fmla="*/ 88391 h 166032"/>
                  <a:gd name="connsiteX4" fmla="*/ 556377 w 634634"/>
                  <a:gd name="connsiteY4" fmla="*/ 165804 h 166032"/>
                  <a:gd name="connsiteX5" fmla="*/ -845 w 634634"/>
                  <a:gd name="connsiteY5" fmla="*/ 165804 h 166032"/>
                  <a:gd name="connsiteX6" fmla="*/ -845 w 634634"/>
                  <a:gd name="connsiteY6" fmla="*/ 165804 h 166032"/>
                  <a:gd name="connsiteX7" fmla="*/ -845 w 634634"/>
                  <a:gd name="connsiteY7" fmla="*/ -229 h 166032"/>
                  <a:gd name="connsiteX8" fmla="*/ -845 w 634634"/>
                  <a:gd name="connsiteY8" fmla="*/ -229 h 166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4634" h="166032">
                    <a:moveTo>
                      <a:pt x="-845" y="-229"/>
                    </a:moveTo>
                    <a:lnTo>
                      <a:pt x="556377" y="-229"/>
                    </a:lnTo>
                    <a:cubicBezTo>
                      <a:pt x="599139" y="-229"/>
                      <a:pt x="633790" y="34429"/>
                      <a:pt x="633790" y="77184"/>
                    </a:cubicBezTo>
                    <a:lnTo>
                      <a:pt x="633790" y="88391"/>
                    </a:lnTo>
                    <a:cubicBezTo>
                      <a:pt x="633790" y="131147"/>
                      <a:pt x="599139" y="165804"/>
                      <a:pt x="556377" y="165804"/>
                    </a:cubicBezTo>
                    <a:lnTo>
                      <a:pt x="-845" y="165804"/>
                    </a:lnTo>
                    <a:lnTo>
                      <a:pt x="-845" y="165804"/>
                    </a:lnTo>
                    <a:lnTo>
                      <a:pt x="-845" y="-229"/>
                    </a:lnTo>
                    <a:lnTo>
                      <a:pt x="-845" y="-229"/>
                    </a:lnTo>
                    <a:close/>
                  </a:path>
                </a:pathLst>
              </a:custGeom>
              <a:solidFill>
                <a:srgbClr val="5EB5F9"/>
              </a:solidFill>
              <a:ln w="19050" cap="rnd">
                <a:solidFill>
                  <a:srgbClr val="000000"/>
                </a:solidFill>
                <a:prstDash val="solid"/>
                <a:round/>
              </a:ln>
            </p:spPr>
            <p:txBody>
              <a:bodyPr rtlCol="0" anchor="ctr"/>
              <a:lstStyle/>
              <a:p>
                <a:endParaRPr lang="zh-CN" altLang="en-US"/>
              </a:p>
            </p:txBody>
          </p:sp>
          <p:sp>
            <p:nvSpPr>
              <p:cNvPr id="153" name="任意多边形: 形状 152"/>
              <p:cNvSpPr/>
              <p:nvPr/>
            </p:nvSpPr>
            <p:spPr>
              <a:xfrm rot="16200000">
                <a:off x="6123360" y="3834436"/>
                <a:ext cx="842235" cy="176212"/>
              </a:xfrm>
              <a:custGeom>
                <a:avLst/>
                <a:gdLst>
                  <a:gd name="connsiteX0" fmla="*/ -845 w 794892"/>
                  <a:gd name="connsiteY0" fmla="*/ -229 h 166307"/>
                  <a:gd name="connsiteX1" fmla="*/ 716634 w 794892"/>
                  <a:gd name="connsiteY1" fmla="*/ -229 h 166307"/>
                  <a:gd name="connsiteX2" fmla="*/ 794047 w 794892"/>
                  <a:gd name="connsiteY2" fmla="*/ 77184 h 166307"/>
                  <a:gd name="connsiteX3" fmla="*/ 794047 w 794892"/>
                  <a:gd name="connsiteY3" fmla="*/ 77459 h 166307"/>
                  <a:gd name="connsiteX4" fmla="*/ 794047 w 794892"/>
                  <a:gd name="connsiteY4" fmla="*/ 88666 h 166307"/>
                  <a:gd name="connsiteX5" fmla="*/ 716634 w 794892"/>
                  <a:gd name="connsiteY5" fmla="*/ 166079 h 166307"/>
                  <a:gd name="connsiteX6" fmla="*/ -845 w 794892"/>
                  <a:gd name="connsiteY6" fmla="*/ 166079 h 166307"/>
                  <a:gd name="connsiteX7" fmla="*/ -845 w 794892"/>
                  <a:gd name="connsiteY7" fmla="*/ 166079 h 166307"/>
                  <a:gd name="connsiteX8" fmla="*/ -845 w 794892"/>
                  <a:gd name="connsiteY8" fmla="*/ -229 h 166307"/>
                  <a:gd name="connsiteX9" fmla="*/ -845 w 794892"/>
                  <a:gd name="connsiteY9" fmla="*/ -229 h 166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4892" h="166307">
                    <a:moveTo>
                      <a:pt x="-845" y="-229"/>
                    </a:moveTo>
                    <a:lnTo>
                      <a:pt x="716634" y="-229"/>
                    </a:lnTo>
                    <a:cubicBezTo>
                      <a:pt x="759398" y="-229"/>
                      <a:pt x="794047" y="34429"/>
                      <a:pt x="794047" y="77184"/>
                    </a:cubicBezTo>
                    <a:cubicBezTo>
                      <a:pt x="794047" y="77274"/>
                      <a:pt x="794047" y="77370"/>
                      <a:pt x="794047" y="77459"/>
                    </a:cubicBezTo>
                    <a:lnTo>
                      <a:pt x="794047" y="88666"/>
                    </a:lnTo>
                    <a:cubicBezTo>
                      <a:pt x="794047" y="131421"/>
                      <a:pt x="759398" y="166079"/>
                      <a:pt x="716634" y="166079"/>
                    </a:cubicBezTo>
                    <a:lnTo>
                      <a:pt x="-845" y="166079"/>
                    </a:lnTo>
                    <a:lnTo>
                      <a:pt x="-845" y="166079"/>
                    </a:lnTo>
                    <a:lnTo>
                      <a:pt x="-845" y="-229"/>
                    </a:lnTo>
                    <a:lnTo>
                      <a:pt x="-845" y="-229"/>
                    </a:lnTo>
                    <a:close/>
                  </a:path>
                </a:pathLst>
              </a:custGeom>
              <a:solidFill>
                <a:srgbClr val="FFCD2D"/>
              </a:solidFill>
              <a:ln w="19050" cap="rnd">
                <a:solidFill>
                  <a:srgbClr val="000000"/>
                </a:solidFill>
                <a:prstDash val="solid"/>
                <a:round/>
              </a:ln>
            </p:spPr>
            <p:txBody>
              <a:bodyPr rtlCol="0" anchor="ctr"/>
              <a:lstStyle/>
              <a:p>
                <a:endParaRPr lang="zh-CN" altLang="en-US"/>
              </a:p>
            </p:txBody>
          </p:sp>
          <p:sp>
            <p:nvSpPr>
              <p:cNvPr id="154" name="任意多边形: 形状 153"/>
              <p:cNvSpPr/>
              <p:nvPr/>
            </p:nvSpPr>
            <p:spPr>
              <a:xfrm rot="16200000">
                <a:off x="5589769" y="4007370"/>
                <a:ext cx="502631" cy="175921"/>
              </a:xfrm>
              <a:custGeom>
                <a:avLst/>
                <a:gdLst>
                  <a:gd name="connsiteX0" fmla="*/ -845 w 474377"/>
                  <a:gd name="connsiteY0" fmla="*/ -229 h 166032"/>
                  <a:gd name="connsiteX1" fmla="*/ 396120 w 474377"/>
                  <a:gd name="connsiteY1" fmla="*/ -229 h 166032"/>
                  <a:gd name="connsiteX2" fmla="*/ 473533 w 474377"/>
                  <a:gd name="connsiteY2" fmla="*/ 77184 h 166032"/>
                  <a:gd name="connsiteX3" fmla="*/ 473533 w 474377"/>
                  <a:gd name="connsiteY3" fmla="*/ 88391 h 166032"/>
                  <a:gd name="connsiteX4" fmla="*/ 396120 w 474377"/>
                  <a:gd name="connsiteY4" fmla="*/ 165804 h 166032"/>
                  <a:gd name="connsiteX5" fmla="*/ -845 w 474377"/>
                  <a:gd name="connsiteY5" fmla="*/ 165804 h 166032"/>
                  <a:gd name="connsiteX6" fmla="*/ -845 w 474377"/>
                  <a:gd name="connsiteY6" fmla="*/ 165804 h 166032"/>
                  <a:gd name="connsiteX7" fmla="*/ -845 w 474377"/>
                  <a:gd name="connsiteY7" fmla="*/ -229 h 166032"/>
                  <a:gd name="connsiteX8" fmla="*/ -845 w 474377"/>
                  <a:gd name="connsiteY8" fmla="*/ -229 h 166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4377" h="166032">
                    <a:moveTo>
                      <a:pt x="-845" y="-229"/>
                    </a:moveTo>
                    <a:lnTo>
                      <a:pt x="396120" y="-229"/>
                    </a:lnTo>
                    <a:cubicBezTo>
                      <a:pt x="438882" y="-229"/>
                      <a:pt x="473533" y="34429"/>
                      <a:pt x="473533" y="77184"/>
                    </a:cubicBezTo>
                    <a:lnTo>
                      <a:pt x="473533" y="88391"/>
                    </a:lnTo>
                    <a:cubicBezTo>
                      <a:pt x="473533" y="131147"/>
                      <a:pt x="438882" y="165804"/>
                      <a:pt x="396120" y="165804"/>
                    </a:cubicBezTo>
                    <a:lnTo>
                      <a:pt x="-845" y="165804"/>
                    </a:lnTo>
                    <a:lnTo>
                      <a:pt x="-845" y="165804"/>
                    </a:lnTo>
                    <a:lnTo>
                      <a:pt x="-845" y="-229"/>
                    </a:lnTo>
                    <a:lnTo>
                      <a:pt x="-845" y="-229"/>
                    </a:lnTo>
                    <a:close/>
                  </a:path>
                </a:pathLst>
              </a:custGeom>
              <a:solidFill>
                <a:schemeClr val="bg1"/>
              </a:solidFill>
              <a:ln w="19050" cap="rnd">
                <a:solidFill>
                  <a:srgbClr val="000000"/>
                </a:solidFill>
                <a:prstDash val="solid"/>
                <a:round/>
              </a:ln>
            </p:spPr>
            <p:txBody>
              <a:bodyPr rtlCol="0" anchor="ctr"/>
              <a:lstStyle/>
              <a:p>
                <a:endParaRPr lang="zh-CN" altLang="en-US"/>
              </a:p>
            </p:txBody>
          </p:sp>
          <p:sp>
            <p:nvSpPr>
              <p:cNvPr id="155" name="任意多边形: 形状 154"/>
              <p:cNvSpPr/>
              <p:nvPr/>
            </p:nvSpPr>
            <p:spPr>
              <a:xfrm>
                <a:off x="5661995" y="4346646"/>
                <a:ext cx="1413195" cy="7284"/>
              </a:xfrm>
              <a:custGeom>
                <a:avLst/>
                <a:gdLst>
                  <a:gd name="connsiteX0" fmla="*/ 0 w 1333757"/>
                  <a:gd name="connsiteY0" fmla="*/ 0 h 6875"/>
                  <a:gd name="connsiteX1" fmla="*/ 1333758 w 1333757"/>
                  <a:gd name="connsiteY1" fmla="*/ 0 h 6875"/>
                </a:gdLst>
                <a:ahLst/>
                <a:cxnLst>
                  <a:cxn ang="0">
                    <a:pos x="connsiteX0" y="connsiteY0"/>
                  </a:cxn>
                  <a:cxn ang="0">
                    <a:pos x="connsiteX1" y="connsiteY1"/>
                  </a:cxn>
                </a:cxnLst>
                <a:rect l="l" t="t" r="r" b="b"/>
                <a:pathLst>
                  <a:path w="1333757" h="6875">
                    <a:moveTo>
                      <a:pt x="0" y="0"/>
                    </a:moveTo>
                    <a:lnTo>
                      <a:pt x="1333758" y="0"/>
                    </a:lnTo>
                  </a:path>
                </a:pathLst>
              </a:custGeom>
              <a:ln w="19050" cap="rnd">
                <a:solidFill>
                  <a:srgbClr val="000000"/>
                </a:solidFill>
                <a:prstDash val="solid"/>
                <a:round/>
              </a:ln>
            </p:spPr>
            <p:txBody>
              <a:bodyPr rtlCol="0" anchor="ctr"/>
              <a:lstStyle/>
              <a:p>
                <a:endParaRPr lang="zh-CN" altLang="en-US"/>
              </a:p>
            </p:txBody>
          </p:sp>
          <p:sp>
            <p:nvSpPr>
              <p:cNvPr id="156" name="任意多边形: 形状 155"/>
              <p:cNvSpPr/>
              <p:nvPr/>
            </p:nvSpPr>
            <p:spPr>
              <a:xfrm>
                <a:off x="4852394" y="5154426"/>
                <a:ext cx="94698" cy="94698"/>
              </a:xfrm>
              <a:custGeom>
                <a:avLst/>
                <a:gdLst>
                  <a:gd name="connsiteX0" fmla="*/ 89376 w 89375"/>
                  <a:gd name="connsiteY0" fmla="*/ 44688 h 89375"/>
                  <a:gd name="connsiteX1" fmla="*/ 44688 w 89375"/>
                  <a:gd name="connsiteY1" fmla="*/ 89375 h 89375"/>
                  <a:gd name="connsiteX2" fmla="*/ 0 w 89375"/>
                  <a:gd name="connsiteY2" fmla="*/ 44688 h 89375"/>
                  <a:gd name="connsiteX3" fmla="*/ 44688 w 89375"/>
                  <a:gd name="connsiteY3" fmla="*/ 0 h 89375"/>
                  <a:gd name="connsiteX4" fmla="*/ 89376 w 89375"/>
                  <a:gd name="connsiteY4" fmla="*/ 44688 h 893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375" h="89375">
                    <a:moveTo>
                      <a:pt x="89376" y="44688"/>
                    </a:moveTo>
                    <a:cubicBezTo>
                      <a:pt x="89376" y="69368"/>
                      <a:pt x="69368" y="89375"/>
                      <a:pt x="44688" y="89375"/>
                    </a:cubicBezTo>
                    <a:cubicBezTo>
                      <a:pt x="20007" y="89375"/>
                      <a:pt x="0" y="69368"/>
                      <a:pt x="0" y="44688"/>
                    </a:cubicBezTo>
                    <a:cubicBezTo>
                      <a:pt x="0" y="20007"/>
                      <a:pt x="20007" y="0"/>
                      <a:pt x="44688" y="0"/>
                    </a:cubicBezTo>
                    <a:cubicBezTo>
                      <a:pt x="69368" y="0"/>
                      <a:pt x="89376" y="20007"/>
                      <a:pt x="89376" y="44688"/>
                    </a:cubicBezTo>
                    <a:close/>
                  </a:path>
                </a:pathLst>
              </a:custGeom>
              <a:solidFill>
                <a:srgbClr val="FFFFFF"/>
              </a:solidFill>
              <a:ln w="19050" cap="rnd">
                <a:solidFill>
                  <a:srgbClr val="000000"/>
                </a:solidFill>
                <a:prstDash val="solid"/>
                <a:round/>
              </a:ln>
            </p:spPr>
            <p:txBody>
              <a:bodyPr rtlCol="0" anchor="ctr"/>
              <a:lstStyle/>
              <a:p>
                <a:endParaRPr lang="zh-CN" altLang="en-US"/>
              </a:p>
            </p:txBody>
          </p:sp>
          <p:sp>
            <p:nvSpPr>
              <p:cNvPr id="157" name="任意多边形: 形状 156"/>
              <p:cNvSpPr/>
              <p:nvPr/>
            </p:nvSpPr>
            <p:spPr>
              <a:xfrm>
                <a:off x="5026566" y="5330493"/>
                <a:ext cx="94698" cy="94698"/>
              </a:xfrm>
              <a:custGeom>
                <a:avLst/>
                <a:gdLst>
                  <a:gd name="connsiteX0" fmla="*/ 89376 w 89375"/>
                  <a:gd name="connsiteY0" fmla="*/ 44688 h 89375"/>
                  <a:gd name="connsiteX1" fmla="*/ 44688 w 89375"/>
                  <a:gd name="connsiteY1" fmla="*/ 89375 h 89375"/>
                  <a:gd name="connsiteX2" fmla="*/ 0 w 89375"/>
                  <a:gd name="connsiteY2" fmla="*/ 44688 h 89375"/>
                  <a:gd name="connsiteX3" fmla="*/ 44688 w 89375"/>
                  <a:gd name="connsiteY3" fmla="*/ 0 h 89375"/>
                  <a:gd name="connsiteX4" fmla="*/ 89376 w 89375"/>
                  <a:gd name="connsiteY4" fmla="*/ 44688 h 893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375" h="89375">
                    <a:moveTo>
                      <a:pt x="89376" y="44688"/>
                    </a:moveTo>
                    <a:cubicBezTo>
                      <a:pt x="89376" y="69368"/>
                      <a:pt x="69368" y="89375"/>
                      <a:pt x="44688" y="89375"/>
                    </a:cubicBezTo>
                    <a:cubicBezTo>
                      <a:pt x="20007" y="89375"/>
                      <a:pt x="0" y="69368"/>
                      <a:pt x="0" y="44688"/>
                    </a:cubicBezTo>
                    <a:cubicBezTo>
                      <a:pt x="0" y="20007"/>
                      <a:pt x="20007" y="0"/>
                      <a:pt x="44688" y="0"/>
                    </a:cubicBezTo>
                    <a:cubicBezTo>
                      <a:pt x="69368" y="0"/>
                      <a:pt x="89376" y="20007"/>
                      <a:pt x="89376" y="44688"/>
                    </a:cubicBezTo>
                    <a:close/>
                  </a:path>
                </a:pathLst>
              </a:custGeom>
              <a:solidFill>
                <a:srgbClr val="FFFFFF"/>
              </a:solidFill>
              <a:ln w="19050" cap="rnd">
                <a:solidFill>
                  <a:srgbClr val="000000"/>
                </a:solidFill>
                <a:prstDash val="solid"/>
                <a:round/>
              </a:ln>
            </p:spPr>
            <p:txBody>
              <a:bodyPr rtlCol="0" anchor="ctr"/>
              <a:lstStyle/>
              <a:p>
                <a:endParaRPr lang="zh-CN" altLang="en-US"/>
              </a:p>
            </p:txBody>
          </p:sp>
          <p:sp>
            <p:nvSpPr>
              <p:cNvPr id="158" name="任意多边形: 形状 157"/>
              <p:cNvSpPr/>
              <p:nvPr/>
            </p:nvSpPr>
            <p:spPr>
              <a:xfrm>
                <a:off x="5261976" y="1294434"/>
                <a:ext cx="429766" cy="653575"/>
              </a:xfrm>
              <a:custGeom>
                <a:avLst/>
                <a:gdLst>
                  <a:gd name="connsiteX0" fmla="*/ -845 w 370702"/>
                  <a:gd name="connsiteY0" fmla="*/ 563525 h 563753"/>
                  <a:gd name="connsiteX1" fmla="*/ -845 w 370702"/>
                  <a:gd name="connsiteY1" fmla="*/ 195710 h 563753"/>
                  <a:gd name="connsiteX2" fmla="*/ 195094 w 370702"/>
                  <a:gd name="connsiteY2" fmla="*/ -229 h 563753"/>
                  <a:gd name="connsiteX3" fmla="*/ 369857 w 370702"/>
                  <a:gd name="connsiteY3" fmla="*/ -229 h 563753"/>
                </a:gdLst>
                <a:ahLst/>
                <a:cxnLst>
                  <a:cxn ang="0">
                    <a:pos x="connsiteX0" y="connsiteY0"/>
                  </a:cxn>
                  <a:cxn ang="0">
                    <a:pos x="connsiteX1" y="connsiteY1"/>
                  </a:cxn>
                  <a:cxn ang="0">
                    <a:pos x="connsiteX2" y="connsiteY2"/>
                  </a:cxn>
                  <a:cxn ang="0">
                    <a:pos x="connsiteX3" y="connsiteY3"/>
                  </a:cxn>
                </a:cxnLst>
                <a:rect l="l" t="t" r="r" b="b"/>
                <a:pathLst>
                  <a:path w="370702" h="563753">
                    <a:moveTo>
                      <a:pt x="-845" y="563525"/>
                    </a:moveTo>
                    <a:lnTo>
                      <a:pt x="-845" y="195710"/>
                    </a:lnTo>
                    <a:cubicBezTo>
                      <a:pt x="-845" y="87497"/>
                      <a:pt x="86881" y="-229"/>
                      <a:pt x="195094" y="-229"/>
                    </a:cubicBezTo>
                    <a:lnTo>
                      <a:pt x="369857" y="-229"/>
                    </a:lnTo>
                  </a:path>
                </a:pathLst>
              </a:custGeom>
              <a:noFill/>
              <a:ln w="19050" cap="rnd">
                <a:solidFill>
                  <a:srgbClr val="000000"/>
                </a:solidFill>
                <a:prstDash val="solid"/>
                <a:round/>
              </a:ln>
            </p:spPr>
            <p:txBody>
              <a:bodyPr rtlCol="0" anchor="ctr"/>
              <a:lstStyle/>
              <a:p>
                <a:endParaRPr lang="zh-CN" altLang="en-US"/>
              </a:p>
            </p:txBody>
          </p:sp>
          <p:sp>
            <p:nvSpPr>
              <p:cNvPr id="159" name="任意多边形: 形状 158"/>
              <p:cNvSpPr/>
              <p:nvPr/>
            </p:nvSpPr>
            <p:spPr>
              <a:xfrm>
                <a:off x="7453476" y="4266516"/>
                <a:ext cx="7284" cy="313233"/>
              </a:xfrm>
              <a:custGeom>
                <a:avLst/>
                <a:gdLst>
                  <a:gd name="connsiteX0" fmla="*/ 0 w 6875"/>
                  <a:gd name="connsiteY0" fmla="*/ 0 h 295626"/>
                  <a:gd name="connsiteX1" fmla="*/ 0 w 6875"/>
                  <a:gd name="connsiteY1" fmla="*/ 295627 h 295626"/>
                </a:gdLst>
                <a:ahLst/>
                <a:cxnLst>
                  <a:cxn ang="0">
                    <a:pos x="connsiteX0" y="connsiteY0"/>
                  </a:cxn>
                  <a:cxn ang="0">
                    <a:pos x="connsiteX1" y="connsiteY1"/>
                  </a:cxn>
                </a:cxnLst>
                <a:rect l="l" t="t" r="r" b="b"/>
                <a:pathLst>
                  <a:path w="6875" h="295626">
                    <a:moveTo>
                      <a:pt x="0" y="0"/>
                    </a:moveTo>
                    <a:lnTo>
                      <a:pt x="0" y="295627"/>
                    </a:lnTo>
                  </a:path>
                </a:pathLst>
              </a:custGeom>
              <a:ln w="19050" cap="rnd">
                <a:solidFill>
                  <a:srgbClr val="000000"/>
                </a:solidFill>
                <a:prstDash val="solid"/>
                <a:round/>
              </a:ln>
            </p:spPr>
            <p:txBody>
              <a:bodyPr rtlCol="0" anchor="ctr"/>
              <a:lstStyle/>
              <a:p>
                <a:endParaRPr lang="zh-CN" altLang="en-US"/>
              </a:p>
            </p:txBody>
          </p:sp>
          <p:sp>
            <p:nvSpPr>
              <p:cNvPr id="160" name="任意多边形: 形状 159"/>
              <p:cNvSpPr/>
              <p:nvPr/>
            </p:nvSpPr>
            <p:spPr>
              <a:xfrm>
                <a:off x="7453476" y="4004274"/>
                <a:ext cx="7284" cy="138405"/>
              </a:xfrm>
              <a:custGeom>
                <a:avLst/>
                <a:gdLst>
                  <a:gd name="connsiteX0" fmla="*/ 0 w 6875"/>
                  <a:gd name="connsiteY0" fmla="*/ 0 h 130625"/>
                  <a:gd name="connsiteX1" fmla="*/ 0 w 6875"/>
                  <a:gd name="connsiteY1" fmla="*/ 130626 h 130625"/>
                </a:gdLst>
                <a:ahLst/>
                <a:cxnLst>
                  <a:cxn ang="0">
                    <a:pos x="connsiteX0" y="connsiteY0"/>
                  </a:cxn>
                  <a:cxn ang="0">
                    <a:pos x="connsiteX1" y="connsiteY1"/>
                  </a:cxn>
                </a:cxnLst>
                <a:rect l="l" t="t" r="r" b="b"/>
                <a:pathLst>
                  <a:path w="6875" h="130625">
                    <a:moveTo>
                      <a:pt x="0" y="0"/>
                    </a:moveTo>
                    <a:lnTo>
                      <a:pt x="0" y="130626"/>
                    </a:lnTo>
                  </a:path>
                </a:pathLst>
              </a:custGeom>
              <a:ln w="19050" cap="rnd">
                <a:solidFill>
                  <a:srgbClr val="000000"/>
                </a:solidFill>
                <a:prstDash val="solid"/>
                <a:round/>
              </a:ln>
            </p:spPr>
            <p:txBody>
              <a:bodyPr rtlCol="0" anchor="ctr"/>
              <a:lstStyle/>
              <a:p>
                <a:endParaRPr lang="zh-CN" altLang="en-US"/>
              </a:p>
            </p:txBody>
          </p:sp>
        </p:grpSp>
      </p:grpSp>
    </p:spTree>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组合 2"/>
          <p:cNvGrpSpPr/>
          <p:nvPr/>
        </p:nvGrpSpPr>
        <p:grpSpPr>
          <a:xfrm>
            <a:off x="647868" y="1361113"/>
            <a:ext cx="10871594" cy="4302858"/>
            <a:chOff x="647868" y="1361113"/>
            <a:chExt cx="10871594" cy="4302858"/>
          </a:xfrm>
        </p:grpSpPr>
        <p:grpSp>
          <p:nvGrpSpPr>
            <p:cNvPr id="45" name="组合 44"/>
            <p:cNvGrpSpPr/>
            <p:nvPr/>
          </p:nvGrpSpPr>
          <p:grpSpPr>
            <a:xfrm>
              <a:off x="7830242" y="1361113"/>
              <a:ext cx="3688939" cy="2010101"/>
              <a:chOff x="6068964" y="1130300"/>
              <a:chExt cx="3688939" cy="2010101"/>
            </a:xfrm>
          </p:grpSpPr>
          <p:sp>
            <p:nvSpPr>
              <p:cNvPr id="46" name="矩形: 圆角 45"/>
              <p:cNvSpPr/>
              <p:nvPr/>
            </p:nvSpPr>
            <p:spPr>
              <a:xfrm>
                <a:off x="6439915" y="1228604"/>
                <a:ext cx="3317988" cy="1911797"/>
              </a:xfrm>
              <a:prstGeom prst="roundRect">
                <a:avLst>
                  <a:gd name="adj" fmla="val 0"/>
                </a:avLst>
              </a:prstGeom>
              <a:solidFill>
                <a:schemeClr val="accent4"/>
              </a:solidFill>
              <a:ln w="6055" cap="flat">
                <a:noFill/>
                <a:prstDash val="solid"/>
                <a:miter/>
              </a:ln>
            </p:spPr>
            <p:txBody>
              <a:bodyPr rtlCol="0" anchor="ctr"/>
              <a:lstStyle/>
              <a:p>
                <a:endParaRPr lang="zh-CN" altLang="en-US"/>
              </a:p>
            </p:txBody>
          </p:sp>
          <p:grpSp>
            <p:nvGrpSpPr>
              <p:cNvPr id="47" name="组合 46"/>
              <p:cNvGrpSpPr/>
              <p:nvPr/>
            </p:nvGrpSpPr>
            <p:grpSpPr>
              <a:xfrm>
                <a:off x="6068964" y="1130300"/>
                <a:ext cx="3608183" cy="1911797"/>
                <a:chOff x="7338773" y="3410174"/>
                <a:chExt cx="3608183" cy="1911797"/>
              </a:xfrm>
            </p:grpSpPr>
            <p:sp>
              <p:nvSpPr>
                <p:cNvPr id="48" name="矩形: 圆角 47"/>
                <p:cNvSpPr/>
                <p:nvPr/>
              </p:nvSpPr>
              <p:spPr>
                <a:xfrm>
                  <a:off x="7628968" y="3410174"/>
                  <a:ext cx="3317988" cy="1911797"/>
                </a:xfrm>
                <a:prstGeom prst="roundRect">
                  <a:avLst>
                    <a:gd name="adj" fmla="val 0"/>
                  </a:avLst>
                </a:prstGeom>
                <a:solidFill>
                  <a:schemeClr val="bg1"/>
                </a:solidFill>
                <a:ln w="25400" cap="flat">
                  <a:solidFill>
                    <a:schemeClr val="accent4"/>
                  </a:solidFill>
                  <a:prstDash val="solid"/>
                  <a:miter/>
                </a:ln>
              </p:spPr>
              <p:txBody>
                <a:bodyPr rtlCol="0" anchor="ctr"/>
                <a:lstStyle/>
                <a:p>
                  <a:endParaRPr lang="zh-CN" altLang="en-US"/>
                </a:p>
              </p:txBody>
            </p:sp>
            <p:grpSp>
              <p:nvGrpSpPr>
                <p:cNvPr id="49" name="组合 48"/>
                <p:cNvGrpSpPr/>
                <p:nvPr/>
              </p:nvGrpSpPr>
              <p:grpSpPr>
                <a:xfrm>
                  <a:off x="7338773" y="3750973"/>
                  <a:ext cx="3489080" cy="1216167"/>
                  <a:chOff x="7204587" y="3766162"/>
                  <a:chExt cx="3489080" cy="1216167"/>
                </a:xfrm>
              </p:grpSpPr>
              <p:grpSp>
                <p:nvGrpSpPr>
                  <p:cNvPr id="50" name="组合 49"/>
                  <p:cNvGrpSpPr/>
                  <p:nvPr/>
                </p:nvGrpSpPr>
                <p:grpSpPr>
                  <a:xfrm>
                    <a:off x="7886906" y="3766162"/>
                    <a:ext cx="2806761" cy="1216167"/>
                    <a:chOff x="2588914" y="2815201"/>
                    <a:chExt cx="2806761" cy="1216167"/>
                  </a:xfrm>
                </p:grpSpPr>
                <p:sp>
                  <p:nvSpPr>
                    <p:cNvPr id="52" name="矩形 51"/>
                    <p:cNvSpPr/>
                    <p:nvPr/>
                  </p:nvSpPr>
                  <p:spPr>
                    <a:xfrm>
                      <a:off x="2588914" y="2815201"/>
                      <a:ext cx="2806761"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spAutoFit/>
                    </a:bodyPr>
                    <a:lstStyle/>
                    <a:p>
                      <a:r>
                        <a:rPr kumimoji="1" lang="en-US" altLang="zh-CN" sz="1600" b="1" dirty="0">
                          <a:solidFill>
                            <a:schemeClr val="tx1"/>
                          </a:solidFill>
                          <a:latin typeface="Arial" panose="020B0604020202090204" pitchFamily="34" charset="0"/>
                          <a:ea typeface="华文楷体" panose="02010600040101010101" pitchFamily="2" charset="-122"/>
                        </a:rPr>
                        <a:t>Supporting text here.</a:t>
                      </a:r>
                      <a:endParaRPr kumimoji="1" lang="en-US" altLang="zh-CN" sz="1600" b="1" dirty="0">
                        <a:solidFill>
                          <a:schemeClr val="tx1"/>
                        </a:solidFill>
                        <a:latin typeface="Arial" panose="020B0604020202090204" pitchFamily="34" charset="0"/>
                        <a:ea typeface="华文楷体" panose="02010600040101010101" pitchFamily="2" charset="-122"/>
                      </a:endParaRPr>
                    </a:p>
                  </p:txBody>
                </p:sp>
                <p:sp>
                  <p:nvSpPr>
                    <p:cNvPr id="53" name="矩形 52"/>
                    <p:cNvSpPr/>
                    <p:nvPr/>
                  </p:nvSpPr>
                  <p:spPr>
                    <a:xfrm>
                      <a:off x="2588914" y="3159655"/>
                      <a:ext cx="2806761" cy="8717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p>
                      <a:pPr>
                        <a:lnSpc>
                          <a:spcPct val="130000"/>
                        </a:lnSpc>
                      </a:pPr>
                      <a:r>
                        <a:rPr kumimoji="1" lang="en-US" altLang="zh-CN" sz="1000" dirty="0">
                          <a:solidFill>
                            <a:schemeClr val="tx1"/>
                          </a:solidFill>
                          <a:latin typeface="Arial" panose="020B0604020202090204" pitchFamily="34" charset="0"/>
                          <a:ea typeface="华文楷体" panose="02010600040101010101" pitchFamily="2" charset="-122"/>
                        </a:rPr>
                        <a:t>Theme color makes PPT more convenient to change. Adjust the spacing to adapt to Chinese typesetting, use the reference line in PPT……</a:t>
                      </a:r>
                      <a:endParaRPr kumimoji="1" lang="en-US" altLang="zh-CN" sz="1000" dirty="0">
                        <a:solidFill>
                          <a:schemeClr val="tx1"/>
                        </a:solidFill>
                        <a:latin typeface="Arial" panose="020B0604020202090204" pitchFamily="34" charset="0"/>
                        <a:ea typeface="华文楷体" panose="02010600040101010101" pitchFamily="2" charset="-122"/>
                      </a:endParaRPr>
                    </a:p>
                  </p:txBody>
                </p:sp>
              </p:grpSp>
              <p:sp>
                <p:nvSpPr>
                  <p:cNvPr id="51" name="文本框 50"/>
                  <p:cNvSpPr txBox="1"/>
                  <p:nvPr/>
                </p:nvSpPr>
                <p:spPr>
                  <a:xfrm>
                    <a:off x="7204587" y="4160414"/>
                    <a:ext cx="540000" cy="540000"/>
                  </a:xfrm>
                  <a:prstGeom prst="ellipse">
                    <a:avLst/>
                  </a:prstGeom>
                  <a:solidFill>
                    <a:schemeClr val="accent4"/>
                  </a:solidFill>
                </p:spPr>
                <p:txBody>
                  <a:bodyPr wrap="none" lIns="108000" tIns="108000" rIns="108000" bIns="108000" rtlCol="0" anchor="ctr" anchorCtr="0">
                    <a:noAutofit/>
                  </a:bodyPr>
                  <a:lstStyle>
                    <a:defPPr>
                      <a:defRPr lang="zh-CN"/>
                    </a:defPPr>
                    <a:lvl1pPr algn="ctr">
                      <a:defRPr kumimoji="1" sz="2000" b="1">
                        <a:solidFill>
                          <a:srgbClr val="FFFFFF"/>
                        </a:solidFill>
                      </a:defRPr>
                    </a:lvl1pPr>
                  </a:lstStyle>
                  <a:p>
                    <a:r>
                      <a:rPr lang="en-US" altLang="zh-CN" dirty="0">
                        <a:latin typeface="Arial" panose="020B0604020202090204" pitchFamily="34" charset="0"/>
                        <a:ea typeface="华文楷体" panose="02010600040101010101" pitchFamily="2" charset="-122"/>
                      </a:rPr>
                      <a:t>02</a:t>
                    </a:r>
                    <a:endParaRPr lang="zh-CN" altLang="en-US" dirty="0">
                      <a:latin typeface="Arial" panose="020B0604020202090204" pitchFamily="34" charset="0"/>
                      <a:ea typeface="华文楷体" panose="02010600040101010101" pitchFamily="2" charset="-122"/>
                    </a:endParaRPr>
                  </a:p>
                </p:txBody>
              </p:sp>
            </p:grpSp>
          </p:grpSp>
        </p:grpSp>
        <p:grpSp>
          <p:nvGrpSpPr>
            <p:cNvPr id="63" name="组合 62"/>
            <p:cNvGrpSpPr/>
            <p:nvPr/>
          </p:nvGrpSpPr>
          <p:grpSpPr>
            <a:xfrm>
              <a:off x="7830523" y="3653870"/>
              <a:ext cx="3688939" cy="2010101"/>
              <a:chOff x="6068964" y="1130300"/>
              <a:chExt cx="3688939" cy="2010101"/>
            </a:xfrm>
          </p:grpSpPr>
          <p:sp>
            <p:nvSpPr>
              <p:cNvPr id="64" name="矩形: 圆角 63"/>
              <p:cNvSpPr/>
              <p:nvPr/>
            </p:nvSpPr>
            <p:spPr>
              <a:xfrm>
                <a:off x="6439915" y="1228604"/>
                <a:ext cx="3317988" cy="1911797"/>
              </a:xfrm>
              <a:prstGeom prst="roundRect">
                <a:avLst>
                  <a:gd name="adj" fmla="val 0"/>
                </a:avLst>
              </a:prstGeom>
              <a:solidFill>
                <a:schemeClr val="accent4"/>
              </a:solidFill>
              <a:ln w="6055" cap="flat">
                <a:noFill/>
                <a:prstDash val="solid"/>
                <a:miter/>
              </a:ln>
            </p:spPr>
            <p:txBody>
              <a:bodyPr rtlCol="0" anchor="ctr"/>
              <a:lstStyle/>
              <a:p>
                <a:endParaRPr lang="zh-CN" altLang="en-US"/>
              </a:p>
            </p:txBody>
          </p:sp>
          <p:grpSp>
            <p:nvGrpSpPr>
              <p:cNvPr id="65" name="组合 64"/>
              <p:cNvGrpSpPr/>
              <p:nvPr/>
            </p:nvGrpSpPr>
            <p:grpSpPr>
              <a:xfrm>
                <a:off x="6068964" y="1130300"/>
                <a:ext cx="3608183" cy="1911797"/>
                <a:chOff x="7338773" y="3410174"/>
                <a:chExt cx="3608183" cy="1911797"/>
              </a:xfrm>
            </p:grpSpPr>
            <p:sp>
              <p:nvSpPr>
                <p:cNvPr id="66" name="矩形: 圆角 65"/>
                <p:cNvSpPr/>
                <p:nvPr/>
              </p:nvSpPr>
              <p:spPr>
                <a:xfrm>
                  <a:off x="7628968" y="3410174"/>
                  <a:ext cx="3317988" cy="1911797"/>
                </a:xfrm>
                <a:prstGeom prst="roundRect">
                  <a:avLst>
                    <a:gd name="adj" fmla="val 0"/>
                  </a:avLst>
                </a:prstGeom>
                <a:solidFill>
                  <a:schemeClr val="bg1"/>
                </a:solidFill>
                <a:ln w="25400" cap="flat">
                  <a:solidFill>
                    <a:schemeClr val="accent4"/>
                  </a:solidFill>
                  <a:prstDash val="solid"/>
                  <a:miter/>
                </a:ln>
              </p:spPr>
              <p:txBody>
                <a:bodyPr rtlCol="0" anchor="ctr"/>
                <a:lstStyle/>
                <a:p>
                  <a:endParaRPr lang="zh-CN" altLang="en-US"/>
                </a:p>
              </p:txBody>
            </p:sp>
            <p:grpSp>
              <p:nvGrpSpPr>
                <p:cNvPr id="67" name="组合 66"/>
                <p:cNvGrpSpPr/>
                <p:nvPr/>
              </p:nvGrpSpPr>
              <p:grpSpPr>
                <a:xfrm>
                  <a:off x="7338773" y="3750973"/>
                  <a:ext cx="3489080" cy="1216167"/>
                  <a:chOff x="7204587" y="3766162"/>
                  <a:chExt cx="3489080" cy="1216167"/>
                </a:xfrm>
              </p:grpSpPr>
              <p:grpSp>
                <p:nvGrpSpPr>
                  <p:cNvPr id="68" name="组合 67"/>
                  <p:cNvGrpSpPr/>
                  <p:nvPr/>
                </p:nvGrpSpPr>
                <p:grpSpPr>
                  <a:xfrm>
                    <a:off x="7886906" y="3766162"/>
                    <a:ext cx="2806761" cy="1216167"/>
                    <a:chOff x="2588914" y="2815201"/>
                    <a:chExt cx="2806761" cy="1216167"/>
                  </a:xfrm>
                </p:grpSpPr>
                <p:sp>
                  <p:nvSpPr>
                    <p:cNvPr id="70" name="矩形 69"/>
                    <p:cNvSpPr/>
                    <p:nvPr/>
                  </p:nvSpPr>
                  <p:spPr>
                    <a:xfrm>
                      <a:off x="2588914" y="2815201"/>
                      <a:ext cx="2806761"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spAutoFit/>
                    </a:bodyPr>
                    <a:lstStyle/>
                    <a:p>
                      <a:r>
                        <a:rPr kumimoji="1" lang="en-US" altLang="zh-CN" sz="1600" b="1" dirty="0">
                          <a:solidFill>
                            <a:schemeClr val="tx1"/>
                          </a:solidFill>
                          <a:latin typeface="Arial" panose="020B0604020202090204" pitchFamily="34" charset="0"/>
                          <a:ea typeface="华文楷体" panose="02010600040101010101" pitchFamily="2" charset="-122"/>
                        </a:rPr>
                        <a:t>Supporting text here.</a:t>
                      </a:r>
                      <a:endParaRPr kumimoji="1" lang="en-US" altLang="zh-CN" sz="1600" b="1" dirty="0">
                        <a:solidFill>
                          <a:schemeClr val="tx1"/>
                        </a:solidFill>
                        <a:latin typeface="Arial" panose="020B0604020202090204" pitchFamily="34" charset="0"/>
                        <a:ea typeface="华文楷体" panose="02010600040101010101" pitchFamily="2" charset="-122"/>
                      </a:endParaRPr>
                    </a:p>
                  </p:txBody>
                </p:sp>
                <p:sp>
                  <p:nvSpPr>
                    <p:cNvPr id="71" name="矩形 70"/>
                    <p:cNvSpPr/>
                    <p:nvPr/>
                  </p:nvSpPr>
                  <p:spPr>
                    <a:xfrm>
                      <a:off x="2588914" y="3159655"/>
                      <a:ext cx="2806761" cy="8717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p>
                      <a:pPr>
                        <a:lnSpc>
                          <a:spcPct val="130000"/>
                        </a:lnSpc>
                      </a:pPr>
                      <a:r>
                        <a:rPr kumimoji="1" lang="en-US" altLang="zh-CN" sz="1000" dirty="0">
                          <a:solidFill>
                            <a:schemeClr val="tx1"/>
                          </a:solidFill>
                          <a:latin typeface="Arial" panose="020B0604020202090204" pitchFamily="34" charset="0"/>
                          <a:ea typeface="华文楷体" panose="02010600040101010101" pitchFamily="2" charset="-122"/>
                        </a:rPr>
                        <a:t>Theme color makes PPT more convenient to change. Adjust the spacing to adapt to Chinese typesetting, use the reference line in PPT……</a:t>
                      </a:r>
                      <a:endParaRPr kumimoji="1" lang="en-US" altLang="zh-CN" sz="1000" dirty="0">
                        <a:solidFill>
                          <a:schemeClr val="tx1"/>
                        </a:solidFill>
                        <a:latin typeface="Arial" panose="020B0604020202090204" pitchFamily="34" charset="0"/>
                        <a:ea typeface="华文楷体" panose="02010600040101010101" pitchFamily="2" charset="-122"/>
                      </a:endParaRPr>
                    </a:p>
                  </p:txBody>
                </p:sp>
              </p:grpSp>
              <p:sp>
                <p:nvSpPr>
                  <p:cNvPr id="69" name="文本框 68"/>
                  <p:cNvSpPr txBox="1"/>
                  <p:nvPr/>
                </p:nvSpPr>
                <p:spPr>
                  <a:xfrm>
                    <a:off x="7204587" y="4160414"/>
                    <a:ext cx="540000" cy="540000"/>
                  </a:xfrm>
                  <a:prstGeom prst="ellipse">
                    <a:avLst/>
                  </a:prstGeom>
                  <a:solidFill>
                    <a:schemeClr val="accent4"/>
                  </a:solidFill>
                </p:spPr>
                <p:txBody>
                  <a:bodyPr wrap="none" lIns="108000" tIns="108000" rIns="108000" bIns="108000" rtlCol="0" anchor="ctr" anchorCtr="0">
                    <a:noAutofit/>
                  </a:bodyPr>
                  <a:lstStyle>
                    <a:defPPr>
                      <a:defRPr lang="zh-CN"/>
                    </a:defPPr>
                    <a:lvl1pPr algn="ctr">
                      <a:defRPr kumimoji="1" sz="2000" b="1">
                        <a:solidFill>
                          <a:srgbClr val="FFFFFF"/>
                        </a:solidFill>
                      </a:defRPr>
                    </a:lvl1pPr>
                  </a:lstStyle>
                  <a:p>
                    <a:r>
                      <a:rPr lang="en-US" altLang="zh-CN" dirty="0">
                        <a:latin typeface="Arial" panose="020B0604020202090204" pitchFamily="34" charset="0"/>
                        <a:ea typeface="华文楷体" panose="02010600040101010101" pitchFamily="2" charset="-122"/>
                      </a:rPr>
                      <a:t>04</a:t>
                    </a:r>
                    <a:endParaRPr lang="zh-CN" altLang="en-US" dirty="0">
                      <a:latin typeface="Arial" panose="020B0604020202090204" pitchFamily="34" charset="0"/>
                      <a:ea typeface="华文楷体" panose="02010600040101010101" pitchFamily="2" charset="-122"/>
                    </a:endParaRPr>
                  </a:p>
                </p:txBody>
              </p:sp>
            </p:grpSp>
          </p:grpSp>
        </p:grpSp>
        <p:grpSp>
          <p:nvGrpSpPr>
            <p:cNvPr id="2" name="组合 1"/>
            <p:cNvGrpSpPr/>
            <p:nvPr/>
          </p:nvGrpSpPr>
          <p:grpSpPr>
            <a:xfrm>
              <a:off x="4529236" y="1869900"/>
              <a:ext cx="3133528" cy="3118201"/>
              <a:chOff x="4378525" y="1734125"/>
              <a:chExt cx="3133528" cy="3118201"/>
            </a:xfrm>
          </p:grpSpPr>
          <p:grpSp>
            <p:nvGrpSpPr>
              <p:cNvPr id="4" name="组合 3"/>
              <p:cNvGrpSpPr/>
              <p:nvPr/>
            </p:nvGrpSpPr>
            <p:grpSpPr>
              <a:xfrm>
                <a:off x="4453703" y="1789730"/>
                <a:ext cx="3058350" cy="3062596"/>
                <a:chOff x="4453703" y="1789730"/>
                <a:chExt cx="3058350" cy="3062596"/>
              </a:xfrm>
            </p:grpSpPr>
            <p:sp>
              <p:nvSpPr>
                <p:cNvPr id="37" name="不完整圆 36"/>
                <p:cNvSpPr/>
                <p:nvPr/>
              </p:nvSpPr>
              <p:spPr>
                <a:xfrm>
                  <a:off x="4453703" y="1789730"/>
                  <a:ext cx="2880000" cy="2880000"/>
                </a:xfrm>
                <a:prstGeom prst="pie">
                  <a:avLst>
                    <a:gd name="adj1" fmla="val 10800000"/>
                    <a:gd name="adj2" fmla="val 16200000"/>
                  </a:avLst>
                </a:prstGeom>
                <a:solidFill>
                  <a:schemeClr val="accent4"/>
                </a:solidFill>
                <a:ln w="6055" cap="flat">
                  <a:noFill/>
                  <a:prstDash val="solid"/>
                  <a:miter/>
                </a:ln>
              </p:spPr>
              <p:txBody>
                <a:bodyPr rtlCol="0" anchor="ctr"/>
                <a:lstStyle/>
                <a:p>
                  <a:endParaRPr lang="zh-CN" altLang="en-US"/>
                </a:p>
              </p:txBody>
            </p:sp>
            <p:sp>
              <p:nvSpPr>
                <p:cNvPr id="29" name="不完整圆 28"/>
                <p:cNvSpPr/>
                <p:nvPr/>
              </p:nvSpPr>
              <p:spPr>
                <a:xfrm flipH="1">
                  <a:off x="4632053" y="1789730"/>
                  <a:ext cx="2880000" cy="2880000"/>
                </a:xfrm>
                <a:prstGeom prst="pie">
                  <a:avLst>
                    <a:gd name="adj1" fmla="val 10800000"/>
                    <a:gd name="adj2" fmla="val 16200000"/>
                  </a:avLst>
                </a:prstGeom>
                <a:solidFill>
                  <a:schemeClr val="accent4"/>
                </a:solidFill>
                <a:ln w="6055" cap="flat">
                  <a:noFill/>
                  <a:prstDash val="solid"/>
                  <a:miter/>
                </a:ln>
              </p:spPr>
              <p:txBody>
                <a:bodyPr rtlCol="0" anchor="ctr"/>
                <a:lstStyle/>
                <a:p>
                  <a:endParaRPr lang="zh-CN" altLang="en-US"/>
                </a:p>
              </p:txBody>
            </p:sp>
            <p:sp>
              <p:nvSpPr>
                <p:cNvPr id="21" name="不完整圆 20"/>
                <p:cNvSpPr/>
                <p:nvPr/>
              </p:nvSpPr>
              <p:spPr>
                <a:xfrm flipH="1" flipV="1">
                  <a:off x="4632053" y="1972326"/>
                  <a:ext cx="2880000" cy="2880000"/>
                </a:xfrm>
                <a:prstGeom prst="pie">
                  <a:avLst>
                    <a:gd name="adj1" fmla="val 10800000"/>
                    <a:gd name="adj2" fmla="val 16200000"/>
                  </a:avLst>
                </a:prstGeom>
                <a:solidFill>
                  <a:schemeClr val="accent4"/>
                </a:solidFill>
                <a:ln w="6055" cap="flat">
                  <a:noFill/>
                  <a:prstDash val="solid"/>
                  <a:miter/>
                </a:ln>
              </p:spPr>
              <p:txBody>
                <a:bodyPr rtlCol="0" anchor="ctr"/>
                <a:lstStyle/>
                <a:p>
                  <a:endParaRPr lang="zh-CN" altLang="en-US"/>
                </a:p>
              </p:txBody>
            </p:sp>
            <p:sp>
              <p:nvSpPr>
                <p:cNvPr id="13" name="不完整圆 12"/>
                <p:cNvSpPr/>
                <p:nvPr/>
              </p:nvSpPr>
              <p:spPr>
                <a:xfrm flipV="1">
                  <a:off x="4453705" y="1972326"/>
                  <a:ext cx="2880000" cy="2880000"/>
                </a:xfrm>
                <a:prstGeom prst="pie">
                  <a:avLst>
                    <a:gd name="adj1" fmla="val 10800000"/>
                    <a:gd name="adj2" fmla="val 16200000"/>
                  </a:avLst>
                </a:prstGeom>
                <a:solidFill>
                  <a:schemeClr val="accent4"/>
                </a:solidFill>
                <a:ln w="6055" cap="flat">
                  <a:noFill/>
                  <a:prstDash val="solid"/>
                  <a:miter/>
                </a:ln>
              </p:spPr>
              <p:txBody>
                <a:bodyPr rtlCol="0" anchor="ctr"/>
                <a:lstStyle/>
                <a:p>
                  <a:endParaRPr lang="zh-CN" altLang="en-US"/>
                </a:p>
              </p:txBody>
            </p:sp>
          </p:grpSp>
          <p:grpSp>
            <p:nvGrpSpPr>
              <p:cNvPr id="81" name="组合 80"/>
              <p:cNvGrpSpPr/>
              <p:nvPr/>
            </p:nvGrpSpPr>
            <p:grpSpPr>
              <a:xfrm>
                <a:off x="4378525" y="1734125"/>
                <a:ext cx="3058350" cy="3062596"/>
                <a:chOff x="4453703" y="1789730"/>
                <a:chExt cx="3058350" cy="3062596"/>
              </a:xfrm>
            </p:grpSpPr>
            <p:sp>
              <p:nvSpPr>
                <p:cNvPr id="82" name="不完整圆 81"/>
                <p:cNvSpPr/>
                <p:nvPr/>
              </p:nvSpPr>
              <p:spPr>
                <a:xfrm>
                  <a:off x="4453703" y="1789730"/>
                  <a:ext cx="2880000" cy="2880000"/>
                </a:xfrm>
                <a:prstGeom prst="pie">
                  <a:avLst>
                    <a:gd name="adj1" fmla="val 10800000"/>
                    <a:gd name="adj2" fmla="val 16200000"/>
                  </a:avLst>
                </a:prstGeom>
                <a:solidFill>
                  <a:schemeClr val="bg1"/>
                </a:solidFill>
                <a:ln w="25400" cap="flat">
                  <a:solidFill>
                    <a:schemeClr val="accent4"/>
                  </a:solidFill>
                  <a:prstDash val="solid"/>
                  <a:miter/>
                </a:ln>
              </p:spPr>
              <p:txBody>
                <a:bodyPr rtlCol="0" anchor="ctr"/>
                <a:lstStyle/>
                <a:p>
                  <a:endParaRPr lang="zh-CN" altLang="en-US"/>
                </a:p>
              </p:txBody>
            </p:sp>
            <p:sp>
              <p:nvSpPr>
                <p:cNvPr id="83" name="不完整圆 82"/>
                <p:cNvSpPr/>
                <p:nvPr/>
              </p:nvSpPr>
              <p:spPr>
                <a:xfrm flipH="1">
                  <a:off x="4632053" y="1789730"/>
                  <a:ext cx="2880000" cy="2880000"/>
                </a:xfrm>
                <a:prstGeom prst="pie">
                  <a:avLst>
                    <a:gd name="adj1" fmla="val 10800000"/>
                    <a:gd name="adj2" fmla="val 16200000"/>
                  </a:avLst>
                </a:prstGeom>
                <a:solidFill>
                  <a:schemeClr val="bg1"/>
                </a:solidFill>
                <a:ln w="25400" cap="flat">
                  <a:solidFill>
                    <a:schemeClr val="accent4"/>
                  </a:solidFill>
                  <a:prstDash val="solid"/>
                  <a:miter/>
                </a:ln>
              </p:spPr>
              <p:txBody>
                <a:bodyPr rtlCol="0" anchor="ctr"/>
                <a:lstStyle/>
                <a:p>
                  <a:endParaRPr lang="zh-CN" altLang="en-US"/>
                </a:p>
              </p:txBody>
            </p:sp>
            <p:sp>
              <p:nvSpPr>
                <p:cNvPr id="84" name="不完整圆 83"/>
                <p:cNvSpPr/>
                <p:nvPr/>
              </p:nvSpPr>
              <p:spPr>
                <a:xfrm flipH="1" flipV="1">
                  <a:off x="4632053" y="1972326"/>
                  <a:ext cx="2880000" cy="2880000"/>
                </a:xfrm>
                <a:prstGeom prst="pie">
                  <a:avLst>
                    <a:gd name="adj1" fmla="val 10800000"/>
                    <a:gd name="adj2" fmla="val 16200000"/>
                  </a:avLst>
                </a:prstGeom>
                <a:solidFill>
                  <a:schemeClr val="bg1"/>
                </a:solidFill>
                <a:ln w="25400" cap="flat">
                  <a:solidFill>
                    <a:schemeClr val="accent4"/>
                  </a:solidFill>
                  <a:prstDash val="solid"/>
                  <a:miter/>
                </a:ln>
              </p:spPr>
              <p:txBody>
                <a:bodyPr rtlCol="0" anchor="ctr"/>
                <a:lstStyle/>
                <a:p>
                  <a:endParaRPr lang="zh-CN" altLang="en-US"/>
                </a:p>
              </p:txBody>
            </p:sp>
            <p:sp>
              <p:nvSpPr>
                <p:cNvPr id="85" name="不完整圆 84"/>
                <p:cNvSpPr/>
                <p:nvPr/>
              </p:nvSpPr>
              <p:spPr>
                <a:xfrm flipV="1">
                  <a:off x="4453705" y="1972326"/>
                  <a:ext cx="2880000" cy="2880000"/>
                </a:xfrm>
                <a:prstGeom prst="pie">
                  <a:avLst>
                    <a:gd name="adj1" fmla="val 10800000"/>
                    <a:gd name="adj2" fmla="val 16200000"/>
                  </a:avLst>
                </a:prstGeom>
                <a:solidFill>
                  <a:schemeClr val="bg1"/>
                </a:solidFill>
                <a:ln w="25400" cap="flat">
                  <a:solidFill>
                    <a:schemeClr val="accent4"/>
                  </a:solidFill>
                  <a:prstDash val="solid"/>
                  <a:miter/>
                </a:ln>
              </p:spPr>
              <p:txBody>
                <a:bodyPr rtlCol="0" anchor="ctr"/>
                <a:lstStyle/>
                <a:p>
                  <a:endParaRPr lang="zh-CN" altLang="en-US"/>
                </a:p>
              </p:txBody>
            </p:sp>
          </p:grpSp>
        </p:grpSp>
        <p:grpSp>
          <p:nvGrpSpPr>
            <p:cNvPr id="86" name="组合 85"/>
            <p:cNvGrpSpPr/>
            <p:nvPr/>
          </p:nvGrpSpPr>
          <p:grpSpPr>
            <a:xfrm>
              <a:off x="663554" y="1361113"/>
              <a:ext cx="3596467" cy="2010101"/>
              <a:chOff x="6359159" y="1130300"/>
              <a:chExt cx="3596467" cy="2010101"/>
            </a:xfrm>
          </p:grpSpPr>
          <p:sp>
            <p:nvSpPr>
              <p:cNvPr id="87" name="矩形: 圆角 86"/>
              <p:cNvSpPr/>
              <p:nvPr/>
            </p:nvSpPr>
            <p:spPr>
              <a:xfrm>
                <a:off x="6439915" y="1228604"/>
                <a:ext cx="3317988" cy="1911797"/>
              </a:xfrm>
              <a:prstGeom prst="roundRect">
                <a:avLst>
                  <a:gd name="adj" fmla="val 0"/>
                </a:avLst>
              </a:prstGeom>
              <a:solidFill>
                <a:schemeClr val="accent4"/>
              </a:solidFill>
              <a:ln w="6055" cap="flat">
                <a:noFill/>
                <a:prstDash val="solid"/>
                <a:miter/>
              </a:ln>
            </p:spPr>
            <p:txBody>
              <a:bodyPr rtlCol="0" anchor="ctr"/>
              <a:lstStyle/>
              <a:p>
                <a:endParaRPr lang="zh-CN" altLang="en-US"/>
              </a:p>
            </p:txBody>
          </p:sp>
          <p:grpSp>
            <p:nvGrpSpPr>
              <p:cNvPr id="88" name="组合 87"/>
              <p:cNvGrpSpPr/>
              <p:nvPr/>
            </p:nvGrpSpPr>
            <p:grpSpPr>
              <a:xfrm>
                <a:off x="6359159" y="1130300"/>
                <a:ext cx="3596467" cy="1911797"/>
                <a:chOff x="7628968" y="3410174"/>
                <a:chExt cx="3596467" cy="1911797"/>
              </a:xfrm>
            </p:grpSpPr>
            <p:sp>
              <p:nvSpPr>
                <p:cNvPr id="89" name="矩形: 圆角 88"/>
                <p:cNvSpPr/>
                <p:nvPr/>
              </p:nvSpPr>
              <p:spPr>
                <a:xfrm>
                  <a:off x="7628968" y="3410174"/>
                  <a:ext cx="3317988" cy="1911797"/>
                </a:xfrm>
                <a:prstGeom prst="roundRect">
                  <a:avLst>
                    <a:gd name="adj" fmla="val 0"/>
                  </a:avLst>
                </a:prstGeom>
                <a:solidFill>
                  <a:schemeClr val="bg1"/>
                </a:solidFill>
                <a:ln w="25400" cap="flat">
                  <a:solidFill>
                    <a:schemeClr val="accent4"/>
                  </a:solidFill>
                  <a:prstDash val="solid"/>
                  <a:miter/>
                </a:ln>
              </p:spPr>
              <p:txBody>
                <a:bodyPr rtlCol="0" anchor="ctr"/>
                <a:lstStyle/>
                <a:p>
                  <a:endParaRPr lang="zh-CN" altLang="en-US"/>
                </a:p>
              </p:txBody>
            </p:sp>
            <p:grpSp>
              <p:nvGrpSpPr>
                <p:cNvPr id="90" name="组合 89"/>
                <p:cNvGrpSpPr/>
                <p:nvPr/>
              </p:nvGrpSpPr>
              <p:grpSpPr>
                <a:xfrm>
                  <a:off x="7884582" y="3750973"/>
                  <a:ext cx="3340853" cy="1216167"/>
                  <a:chOff x="7750396" y="3766162"/>
                  <a:chExt cx="3340853" cy="1216167"/>
                </a:xfrm>
              </p:grpSpPr>
              <p:grpSp>
                <p:nvGrpSpPr>
                  <p:cNvPr id="91" name="组合 90"/>
                  <p:cNvGrpSpPr/>
                  <p:nvPr/>
                </p:nvGrpSpPr>
                <p:grpSpPr>
                  <a:xfrm>
                    <a:off x="7750396" y="3766162"/>
                    <a:ext cx="2806761" cy="1216167"/>
                    <a:chOff x="2452404" y="2815201"/>
                    <a:chExt cx="2806761" cy="1216167"/>
                  </a:xfrm>
                </p:grpSpPr>
                <p:sp>
                  <p:nvSpPr>
                    <p:cNvPr id="93" name="矩形 92"/>
                    <p:cNvSpPr/>
                    <p:nvPr/>
                  </p:nvSpPr>
                  <p:spPr>
                    <a:xfrm>
                      <a:off x="2452404" y="2815201"/>
                      <a:ext cx="2806761"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spAutoFit/>
                    </a:bodyPr>
                    <a:lstStyle/>
                    <a:p>
                      <a:r>
                        <a:rPr kumimoji="1" lang="en-US" altLang="zh-CN" sz="1600" b="1" dirty="0">
                          <a:solidFill>
                            <a:schemeClr val="tx1"/>
                          </a:solidFill>
                          <a:latin typeface="Arial" panose="020B0604020202090204" pitchFamily="34" charset="0"/>
                          <a:ea typeface="华文楷体" panose="02010600040101010101" pitchFamily="2" charset="-122"/>
                        </a:rPr>
                        <a:t>Supporting text here.</a:t>
                      </a:r>
                      <a:endParaRPr kumimoji="1" lang="en-US" altLang="zh-CN" sz="1600" b="1" dirty="0">
                        <a:solidFill>
                          <a:schemeClr val="tx1"/>
                        </a:solidFill>
                        <a:latin typeface="Arial" panose="020B0604020202090204" pitchFamily="34" charset="0"/>
                        <a:ea typeface="华文楷体" panose="02010600040101010101" pitchFamily="2" charset="-122"/>
                      </a:endParaRPr>
                    </a:p>
                  </p:txBody>
                </p:sp>
                <p:sp>
                  <p:nvSpPr>
                    <p:cNvPr id="94" name="矩形 93"/>
                    <p:cNvSpPr/>
                    <p:nvPr/>
                  </p:nvSpPr>
                  <p:spPr>
                    <a:xfrm>
                      <a:off x="2452404" y="3159655"/>
                      <a:ext cx="2806761" cy="8717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p>
                      <a:pPr>
                        <a:lnSpc>
                          <a:spcPct val="130000"/>
                        </a:lnSpc>
                      </a:pPr>
                      <a:r>
                        <a:rPr kumimoji="1" lang="en-US" altLang="zh-CN" sz="1000" dirty="0">
                          <a:solidFill>
                            <a:schemeClr val="tx1"/>
                          </a:solidFill>
                          <a:latin typeface="Arial" panose="020B0604020202090204" pitchFamily="34" charset="0"/>
                          <a:ea typeface="华文楷体" panose="02010600040101010101" pitchFamily="2" charset="-122"/>
                        </a:rPr>
                        <a:t>Theme color makes PPT more convenient to change. Adjust the spacing to adapt to Chinese typesetting, use the reference line in PPT……</a:t>
                      </a:r>
                      <a:endParaRPr kumimoji="1" lang="en-US" altLang="zh-CN" sz="1000" dirty="0">
                        <a:solidFill>
                          <a:schemeClr val="tx1"/>
                        </a:solidFill>
                        <a:latin typeface="Arial" panose="020B0604020202090204" pitchFamily="34" charset="0"/>
                        <a:ea typeface="华文楷体" panose="02010600040101010101" pitchFamily="2" charset="-122"/>
                      </a:endParaRPr>
                    </a:p>
                  </p:txBody>
                </p:sp>
              </p:grpSp>
              <p:sp>
                <p:nvSpPr>
                  <p:cNvPr id="92" name="文本框 91"/>
                  <p:cNvSpPr txBox="1"/>
                  <p:nvPr/>
                </p:nvSpPr>
                <p:spPr>
                  <a:xfrm>
                    <a:off x="10551249" y="4180647"/>
                    <a:ext cx="540000" cy="540000"/>
                  </a:xfrm>
                  <a:prstGeom prst="ellipse">
                    <a:avLst/>
                  </a:prstGeom>
                  <a:solidFill>
                    <a:schemeClr val="accent4"/>
                  </a:solidFill>
                </p:spPr>
                <p:txBody>
                  <a:bodyPr wrap="none" lIns="108000" tIns="108000" rIns="108000" bIns="108000" rtlCol="0" anchor="ctr" anchorCtr="0">
                    <a:noAutofit/>
                  </a:bodyPr>
                  <a:lstStyle>
                    <a:defPPr>
                      <a:defRPr lang="zh-CN"/>
                    </a:defPPr>
                    <a:lvl1pPr algn="ctr">
                      <a:defRPr kumimoji="1" sz="2000" b="1">
                        <a:solidFill>
                          <a:srgbClr val="FFFFFF"/>
                        </a:solidFill>
                      </a:defRPr>
                    </a:lvl1pPr>
                  </a:lstStyle>
                  <a:p>
                    <a:r>
                      <a:rPr lang="en-US" altLang="zh-CN" dirty="0">
                        <a:latin typeface="Arial" panose="020B0604020202090204" pitchFamily="34" charset="0"/>
                        <a:ea typeface="华文楷体" panose="02010600040101010101" pitchFamily="2" charset="-122"/>
                      </a:rPr>
                      <a:t>01</a:t>
                    </a:r>
                    <a:endParaRPr lang="zh-CN" altLang="en-US" dirty="0">
                      <a:latin typeface="Arial" panose="020B0604020202090204" pitchFamily="34" charset="0"/>
                      <a:ea typeface="华文楷体" panose="02010600040101010101" pitchFamily="2" charset="-122"/>
                    </a:endParaRPr>
                  </a:p>
                </p:txBody>
              </p:sp>
            </p:grpSp>
          </p:grpSp>
        </p:grpSp>
        <p:grpSp>
          <p:nvGrpSpPr>
            <p:cNvPr id="95" name="组合 94"/>
            <p:cNvGrpSpPr/>
            <p:nvPr/>
          </p:nvGrpSpPr>
          <p:grpSpPr>
            <a:xfrm>
              <a:off x="647868" y="3653870"/>
              <a:ext cx="3596467" cy="2010101"/>
              <a:chOff x="6359159" y="1130300"/>
              <a:chExt cx="3596467" cy="2010101"/>
            </a:xfrm>
          </p:grpSpPr>
          <p:sp>
            <p:nvSpPr>
              <p:cNvPr id="96" name="矩形: 圆角 95"/>
              <p:cNvSpPr/>
              <p:nvPr/>
            </p:nvSpPr>
            <p:spPr>
              <a:xfrm>
                <a:off x="6439915" y="1228604"/>
                <a:ext cx="3317988" cy="1911797"/>
              </a:xfrm>
              <a:prstGeom prst="roundRect">
                <a:avLst>
                  <a:gd name="adj" fmla="val 0"/>
                </a:avLst>
              </a:prstGeom>
              <a:solidFill>
                <a:schemeClr val="accent4"/>
              </a:solidFill>
              <a:ln w="6055" cap="flat">
                <a:noFill/>
                <a:prstDash val="solid"/>
                <a:miter/>
              </a:ln>
            </p:spPr>
            <p:txBody>
              <a:bodyPr rtlCol="0" anchor="ctr"/>
              <a:lstStyle/>
              <a:p>
                <a:endParaRPr lang="zh-CN" altLang="en-US"/>
              </a:p>
            </p:txBody>
          </p:sp>
          <p:grpSp>
            <p:nvGrpSpPr>
              <p:cNvPr id="97" name="组合 96"/>
              <p:cNvGrpSpPr/>
              <p:nvPr/>
            </p:nvGrpSpPr>
            <p:grpSpPr>
              <a:xfrm>
                <a:off x="6359159" y="1130300"/>
                <a:ext cx="3596467" cy="1911797"/>
                <a:chOff x="7628968" y="3410174"/>
                <a:chExt cx="3596467" cy="1911797"/>
              </a:xfrm>
            </p:grpSpPr>
            <p:sp>
              <p:nvSpPr>
                <p:cNvPr id="98" name="矩形: 圆角 97"/>
                <p:cNvSpPr/>
                <p:nvPr/>
              </p:nvSpPr>
              <p:spPr>
                <a:xfrm>
                  <a:off x="7628968" y="3410174"/>
                  <a:ext cx="3317988" cy="1911797"/>
                </a:xfrm>
                <a:prstGeom prst="roundRect">
                  <a:avLst>
                    <a:gd name="adj" fmla="val 0"/>
                  </a:avLst>
                </a:prstGeom>
                <a:solidFill>
                  <a:schemeClr val="bg1"/>
                </a:solidFill>
                <a:ln w="25400" cap="flat">
                  <a:solidFill>
                    <a:schemeClr val="accent4"/>
                  </a:solidFill>
                  <a:prstDash val="solid"/>
                  <a:miter/>
                </a:ln>
              </p:spPr>
              <p:txBody>
                <a:bodyPr rtlCol="0" anchor="ctr"/>
                <a:lstStyle/>
                <a:p>
                  <a:endParaRPr lang="zh-CN" altLang="en-US"/>
                </a:p>
              </p:txBody>
            </p:sp>
            <p:grpSp>
              <p:nvGrpSpPr>
                <p:cNvPr id="99" name="组合 98"/>
                <p:cNvGrpSpPr/>
                <p:nvPr/>
              </p:nvGrpSpPr>
              <p:grpSpPr>
                <a:xfrm>
                  <a:off x="7884582" y="3750973"/>
                  <a:ext cx="3340853" cy="1216167"/>
                  <a:chOff x="7750396" y="3766162"/>
                  <a:chExt cx="3340853" cy="1216167"/>
                </a:xfrm>
              </p:grpSpPr>
              <p:grpSp>
                <p:nvGrpSpPr>
                  <p:cNvPr id="100" name="组合 99"/>
                  <p:cNvGrpSpPr/>
                  <p:nvPr/>
                </p:nvGrpSpPr>
                <p:grpSpPr>
                  <a:xfrm>
                    <a:off x="7750396" y="3766162"/>
                    <a:ext cx="2806761" cy="1216167"/>
                    <a:chOff x="2452404" y="2815201"/>
                    <a:chExt cx="2806761" cy="1216167"/>
                  </a:xfrm>
                </p:grpSpPr>
                <p:sp>
                  <p:nvSpPr>
                    <p:cNvPr id="102" name="矩形 101"/>
                    <p:cNvSpPr/>
                    <p:nvPr/>
                  </p:nvSpPr>
                  <p:spPr>
                    <a:xfrm>
                      <a:off x="2452404" y="2815201"/>
                      <a:ext cx="2806761"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spAutoFit/>
                    </a:bodyPr>
                    <a:lstStyle/>
                    <a:p>
                      <a:r>
                        <a:rPr kumimoji="1" lang="en-US" altLang="zh-CN" sz="1600" b="1" dirty="0">
                          <a:solidFill>
                            <a:schemeClr val="tx1"/>
                          </a:solidFill>
                          <a:latin typeface="Arial" panose="020B0604020202090204" pitchFamily="34" charset="0"/>
                          <a:ea typeface="华文楷体" panose="02010600040101010101" pitchFamily="2" charset="-122"/>
                        </a:rPr>
                        <a:t>Supporting text here.</a:t>
                      </a:r>
                      <a:endParaRPr kumimoji="1" lang="en-US" altLang="zh-CN" sz="1600" b="1" dirty="0">
                        <a:solidFill>
                          <a:schemeClr val="tx1"/>
                        </a:solidFill>
                        <a:latin typeface="Arial" panose="020B0604020202090204" pitchFamily="34" charset="0"/>
                        <a:ea typeface="华文楷体" panose="02010600040101010101" pitchFamily="2" charset="-122"/>
                      </a:endParaRPr>
                    </a:p>
                  </p:txBody>
                </p:sp>
                <p:sp>
                  <p:nvSpPr>
                    <p:cNvPr id="103" name="矩形 102"/>
                    <p:cNvSpPr/>
                    <p:nvPr/>
                  </p:nvSpPr>
                  <p:spPr>
                    <a:xfrm>
                      <a:off x="2452404" y="3159655"/>
                      <a:ext cx="2806761" cy="8717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p>
                      <a:pPr>
                        <a:lnSpc>
                          <a:spcPct val="130000"/>
                        </a:lnSpc>
                      </a:pPr>
                      <a:r>
                        <a:rPr kumimoji="1" lang="en-US" altLang="zh-CN" sz="1000" dirty="0">
                          <a:solidFill>
                            <a:schemeClr val="tx1"/>
                          </a:solidFill>
                          <a:latin typeface="Arial" panose="020B0604020202090204" pitchFamily="34" charset="0"/>
                          <a:ea typeface="华文楷体" panose="02010600040101010101" pitchFamily="2" charset="-122"/>
                        </a:rPr>
                        <a:t>Theme color makes PPT more convenient to change. Adjust the spacing to adapt to Chinese typesetting, use the reference line in PPT……</a:t>
                      </a:r>
                      <a:endParaRPr kumimoji="1" lang="en-US" altLang="zh-CN" sz="1000" dirty="0">
                        <a:solidFill>
                          <a:schemeClr val="tx1"/>
                        </a:solidFill>
                        <a:latin typeface="Arial" panose="020B0604020202090204" pitchFamily="34" charset="0"/>
                        <a:ea typeface="华文楷体" panose="02010600040101010101" pitchFamily="2" charset="-122"/>
                      </a:endParaRPr>
                    </a:p>
                  </p:txBody>
                </p:sp>
              </p:grpSp>
              <p:sp>
                <p:nvSpPr>
                  <p:cNvPr id="101" name="文本框 100"/>
                  <p:cNvSpPr txBox="1"/>
                  <p:nvPr/>
                </p:nvSpPr>
                <p:spPr>
                  <a:xfrm>
                    <a:off x="10551249" y="4180647"/>
                    <a:ext cx="540000" cy="540000"/>
                  </a:xfrm>
                  <a:prstGeom prst="ellipse">
                    <a:avLst/>
                  </a:prstGeom>
                  <a:solidFill>
                    <a:schemeClr val="accent4"/>
                  </a:solidFill>
                </p:spPr>
                <p:txBody>
                  <a:bodyPr wrap="none" lIns="108000" tIns="108000" rIns="108000" bIns="108000" rtlCol="0" anchor="ctr" anchorCtr="0">
                    <a:noAutofit/>
                  </a:bodyPr>
                  <a:lstStyle>
                    <a:defPPr>
                      <a:defRPr lang="zh-CN"/>
                    </a:defPPr>
                    <a:lvl1pPr algn="ctr">
                      <a:defRPr kumimoji="1" sz="2000" b="1">
                        <a:solidFill>
                          <a:srgbClr val="FFFFFF"/>
                        </a:solidFill>
                      </a:defRPr>
                    </a:lvl1pPr>
                  </a:lstStyle>
                  <a:p>
                    <a:r>
                      <a:rPr lang="en-US" altLang="zh-CN" dirty="0">
                        <a:latin typeface="Arial" panose="020B0604020202090204" pitchFamily="34" charset="0"/>
                        <a:ea typeface="华文楷体" panose="02010600040101010101" pitchFamily="2" charset="-122"/>
                      </a:rPr>
                      <a:t>03</a:t>
                    </a:r>
                    <a:endParaRPr lang="zh-CN" altLang="en-US" dirty="0">
                      <a:latin typeface="Arial" panose="020B0604020202090204" pitchFamily="34" charset="0"/>
                      <a:ea typeface="华文楷体" panose="02010600040101010101" pitchFamily="2" charset="-122"/>
                    </a:endParaRPr>
                  </a:p>
                </p:txBody>
              </p:sp>
            </p:grpSp>
          </p:grpSp>
        </p:grpSp>
        <p:sp>
          <p:nvSpPr>
            <p:cNvPr id="104" name="任意多边形: 形状 103"/>
            <p:cNvSpPr/>
            <p:nvPr/>
          </p:nvSpPr>
          <p:spPr>
            <a:xfrm>
              <a:off x="6656187" y="2636165"/>
              <a:ext cx="355599" cy="432903"/>
            </a:xfrm>
            <a:custGeom>
              <a:avLst/>
              <a:gdLst>
                <a:gd name="connsiteX0" fmla="*/ 284197 w 438150"/>
                <a:gd name="connsiteY0" fmla="*/ 621 h 533400"/>
                <a:gd name="connsiteX1" fmla="*/ 310867 w 438150"/>
                <a:gd name="connsiteY1" fmla="*/ 12051 h 533400"/>
                <a:gd name="connsiteX2" fmla="*/ 310867 w 438150"/>
                <a:gd name="connsiteY2" fmla="*/ 12051 h 533400"/>
                <a:gd name="connsiteX3" fmla="*/ 427072 w 438150"/>
                <a:gd name="connsiteY3" fmla="*/ 128256 h 533400"/>
                <a:gd name="connsiteX4" fmla="*/ 438502 w 438150"/>
                <a:gd name="connsiteY4" fmla="*/ 154926 h 533400"/>
                <a:gd name="connsiteX5" fmla="*/ 438502 w 438150"/>
                <a:gd name="connsiteY5" fmla="*/ 154926 h 533400"/>
                <a:gd name="connsiteX6" fmla="*/ 438502 w 438150"/>
                <a:gd name="connsiteY6" fmla="*/ 495921 h 533400"/>
                <a:gd name="connsiteX7" fmla="*/ 400402 w 438150"/>
                <a:gd name="connsiteY7" fmla="*/ 534021 h 533400"/>
                <a:gd name="connsiteX8" fmla="*/ 400402 w 438150"/>
                <a:gd name="connsiteY8" fmla="*/ 534021 h 533400"/>
                <a:gd name="connsiteX9" fmla="*/ 38452 w 438150"/>
                <a:gd name="connsiteY9" fmla="*/ 534021 h 533400"/>
                <a:gd name="connsiteX10" fmla="*/ 352 w 438150"/>
                <a:gd name="connsiteY10" fmla="*/ 495921 h 533400"/>
                <a:gd name="connsiteX11" fmla="*/ 352 w 438150"/>
                <a:gd name="connsiteY11" fmla="*/ 495921 h 533400"/>
                <a:gd name="connsiteX12" fmla="*/ 352 w 438150"/>
                <a:gd name="connsiteY12" fmla="*/ 38721 h 533400"/>
                <a:gd name="connsiteX13" fmla="*/ 38452 w 438150"/>
                <a:gd name="connsiteY13" fmla="*/ 621 h 533400"/>
                <a:gd name="connsiteX14" fmla="*/ 38452 w 438150"/>
                <a:gd name="connsiteY14" fmla="*/ 621 h 533400"/>
                <a:gd name="connsiteX15" fmla="*/ 284197 w 438150"/>
                <a:gd name="connsiteY15" fmla="*/ 621 h 533400"/>
                <a:gd name="connsiteX16" fmla="*/ 284197 w 438150"/>
                <a:gd name="connsiteY16" fmla="*/ 19671 h 533400"/>
                <a:gd name="connsiteX17" fmla="*/ 38452 w 438150"/>
                <a:gd name="connsiteY17" fmla="*/ 19671 h 533400"/>
                <a:gd name="connsiteX18" fmla="*/ 19402 w 438150"/>
                <a:gd name="connsiteY18" fmla="*/ 38721 h 533400"/>
                <a:gd name="connsiteX19" fmla="*/ 19402 w 438150"/>
                <a:gd name="connsiteY19" fmla="*/ 38721 h 533400"/>
                <a:gd name="connsiteX20" fmla="*/ 19402 w 438150"/>
                <a:gd name="connsiteY20" fmla="*/ 495921 h 533400"/>
                <a:gd name="connsiteX21" fmla="*/ 38452 w 438150"/>
                <a:gd name="connsiteY21" fmla="*/ 514971 h 533400"/>
                <a:gd name="connsiteX22" fmla="*/ 38452 w 438150"/>
                <a:gd name="connsiteY22" fmla="*/ 514971 h 533400"/>
                <a:gd name="connsiteX23" fmla="*/ 400402 w 438150"/>
                <a:gd name="connsiteY23" fmla="*/ 514971 h 533400"/>
                <a:gd name="connsiteX24" fmla="*/ 419452 w 438150"/>
                <a:gd name="connsiteY24" fmla="*/ 495921 h 533400"/>
                <a:gd name="connsiteX25" fmla="*/ 419452 w 438150"/>
                <a:gd name="connsiteY25" fmla="*/ 495921 h 533400"/>
                <a:gd name="connsiteX26" fmla="*/ 419452 w 438150"/>
                <a:gd name="connsiteY26" fmla="*/ 154926 h 533400"/>
                <a:gd name="connsiteX27" fmla="*/ 419452 w 438150"/>
                <a:gd name="connsiteY27" fmla="*/ 153021 h 533400"/>
                <a:gd name="connsiteX28" fmla="*/ 314677 w 438150"/>
                <a:gd name="connsiteY28" fmla="*/ 153021 h 533400"/>
                <a:gd name="connsiteX29" fmla="*/ 286102 w 438150"/>
                <a:gd name="connsiteY29" fmla="*/ 126351 h 533400"/>
                <a:gd name="connsiteX30" fmla="*/ 286102 w 438150"/>
                <a:gd name="connsiteY30" fmla="*/ 124446 h 533400"/>
                <a:gd name="connsiteX31" fmla="*/ 286102 w 438150"/>
                <a:gd name="connsiteY31" fmla="*/ 19671 h 533400"/>
                <a:gd name="connsiteX32" fmla="*/ 284197 w 438150"/>
                <a:gd name="connsiteY32" fmla="*/ 19671 h 533400"/>
                <a:gd name="connsiteX33" fmla="*/ 284197 w 438150"/>
                <a:gd name="connsiteY33" fmla="*/ 19671 h 533400"/>
                <a:gd name="connsiteX34" fmla="*/ 248002 w 438150"/>
                <a:gd name="connsiteY34" fmla="*/ 200646 h 533400"/>
                <a:gd name="connsiteX35" fmla="*/ 305152 w 438150"/>
                <a:gd name="connsiteY35" fmla="*/ 257796 h 533400"/>
                <a:gd name="connsiteX36" fmla="*/ 248002 w 438150"/>
                <a:gd name="connsiteY36" fmla="*/ 314946 h 533400"/>
                <a:gd name="connsiteX37" fmla="*/ 248002 w 438150"/>
                <a:gd name="connsiteY37" fmla="*/ 314946 h 533400"/>
                <a:gd name="connsiteX38" fmla="*/ 171802 w 438150"/>
                <a:gd name="connsiteY38" fmla="*/ 314946 h 533400"/>
                <a:gd name="connsiteX39" fmla="*/ 171802 w 438150"/>
                <a:gd name="connsiteY39" fmla="*/ 410196 h 533400"/>
                <a:gd name="connsiteX40" fmla="*/ 152752 w 438150"/>
                <a:gd name="connsiteY40" fmla="*/ 410196 h 533400"/>
                <a:gd name="connsiteX41" fmla="*/ 152752 w 438150"/>
                <a:gd name="connsiteY41" fmla="*/ 200646 h 533400"/>
                <a:gd name="connsiteX42" fmla="*/ 248002 w 438150"/>
                <a:gd name="connsiteY42" fmla="*/ 200646 h 533400"/>
                <a:gd name="connsiteX43" fmla="*/ 248002 w 438150"/>
                <a:gd name="connsiteY43" fmla="*/ 219696 h 533400"/>
                <a:gd name="connsiteX44" fmla="*/ 171802 w 438150"/>
                <a:gd name="connsiteY44" fmla="*/ 219696 h 533400"/>
                <a:gd name="connsiteX45" fmla="*/ 171802 w 438150"/>
                <a:gd name="connsiteY45" fmla="*/ 295896 h 533400"/>
                <a:gd name="connsiteX46" fmla="*/ 248002 w 438150"/>
                <a:gd name="connsiteY46" fmla="*/ 295896 h 533400"/>
                <a:gd name="connsiteX47" fmla="*/ 286102 w 438150"/>
                <a:gd name="connsiteY47" fmla="*/ 257796 h 533400"/>
                <a:gd name="connsiteX48" fmla="*/ 248002 w 438150"/>
                <a:gd name="connsiteY48" fmla="*/ 219696 h 533400"/>
                <a:gd name="connsiteX49" fmla="*/ 248002 w 438150"/>
                <a:gd name="connsiteY49" fmla="*/ 219696 h 533400"/>
                <a:gd name="connsiteX50" fmla="*/ 305152 w 438150"/>
                <a:gd name="connsiteY50" fmla="*/ 33006 h 533400"/>
                <a:gd name="connsiteX51" fmla="*/ 305152 w 438150"/>
                <a:gd name="connsiteY51" fmla="*/ 124446 h 533400"/>
                <a:gd name="connsiteX52" fmla="*/ 313724 w 438150"/>
                <a:gd name="connsiteY52" fmla="*/ 133971 h 533400"/>
                <a:gd name="connsiteX53" fmla="*/ 314677 w 438150"/>
                <a:gd name="connsiteY53" fmla="*/ 133971 h 533400"/>
                <a:gd name="connsiteX54" fmla="*/ 406117 w 438150"/>
                <a:gd name="connsiteY54" fmla="*/ 133971 h 533400"/>
                <a:gd name="connsiteX55" fmla="*/ 305152 w 438150"/>
                <a:gd name="connsiteY55" fmla="*/ 33006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438150" h="533400">
                  <a:moveTo>
                    <a:pt x="284197" y="621"/>
                  </a:moveTo>
                  <a:cubicBezTo>
                    <a:pt x="294674" y="621"/>
                    <a:pt x="304199" y="4431"/>
                    <a:pt x="310867" y="12051"/>
                  </a:cubicBezTo>
                  <a:lnTo>
                    <a:pt x="310867" y="12051"/>
                  </a:lnTo>
                  <a:lnTo>
                    <a:pt x="427072" y="128256"/>
                  </a:lnTo>
                  <a:cubicBezTo>
                    <a:pt x="434692" y="135876"/>
                    <a:pt x="438502" y="145401"/>
                    <a:pt x="438502" y="154926"/>
                  </a:cubicBezTo>
                  <a:lnTo>
                    <a:pt x="438502" y="154926"/>
                  </a:lnTo>
                  <a:lnTo>
                    <a:pt x="438502" y="495921"/>
                  </a:lnTo>
                  <a:cubicBezTo>
                    <a:pt x="438502" y="516876"/>
                    <a:pt x="421357" y="534021"/>
                    <a:pt x="400402" y="534021"/>
                  </a:cubicBezTo>
                  <a:lnTo>
                    <a:pt x="400402" y="534021"/>
                  </a:lnTo>
                  <a:lnTo>
                    <a:pt x="38452" y="534021"/>
                  </a:lnTo>
                  <a:cubicBezTo>
                    <a:pt x="17497" y="534021"/>
                    <a:pt x="352" y="516876"/>
                    <a:pt x="352" y="495921"/>
                  </a:cubicBezTo>
                  <a:lnTo>
                    <a:pt x="352" y="495921"/>
                  </a:lnTo>
                  <a:lnTo>
                    <a:pt x="352" y="38721"/>
                  </a:lnTo>
                  <a:cubicBezTo>
                    <a:pt x="352" y="17766"/>
                    <a:pt x="17497" y="621"/>
                    <a:pt x="38452" y="621"/>
                  </a:cubicBezTo>
                  <a:lnTo>
                    <a:pt x="38452" y="621"/>
                  </a:lnTo>
                  <a:lnTo>
                    <a:pt x="284197" y="621"/>
                  </a:lnTo>
                  <a:close/>
                  <a:moveTo>
                    <a:pt x="284197" y="19671"/>
                  </a:moveTo>
                  <a:lnTo>
                    <a:pt x="38452" y="19671"/>
                  </a:lnTo>
                  <a:cubicBezTo>
                    <a:pt x="27974" y="19671"/>
                    <a:pt x="19402" y="28244"/>
                    <a:pt x="19402" y="38721"/>
                  </a:cubicBezTo>
                  <a:lnTo>
                    <a:pt x="19402" y="38721"/>
                  </a:lnTo>
                  <a:lnTo>
                    <a:pt x="19402" y="495921"/>
                  </a:lnTo>
                  <a:cubicBezTo>
                    <a:pt x="19402" y="506399"/>
                    <a:pt x="27974" y="514971"/>
                    <a:pt x="38452" y="514971"/>
                  </a:cubicBezTo>
                  <a:lnTo>
                    <a:pt x="38452" y="514971"/>
                  </a:lnTo>
                  <a:lnTo>
                    <a:pt x="400402" y="514971"/>
                  </a:lnTo>
                  <a:cubicBezTo>
                    <a:pt x="410880" y="514971"/>
                    <a:pt x="419452" y="506399"/>
                    <a:pt x="419452" y="495921"/>
                  </a:cubicBezTo>
                  <a:lnTo>
                    <a:pt x="419452" y="495921"/>
                  </a:lnTo>
                  <a:lnTo>
                    <a:pt x="419452" y="154926"/>
                  </a:lnTo>
                  <a:cubicBezTo>
                    <a:pt x="419452" y="153974"/>
                    <a:pt x="419452" y="153021"/>
                    <a:pt x="419452" y="153021"/>
                  </a:cubicBezTo>
                  <a:lnTo>
                    <a:pt x="314677" y="153021"/>
                  </a:lnTo>
                  <a:cubicBezTo>
                    <a:pt x="299437" y="153021"/>
                    <a:pt x="287055" y="141591"/>
                    <a:pt x="286102" y="126351"/>
                  </a:cubicBezTo>
                  <a:lnTo>
                    <a:pt x="286102" y="124446"/>
                  </a:lnTo>
                  <a:lnTo>
                    <a:pt x="286102" y="19671"/>
                  </a:lnTo>
                  <a:cubicBezTo>
                    <a:pt x="285149" y="19671"/>
                    <a:pt x="284197" y="19671"/>
                    <a:pt x="284197" y="19671"/>
                  </a:cubicBezTo>
                  <a:lnTo>
                    <a:pt x="284197" y="19671"/>
                  </a:lnTo>
                  <a:close/>
                  <a:moveTo>
                    <a:pt x="248002" y="200646"/>
                  </a:moveTo>
                  <a:cubicBezTo>
                    <a:pt x="279434" y="200646"/>
                    <a:pt x="305152" y="226364"/>
                    <a:pt x="305152" y="257796"/>
                  </a:cubicBezTo>
                  <a:cubicBezTo>
                    <a:pt x="305152" y="289229"/>
                    <a:pt x="279434" y="314946"/>
                    <a:pt x="248002" y="314946"/>
                  </a:cubicBezTo>
                  <a:lnTo>
                    <a:pt x="248002" y="314946"/>
                  </a:lnTo>
                  <a:lnTo>
                    <a:pt x="171802" y="314946"/>
                  </a:lnTo>
                  <a:lnTo>
                    <a:pt x="171802" y="410196"/>
                  </a:lnTo>
                  <a:lnTo>
                    <a:pt x="152752" y="410196"/>
                  </a:lnTo>
                  <a:lnTo>
                    <a:pt x="152752" y="200646"/>
                  </a:lnTo>
                  <a:lnTo>
                    <a:pt x="248002" y="200646"/>
                  </a:lnTo>
                  <a:close/>
                  <a:moveTo>
                    <a:pt x="248002" y="219696"/>
                  </a:moveTo>
                  <a:lnTo>
                    <a:pt x="171802" y="219696"/>
                  </a:lnTo>
                  <a:lnTo>
                    <a:pt x="171802" y="295896"/>
                  </a:lnTo>
                  <a:lnTo>
                    <a:pt x="248002" y="295896"/>
                  </a:lnTo>
                  <a:cubicBezTo>
                    <a:pt x="268957" y="295896"/>
                    <a:pt x="286102" y="278751"/>
                    <a:pt x="286102" y="257796"/>
                  </a:cubicBezTo>
                  <a:cubicBezTo>
                    <a:pt x="286102" y="236841"/>
                    <a:pt x="268957" y="219696"/>
                    <a:pt x="248002" y="219696"/>
                  </a:cubicBezTo>
                  <a:lnTo>
                    <a:pt x="248002" y="219696"/>
                  </a:lnTo>
                  <a:close/>
                  <a:moveTo>
                    <a:pt x="305152" y="33006"/>
                  </a:moveTo>
                  <a:lnTo>
                    <a:pt x="305152" y="124446"/>
                  </a:lnTo>
                  <a:cubicBezTo>
                    <a:pt x="305152" y="129209"/>
                    <a:pt x="308962" y="133019"/>
                    <a:pt x="313724" y="133971"/>
                  </a:cubicBezTo>
                  <a:lnTo>
                    <a:pt x="314677" y="133971"/>
                  </a:lnTo>
                  <a:lnTo>
                    <a:pt x="406117" y="133971"/>
                  </a:lnTo>
                  <a:lnTo>
                    <a:pt x="305152" y="33006"/>
                  </a:lnTo>
                  <a:close/>
                </a:path>
              </a:pathLst>
            </a:custGeom>
            <a:solidFill>
              <a:schemeClr val="accent4"/>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sp>
          <p:nvSpPr>
            <p:cNvPr id="105" name="任意多边形: 形状 104"/>
            <p:cNvSpPr/>
            <p:nvPr/>
          </p:nvSpPr>
          <p:spPr>
            <a:xfrm>
              <a:off x="5126344" y="2636164"/>
              <a:ext cx="401981" cy="432903"/>
            </a:xfrm>
            <a:custGeom>
              <a:avLst/>
              <a:gdLst>
                <a:gd name="connsiteX0" fmla="*/ 362430 w 495300"/>
                <a:gd name="connsiteY0" fmla="*/ 621 h 533400"/>
                <a:gd name="connsiteX1" fmla="*/ 400530 w 495300"/>
                <a:gd name="connsiteY1" fmla="*/ 38721 h 533400"/>
                <a:gd name="connsiteX2" fmla="*/ 400530 w 495300"/>
                <a:gd name="connsiteY2" fmla="*/ 38721 h 533400"/>
                <a:gd name="connsiteX3" fmla="*/ 400530 w 495300"/>
                <a:gd name="connsiteY3" fmla="*/ 124446 h 533400"/>
                <a:gd name="connsiteX4" fmla="*/ 362430 w 495300"/>
                <a:gd name="connsiteY4" fmla="*/ 162546 h 533400"/>
                <a:gd name="connsiteX5" fmla="*/ 362430 w 495300"/>
                <a:gd name="connsiteY5" fmla="*/ 162546 h 533400"/>
                <a:gd name="connsiteX6" fmla="*/ 257655 w 495300"/>
                <a:gd name="connsiteY6" fmla="*/ 162546 h 533400"/>
                <a:gd name="connsiteX7" fmla="*/ 257655 w 495300"/>
                <a:gd name="connsiteY7" fmla="*/ 295896 h 533400"/>
                <a:gd name="connsiteX8" fmla="*/ 419580 w 495300"/>
                <a:gd name="connsiteY8" fmla="*/ 295896 h 533400"/>
                <a:gd name="connsiteX9" fmla="*/ 457680 w 495300"/>
                <a:gd name="connsiteY9" fmla="*/ 332091 h 533400"/>
                <a:gd name="connsiteX10" fmla="*/ 457680 w 495300"/>
                <a:gd name="connsiteY10" fmla="*/ 333996 h 533400"/>
                <a:gd name="connsiteX11" fmla="*/ 457680 w 495300"/>
                <a:gd name="connsiteY11" fmla="*/ 438771 h 533400"/>
                <a:gd name="connsiteX12" fmla="*/ 467205 w 495300"/>
                <a:gd name="connsiteY12" fmla="*/ 438771 h 533400"/>
                <a:gd name="connsiteX13" fmla="*/ 495780 w 495300"/>
                <a:gd name="connsiteY13" fmla="*/ 465441 h 533400"/>
                <a:gd name="connsiteX14" fmla="*/ 495780 w 495300"/>
                <a:gd name="connsiteY14" fmla="*/ 467346 h 533400"/>
                <a:gd name="connsiteX15" fmla="*/ 495780 w 495300"/>
                <a:gd name="connsiteY15" fmla="*/ 505446 h 533400"/>
                <a:gd name="connsiteX16" fmla="*/ 467205 w 495300"/>
                <a:gd name="connsiteY16" fmla="*/ 534021 h 533400"/>
                <a:gd name="connsiteX17" fmla="*/ 467205 w 495300"/>
                <a:gd name="connsiteY17" fmla="*/ 534021 h 533400"/>
                <a:gd name="connsiteX18" fmla="*/ 429105 w 495300"/>
                <a:gd name="connsiteY18" fmla="*/ 534021 h 533400"/>
                <a:gd name="connsiteX19" fmla="*/ 400530 w 495300"/>
                <a:gd name="connsiteY19" fmla="*/ 505446 h 533400"/>
                <a:gd name="connsiteX20" fmla="*/ 400530 w 495300"/>
                <a:gd name="connsiteY20" fmla="*/ 505446 h 533400"/>
                <a:gd name="connsiteX21" fmla="*/ 400530 w 495300"/>
                <a:gd name="connsiteY21" fmla="*/ 467346 h 533400"/>
                <a:gd name="connsiteX22" fmla="*/ 429105 w 495300"/>
                <a:gd name="connsiteY22" fmla="*/ 438771 h 533400"/>
                <a:gd name="connsiteX23" fmla="*/ 429105 w 495300"/>
                <a:gd name="connsiteY23" fmla="*/ 438771 h 533400"/>
                <a:gd name="connsiteX24" fmla="*/ 438630 w 495300"/>
                <a:gd name="connsiteY24" fmla="*/ 438771 h 533400"/>
                <a:gd name="connsiteX25" fmla="*/ 438630 w 495300"/>
                <a:gd name="connsiteY25" fmla="*/ 333996 h 533400"/>
                <a:gd name="connsiteX26" fmla="*/ 420533 w 495300"/>
                <a:gd name="connsiteY26" fmla="*/ 314946 h 533400"/>
                <a:gd name="connsiteX27" fmla="*/ 419580 w 495300"/>
                <a:gd name="connsiteY27" fmla="*/ 314946 h 533400"/>
                <a:gd name="connsiteX28" fmla="*/ 257655 w 495300"/>
                <a:gd name="connsiteY28" fmla="*/ 314946 h 533400"/>
                <a:gd name="connsiteX29" fmla="*/ 257655 w 495300"/>
                <a:gd name="connsiteY29" fmla="*/ 438771 h 533400"/>
                <a:gd name="connsiteX30" fmla="*/ 267180 w 495300"/>
                <a:gd name="connsiteY30" fmla="*/ 438771 h 533400"/>
                <a:gd name="connsiteX31" fmla="*/ 295755 w 495300"/>
                <a:gd name="connsiteY31" fmla="*/ 465441 h 533400"/>
                <a:gd name="connsiteX32" fmla="*/ 295755 w 495300"/>
                <a:gd name="connsiteY32" fmla="*/ 467346 h 533400"/>
                <a:gd name="connsiteX33" fmla="*/ 295755 w 495300"/>
                <a:gd name="connsiteY33" fmla="*/ 505446 h 533400"/>
                <a:gd name="connsiteX34" fmla="*/ 267180 w 495300"/>
                <a:gd name="connsiteY34" fmla="*/ 534021 h 533400"/>
                <a:gd name="connsiteX35" fmla="*/ 267180 w 495300"/>
                <a:gd name="connsiteY35" fmla="*/ 534021 h 533400"/>
                <a:gd name="connsiteX36" fmla="*/ 229080 w 495300"/>
                <a:gd name="connsiteY36" fmla="*/ 534021 h 533400"/>
                <a:gd name="connsiteX37" fmla="*/ 200505 w 495300"/>
                <a:gd name="connsiteY37" fmla="*/ 505446 h 533400"/>
                <a:gd name="connsiteX38" fmla="*/ 200505 w 495300"/>
                <a:gd name="connsiteY38" fmla="*/ 505446 h 533400"/>
                <a:gd name="connsiteX39" fmla="*/ 200505 w 495300"/>
                <a:gd name="connsiteY39" fmla="*/ 467346 h 533400"/>
                <a:gd name="connsiteX40" fmla="*/ 229080 w 495300"/>
                <a:gd name="connsiteY40" fmla="*/ 438771 h 533400"/>
                <a:gd name="connsiteX41" fmla="*/ 229080 w 495300"/>
                <a:gd name="connsiteY41" fmla="*/ 438771 h 533400"/>
                <a:gd name="connsiteX42" fmla="*/ 238605 w 495300"/>
                <a:gd name="connsiteY42" fmla="*/ 438771 h 533400"/>
                <a:gd name="connsiteX43" fmla="*/ 238605 w 495300"/>
                <a:gd name="connsiteY43" fmla="*/ 314946 h 533400"/>
                <a:gd name="connsiteX44" fmla="*/ 76680 w 495300"/>
                <a:gd name="connsiteY44" fmla="*/ 314946 h 533400"/>
                <a:gd name="connsiteX45" fmla="*/ 57630 w 495300"/>
                <a:gd name="connsiteY45" fmla="*/ 333044 h 533400"/>
                <a:gd name="connsiteX46" fmla="*/ 57630 w 495300"/>
                <a:gd name="connsiteY46" fmla="*/ 333996 h 533400"/>
                <a:gd name="connsiteX47" fmla="*/ 57630 w 495300"/>
                <a:gd name="connsiteY47" fmla="*/ 438771 h 533400"/>
                <a:gd name="connsiteX48" fmla="*/ 67155 w 495300"/>
                <a:gd name="connsiteY48" fmla="*/ 438771 h 533400"/>
                <a:gd name="connsiteX49" fmla="*/ 95730 w 495300"/>
                <a:gd name="connsiteY49" fmla="*/ 465441 h 533400"/>
                <a:gd name="connsiteX50" fmla="*/ 95730 w 495300"/>
                <a:gd name="connsiteY50" fmla="*/ 467346 h 533400"/>
                <a:gd name="connsiteX51" fmla="*/ 95730 w 495300"/>
                <a:gd name="connsiteY51" fmla="*/ 505446 h 533400"/>
                <a:gd name="connsiteX52" fmla="*/ 67155 w 495300"/>
                <a:gd name="connsiteY52" fmla="*/ 534021 h 533400"/>
                <a:gd name="connsiteX53" fmla="*/ 67155 w 495300"/>
                <a:gd name="connsiteY53" fmla="*/ 534021 h 533400"/>
                <a:gd name="connsiteX54" fmla="*/ 29055 w 495300"/>
                <a:gd name="connsiteY54" fmla="*/ 534021 h 533400"/>
                <a:gd name="connsiteX55" fmla="*/ 480 w 495300"/>
                <a:gd name="connsiteY55" fmla="*/ 505446 h 533400"/>
                <a:gd name="connsiteX56" fmla="*/ 480 w 495300"/>
                <a:gd name="connsiteY56" fmla="*/ 505446 h 533400"/>
                <a:gd name="connsiteX57" fmla="*/ 480 w 495300"/>
                <a:gd name="connsiteY57" fmla="*/ 467346 h 533400"/>
                <a:gd name="connsiteX58" fmla="*/ 29055 w 495300"/>
                <a:gd name="connsiteY58" fmla="*/ 438771 h 533400"/>
                <a:gd name="connsiteX59" fmla="*/ 29055 w 495300"/>
                <a:gd name="connsiteY59" fmla="*/ 438771 h 533400"/>
                <a:gd name="connsiteX60" fmla="*/ 38580 w 495300"/>
                <a:gd name="connsiteY60" fmla="*/ 438771 h 533400"/>
                <a:gd name="connsiteX61" fmla="*/ 38580 w 495300"/>
                <a:gd name="connsiteY61" fmla="*/ 333996 h 533400"/>
                <a:gd name="connsiteX62" fmla="*/ 74775 w 495300"/>
                <a:gd name="connsiteY62" fmla="*/ 295896 h 533400"/>
                <a:gd name="connsiteX63" fmla="*/ 76680 w 495300"/>
                <a:gd name="connsiteY63" fmla="*/ 295896 h 533400"/>
                <a:gd name="connsiteX64" fmla="*/ 238605 w 495300"/>
                <a:gd name="connsiteY64" fmla="*/ 295896 h 533400"/>
                <a:gd name="connsiteX65" fmla="*/ 238605 w 495300"/>
                <a:gd name="connsiteY65" fmla="*/ 162546 h 533400"/>
                <a:gd name="connsiteX66" fmla="*/ 133830 w 495300"/>
                <a:gd name="connsiteY66" fmla="*/ 162546 h 533400"/>
                <a:gd name="connsiteX67" fmla="*/ 95730 w 495300"/>
                <a:gd name="connsiteY67" fmla="*/ 126351 h 533400"/>
                <a:gd name="connsiteX68" fmla="*/ 95730 w 495300"/>
                <a:gd name="connsiteY68" fmla="*/ 124446 h 533400"/>
                <a:gd name="connsiteX69" fmla="*/ 95730 w 495300"/>
                <a:gd name="connsiteY69" fmla="*/ 38721 h 533400"/>
                <a:gd name="connsiteX70" fmla="*/ 133830 w 495300"/>
                <a:gd name="connsiteY70" fmla="*/ 621 h 533400"/>
                <a:gd name="connsiteX71" fmla="*/ 133830 w 495300"/>
                <a:gd name="connsiteY71" fmla="*/ 621 h 533400"/>
                <a:gd name="connsiteX72" fmla="*/ 362430 w 495300"/>
                <a:gd name="connsiteY72" fmla="*/ 621 h 533400"/>
                <a:gd name="connsiteX73" fmla="*/ 67155 w 495300"/>
                <a:gd name="connsiteY73" fmla="*/ 457821 h 533400"/>
                <a:gd name="connsiteX74" fmla="*/ 29055 w 495300"/>
                <a:gd name="connsiteY74" fmla="*/ 457821 h 533400"/>
                <a:gd name="connsiteX75" fmla="*/ 19530 w 495300"/>
                <a:gd name="connsiteY75" fmla="*/ 467346 h 533400"/>
                <a:gd name="connsiteX76" fmla="*/ 19530 w 495300"/>
                <a:gd name="connsiteY76" fmla="*/ 467346 h 533400"/>
                <a:gd name="connsiteX77" fmla="*/ 19530 w 495300"/>
                <a:gd name="connsiteY77" fmla="*/ 505446 h 533400"/>
                <a:gd name="connsiteX78" fmla="*/ 29055 w 495300"/>
                <a:gd name="connsiteY78" fmla="*/ 514971 h 533400"/>
                <a:gd name="connsiteX79" fmla="*/ 29055 w 495300"/>
                <a:gd name="connsiteY79" fmla="*/ 514971 h 533400"/>
                <a:gd name="connsiteX80" fmla="*/ 67155 w 495300"/>
                <a:gd name="connsiteY80" fmla="*/ 514971 h 533400"/>
                <a:gd name="connsiteX81" fmla="*/ 76680 w 495300"/>
                <a:gd name="connsiteY81" fmla="*/ 505446 h 533400"/>
                <a:gd name="connsiteX82" fmla="*/ 76680 w 495300"/>
                <a:gd name="connsiteY82" fmla="*/ 505446 h 533400"/>
                <a:gd name="connsiteX83" fmla="*/ 76680 w 495300"/>
                <a:gd name="connsiteY83" fmla="*/ 467346 h 533400"/>
                <a:gd name="connsiteX84" fmla="*/ 67155 w 495300"/>
                <a:gd name="connsiteY84" fmla="*/ 457821 h 533400"/>
                <a:gd name="connsiteX85" fmla="*/ 67155 w 495300"/>
                <a:gd name="connsiteY85" fmla="*/ 457821 h 533400"/>
                <a:gd name="connsiteX86" fmla="*/ 267180 w 495300"/>
                <a:gd name="connsiteY86" fmla="*/ 457821 h 533400"/>
                <a:gd name="connsiteX87" fmla="*/ 229080 w 495300"/>
                <a:gd name="connsiteY87" fmla="*/ 457821 h 533400"/>
                <a:gd name="connsiteX88" fmla="*/ 219555 w 495300"/>
                <a:gd name="connsiteY88" fmla="*/ 467346 h 533400"/>
                <a:gd name="connsiteX89" fmla="*/ 219555 w 495300"/>
                <a:gd name="connsiteY89" fmla="*/ 467346 h 533400"/>
                <a:gd name="connsiteX90" fmla="*/ 219555 w 495300"/>
                <a:gd name="connsiteY90" fmla="*/ 505446 h 533400"/>
                <a:gd name="connsiteX91" fmla="*/ 229080 w 495300"/>
                <a:gd name="connsiteY91" fmla="*/ 514971 h 533400"/>
                <a:gd name="connsiteX92" fmla="*/ 229080 w 495300"/>
                <a:gd name="connsiteY92" fmla="*/ 514971 h 533400"/>
                <a:gd name="connsiteX93" fmla="*/ 267180 w 495300"/>
                <a:gd name="connsiteY93" fmla="*/ 514971 h 533400"/>
                <a:gd name="connsiteX94" fmla="*/ 276705 w 495300"/>
                <a:gd name="connsiteY94" fmla="*/ 505446 h 533400"/>
                <a:gd name="connsiteX95" fmla="*/ 276705 w 495300"/>
                <a:gd name="connsiteY95" fmla="*/ 505446 h 533400"/>
                <a:gd name="connsiteX96" fmla="*/ 276705 w 495300"/>
                <a:gd name="connsiteY96" fmla="*/ 467346 h 533400"/>
                <a:gd name="connsiteX97" fmla="*/ 267180 w 495300"/>
                <a:gd name="connsiteY97" fmla="*/ 457821 h 533400"/>
                <a:gd name="connsiteX98" fmla="*/ 267180 w 495300"/>
                <a:gd name="connsiteY98" fmla="*/ 457821 h 533400"/>
                <a:gd name="connsiteX99" fmla="*/ 467205 w 495300"/>
                <a:gd name="connsiteY99" fmla="*/ 457821 h 533400"/>
                <a:gd name="connsiteX100" fmla="*/ 429105 w 495300"/>
                <a:gd name="connsiteY100" fmla="*/ 457821 h 533400"/>
                <a:gd name="connsiteX101" fmla="*/ 419580 w 495300"/>
                <a:gd name="connsiteY101" fmla="*/ 467346 h 533400"/>
                <a:gd name="connsiteX102" fmla="*/ 419580 w 495300"/>
                <a:gd name="connsiteY102" fmla="*/ 467346 h 533400"/>
                <a:gd name="connsiteX103" fmla="*/ 419580 w 495300"/>
                <a:gd name="connsiteY103" fmla="*/ 505446 h 533400"/>
                <a:gd name="connsiteX104" fmla="*/ 429105 w 495300"/>
                <a:gd name="connsiteY104" fmla="*/ 514971 h 533400"/>
                <a:gd name="connsiteX105" fmla="*/ 429105 w 495300"/>
                <a:gd name="connsiteY105" fmla="*/ 514971 h 533400"/>
                <a:gd name="connsiteX106" fmla="*/ 467205 w 495300"/>
                <a:gd name="connsiteY106" fmla="*/ 514971 h 533400"/>
                <a:gd name="connsiteX107" fmla="*/ 476730 w 495300"/>
                <a:gd name="connsiteY107" fmla="*/ 505446 h 533400"/>
                <a:gd name="connsiteX108" fmla="*/ 476730 w 495300"/>
                <a:gd name="connsiteY108" fmla="*/ 505446 h 533400"/>
                <a:gd name="connsiteX109" fmla="*/ 476730 w 495300"/>
                <a:gd name="connsiteY109" fmla="*/ 467346 h 533400"/>
                <a:gd name="connsiteX110" fmla="*/ 467205 w 495300"/>
                <a:gd name="connsiteY110" fmla="*/ 457821 h 533400"/>
                <a:gd name="connsiteX111" fmla="*/ 467205 w 495300"/>
                <a:gd name="connsiteY111" fmla="*/ 457821 h 533400"/>
                <a:gd name="connsiteX112" fmla="*/ 362430 w 495300"/>
                <a:gd name="connsiteY112" fmla="*/ 19671 h 533400"/>
                <a:gd name="connsiteX113" fmla="*/ 133830 w 495300"/>
                <a:gd name="connsiteY113" fmla="*/ 19671 h 533400"/>
                <a:gd name="connsiteX114" fmla="*/ 114780 w 495300"/>
                <a:gd name="connsiteY114" fmla="*/ 38721 h 533400"/>
                <a:gd name="connsiteX115" fmla="*/ 114780 w 495300"/>
                <a:gd name="connsiteY115" fmla="*/ 38721 h 533400"/>
                <a:gd name="connsiteX116" fmla="*/ 114780 w 495300"/>
                <a:gd name="connsiteY116" fmla="*/ 124446 h 533400"/>
                <a:gd name="connsiteX117" fmla="*/ 133830 w 495300"/>
                <a:gd name="connsiteY117" fmla="*/ 143496 h 533400"/>
                <a:gd name="connsiteX118" fmla="*/ 133830 w 495300"/>
                <a:gd name="connsiteY118" fmla="*/ 143496 h 533400"/>
                <a:gd name="connsiteX119" fmla="*/ 362430 w 495300"/>
                <a:gd name="connsiteY119" fmla="*/ 143496 h 533400"/>
                <a:gd name="connsiteX120" fmla="*/ 381480 w 495300"/>
                <a:gd name="connsiteY120" fmla="*/ 124446 h 533400"/>
                <a:gd name="connsiteX121" fmla="*/ 381480 w 495300"/>
                <a:gd name="connsiteY121" fmla="*/ 124446 h 533400"/>
                <a:gd name="connsiteX122" fmla="*/ 381480 w 495300"/>
                <a:gd name="connsiteY122" fmla="*/ 38721 h 533400"/>
                <a:gd name="connsiteX123" fmla="*/ 362430 w 495300"/>
                <a:gd name="connsiteY123" fmla="*/ 19671 h 533400"/>
                <a:gd name="connsiteX124" fmla="*/ 362430 w 495300"/>
                <a:gd name="connsiteY124" fmla="*/ 19671 h 533400"/>
                <a:gd name="connsiteX125" fmla="*/ 157643 w 495300"/>
                <a:gd name="connsiteY125" fmla="*/ 86346 h 533400"/>
                <a:gd name="connsiteX126" fmla="*/ 171930 w 495300"/>
                <a:gd name="connsiteY126" fmla="*/ 100634 h 533400"/>
                <a:gd name="connsiteX127" fmla="*/ 157643 w 495300"/>
                <a:gd name="connsiteY127" fmla="*/ 114921 h 533400"/>
                <a:gd name="connsiteX128" fmla="*/ 143355 w 495300"/>
                <a:gd name="connsiteY128" fmla="*/ 100634 h 533400"/>
                <a:gd name="connsiteX129" fmla="*/ 157643 w 495300"/>
                <a:gd name="connsiteY129" fmla="*/ 86346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Lst>
              <a:rect l="l" t="t" r="r" b="b"/>
              <a:pathLst>
                <a:path w="495300" h="533400">
                  <a:moveTo>
                    <a:pt x="362430" y="621"/>
                  </a:moveTo>
                  <a:cubicBezTo>
                    <a:pt x="383385" y="621"/>
                    <a:pt x="400530" y="17766"/>
                    <a:pt x="400530" y="38721"/>
                  </a:cubicBezTo>
                  <a:lnTo>
                    <a:pt x="400530" y="38721"/>
                  </a:lnTo>
                  <a:lnTo>
                    <a:pt x="400530" y="124446"/>
                  </a:lnTo>
                  <a:cubicBezTo>
                    <a:pt x="400530" y="145401"/>
                    <a:pt x="383385" y="162546"/>
                    <a:pt x="362430" y="162546"/>
                  </a:cubicBezTo>
                  <a:lnTo>
                    <a:pt x="362430" y="162546"/>
                  </a:lnTo>
                  <a:lnTo>
                    <a:pt x="257655" y="162546"/>
                  </a:lnTo>
                  <a:lnTo>
                    <a:pt x="257655" y="295896"/>
                  </a:lnTo>
                  <a:lnTo>
                    <a:pt x="419580" y="295896"/>
                  </a:lnTo>
                  <a:cubicBezTo>
                    <a:pt x="439583" y="295896"/>
                    <a:pt x="456727" y="312089"/>
                    <a:pt x="457680" y="332091"/>
                  </a:cubicBezTo>
                  <a:lnTo>
                    <a:pt x="457680" y="333996"/>
                  </a:lnTo>
                  <a:lnTo>
                    <a:pt x="457680" y="438771"/>
                  </a:lnTo>
                  <a:lnTo>
                    <a:pt x="467205" y="438771"/>
                  </a:lnTo>
                  <a:cubicBezTo>
                    <a:pt x="482445" y="438771"/>
                    <a:pt x="494827" y="450201"/>
                    <a:pt x="495780" y="465441"/>
                  </a:cubicBezTo>
                  <a:lnTo>
                    <a:pt x="495780" y="467346"/>
                  </a:lnTo>
                  <a:lnTo>
                    <a:pt x="495780" y="505446"/>
                  </a:lnTo>
                  <a:cubicBezTo>
                    <a:pt x="495780" y="521639"/>
                    <a:pt x="483398" y="534021"/>
                    <a:pt x="467205" y="534021"/>
                  </a:cubicBezTo>
                  <a:lnTo>
                    <a:pt x="467205" y="534021"/>
                  </a:lnTo>
                  <a:lnTo>
                    <a:pt x="429105" y="534021"/>
                  </a:lnTo>
                  <a:cubicBezTo>
                    <a:pt x="412912" y="534021"/>
                    <a:pt x="400530" y="521639"/>
                    <a:pt x="400530" y="505446"/>
                  </a:cubicBezTo>
                  <a:lnTo>
                    <a:pt x="400530" y="505446"/>
                  </a:lnTo>
                  <a:lnTo>
                    <a:pt x="400530" y="467346"/>
                  </a:lnTo>
                  <a:cubicBezTo>
                    <a:pt x="400530" y="451154"/>
                    <a:pt x="412912" y="438771"/>
                    <a:pt x="429105" y="438771"/>
                  </a:cubicBezTo>
                  <a:lnTo>
                    <a:pt x="429105" y="438771"/>
                  </a:lnTo>
                  <a:lnTo>
                    <a:pt x="438630" y="438771"/>
                  </a:lnTo>
                  <a:lnTo>
                    <a:pt x="438630" y="333996"/>
                  </a:lnTo>
                  <a:cubicBezTo>
                    <a:pt x="438630" y="323519"/>
                    <a:pt x="431010" y="315899"/>
                    <a:pt x="420533" y="314946"/>
                  </a:cubicBezTo>
                  <a:lnTo>
                    <a:pt x="419580" y="314946"/>
                  </a:lnTo>
                  <a:lnTo>
                    <a:pt x="257655" y="314946"/>
                  </a:lnTo>
                  <a:lnTo>
                    <a:pt x="257655" y="438771"/>
                  </a:lnTo>
                  <a:lnTo>
                    <a:pt x="267180" y="438771"/>
                  </a:lnTo>
                  <a:cubicBezTo>
                    <a:pt x="282420" y="438771"/>
                    <a:pt x="294802" y="450201"/>
                    <a:pt x="295755" y="465441"/>
                  </a:cubicBezTo>
                  <a:lnTo>
                    <a:pt x="295755" y="467346"/>
                  </a:lnTo>
                  <a:lnTo>
                    <a:pt x="295755" y="505446"/>
                  </a:lnTo>
                  <a:cubicBezTo>
                    <a:pt x="295755" y="521639"/>
                    <a:pt x="283373" y="534021"/>
                    <a:pt x="267180" y="534021"/>
                  </a:cubicBezTo>
                  <a:lnTo>
                    <a:pt x="267180" y="534021"/>
                  </a:lnTo>
                  <a:lnTo>
                    <a:pt x="229080" y="534021"/>
                  </a:lnTo>
                  <a:cubicBezTo>
                    <a:pt x="212887" y="534021"/>
                    <a:pt x="200505" y="521639"/>
                    <a:pt x="200505" y="505446"/>
                  </a:cubicBezTo>
                  <a:lnTo>
                    <a:pt x="200505" y="505446"/>
                  </a:lnTo>
                  <a:lnTo>
                    <a:pt x="200505" y="467346"/>
                  </a:lnTo>
                  <a:cubicBezTo>
                    <a:pt x="200505" y="451154"/>
                    <a:pt x="212887" y="438771"/>
                    <a:pt x="229080" y="438771"/>
                  </a:cubicBezTo>
                  <a:lnTo>
                    <a:pt x="229080" y="438771"/>
                  </a:lnTo>
                  <a:lnTo>
                    <a:pt x="238605" y="438771"/>
                  </a:lnTo>
                  <a:lnTo>
                    <a:pt x="238605" y="314946"/>
                  </a:lnTo>
                  <a:lnTo>
                    <a:pt x="76680" y="314946"/>
                  </a:lnTo>
                  <a:cubicBezTo>
                    <a:pt x="66202" y="314946"/>
                    <a:pt x="58583" y="322566"/>
                    <a:pt x="57630" y="333044"/>
                  </a:cubicBezTo>
                  <a:lnTo>
                    <a:pt x="57630" y="333996"/>
                  </a:lnTo>
                  <a:lnTo>
                    <a:pt x="57630" y="438771"/>
                  </a:lnTo>
                  <a:lnTo>
                    <a:pt x="67155" y="438771"/>
                  </a:lnTo>
                  <a:cubicBezTo>
                    <a:pt x="82395" y="438771"/>
                    <a:pt x="94777" y="450201"/>
                    <a:pt x="95730" y="465441"/>
                  </a:cubicBezTo>
                  <a:lnTo>
                    <a:pt x="95730" y="467346"/>
                  </a:lnTo>
                  <a:lnTo>
                    <a:pt x="95730" y="505446"/>
                  </a:lnTo>
                  <a:cubicBezTo>
                    <a:pt x="95730" y="521639"/>
                    <a:pt x="83348" y="534021"/>
                    <a:pt x="67155" y="534021"/>
                  </a:cubicBezTo>
                  <a:lnTo>
                    <a:pt x="67155" y="534021"/>
                  </a:lnTo>
                  <a:lnTo>
                    <a:pt x="29055" y="534021"/>
                  </a:lnTo>
                  <a:cubicBezTo>
                    <a:pt x="12862" y="534021"/>
                    <a:pt x="480" y="521639"/>
                    <a:pt x="480" y="505446"/>
                  </a:cubicBezTo>
                  <a:lnTo>
                    <a:pt x="480" y="505446"/>
                  </a:lnTo>
                  <a:lnTo>
                    <a:pt x="480" y="467346"/>
                  </a:lnTo>
                  <a:cubicBezTo>
                    <a:pt x="480" y="451154"/>
                    <a:pt x="12862" y="438771"/>
                    <a:pt x="29055" y="438771"/>
                  </a:cubicBezTo>
                  <a:lnTo>
                    <a:pt x="29055" y="438771"/>
                  </a:lnTo>
                  <a:lnTo>
                    <a:pt x="38580" y="438771"/>
                  </a:lnTo>
                  <a:lnTo>
                    <a:pt x="38580" y="333996"/>
                  </a:lnTo>
                  <a:cubicBezTo>
                    <a:pt x="38580" y="313994"/>
                    <a:pt x="54773" y="296849"/>
                    <a:pt x="74775" y="295896"/>
                  </a:cubicBezTo>
                  <a:lnTo>
                    <a:pt x="76680" y="295896"/>
                  </a:lnTo>
                  <a:lnTo>
                    <a:pt x="238605" y="295896"/>
                  </a:lnTo>
                  <a:lnTo>
                    <a:pt x="238605" y="162546"/>
                  </a:lnTo>
                  <a:lnTo>
                    <a:pt x="133830" y="162546"/>
                  </a:lnTo>
                  <a:cubicBezTo>
                    <a:pt x="113827" y="162546"/>
                    <a:pt x="96683" y="146354"/>
                    <a:pt x="95730" y="126351"/>
                  </a:cubicBezTo>
                  <a:lnTo>
                    <a:pt x="95730" y="124446"/>
                  </a:lnTo>
                  <a:lnTo>
                    <a:pt x="95730" y="38721"/>
                  </a:lnTo>
                  <a:cubicBezTo>
                    <a:pt x="95730" y="17766"/>
                    <a:pt x="112875" y="621"/>
                    <a:pt x="133830" y="621"/>
                  </a:cubicBezTo>
                  <a:lnTo>
                    <a:pt x="133830" y="621"/>
                  </a:lnTo>
                  <a:lnTo>
                    <a:pt x="362430" y="621"/>
                  </a:lnTo>
                  <a:close/>
                  <a:moveTo>
                    <a:pt x="67155" y="457821"/>
                  </a:moveTo>
                  <a:lnTo>
                    <a:pt x="29055" y="457821"/>
                  </a:lnTo>
                  <a:cubicBezTo>
                    <a:pt x="23340" y="457821"/>
                    <a:pt x="19530" y="461631"/>
                    <a:pt x="19530" y="467346"/>
                  </a:cubicBezTo>
                  <a:lnTo>
                    <a:pt x="19530" y="467346"/>
                  </a:lnTo>
                  <a:lnTo>
                    <a:pt x="19530" y="505446"/>
                  </a:lnTo>
                  <a:cubicBezTo>
                    <a:pt x="19530" y="511161"/>
                    <a:pt x="23340" y="514971"/>
                    <a:pt x="29055" y="514971"/>
                  </a:cubicBezTo>
                  <a:lnTo>
                    <a:pt x="29055" y="514971"/>
                  </a:lnTo>
                  <a:lnTo>
                    <a:pt x="67155" y="514971"/>
                  </a:lnTo>
                  <a:cubicBezTo>
                    <a:pt x="72870" y="514971"/>
                    <a:pt x="76680" y="511161"/>
                    <a:pt x="76680" y="505446"/>
                  </a:cubicBezTo>
                  <a:lnTo>
                    <a:pt x="76680" y="505446"/>
                  </a:lnTo>
                  <a:lnTo>
                    <a:pt x="76680" y="467346"/>
                  </a:lnTo>
                  <a:cubicBezTo>
                    <a:pt x="76680" y="461631"/>
                    <a:pt x="72870" y="457821"/>
                    <a:pt x="67155" y="457821"/>
                  </a:cubicBezTo>
                  <a:lnTo>
                    <a:pt x="67155" y="457821"/>
                  </a:lnTo>
                  <a:close/>
                  <a:moveTo>
                    <a:pt x="267180" y="457821"/>
                  </a:moveTo>
                  <a:lnTo>
                    <a:pt x="229080" y="457821"/>
                  </a:lnTo>
                  <a:cubicBezTo>
                    <a:pt x="223365" y="457821"/>
                    <a:pt x="219555" y="461631"/>
                    <a:pt x="219555" y="467346"/>
                  </a:cubicBezTo>
                  <a:lnTo>
                    <a:pt x="219555" y="467346"/>
                  </a:lnTo>
                  <a:lnTo>
                    <a:pt x="219555" y="505446"/>
                  </a:lnTo>
                  <a:cubicBezTo>
                    <a:pt x="219555" y="511161"/>
                    <a:pt x="223365" y="514971"/>
                    <a:pt x="229080" y="514971"/>
                  </a:cubicBezTo>
                  <a:lnTo>
                    <a:pt x="229080" y="514971"/>
                  </a:lnTo>
                  <a:lnTo>
                    <a:pt x="267180" y="514971"/>
                  </a:lnTo>
                  <a:cubicBezTo>
                    <a:pt x="272895" y="514971"/>
                    <a:pt x="276705" y="511161"/>
                    <a:pt x="276705" y="505446"/>
                  </a:cubicBezTo>
                  <a:lnTo>
                    <a:pt x="276705" y="505446"/>
                  </a:lnTo>
                  <a:lnTo>
                    <a:pt x="276705" y="467346"/>
                  </a:lnTo>
                  <a:cubicBezTo>
                    <a:pt x="276705" y="461631"/>
                    <a:pt x="272895" y="457821"/>
                    <a:pt x="267180" y="457821"/>
                  </a:cubicBezTo>
                  <a:lnTo>
                    <a:pt x="267180" y="457821"/>
                  </a:lnTo>
                  <a:close/>
                  <a:moveTo>
                    <a:pt x="467205" y="457821"/>
                  </a:moveTo>
                  <a:lnTo>
                    <a:pt x="429105" y="457821"/>
                  </a:lnTo>
                  <a:cubicBezTo>
                    <a:pt x="423390" y="457821"/>
                    <a:pt x="419580" y="461631"/>
                    <a:pt x="419580" y="467346"/>
                  </a:cubicBezTo>
                  <a:lnTo>
                    <a:pt x="419580" y="467346"/>
                  </a:lnTo>
                  <a:lnTo>
                    <a:pt x="419580" y="505446"/>
                  </a:lnTo>
                  <a:cubicBezTo>
                    <a:pt x="419580" y="511161"/>
                    <a:pt x="423390" y="514971"/>
                    <a:pt x="429105" y="514971"/>
                  </a:cubicBezTo>
                  <a:lnTo>
                    <a:pt x="429105" y="514971"/>
                  </a:lnTo>
                  <a:lnTo>
                    <a:pt x="467205" y="514971"/>
                  </a:lnTo>
                  <a:cubicBezTo>
                    <a:pt x="472920" y="514971"/>
                    <a:pt x="476730" y="511161"/>
                    <a:pt x="476730" y="505446"/>
                  </a:cubicBezTo>
                  <a:lnTo>
                    <a:pt x="476730" y="505446"/>
                  </a:lnTo>
                  <a:lnTo>
                    <a:pt x="476730" y="467346"/>
                  </a:lnTo>
                  <a:cubicBezTo>
                    <a:pt x="476730" y="461631"/>
                    <a:pt x="472920" y="457821"/>
                    <a:pt x="467205" y="457821"/>
                  </a:cubicBezTo>
                  <a:lnTo>
                    <a:pt x="467205" y="457821"/>
                  </a:lnTo>
                  <a:close/>
                  <a:moveTo>
                    <a:pt x="362430" y="19671"/>
                  </a:moveTo>
                  <a:lnTo>
                    <a:pt x="133830" y="19671"/>
                  </a:lnTo>
                  <a:cubicBezTo>
                    <a:pt x="123352" y="19671"/>
                    <a:pt x="114780" y="28244"/>
                    <a:pt x="114780" y="38721"/>
                  </a:cubicBezTo>
                  <a:lnTo>
                    <a:pt x="114780" y="38721"/>
                  </a:lnTo>
                  <a:lnTo>
                    <a:pt x="114780" y="124446"/>
                  </a:lnTo>
                  <a:cubicBezTo>
                    <a:pt x="114780" y="134924"/>
                    <a:pt x="123352" y="143496"/>
                    <a:pt x="133830" y="143496"/>
                  </a:cubicBezTo>
                  <a:lnTo>
                    <a:pt x="133830" y="143496"/>
                  </a:lnTo>
                  <a:lnTo>
                    <a:pt x="362430" y="143496"/>
                  </a:lnTo>
                  <a:cubicBezTo>
                    <a:pt x="372908" y="143496"/>
                    <a:pt x="381480" y="134924"/>
                    <a:pt x="381480" y="124446"/>
                  </a:cubicBezTo>
                  <a:lnTo>
                    <a:pt x="381480" y="124446"/>
                  </a:lnTo>
                  <a:lnTo>
                    <a:pt x="381480" y="38721"/>
                  </a:lnTo>
                  <a:cubicBezTo>
                    <a:pt x="381480" y="28244"/>
                    <a:pt x="372908" y="19671"/>
                    <a:pt x="362430" y="19671"/>
                  </a:cubicBezTo>
                  <a:lnTo>
                    <a:pt x="362430" y="19671"/>
                  </a:lnTo>
                  <a:close/>
                  <a:moveTo>
                    <a:pt x="157643" y="86346"/>
                  </a:moveTo>
                  <a:cubicBezTo>
                    <a:pt x="165262" y="86346"/>
                    <a:pt x="171930" y="93014"/>
                    <a:pt x="171930" y="100634"/>
                  </a:cubicBezTo>
                  <a:cubicBezTo>
                    <a:pt x="171930" y="108254"/>
                    <a:pt x="165262" y="114921"/>
                    <a:pt x="157643" y="114921"/>
                  </a:cubicBezTo>
                  <a:cubicBezTo>
                    <a:pt x="150023" y="114921"/>
                    <a:pt x="143355" y="108254"/>
                    <a:pt x="143355" y="100634"/>
                  </a:cubicBezTo>
                  <a:cubicBezTo>
                    <a:pt x="143355" y="93014"/>
                    <a:pt x="150023" y="86346"/>
                    <a:pt x="157643" y="86346"/>
                  </a:cubicBezTo>
                  <a:close/>
                </a:path>
              </a:pathLst>
            </a:custGeom>
            <a:solidFill>
              <a:schemeClr val="tx2"/>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sp>
          <p:nvSpPr>
            <p:cNvPr id="108" name="任意多边形: 形状 107"/>
            <p:cNvSpPr/>
            <p:nvPr/>
          </p:nvSpPr>
          <p:spPr>
            <a:xfrm>
              <a:off x="5126344" y="3977624"/>
              <a:ext cx="432903" cy="355599"/>
            </a:xfrm>
            <a:custGeom>
              <a:avLst/>
              <a:gdLst>
                <a:gd name="connsiteX0" fmla="*/ 496292 w 533400"/>
                <a:gd name="connsiteY0" fmla="*/ 621 h 438150"/>
                <a:gd name="connsiteX1" fmla="*/ 534392 w 533400"/>
                <a:gd name="connsiteY1" fmla="*/ 38721 h 438150"/>
                <a:gd name="connsiteX2" fmla="*/ 534392 w 533400"/>
                <a:gd name="connsiteY2" fmla="*/ 38721 h 438150"/>
                <a:gd name="connsiteX3" fmla="*/ 534392 w 533400"/>
                <a:gd name="connsiteY3" fmla="*/ 333996 h 438150"/>
                <a:gd name="connsiteX4" fmla="*/ 496292 w 533400"/>
                <a:gd name="connsiteY4" fmla="*/ 372096 h 438150"/>
                <a:gd name="connsiteX5" fmla="*/ 496292 w 533400"/>
                <a:gd name="connsiteY5" fmla="*/ 372096 h 438150"/>
                <a:gd name="connsiteX6" fmla="*/ 204827 w 533400"/>
                <a:gd name="connsiteY6" fmla="*/ 372096 h 438150"/>
                <a:gd name="connsiteX7" fmla="*/ 115292 w 533400"/>
                <a:gd name="connsiteY7" fmla="*/ 438771 h 438150"/>
                <a:gd name="connsiteX8" fmla="*/ 115292 w 533400"/>
                <a:gd name="connsiteY8" fmla="*/ 372096 h 438150"/>
                <a:gd name="connsiteX9" fmla="*/ 39092 w 533400"/>
                <a:gd name="connsiteY9" fmla="*/ 372096 h 438150"/>
                <a:gd name="connsiteX10" fmla="*/ 992 w 533400"/>
                <a:gd name="connsiteY10" fmla="*/ 335901 h 438150"/>
                <a:gd name="connsiteX11" fmla="*/ 992 w 533400"/>
                <a:gd name="connsiteY11" fmla="*/ 335901 h 438150"/>
                <a:gd name="connsiteX12" fmla="*/ 992 w 533400"/>
                <a:gd name="connsiteY12" fmla="*/ 333996 h 438150"/>
                <a:gd name="connsiteX13" fmla="*/ 992 w 533400"/>
                <a:gd name="connsiteY13" fmla="*/ 38721 h 438150"/>
                <a:gd name="connsiteX14" fmla="*/ 39092 w 533400"/>
                <a:gd name="connsiteY14" fmla="*/ 621 h 438150"/>
                <a:gd name="connsiteX15" fmla="*/ 39092 w 533400"/>
                <a:gd name="connsiteY15" fmla="*/ 621 h 438150"/>
                <a:gd name="connsiteX16" fmla="*/ 496292 w 533400"/>
                <a:gd name="connsiteY16" fmla="*/ 621 h 438150"/>
                <a:gd name="connsiteX17" fmla="*/ 496292 w 533400"/>
                <a:gd name="connsiteY17" fmla="*/ 19671 h 438150"/>
                <a:gd name="connsiteX18" fmla="*/ 39092 w 533400"/>
                <a:gd name="connsiteY18" fmla="*/ 19671 h 438150"/>
                <a:gd name="connsiteX19" fmla="*/ 20042 w 533400"/>
                <a:gd name="connsiteY19" fmla="*/ 38721 h 438150"/>
                <a:gd name="connsiteX20" fmla="*/ 20042 w 533400"/>
                <a:gd name="connsiteY20" fmla="*/ 38721 h 438150"/>
                <a:gd name="connsiteX21" fmla="*/ 20042 w 533400"/>
                <a:gd name="connsiteY21" fmla="*/ 333996 h 438150"/>
                <a:gd name="connsiteX22" fmla="*/ 39092 w 533400"/>
                <a:gd name="connsiteY22" fmla="*/ 353046 h 438150"/>
                <a:gd name="connsiteX23" fmla="*/ 39092 w 533400"/>
                <a:gd name="connsiteY23" fmla="*/ 353046 h 438150"/>
                <a:gd name="connsiteX24" fmla="*/ 134342 w 533400"/>
                <a:gd name="connsiteY24" fmla="*/ 353046 h 438150"/>
                <a:gd name="connsiteX25" fmla="*/ 134342 w 533400"/>
                <a:gd name="connsiteY25" fmla="*/ 400671 h 438150"/>
                <a:gd name="connsiteX26" fmla="*/ 198160 w 533400"/>
                <a:gd name="connsiteY26" fmla="*/ 353046 h 438150"/>
                <a:gd name="connsiteX27" fmla="*/ 496292 w 533400"/>
                <a:gd name="connsiteY27" fmla="*/ 353046 h 438150"/>
                <a:gd name="connsiteX28" fmla="*/ 515342 w 533400"/>
                <a:gd name="connsiteY28" fmla="*/ 333996 h 438150"/>
                <a:gd name="connsiteX29" fmla="*/ 515342 w 533400"/>
                <a:gd name="connsiteY29" fmla="*/ 333996 h 438150"/>
                <a:gd name="connsiteX30" fmla="*/ 515342 w 533400"/>
                <a:gd name="connsiteY30" fmla="*/ 38721 h 438150"/>
                <a:gd name="connsiteX31" fmla="*/ 496292 w 533400"/>
                <a:gd name="connsiteY31" fmla="*/ 19671 h 438150"/>
                <a:gd name="connsiteX32" fmla="*/ 496292 w 533400"/>
                <a:gd name="connsiteY32" fmla="*/ 19671 h 438150"/>
                <a:gd name="connsiteX33" fmla="*/ 134342 w 533400"/>
                <a:gd name="connsiteY33" fmla="*/ 143496 h 438150"/>
                <a:gd name="connsiteX34" fmla="*/ 177205 w 533400"/>
                <a:gd name="connsiteY34" fmla="*/ 186359 h 438150"/>
                <a:gd name="connsiteX35" fmla="*/ 134342 w 533400"/>
                <a:gd name="connsiteY35" fmla="*/ 229221 h 438150"/>
                <a:gd name="connsiteX36" fmla="*/ 91480 w 533400"/>
                <a:gd name="connsiteY36" fmla="*/ 186359 h 438150"/>
                <a:gd name="connsiteX37" fmla="*/ 134342 w 533400"/>
                <a:gd name="connsiteY37" fmla="*/ 143496 h 438150"/>
                <a:gd name="connsiteX38" fmla="*/ 267692 w 533400"/>
                <a:gd name="connsiteY38" fmla="*/ 143496 h 438150"/>
                <a:gd name="connsiteX39" fmla="*/ 310555 w 533400"/>
                <a:gd name="connsiteY39" fmla="*/ 186359 h 438150"/>
                <a:gd name="connsiteX40" fmla="*/ 267692 w 533400"/>
                <a:gd name="connsiteY40" fmla="*/ 229221 h 438150"/>
                <a:gd name="connsiteX41" fmla="*/ 224830 w 533400"/>
                <a:gd name="connsiteY41" fmla="*/ 186359 h 438150"/>
                <a:gd name="connsiteX42" fmla="*/ 267692 w 533400"/>
                <a:gd name="connsiteY42" fmla="*/ 143496 h 438150"/>
                <a:gd name="connsiteX43" fmla="*/ 401042 w 533400"/>
                <a:gd name="connsiteY43" fmla="*/ 143496 h 438150"/>
                <a:gd name="connsiteX44" fmla="*/ 443905 w 533400"/>
                <a:gd name="connsiteY44" fmla="*/ 186359 h 438150"/>
                <a:gd name="connsiteX45" fmla="*/ 401042 w 533400"/>
                <a:gd name="connsiteY45" fmla="*/ 229221 h 438150"/>
                <a:gd name="connsiteX46" fmla="*/ 358180 w 533400"/>
                <a:gd name="connsiteY46" fmla="*/ 186359 h 438150"/>
                <a:gd name="connsiteX47" fmla="*/ 401042 w 533400"/>
                <a:gd name="connsiteY47" fmla="*/ 143496 h 438150"/>
                <a:gd name="connsiteX48" fmla="*/ 134342 w 533400"/>
                <a:gd name="connsiteY48" fmla="*/ 162546 h 438150"/>
                <a:gd name="connsiteX49" fmla="*/ 110530 w 533400"/>
                <a:gd name="connsiteY49" fmla="*/ 186359 h 438150"/>
                <a:gd name="connsiteX50" fmla="*/ 134342 w 533400"/>
                <a:gd name="connsiteY50" fmla="*/ 210171 h 438150"/>
                <a:gd name="connsiteX51" fmla="*/ 158155 w 533400"/>
                <a:gd name="connsiteY51" fmla="*/ 186359 h 438150"/>
                <a:gd name="connsiteX52" fmla="*/ 134342 w 533400"/>
                <a:gd name="connsiteY52" fmla="*/ 162546 h 438150"/>
                <a:gd name="connsiteX53" fmla="*/ 267692 w 533400"/>
                <a:gd name="connsiteY53" fmla="*/ 162546 h 438150"/>
                <a:gd name="connsiteX54" fmla="*/ 243880 w 533400"/>
                <a:gd name="connsiteY54" fmla="*/ 186359 h 438150"/>
                <a:gd name="connsiteX55" fmla="*/ 267692 w 533400"/>
                <a:gd name="connsiteY55" fmla="*/ 210171 h 438150"/>
                <a:gd name="connsiteX56" fmla="*/ 291505 w 533400"/>
                <a:gd name="connsiteY56" fmla="*/ 186359 h 438150"/>
                <a:gd name="connsiteX57" fmla="*/ 267692 w 533400"/>
                <a:gd name="connsiteY57" fmla="*/ 162546 h 438150"/>
                <a:gd name="connsiteX58" fmla="*/ 401042 w 533400"/>
                <a:gd name="connsiteY58" fmla="*/ 162546 h 438150"/>
                <a:gd name="connsiteX59" fmla="*/ 377230 w 533400"/>
                <a:gd name="connsiteY59" fmla="*/ 186359 h 438150"/>
                <a:gd name="connsiteX60" fmla="*/ 401042 w 533400"/>
                <a:gd name="connsiteY60" fmla="*/ 210171 h 438150"/>
                <a:gd name="connsiteX61" fmla="*/ 424855 w 533400"/>
                <a:gd name="connsiteY61" fmla="*/ 186359 h 438150"/>
                <a:gd name="connsiteX62" fmla="*/ 401042 w 533400"/>
                <a:gd name="connsiteY62" fmla="*/ 162546 h 43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533400" h="438150">
                  <a:moveTo>
                    <a:pt x="496292" y="621"/>
                  </a:moveTo>
                  <a:cubicBezTo>
                    <a:pt x="517247" y="621"/>
                    <a:pt x="534392" y="17766"/>
                    <a:pt x="534392" y="38721"/>
                  </a:cubicBezTo>
                  <a:lnTo>
                    <a:pt x="534392" y="38721"/>
                  </a:lnTo>
                  <a:lnTo>
                    <a:pt x="534392" y="333996"/>
                  </a:lnTo>
                  <a:cubicBezTo>
                    <a:pt x="534392" y="354951"/>
                    <a:pt x="517247" y="372096"/>
                    <a:pt x="496292" y="372096"/>
                  </a:cubicBezTo>
                  <a:lnTo>
                    <a:pt x="496292" y="372096"/>
                  </a:lnTo>
                  <a:lnTo>
                    <a:pt x="204827" y="372096"/>
                  </a:lnTo>
                  <a:lnTo>
                    <a:pt x="115292" y="438771"/>
                  </a:lnTo>
                  <a:lnTo>
                    <a:pt x="115292" y="372096"/>
                  </a:lnTo>
                  <a:lnTo>
                    <a:pt x="39092" y="372096"/>
                  </a:lnTo>
                  <a:cubicBezTo>
                    <a:pt x="19089" y="372096"/>
                    <a:pt x="1945" y="355904"/>
                    <a:pt x="992" y="335901"/>
                  </a:cubicBezTo>
                  <a:lnTo>
                    <a:pt x="992" y="335901"/>
                  </a:lnTo>
                  <a:lnTo>
                    <a:pt x="992" y="333996"/>
                  </a:lnTo>
                  <a:lnTo>
                    <a:pt x="992" y="38721"/>
                  </a:lnTo>
                  <a:cubicBezTo>
                    <a:pt x="992" y="17766"/>
                    <a:pt x="18137" y="621"/>
                    <a:pt x="39092" y="621"/>
                  </a:cubicBezTo>
                  <a:lnTo>
                    <a:pt x="39092" y="621"/>
                  </a:lnTo>
                  <a:lnTo>
                    <a:pt x="496292" y="621"/>
                  </a:lnTo>
                  <a:close/>
                  <a:moveTo>
                    <a:pt x="496292" y="19671"/>
                  </a:moveTo>
                  <a:lnTo>
                    <a:pt x="39092" y="19671"/>
                  </a:lnTo>
                  <a:cubicBezTo>
                    <a:pt x="28614" y="19671"/>
                    <a:pt x="20042" y="28244"/>
                    <a:pt x="20042" y="38721"/>
                  </a:cubicBezTo>
                  <a:lnTo>
                    <a:pt x="20042" y="38721"/>
                  </a:lnTo>
                  <a:lnTo>
                    <a:pt x="20042" y="333996"/>
                  </a:lnTo>
                  <a:cubicBezTo>
                    <a:pt x="20042" y="344474"/>
                    <a:pt x="28614" y="353046"/>
                    <a:pt x="39092" y="353046"/>
                  </a:cubicBezTo>
                  <a:lnTo>
                    <a:pt x="39092" y="353046"/>
                  </a:lnTo>
                  <a:lnTo>
                    <a:pt x="134342" y="353046"/>
                  </a:lnTo>
                  <a:lnTo>
                    <a:pt x="134342" y="400671"/>
                  </a:lnTo>
                  <a:lnTo>
                    <a:pt x="198160" y="353046"/>
                  </a:lnTo>
                  <a:lnTo>
                    <a:pt x="496292" y="353046"/>
                  </a:lnTo>
                  <a:cubicBezTo>
                    <a:pt x="506770" y="353046"/>
                    <a:pt x="515342" y="344474"/>
                    <a:pt x="515342" y="333996"/>
                  </a:cubicBezTo>
                  <a:lnTo>
                    <a:pt x="515342" y="333996"/>
                  </a:lnTo>
                  <a:lnTo>
                    <a:pt x="515342" y="38721"/>
                  </a:lnTo>
                  <a:cubicBezTo>
                    <a:pt x="515342" y="28244"/>
                    <a:pt x="506770" y="19671"/>
                    <a:pt x="496292" y="19671"/>
                  </a:cubicBezTo>
                  <a:lnTo>
                    <a:pt x="496292" y="19671"/>
                  </a:lnTo>
                  <a:close/>
                  <a:moveTo>
                    <a:pt x="134342" y="143496"/>
                  </a:moveTo>
                  <a:cubicBezTo>
                    <a:pt x="158155" y="143496"/>
                    <a:pt x="177205" y="162546"/>
                    <a:pt x="177205" y="186359"/>
                  </a:cubicBezTo>
                  <a:cubicBezTo>
                    <a:pt x="177205" y="210171"/>
                    <a:pt x="158155" y="229221"/>
                    <a:pt x="134342" y="229221"/>
                  </a:cubicBezTo>
                  <a:cubicBezTo>
                    <a:pt x="110530" y="229221"/>
                    <a:pt x="91480" y="210171"/>
                    <a:pt x="91480" y="186359"/>
                  </a:cubicBezTo>
                  <a:cubicBezTo>
                    <a:pt x="91480" y="162546"/>
                    <a:pt x="110530" y="143496"/>
                    <a:pt x="134342" y="143496"/>
                  </a:cubicBezTo>
                  <a:close/>
                  <a:moveTo>
                    <a:pt x="267692" y="143496"/>
                  </a:moveTo>
                  <a:cubicBezTo>
                    <a:pt x="291505" y="143496"/>
                    <a:pt x="310555" y="162546"/>
                    <a:pt x="310555" y="186359"/>
                  </a:cubicBezTo>
                  <a:cubicBezTo>
                    <a:pt x="310555" y="210171"/>
                    <a:pt x="291505" y="229221"/>
                    <a:pt x="267692" y="229221"/>
                  </a:cubicBezTo>
                  <a:cubicBezTo>
                    <a:pt x="243880" y="229221"/>
                    <a:pt x="224830" y="210171"/>
                    <a:pt x="224830" y="186359"/>
                  </a:cubicBezTo>
                  <a:cubicBezTo>
                    <a:pt x="224830" y="162546"/>
                    <a:pt x="243880" y="143496"/>
                    <a:pt x="267692" y="143496"/>
                  </a:cubicBezTo>
                  <a:close/>
                  <a:moveTo>
                    <a:pt x="401042" y="143496"/>
                  </a:moveTo>
                  <a:cubicBezTo>
                    <a:pt x="424855" y="143496"/>
                    <a:pt x="443905" y="162546"/>
                    <a:pt x="443905" y="186359"/>
                  </a:cubicBezTo>
                  <a:cubicBezTo>
                    <a:pt x="443905" y="210171"/>
                    <a:pt x="424855" y="229221"/>
                    <a:pt x="401042" y="229221"/>
                  </a:cubicBezTo>
                  <a:cubicBezTo>
                    <a:pt x="377230" y="229221"/>
                    <a:pt x="358180" y="210171"/>
                    <a:pt x="358180" y="186359"/>
                  </a:cubicBezTo>
                  <a:cubicBezTo>
                    <a:pt x="358180" y="162546"/>
                    <a:pt x="377230" y="143496"/>
                    <a:pt x="401042" y="143496"/>
                  </a:cubicBezTo>
                  <a:close/>
                  <a:moveTo>
                    <a:pt x="134342" y="162546"/>
                  </a:moveTo>
                  <a:cubicBezTo>
                    <a:pt x="121007" y="162546"/>
                    <a:pt x="110530" y="173024"/>
                    <a:pt x="110530" y="186359"/>
                  </a:cubicBezTo>
                  <a:cubicBezTo>
                    <a:pt x="110530" y="199694"/>
                    <a:pt x="121007" y="210171"/>
                    <a:pt x="134342" y="210171"/>
                  </a:cubicBezTo>
                  <a:cubicBezTo>
                    <a:pt x="147677" y="210171"/>
                    <a:pt x="158155" y="199694"/>
                    <a:pt x="158155" y="186359"/>
                  </a:cubicBezTo>
                  <a:cubicBezTo>
                    <a:pt x="158155" y="173024"/>
                    <a:pt x="147677" y="162546"/>
                    <a:pt x="134342" y="162546"/>
                  </a:cubicBezTo>
                  <a:close/>
                  <a:moveTo>
                    <a:pt x="267692" y="162546"/>
                  </a:moveTo>
                  <a:cubicBezTo>
                    <a:pt x="254357" y="162546"/>
                    <a:pt x="243880" y="173024"/>
                    <a:pt x="243880" y="186359"/>
                  </a:cubicBezTo>
                  <a:cubicBezTo>
                    <a:pt x="243880" y="199694"/>
                    <a:pt x="254357" y="210171"/>
                    <a:pt x="267692" y="210171"/>
                  </a:cubicBezTo>
                  <a:cubicBezTo>
                    <a:pt x="281027" y="210171"/>
                    <a:pt x="291505" y="199694"/>
                    <a:pt x="291505" y="186359"/>
                  </a:cubicBezTo>
                  <a:cubicBezTo>
                    <a:pt x="291505" y="173024"/>
                    <a:pt x="281027" y="162546"/>
                    <a:pt x="267692" y="162546"/>
                  </a:cubicBezTo>
                  <a:close/>
                  <a:moveTo>
                    <a:pt x="401042" y="162546"/>
                  </a:moveTo>
                  <a:cubicBezTo>
                    <a:pt x="387707" y="162546"/>
                    <a:pt x="377230" y="173024"/>
                    <a:pt x="377230" y="186359"/>
                  </a:cubicBezTo>
                  <a:cubicBezTo>
                    <a:pt x="377230" y="199694"/>
                    <a:pt x="387707" y="210171"/>
                    <a:pt x="401042" y="210171"/>
                  </a:cubicBezTo>
                  <a:cubicBezTo>
                    <a:pt x="414377" y="210171"/>
                    <a:pt x="424855" y="199694"/>
                    <a:pt x="424855" y="186359"/>
                  </a:cubicBezTo>
                  <a:cubicBezTo>
                    <a:pt x="424855" y="173024"/>
                    <a:pt x="414377" y="162546"/>
                    <a:pt x="401042" y="162546"/>
                  </a:cubicBezTo>
                  <a:close/>
                </a:path>
              </a:pathLst>
            </a:custGeom>
            <a:solidFill>
              <a:schemeClr val="tx1">
                <a:lumMod val="50000"/>
                <a:lumOff val="50000"/>
              </a:schemeClr>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sp>
          <p:nvSpPr>
            <p:cNvPr id="109" name="任意多边形: 形状 108"/>
            <p:cNvSpPr/>
            <p:nvPr/>
          </p:nvSpPr>
          <p:spPr>
            <a:xfrm>
              <a:off x="6632995" y="3892590"/>
              <a:ext cx="401981" cy="440633"/>
            </a:xfrm>
            <a:custGeom>
              <a:avLst/>
              <a:gdLst>
                <a:gd name="connsiteX0" fmla="*/ 248770 w 495300"/>
                <a:gd name="connsiteY0" fmla="*/ 621 h 542925"/>
                <a:gd name="connsiteX1" fmla="*/ 496420 w 495300"/>
                <a:gd name="connsiteY1" fmla="*/ 248271 h 542925"/>
                <a:gd name="connsiteX2" fmla="*/ 324017 w 495300"/>
                <a:gd name="connsiteY2" fmla="*/ 484491 h 542925"/>
                <a:gd name="connsiteX3" fmla="*/ 346877 w 495300"/>
                <a:gd name="connsiteY3" fmla="*/ 524496 h 542925"/>
                <a:gd name="connsiteX4" fmla="*/ 420220 w 495300"/>
                <a:gd name="connsiteY4" fmla="*/ 524496 h 542925"/>
                <a:gd name="connsiteX5" fmla="*/ 420220 w 495300"/>
                <a:gd name="connsiteY5" fmla="*/ 543546 h 542925"/>
                <a:gd name="connsiteX6" fmla="*/ 77320 w 495300"/>
                <a:gd name="connsiteY6" fmla="*/ 543546 h 542925"/>
                <a:gd name="connsiteX7" fmla="*/ 77320 w 495300"/>
                <a:gd name="connsiteY7" fmla="*/ 524496 h 542925"/>
                <a:gd name="connsiteX8" fmla="*/ 150663 w 495300"/>
                <a:gd name="connsiteY8" fmla="*/ 524496 h 542925"/>
                <a:gd name="connsiteX9" fmla="*/ 173523 w 495300"/>
                <a:gd name="connsiteY9" fmla="*/ 484491 h 542925"/>
                <a:gd name="connsiteX10" fmla="*/ 1120 w 495300"/>
                <a:gd name="connsiteY10" fmla="*/ 252081 h 542925"/>
                <a:gd name="connsiteX11" fmla="*/ 1120 w 495300"/>
                <a:gd name="connsiteY11" fmla="*/ 248271 h 542925"/>
                <a:gd name="connsiteX12" fmla="*/ 248770 w 495300"/>
                <a:gd name="connsiteY12" fmla="*/ 621 h 542925"/>
                <a:gd name="connsiteX13" fmla="*/ 304967 w 495300"/>
                <a:gd name="connsiteY13" fmla="*/ 489254 h 542925"/>
                <a:gd name="connsiteX14" fmla="*/ 248770 w 495300"/>
                <a:gd name="connsiteY14" fmla="*/ 495921 h 542925"/>
                <a:gd name="connsiteX15" fmla="*/ 192573 w 495300"/>
                <a:gd name="connsiteY15" fmla="*/ 489254 h 542925"/>
                <a:gd name="connsiteX16" fmla="*/ 172570 w 495300"/>
                <a:gd name="connsiteY16" fmla="*/ 524496 h 542925"/>
                <a:gd name="connsiteX17" fmla="*/ 324970 w 495300"/>
                <a:gd name="connsiteY17" fmla="*/ 524496 h 542925"/>
                <a:gd name="connsiteX18" fmla="*/ 304967 w 495300"/>
                <a:gd name="connsiteY18" fmla="*/ 489254 h 542925"/>
                <a:gd name="connsiteX19" fmla="*/ 248770 w 495300"/>
                <a:gd name="connsiteY19" fmla="*/ 19671 h 542925"/>
                <a:gd name="connsiteX20" fmla="*/ 20170 w 495300"/>
                <a:gd name="connsiteY20" fmla="*/ 248271 h 542925"/>
                <a:gd name="connsiteX21" fmla="*/ 248770 w 495300"/>
                <a:gd name="connsiteY21" fmla="*/ 476871 h 542925"/>
                <a:gd name="connsiteX22" fmla="*/ 477370 w 495300"/>
                <a:gd name="connsiteY22" fmla="*/ 248271 h 542925"/>
                <a:gd name="connsiteX23" fmla="*/ 248770 w 495300"/>
                <a:gd name="connsiteY23" fmla="*/ 19671 h 542925"/>
                <a:gd name="connsiteX24" fmla="*/ 248770 w 495300"/>
                <a:gd name="connsiteY24" fmla="*/ 133971 h 542925"/>
                <a:gd name="connsiteX25" fmla="*/ 363070 w 495300"/>
                <a:gd name="connsiteY25" fmla="*/ 248271 h 542925"/>
                <a:gd name="connsiteX26" fmla="*/ 248770 w 495300"/>
                <a:gd name="connsiteY26" fmla="*/ 362571 h 542925"/>
                <a:gd name="connsiteX27" fmla="*/ 134470 w 495300"/>
                <a:gd name="connsiteY27" fmla="*/ 248271 h 542925"/>
                <a:gd name="connsiteX28" fmla="*/ 248770 w 495300"/>
                <a:gd name="connsiteY28" fmla="*/ 133971 h 542925"/>
                <a:gd name="connsiteX29" fmla="*/ 248770 w 495300"/>
                <a:gd name="connsiteY29" fmla="*/ 153021 h 542925"/>
                <a:gd name="connsiteX30" fmla="*/ 153520 w 495300"/>
                <a:gd name="connsiteY30" fmla="*/ 248271 h 542925"/>
                <a:gd name="connsiteX31" fmla="*/ 248770 w 495300"/>
                <a:gd name="connsiteY31" fmla="*/ 343521 h 542925"/>
                <a:gd name="connsiteX32" fmla="*/ 344020 w 495300"/>
                <a:gd name="connsiteY32" fmla="*/ 248271 h 542925"/>
                <a:gd name="connsiteX33" fmla="*/ 248770 w 495300"/>
                <a:gd name="connsiteY33" fmla="*/ 153021 h 542925"/>
                <a:gd name="connsiteX34" fmla="*/ 367833 w 495300"/>
                <a:gd name="connsiteY34" fmla="*/ 114921 h 542925"/>
                <a:gd name="connsiteX35" fmla="*/ 382120 w 495300"/>
                <a:gd name="connsiteY35" fmla="*/ 129209 h 542925"/>
                <a:gd name="connsiteX36" fmla="*/ 367833 w 495300"/>
                <a:gd name="connsiteY36" fmla="*/ 143496 h 542925"/>
                <a:gd name="connsiteX37" fmla="*/ 353545 w 495300"/>
                <a:gd name="connsiteY37" fmla="*/ 129209 h 542925"/>
                <a:gd name="connsiteX38" fmla="*/ 367833 w 495300"/>
                <a:gd name="connsiteY38" fmla="*/ 114921 h 54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95300" h="542925">
                  <a:moveTo>
                    <a:pt x="248770" y="621"/>
                  </a:moveTo>
                  <a:cubicBezTo>
                    <a:pt x="385930" y="621"/>
                    <a:pt x="496420" y="111111"/>
                    <a:pt x="496420" y="248271"/>
                  </a:cubicBezTo>
                  <a:cubicBezTo>
                    <a:pt x="496420" y="358761"/>
                    <a:pt x="424030" y="452106"/>
                    <a:pt x="324017" y="484491"/>
                  </a:cubicBezTo>
                  <a:lnTo>
                    <a:pt x="346877" y="524496"/>
                  </a:lnTo>
                  <a:lnTo>
                    <a:pt x="420220" y="524496"/>
                  </a:lnTo>
                  <a:lnTo>
                    <a:pt x="420220" y="543546"/>
                  </a:lnTo>
                  <a:lnTo>
                    <a:pt x="77320" y="543546"/>
                  </a:lnTo>
                  <a:lnTo>
                    <a:pt x="77320" y="524496"/>
                  </a:lnTo>
                  <a:lnTo>
                    <a:pt x="150663" y="524496"/>
                  </a:lnTo>
                  <a:lnTo>
                    <a:pt x="173523" y="484491"/>
                  </a:lnTo>
                  <a:cubicBezTo>
                    <a:pt x="74463" y="453059"/>
                    <a:pt x="3025" y="361619"/>
                    <a:pt x="1120" y="252081"/>
                  </a:cubicBezTo>
                  <a:lnTo>
                    <a:pt x="1120" y="248271"/>
                  </a:lnTo>
                  <a:cubicBezTo>
                    <a:pt x="1120" y="111111"/>
                    <a:pt x="111610" y="621"/>
                    <a:pt x="248770" y="621"/>
                  </a:cubicBezTo>
                  <a:close/>
                  <a:moveTo>
                    <a:pt x="304967" y="489254"/>
                  </a:moveTo>
                  <a:cubicBezTo>
                    <a:pt x="286870" y="493064"/>
                    <a:pt x="267820" y="495921"/>
                    <a:pt x="248770" y="495921"/>
                  </a:cubicBezTo>
                  <a:cubicBezTo>
                    <a:pt x="229720" y="495921"/>
                    <a:pt x="210670" y="494016"/>
                    <a:pt x="192573" y="489254"/>
                  </a:cubicBezTo>
                  <a:lnTo>
                    <a:pt x="172570" y="524496"/>
                  </a:lnTo>
                  <a:lnTo>
                    <a:pt x="324970" y="524496"/>
                  </a:lnTo>
                  <a:lnTo>
                    <a:pt x="304967" y="489254"/>
                  </a:lnTo>
                  <a:close/>
                  <a:moveTo>
                    <a:pt x="248770" y="19671"/>
                  </a:moveTo>
                  <a:cubicBezTo>
                    <a:pt x="122088" y="19671"/>
                    <a:pt x="20170" y="121589"/>
                    <a:pt x="20170" y="248271"/>
                  </a:cubicBezTo>
                  <a:cubicBezTo>
                    <a:pt x="20170" y="374954"/>
                    <a:pt x="122088" y="476871"/>
                    <a:pt x="248770" y="476871"/>
                  </a:cubicBezTo>
                  <a:cubicBezTo>
                    <a:pt x="375452" y="476871"/>
                    <a:pt x="477370" y="374954"/>
                    <a:pt x="477370" y="248271"/>
                  </a:cubicBezTo>
                  <a:cubicBezTo>
                    <a:pt x="477370" y="121589"/>
                    <a:pt x="375452" y="19671"/>
                    <a:pt x="248770" y="19671"/>
                  </a:cubicBezTo>
                  <a:close/>
                  <a:moveTo>
                    <a:pt x="248770" y="133971"/>
                  </a:moveTo>
                  <a:cubicBezTo>
                    <a:pt x="311635" y="133971"/>
                    <a:pt x="363070" y="185406"/>
                    <a:pt x="363070" y="248271"/>
                  </a:cubicBezTo>
                  <a:cubicBezTo>
                    <a:pt x="363070" y="311136"/>
                    <a:pt x="311635" y="362571"/>
                    <a:pt x="248770" y="362571"/>
                  </a:cubicBezTo>
                  <a:cubicBezTo>
                    <a:pt x="185905" y="362571"/>
                    <a:pt x="134470" y="311136"/>
                    <a:pt x="134470" y="248271"/>
                  </a:cubicBezTo>
                  <a:cubicBezTo>
                    <a:pt x="134470" y="185406"/>
                    <a:pt x="185905" y="133971"/>
                    <a:pt x="248770" y="133971"/>
                  </a:cubicBezTo>
                  <a:close/>
                  <a:moveTo>
                    <a:pt x="248770" y="153021"/>
                  </a:moveTo>
                  <a:cubicBezTo>
                    <a:pt x="196383" y="153021"/>
                    <a:pt x="153520" y="195884"/>
                    <a:pt x="153520" y="248271"/>
                  </a:cubicBezTo>
                  <a:cubicBezTo>
                    <a:pt x="153520" y="300659"/>
                    <a:pt x="196383" y="343521"/>
                    <a:pt x="248770" y="343521"/>
                  </a:cubicBezTo>
                  <a:cubicBezTo>
                    <a:pt x="301158" y="343521"/>
                    <a:pt x="344020" y="300659"/>
                    <a:pt x="344020" y="248271"/>
                  </a:cubicBezTo>
                  <a:cubicBezTo>
                    <a:pt x="344020" y="195884"/>
                    <a:pt x="301158" y="153021"/>
                    <a:pt x="248770" y="153021"/>
                  </a:cubicBezTo>
                  <a:close/>
                  <a:moveTo>
                    <a:pt x="367833" y="114921"/>
                  </a:moveTo>
                  <a:cubicBezTo>
                    <a:pt x="375452" y="114921"/>
                    <a:pt x="382120" y="121589"/>
                    <a:pt x="382120" y="129209"/>
                  </a:cubicBezTo>
                  <a:cubicBezTo>
                    <a:pt x="382120" y="136829"/>
                    <a:pt x="375452" y="143496"/>
                    <a:pt x="367833" y="143496"/>
                  </a:cubicBezTo>
                  <a:cubicBezTo>
                    <a:pt x="360213" y="143496"/>
                    <a:pt x="353545" y="136829"/>
                    <a:pt x="353545" y="129209"/>
                  </a:cubicBezTo>
                  <a:cubicBezTo>
                    <a:pt x="353545" y="121589"/>
                    <a:pt x="360213" y="114921"/>
                    <a:pt x="367833" y="114921"/>
                  </a:cubicBezTo>
                  <a:close/>
                </a:path>
              </a:pathLst>
            </a:custGeom>
            <a:solidFill>
              <a:schemeClr val="tx1">
                <a:lumMod val="50000"/>
                <a:lumOff val="50000"/>
              </a:schemeClr>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grpSp>
    </p:spTree>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311360" y="1180320"/>
            <a:ext cx="9569280" cy="4741201"/>
            <a:chOff x="1311360" y="1180320"/>
            <a:chExt cx="9569280" cy="4741201"/>
          </a:xfrm>
        </p:grpSpPr>
        <p:grpSp>
          <p:nvGrpSpPr>
            <p:cNvPr id="3" name="组合 2"/>
            <p:cNvGrpSpPr/>
            <p:nvPr/>
          </p:nvGrpSpPr>
          <p:grpSpPr>
            <a:xfrm>
              <a:off x="1311360" y="3036627"/>
              <a:ext cx="9569280" cy="2884894"/>
              <a:chOff x="1351967" y="2392681"/>
              <a:chExt cx="9569280" cy="2884894"/>
            </a:xfrm>
          </p:grpSpPr>
          <p:sp>
            <p:nvSpPr>
              <p:cNvPr id="9" name="任意多边形: 形状 8"/>
              <p:cNvSpPr/>
              <p:nvPr/>
            </p:nvSpPr>
            <p:spPr>
              <a:xfrm>
                <a:off x="1351967" y="2392681"/>
                <a:ext cx="2509858" cy="2884894"/>
              </a:xfrm>
              <a:custGeom>
                <a:avLst/>
                <a:gdLst>
                  <a:gd name="connsiteX0" fmla="*/ 3603308 w 3603307"/>
                  <a:gd name="connsiteY0" fmla="*/ 1062038 h 4062412"/>
                  <a:gd name="connsiteX1" fmla="*/ 3603308 w 3603307"/>
                  <a:gd name="connsiteY1" fmla="*/ 3000375 h 4062412"/>
                  <a:gd name="connsiteX2" fmla="*/ 3424238 w 3603307"/>
                  <a:gd name="connsiteY2" fmla="*/ 3289935 h 4062412"/>
                  <a:gd name="connsiteX3" fmla="*/ 1946910 w 3603307"/>
                  <a:gd name="connsiteY3" fmla="*/ 4028123 h 4062412"/>
                  <a:gd name="connsiteX4" fmla="*/ 1657350 w 3603307"/>
                  <a:gd name="connsiteY4" fmla="*/ 4028123 h 4062412"/>
                  <a:gd name="connsiteX5" fmla="*/ 179070 w 3603307"/>
                  <a:gd name="connsiteY5" fmla="*/ 3289935 h 4062412"/>
                  <a:gd name="connsiteX6" fmla="*/ 0 w 3603307"/>
                  <a:gd name="connsiteY6" fmla="*/ 3000375 h 4062412"/>
                  <a:gd name="connsiteX7" fmla="*/ 0 w 3603307"/>
                  <a:gd name="connsiteY7" fmla="*/ 1062038 h 4062412"/>
                  <a:gd name="connsiteX8" fmla="*/ 179070 w 3603307"/>
                  <a:gd name="connsiteY8" fmla="*/ 772478 h 4062412"/>
                  <a:gd name="connsiteX9" fmla="*/ 1656398 w 3603307"/>
                  <a:gd name="connsiteY9" fmla="*/ 34290 h 4062412"/>
                  <a:gd name="connsiteX10" fmla="*/ 1945958 w 3603307"/>
                  <a:gd name="connsiteY10" fmla="*/ 34290 h 4062412"/>
                  <a:gd name="connsiteX11" fmla="*/ 3423285 w 3603307"/>
                  <a:gd name="connsiteY11" fmla="*/ 772478 h 4062412"/>
                  <a:gd name="connsiteX12" fmla="*/ 3603308 w 3603307"/>
                  <a:gd name="connsiteY12" fmla="*/ 1062038 h 4062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3307" h="4062412">
                    <a:moveTo>
                      <a:pt x="3603308" y="1062038"/>
                    </a:moveTo>
                    <a:lnTo>
                      <a:pt x="3603308" y="3000375"/>
                    </a:lnTo>
                    <a:cubicBezTo>
                      <a:pt x="3603308" y="3123248"/>
                      <a:pt x="3533775" y="3235643"/>
                      <a:pt x="3424238" y="3289935"/>
                    </a:cubicBezTo>
                    <a:lnTo>
                      <a:pt x="1946910" y="4028123"/>
                    </a:lnTo>
                    <a:cubicBezTo>
                      <a:pt x="1855470" y="4073843"/>
                      <a:pt x="1748790" y="4073843"/>
                      <a:pt x="1657350" y="4028123"/>
                    </a:cubicBezTo>
                    <a:lnTo>
                      <a:pt x="179070" y="3289935"/>
                    </a:lnTo>
                    <a:cubicBezTo>
                      <a:pt x="69533" y="3235643"/>
                      <a:pt x="0" y="3123248"/>
                      <a:pt x="0" y="3000375"/>
                    </a:cubicBezTo>
                    <a:lnTo>
                      <a:pt x="0" y="1062038"/>
                    </a:lnTo>
                    <a:cubicBezTo>
                      <a:pt x="0" y="939165"/>
                      <a:pt x="69533" y="826770"/>
                      <a:pt x="179070" y="772478"/>
                    </a:cubicBezTo>
                    <a:lnTo>
                      <a:pt x="1656398" y="34290"/>
                    </a:lnTo>
                    <a:cubicBezTo>
                      <a:pt x="1747838" y="-11430"/>
                      <a:pt x="1854518" y="-11430"/>
                      <a:pt x="1945958" y="34290"/>
                    </a:cubicBezTo>
                    <a:lnTo>
                      <a:pt x="3423285" y="772478"/>
                    </a:lnTo>
                    <a:cubicBezTo>
                      <a:pt x="3533775" y="827723"/>
                      <a:pt x="3603308" y="939165"/>
                      <a:pt x="3603308" y="1062038"/>
                    </a:cubicBezTo>
                    <a:close/>
                  </a:path>
                </a:pathLst>
              </a:custGeom>
              <a:solidFill>
                <a:schemeClr val="accent5">
                  <a:alpha val="10000"/>
                </a:schemeClr>
              </a:solid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rmAutofit/>
              </a:bodyPr>
              <a:lstStyle/>
              <a:p>
                <a:pPr algn="ctr" defTabSz="913765">
                  <a:lnSpc>
                    <a:spcPct val="120000"/>
                  </a:lnSpc>
                </a:pPr>
                <a:r>
                  <a:rPr lang="en-US" altLang="zh-CN" sz="1600" b="1" dirty="0">
                    <a:noFill/>
                    <a:latin typeface="Arial" panose="020B0604020202090204" pitchFamily="34" charset="0"/>
                    <a:ea typeface="华文楷体" panose="02010600040101010101" pitchFamily="2" charset="-122"/>
                  </a:rPr>
                  <a:t>01</a:t>
                </a:r>
                <a:endParaRPr lang="zh-CN" altLang="en-US" sz="1600" b="1" dirty="0">
                  <a:noFill/>
                  <a:latin typeface="Arial" panose="020B0604020202090204" pitchFamily="34" charset="0"/>
                  <a:ea typeface="华文楷体" panose="02010600040101010101" pitchFamily="2" charset="-122"/>
                </a:endParaRPr>
              </a:p>
            </p:txBody>
          </p:sp>
          <p:grpSp>
            <p:nvGrpSpPr>
              <p:cNvPr id="14" name="组合 13"/>
              <p:cNvGrpSpPr>
                <a:grpSpLocks noChangeAspect="1"/>
              </p:cNvGrpSpPr>
              <p:nvPr/>
            </p:nvGrpSpPr>
            <p:grpSpPr>
              <a:xfrm>
                <a:off x="2336895" y="2994950"/>
                <a:ext cx="540002" cy="540000"/>
                <a:chOff x="7053411" y="4530811"/>
                <a:chExt cx="876463" cy="876459"/>
              </a:xfrm>
            </p:grpSpPr>
            <p:sp>
              <p:nvSpPr>
                <p:cNvPr id="24" name="矩形: 圆角 23"/>
                <p:cNvSpPr/>
                <p:nvPr/>
              </p:nvSpPr>
              <p:spPr>
                <a:xfrm>
                  <a:off x="7053411" y="4530811"/>
                  <a:ext cx="876463" cy="876459"/>
                </a:xfrm>
                <a:prstGeom prst="roundRect">
                  <a:avLst/>
                </a:prstGeom>
                <a:gradFill>
                  <a:gsLst>
                    <a:gs pos="0">
                      <a:schemeClr val="accent5">
                        <a:lumMod val="60000"/>
                        <a:lumOff val="40000"/>
                      </a:schemeClr>
                    </a:gs>
                    <a:gs pos="60000">
                      <a:schemeClr val="accent5"/>
                    </a:gs>
                  </a:gsLst>
                  <a:lin ang="2700000" scaled="0"/>
                </a:gradFill>
                <a:ln w="57150" cap="rnd">
                  <a:noFill/>
                  <a:prstDash val="solid"/>
                  <a:round/>
                </a:ln>
                <a:effectLst>
                  <a:outerShdw blurRad="76200" dist="50800" dir="5400000" algn="ctr" rotWithShape="0">
                    <a:schemeClr val="accent5">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3765"/>
                  <a:endParaRPr lang="zh-CN" altLang="en-US" sz="2000" b="1" dirty="0">
                    <a:solidFill>
                      <a:schemeClr val="bg1"/>
                    </a:solidFill>
                  </a:endParaRPr>
                </a:p>
              </p:txBody>
            </p:sp>
            <p:sp>
              <p:nvSpPr>
                <p:cNvPr id="25" name="任意多边形: 形状 24"/>
                <p:cNvSpPr/>
                <p:nvPr/>
              </p:nvSpPr>
              <p:spPr>
                <a:xfrm>
                  <a:off x="7301476" y="4789054"/>
                  <a:ext cx="380330" cy="373537"/>
                </a:xfrm>
                <a:custGeom>
                  <a:avLst/>
                  <a:gdLst>
                    <a:gd name="connsiteX0" fmla="*/ 343764 w 533400"/>
                    <a:gd name="connsiteY0" fmla="*/ 276846 h 523875"/>
                    <a:gd name="connsiteX1" fmla="*/ 372339 w 533400"/>
                    <a:gd name="connsiteY1" fmla="*/ 305421 h 523875"/>
                    <a:gd name="connsiteX2" fmla="*/ 372339 w 533400"/>
                    <a:gd name="connsiteY2" fmla="*/ 495921 h 523875"/>
                    <a:gd name="connsiteX3" fmla="*/ 343764 w 533400"/>
                    <a:gd name="connsiteY3" fmla="*/ 524496 h 523875"/>
                    <a:gd name="connsiteX4" fmla="*/ 191364 w 533400"/>
                    <a:gd name="connsiteY4" fmla="*/ 524496 h 523875"/>
                    <a:gd name="connsiteX5" fmla="*/ 162789 w 533400"/>
                    <a:gd name="connsiteY5" fmla="*/ 495921 h 523875"/>
                    <a:gd name="connsiteX6" fmla="*/ 162789 w 533400"/>
                    <a:gd name="connsiteY6" fmla="*/ 305421 h 523875"/>
                    <a:gd name="connsiteX7" fmla="*/ 191364 w 533400"/>
                    <a:gd name="connsiteY7" fmla="*/ 276846 h 523875"/>
                    <a:gd name="connsiteX8" fmla="*/ 343764 w 533400"/>
                    <a:gd name="connsiteY8" fmla="*/ 276846 h 523875"/>
                    <a:gd name="connsiteX9" fmla="*/ 143739 w 533400"/>
                    <a:gd name="connsiteY9" fmla="*/ 114921 h 523875"/>
                    <a:gd name="connsiteX10" fmla="*/ 179934 w 533400"/>
                    <a:gd name="connsiteY10" fmla="*/ 153021 h 523875"/>
                    <a:gd name="connsiteX11" fmla="*/ 181839 w 533400"/>
                    <a:gd name="connsiteY11" fmla="*/ 153021 h 523875"/>
                    <a:gd name="connsiteX12" fmla="*/ 353289 w 533400"/>
                    <a:gd name="connsiteY12" fmla="*/ 153021 h 523875"/>
                    <a:gd name="connsiteX13" fmla="*/ 391389 w 533400"/>
                    <a:gd name="connsiteY13" fmla="*/ 116826 h 523875"/>
                    <a:gd name="connsiteX14" fmla="*/ 391389 w 533400"/>
                    <a:gd name="connsiteY14" fmla="*/ 114921 h 523875"/>
                    <a:gd name="connsiteX15" fmla="*/ 505689 w 533400"/>
                    <a:gd name="connsiteY15" fmla="*/ 114921 h 523875"/>
                    <a:gd name="connsiteX16" fmla="*/ 534264 w 533400"/>
                    <a:gd name="connsiteY16" fmla="*/ 143496 h 523875"/>
                    <a:gd name="connsiteX17" fmla="*/ 534264 w 533400"/>
                    <a:gd name="connsiteY17" fmla="*/ 381621 h 523875"/>
                    <a:gd name="connsiteX18" fmla="*/ 505689 w 533400"/>
                    <a:gd name="connsiteY18" fmla="*/ 410196 h 523875"/>
                    <a:gd name="connsiteX19" fmla="*/ 391389 w 533400"/>
                    <a:gd name="connsiteY19" fmla="*/ 410196 h 523875"/>
                    <a:gd name="connsiteX20" fmla="*/ 391389 w 533400"/>
                    <a:gd name="connsiteY20" fmla="*/ 295896 h 523875"/>
                    <a:gd name="connsiteX21" fmla="*/ 355194 w 533400"/>
                    <a:gd name="connsiteY21" fmla="*/ 257796 h 523875"/>
                    <a:gd name="connsiteX22" fmla="*/ 353289 w 533400"/>
                    <a:gd name="connsiteY22" fmla="*/ 257796 h 523875"/>
                    <a:gd name="connsiteX23" fmla="*/ 181839 w 533400"/>
                    <a:gd name="connsiteY23" fmla="*/ 257796 h 523875"/>
                    <a:gd name="connsiteX24" fmla="*/ 143739 w 533400"/>
                    <a:gd name="connsiteY24" fmla="*/ 293991 h 523875"/>
                    <a:gd name="connsiteX25" fmla="*/ 143739 w 533400"/>
                    <a:gd name="connsiteY25" fmla="*/ 295896 h 523875"/>
                    <a:gd name="connsiteX26" fmla="*/ 143739 w 533400"/>
                    <a:gd name="connsiteY26" fmla="*/ 410196 h 523875"/>
                    <a:gd name="connsiteX27" fmla="*/ 29439 w 533400"/>
                    <a:gd name="connsiteY27" fmla="*/ 410196 h 523875"/>
                    <a:gd name="connsiteX28" fmla="*/ 864 w 533400"/>
                    <a:gd name="connsiteY28" fmla="*/ 381621 h 523875"/>
                    <a:gd name="connsiteX29" fmla="*/ 864 w 533400"/>
                    <a:gd name="connsiteY29" fmla="*/ 201408 h 523875"/>
                    <a:gd name="connsiteX30" fmla="*/ 11151 w 533400"/>
                    <a:gd name="connsiteY30" fmla="*/ 175405 h 523875"/>
                    <a:gd name="connsiteX31" fmla="*/ 56300 w 533400"/>
                    <a:gd name="connsiteY31" fmla="*/ 127018 h 523875"/>
                    <a:gd name="connsiteX32" fmla="*/ 84112 w 533400"/>
                    <a:gd name="connsiteY32" fmla="*/ 114921 h 523875"/>
                    <a:gd name="connsiteX33" fmla="*/ 143739 w 533400"/>
                    <a:gd name="connsiteY33" fmla="*/ 114921 h 523875"/>
                    <a:gd name="connsiteX34" fmla="*/ 462827 w 533400"/>
                    <a:gd name="connsiteY34" fmla="*/ 172071 h 523875"/>
                    <a:gd name="connsiteX35" fmla="*/ 448539 w 533400"/>
                    <a:gd name="connsiteY35" fmla="*/ 186359 h 523875"/>
                    <a:gd name="connsiteX36" fmla="*/ 462827 w 533400"/>
                    <a:gd name="connsiteY36" fmla="*/ 200646 h 523875"/>
                    <a:gd name="connsiteX37" fmla="*/ 477114 w 533400"/>
                    <a:gd name="connsiteY37" fmla="*/ 186359 h 523875"/>
                    <a:gd name="connsiteX38" fmla="*/ 462827 w 533400"/>
                    <a:gd name="connsiteY38" fmla="*/ 172071 h 523875"/>
                    <a:gd name="connsiteX39" fmla="*/ 343764 w 533400"/>
                    <a:gd name="connsiteY39" fmla="*/ 621 h 523875"/>
                    <a:gd name="connsiteX40" fmla="*/ 372339 w 533400"/>
                    <a:gd name="connsiteY40" fmla="*/ 29196 h 523875"/>
                    <a:gd name="connsiteX41" fmla="*/ 372339 w 533400"/>
                    <a:gd name="connsiteY41" fmla="*/ 105396 h 523875"/>
                    <a:gd name="connsiteX42" fmla="*/ 343764 w 533400"/>
                    <a:gd name="connsiteY42" fmla="*/ 133971 h 523875"/>
                    <a:gd name="connsiteX43" fmla="*/ 191364 w 533400"/>
                    <a:gd name="connsiteY43" fmla="*/ 133971 h 523875"/>
                    <a:gd name="connsiteX44" fmla="*/ 162789 w 533400"/>
                    <a:gd name="connsiteY44" fmla="*/ 105396 h 523875"/>
                    <a:gd name="connsiteX45" fmla="*/ 162789 w 533400"/>
                    <a:gd name="connsiteY45" fmla="*/ 29196 h 523875"/>
                    <a:gd name="connsiteX46" fmla="*/ 191364 w 533400"/>
                    <a:gd name="connsiteY46" fmla="*/ 621 h 523875"/>
                    <a:gd name="connsiteX47" fmla="*/ 343764 w 533400"/>
                    <a:gd name="connsiteY47" fmla="*/ 621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533400" h="523875">
                      <a:moveTo>
                        <a:pt x="343764" y="276846"/>
                      </a:moveTo>
                      <a:cubicBezTo>
                        <a:pt x="359576" y="276846"/>
                        <a:pt x="372339" y="289610"/>
                        <a:pt x="372339" y="305421"/>
                      </a:cubicBezTo>
                      <a:lnTo>
                        <a:pt x="372339" y="495921"/>
                      </a:lnTo>
                      <a:cubicBezTo>
                        <a:pt x="372339" y="511732"/>
                        <a:pt x="359576" y="524496"/>
                        <a:pt x="343764" y="524496"/>
                      </a:cubicBezTo>
                      <a:lnTo>
                        <a:pt x="191364" y="524496"/>
                      </a:lnTo>
                      <a:cubicBezTo>
                        <a:pt x="175552" y="524496"/>
                        <a:pt x="162789" y="511732"/>
                        <a:pt x="162789" y="495921"/>
                      </a:cubicBezTo>
                      <a:lnTo>
                        <a:pt x="162789" y="305421"/>
                      </a:lnTo>
                      <a:cubicBezTo>
                        <a:pt x="162789" y="289610"/>
                        <a:pt x="175552" y="276846"/>
                        <a:pt x="191364" y="276846"/>
                      </a:cubicBezTo>
                      <a:lnTo>
                        <a:pt x="343764" y="276846"/>
                      </a:lnTo>
                      <a:close/>
                      <a:moveTo>
                        <a:pt x="143739" y="114921"/>
                      </a:moveTo>
                      <a:cubicBezTo>
                        <a:pt x="143739" y="135305"/>
                        <a:pt x="159741" y="151973"/>
                        <a:pt x="179934" y="153021"/>
                      </a:cubicBezTo>
                      <a:lnTo>
                        <a:pt x="181839" y="153021"/>
                      </a:lnTo>
                      <a:lnTo>
                        <a:pt x="353289" y="153021"/>
                      </a:lnTo>
                      <a:cubicBezTo>
                        <a:pt x="373673" y="153021"/>
                        <a:pt x="390341" y="137019"/>
                        <a:pt x="391389" y="116826"/>
                      </a:cubicBezTo>
                      <a:lnTo>
                        <a:pt x="391389" y="114921"/>
                      </a:lnTo>
                      <a:lnTo>
                        <a:pt x="505689" y="114921"/>
                      </a:lnTo>
                      <a:cubicBezTo>
                        <a:pt x="521501" y="114921"/>
                        <a:pt x="534264" y="127685"/>
                        <a:pt x="534264" y="143496"/>
                      </a:cubicBezTo>
                      <a:lnTo>
                        <a:pt x="534264" y="381621"/>
                      </a:lnTo>
                      <a:cubicBezTo>
                        <a:pt x="534264" y="397432"/>
                        <a:pt x="521501" y="410196"/>
                        <a:pt x="505689" y="410196"/>
                      </a:cubicBezTo>
                      <a:lnTo>
                        <a:pt x="391389" y="410196"/>
                      </a:lnTo>
                      <a:lnTo>
                        <a:pt x="391389" y="295896"/>
                      </a:lnTo>
                      <a:cubicBezTo>
                        <a:pt x="391389" y="275512"/>
                        <a:pt x="375387" y="258844"/>
                        <a:pt x="355194" y="257796"/>
                      </a:cubicBezTo>
                      <a:lnTo>
                        <a:pt x="353289" y="257796"/>
                      </a:lnTo>
                      <a:lnTo>
                        <a:pt x="181839" y="257796"/>
                      </a:lnTo>
                      <a:cubicBezTo>
                        <a:pt x="161455" y="257796"/>
                        <a:pt x="144787" y="273798"/>
                        <a:pt x="143739" y="293991"/>
                      </a:cubicBezTo>
                      <a:lnTo>
                        <a:pt x="143739" y="295896"/>
                      </a:lnTo>
                      <a:lnTo>
                        <a:pt x="143739" y="410196"/>
                      </a:lnTo>
                      <a:lnTo>
                        <a:pt x="29439" y="410196"/>
                      </a:lnTo>
                      <a:cubicBezTo>
                        <a:pt x="13627" y="410196"/>
                        <a:pt x="864" y="397432"/>
                        <a:pt x="864" y="381621"/>
                      </a:cubicBezTo>
                      <a:lnTo>
                        <a:pt x="864" y="201408"/>
                      </a:lnTo>
                      <a:cubicBezTo>
                        <a:pt x="864" y="191788"/>
                        <a:pt x="4484" y="182454"/>
                        <a:pt x="11151" y="175405"/>
                      </a:cubicBezTo>
                      <a:lnTo>
                        <a:pt x="56300" y="127018"/>
                      </a:lnTo>
                      <a:cubicBezTo>
                        <a:pt x="63538" y="119303"/>
                        <a:pt x="73635" y="114921"/>
                        <a:pt x="84112" y="114921"/>
                      </a:cubicBezTo>
                      <a:lnTo>
                        <a:pt x="143739" y="114921"/>
                      </a:lnTo>
                      <a:close/>
                      <a:moveTo>
                        <a:pt x="462827" y="172071"/>
                      </a:moveTo>
                      <a:cubicBezTo>
                        <a:pt x="454921" y="172071"/>
                        <a:pt x="448539" y="178453"/>
                        <a:pt x="448539" y="186359"/>
                      </a:cubicBezTo>
                      <a:cubicBezTo>
                        <a:pt x="448539" y="194264"/>
                        <a:pt x="454921" y="200646"/>
                        <a:pt x="462827" y="200646"/>
                      </a:cubicBezTo>
                      <a:cubicBezTo>
                        <a:pt x="470732" y="200646"/>
                        <a:pt x="477114" y="194264"/>
                        <a:pt x="477114" y="186359"/>
                      </a:cubicBezTo>
                      <a:cubicBezTo>
                        <a:pt x="477114" y="178453"/>
                        <a:pt x="470732" y="172071"/>
                        <a:pt x="462827" y="172071"/>
                      </a:cubicBezTo>
                      <a:close/>
                      <a:moveTo>
                        <a:pt x="343764" y="621"/>
                      </a:moveTo>
                      <a:cubicBezTo>
                        <a:pt x="359576" y="621"/>
                        <a:pt x="372339" y="13385"/>
                        <a:pt x="372339" y="29196"/>
                      </a:cubicBezTo>
                      <a:lnTo>
                        <a:pt x="372339" y="105396"/>
                      </a:lnTo>
                      <a:cubicBezTo>
                        <a:pt x="372339" y="121207"/>
                        <a:pt x="359576" y="133971"/>
                        <a:pt x="343764" y="133971"/>
                      </a:cubicBezTo>
                      <a:lnTo>
                        <a:pt x="191364" y="133971"/>
                      </a:lnTo>
                      <a:cubicBezTo>
                        <a:pt x="175552" y="133971"/>
                        <a:pt x="162789" y="121207"/>
                        <a:pt x="162789" y="105396"/>
                      </a:cubicBezTo>
                      <a:lnTo>
                        <a:pt x="162789" y="29196"/>
                      </a:lnTo>
                      <a:cubicBezTo>
                        <a:pt x="162789" y="13385"/>
                        <a:pt x="175552" y="621"/>
                        <a:pt x="191364" y="621"/>
                      </a:cubicBezTo>
                      <a:lnTo>
                        <a:pt x="343764" y="621"/>
                      </a:lnTo>
                      <a:close/>
                    </a:path>
                  </a:pathLst>
                </a:custGeom>
                <a:solidFill>
                  <a:srgbClr val="FFFFFF"/>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5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endParaRPr>
                </a:p>
              </p:txBody>
            </p:sp>
          </p:grpSp>
          <p:sp>
            <p:nvSpPr>
              <p:cNvPr id="8" name="任意多边形: 形状 7"/>
              <p:cNvSpPr/>
              <p:nvPr/>
            </p:nvSpPr>
            <p:spPr>
              <a:xfrm>
                <a:off x="3705108" y="2392681"/>
                <a:ext cx="2509858" cy="2884894"/>
              </a:xfrm>
              <a:custGeom>
                <a:avLst/>
                <a:gdLst>
                  <a:gd name="connsiteX0" fmla="*/ 3603308 w 3603307"/>
                  <a:gd name="connsiteY0" fmla="*/ 1062038 h 4062412"/>
                  <a:gd name="connsiteX1" fmla="*/ 3603308 w 3603307"/>
                  <a:gd name="connsiteY1" fmla="*/ 3000375 h 4062412"/>
                  <a:gd name="connsiteX2" fmla="*/ 3424238 w 3603307"/>
                  <a:gd name="connsiteY2" fmla="*/ 3289935 h 4062412"/>
                  <a:gd name="connsiteX3" fmla="*/ 1946910 w 3603307"/>
                  <a:gd name="connsiteY3" fmla="*/ 4028123 h 4062412"/>
                  <a:gd name="connsiteX4" fmla="*/ 1657350 w 3603307"/>
                  <a:gd name="connsiteY4" fmla="*/ 4028123 h 4062412"/>
                  <a:gd name="connsiteX5" fmla="*/ 179070 w 3603307"/>
                  <a:gd name="connsiteY5" fmla="*/ 3289935 h 4062412"/>
                  <a:gd name="connsiteX6" fmla="*/ 0 w 3603307"/>
                  <a:gd name="connsiteY6" fmla="*/ 3000375 h 4062412"/>
                  <a:gd name="connsiteX7" fmla="*/ 0 w 3603307"/>
                  <a:gd name="connsiteY7" fmla="*/ 1062038 h 4062412"/>
                  <a:gd name="connsiteX8" fmla="*/ 179070 w 3603307"/>
                  <a:gd name="connsiteY8" fmla="*/ 772478 h 4062412"/>
                  <a:gd name="connsiteX9" fmla="*/ 1656398 w 3603307"/>
                  <a:gd name="connsiteY9" fmla="*/ 34290 h 4062412"/>
                  <a:gd name="connsiteX10" fmla="*/ 1945958 w 3603307"/>
                  <a:gd name="connsiteY10" fmla="*/ 34290 h 4062412"/>
                  <a:gd name="connsiteX11" fmla="*/ 3423285 w 3603307"/>
                  <a:gd name="connsiteY11" fmla="*/ 772478 h 4062412"/>
                  <a:gd name="connsiteX12" fmla="*/ 3603308 w 3603307"/>
                  <a:gd name="connsiteY12" fmla="*/ 1062038 h 4062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3307" h="4062412">
                    <a:moveTo>
                      <a:pt x="3603308" y="1062038"/>
                    </a:moveTo>
                    <a:lnTo>
                      <a:pt x="3603308" y="3000375"/>
                    </a:lnTo>
                    <a:cubicBezTo>
                      <a:pt x="3603308" y="3123248"/>
                      <a:pt x="3533775" y="3235643"/>
                      <a:pt x="3424238" y="3289935"/>
                    </a:cubicBezTo>
                    <a:lnTo>
                      <a:pt x="1946910" y="4028123"/>
                    </a:lnTo>
                    <a:cubicBezTo>
                      <a:pt x="1855470" y="4073843"/>
                      <a:pt x="1748790" y="4073843"/>
                      <a:pt x="1657350" y="4028123"/>
                    </a:cubicBezTo>
                    <a:lnTo>
                      <a:pt x="179070" y="3289935"/>
                    </a:lnTo>
                    <a:cubicBezTo>
                      <a:pt x="69533" y="3235643"/>
                      <a:pt x="0" y="3123248"/>
                      <a:pt x="0" y="3000375"/>
                    </a:cubicBezTo>
                    <a:lnTo>
                      <a:pt x="0" y="1062038"/>
                    </a:lnTo>
                    <a:cubicBezTo>
                      <a:pt x="0" y="939165"/>
                      <a:pt x="69533" y="826770"/>
                      <a:pt x="179070" y="772478"/>
                    </a:cubicBezTo>
                    <a:lnTo>
                      <a:pt x="1656398" y="34290"/>
                    </a:lnTo>
                    <a:cubicBezTo>
                      <a:pt x="1747838" y="-11430"/>
                      <a:pt x="1854518" y="-11430"/>
                      <a:pt x="1945958" y="34290"/>
                    </a:cubicBezTo>
                    <a:lnTo>
                      <a:pt x="3423285" y="772478"/>
                    </a:lnTo>
                    <a:cubicBezTo>
                      <a:pt x="3533775" y="827723"/>
                      <a:pt x="3603308" y="939165"/>
                      <a:pt x="3603308" y="1062038"/>
                    </a:cubicBezTo>
                    <a:close/>
                  </a:path>
                </a:pathLst>
              </a:custGeom>
              <a:solidFill>
                <a:schemeClr val="accent6">
                  <a:alpha val="10000"/>
                </a:schemeClr>
              </a:solid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0" numCol="1" spcCol="0" rtlCol="0" fromWordArt="0" anchor="ctr" anchorCtr="0" forceAA="0" compatLnSpc="1">
                <a:normAutofit/>
              </a:bodyPr>
              <a:lstStyle/>
              <a:p>
                <a:pPr algn="ctr" defTabSz="913765"/>
                <a:r>
                  <a:rPr lang="en-US" altLang="zh-CN" sz="1600" b="1" dirty="0">
                    <a:noFill/>
                    <a:latin typeface="Arial" panose="020B0604020202090204" pitchFamily="34" charset="0"/>
                    <a:ea typeface="华文楷体" panose="02010600040101010101" pitchFamily="2" charset="-122"/>
                  </a:rPr>
                  <a:t>02</a:t>
                </a:r>
                <a:endParaRPr lang="zh-CN" altLang="en-US" sz="1600" b="1" dirty="0">
                  <a:noFill/>
                  <a:latin typeface="Arial" panose="020B0604020202090204" pitchFamily="34" charset="0"/>
                  <a:ea typeface="华文楷体" panose="02010600040101010101" pitchFamily="2" charset="-122"/>
                </a:endParaRPr>
              </a:p>
            </p:txBody>
          </p:sp>
          <p:grpSp>
            <p:nvGrpSpPr>
              <p:cNvPr id="15" name="组合 14"/>
              <p:cNvGrpSpPr>
                <a:grpSpLocks noChangeAspect="1"/>
              </p:cNvGrpSpPr>
              <p:nvPr/>
            </p:nvGrpSpPr>
            <p:grpSpPr>
              <a:xfrm>
                <a:off x="4669901" y="2994950"/>
                <a:ext cx="545860" cy="540000"/>
                <a:chOff x="9072988" y="4530811"/>
                <a:chExt cx="885971" cy="876459"/>
              </a:xfrm>
            </p:grpSpPr>
            <p:sp>
              <p:nvSpPr>
                <p:cNvPr id="22" name="矩形: 圆角 21"/>
                <p:cNvSpPr/>
                <p:nvPr/>
              </p:nvSpPr>
              <p:spPr>
                <a:xfrm>
                  <a:off x="9072988" y="4530811"/>
                  <a:ext cx="885971" cy="876459"/>
                </a:xfrm>
                <a:prstGeom prst="roundRect">
                  <a:avLst/>
                </a:prstGeom>
                <a:gradFill>
                  <a:gsLst>
                    <a:gs pos="0">
                      <a:schemeClr val="accent6">
                        <a:lumMod val="60000"/>
                        <a:lumOff val="40000"/>
                      </a:schemeClr>
                    </a:gs>
                    <a:gs pos="60000">
                      <a:schemeClr val="accent6"/>
                    </a:gs>
                  </a:gsLst>
                  <a:lin ang="2700000" scaled="0"/>
                </a:gradFill>
                <a:ln w="57150" cap="rnd">
                  <a:noFill/>
                  <a:prstDash val="solid"/>
                  <a:round/>
                </a:ln>
                <a:effectLst>
                  <a:outerShdw blurRad="76200" dist="50800" dir="5400000" algn="ctr" rotWithShape="0">
                    <a:schemeClr val="accent6">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3765"/>
                  <a:endParaRPr lang="zh-CN" altLang="en-US" sz="2000" b="1" dirty="0">
                    <a:solidFill>
                      <a:schemeClr val="bg1"/>
                    </a:solidFill>
                  </a:endParaRPr>
                </a:p>
              </p:txBody>
            </p:sp>
            <p:sp>
              <p:nvSpPr>
                <p:cNvPr id="23" name="任意多边形: 形状 22"/>
                <p:cNvSpPr/>
                <p:nvPr/>
              </p:nvSpPr>
              <p:spPr>
                <a:xfrm>
                  <a:off x="9321055" y="4789069"/>
                  <a:ext cx="380330" cy="346372"/>
                </a:xfrm>
                <a:custGeom>
                  <a:avLst/>
                  <a:gdLst>
                    <a:gd name="connsiteX0" fmla="*/ 125329 w 533400"/>
                    <a:gd name="connsiteY0" fmla="*/ 229221 h 485775"/>
                    <a:gd name="connsiteX1" fmla="*/ 125329 w 533400"/>
                    <a:gd name="connsiteY1" fmla="*/ 276846 h 485775"/>
                    <a:gd name="connsiteX2" fmla="*/ 144379 w 533400"/>
                    <a:gd name="connsiteY2" fmla="*/ 276846 h 485775"/>
                    <a:gd name="connsiteX3" fmla="*/ 144379 w 533400"/>
                    <a:gd name="connsiteY3" fmla="*/ 229221 h 485775"/>
                    <a:gd name="connsiteX4" fmla="*/ 392029 w 533400"/>
                    <a:gd name="connsiteY4" fmla="*/ 229221 h 485775"/>
                    <a:gd name="connsiteX5" fmla="*/ 392029 w 533400"/>
                    <a:gd name="connsiteY5" fmla="*/ 276846 h 485775"/>
                    <a:gd name="connsiteX6" fmla="*/ 411079 w 533400"/>
                    <a:gd name="connsiteY6" fmla="*/ 276846 h 485775"/>
                    <a:gd name="connsiteX7" fmla="*/ 411079 w 533400"/>
                    <a:gd name="connsiteY7" fmla="*/ 229221 h 485775"/>
                    <a:gd name="connsiteX8" fmla="*/ 534904 w 533400"/>
                    <a:gd name="connsiteY8" fmla="*/ 229221 h 485775"/>
                    <a:gd name="connsiteX9" fmla="*/ 534904 w 533400"/>
                    <a:gd name="connsiteY9" fmla="*/ 457821 h 485775"/>
                    <a:gd name="connsiteX10" fmla="*/ 506329 w 533400"/>
                    <a:gd name="connsiteY10" fmla="*/ 486396 h 485775"/>
                    <a:gd name="connsiteX11" fmla="*/ 30079 w 533400"/>
                    <a:gd name="connsiteY11" fmla="*/ 486396 h 485775"/>
                    <a:gd name="connsiteX12" fmla="*/ 1504 w 533400"/>
                    <a:gd name="connsiteY12" fmla="*/ 457821 h 485775"/>
                    <a:gd name="connsiteX13" fmla="*/ 1504 w 533400"/>
                    <a:gd name="connsiteY13" fmla="*/ 229221 h 485775"/>
                    <a:gd name="connsiteX14" fmla="*/ 125329 w 533400"/>
                    <a:gd name="connsiteY14" fmla="*/ 229221 h 485775"/>
                    <a:gd name="connsiteX15" fmla="*/ 372979 w 533400"/>
                    <a:gd name="connsiteY15" fmla="*/ 621 h 485775"/>
                    <a:gd name="connsiteX16" fmla="*/ 411079 w 533400"/>
                    <a:gd name="connsiteY16" fmla="*/ 36816 h 485775"/>
                    <a:gd name="connsiteX17" fmla="*/ 411079 w 533400"/>
                    <a:gd name="connsiteY17" fmla="*/ 38721 h 485775"/>
                    <a:gd name="connsiteX18" fmla="*/ 411079 w 533400"/>
                    <a:gd name="connsiteY18" fmla="*/ 114921 h 485775"/>
                    <a:gd name="connsiteX19" fmla="*/ 506329 w 533400"/>
                    <a:gd name="connsiteY19" fmla="*/ 114921 h 485775"/>
                    <a:gd name="connsiteX20" fmla="*/ 534904 w 533400"/>
                    <a:gd name="connsiteY20" fmla="*/ 143496 h 485775"/>
                    <a:gd name="connsiteX21" fmla="*/ 534904 w 533400"/>
                    <a:gd name="connsiteY21" fmla="*/ 210171 h 485775"/>
                    <a:gd name="connsiteX22" fmla="*/ 1504 w 533400"/>
                    <a:gd name="connsiteY22" fmla="*/ 210171 h 485775"/>
                    <a:gd name="connsiteX23" fmla="*/ 1504 w 533400"/>
                    <a:gd name="connsiteY23" fmla="*/ 143496 h 485775"/>
                    <a:gd name="connsiteX24" fmla="*/ 30079 w 533400"/>
                    <a:gd name="connsiteY24" fmla="*/ 114921 h 485775"/>
                    <a:gd name="connsiteX25" fmla="*/ 125329 w 533400"/>
                    <a:gd name="connsiteY25" fmla="*/ 114921 h 485775"/>
                    <a:gd name="connsiteX26" fmla="*/ 125329 w 533400"/>
                    <a:gd name="connsiteY26" fmla="*/ 38721 h 485775"/>
                    <a:gd name="connsiteX27" fmla="*/ 161524 w 533400"/>
                    <a:gd name="connsiteY27" fmla="*/ 621 h 485775"/>
                    <a:gd name="connsiteX28" fmla="*/ 163429 w 533400"/>
                    <a:gd name="connsiteY28" fmla="*/ 621 h 485775"/>
                    <a:gd name="connsiteX29" fmla="*/ 372979 w 533400"/>
                    <a:gd name="connsiteY29" fmla="*/ 621 h 485775"/>
                    <a:gd name="connsiteX30" fmla="*/ 372979 w 533400"/>
                    <a:gd name="connsiteY30" fmla="*/ 19671 h 485775"/>
                    <a:gd name="connsiteX31" fmla="*/ 163429 w 533400"/>
                    <a:gd name="connsiteY31" fmla="*/ 19671 h 485775"/>
                    <a:gd name="connsiteX32" fmla="*/ 144474 w 533400"/>
                    <a:gd name="connsiteY32" fmla="*/ 37292 h 485775"/>
                    <a:gd name="connsiteX33" fmla="*/ 144379 w 533400"/>
                    <a:gd name="connsiteY33" fmla="*/ 38721 h 485775"/>
                    <a:gd name="connsiteX34" fmla="*/ 144379 w 533400"/>
                    <a:gd name="connsiteY34" fmla="*/ 114921 h 485775"/>
                    <a:gd name="connsiteX35" fmla="*/ 392029 w 533400"/>
                    <a:gd name="connsiteY35" fmla="*/ 114921 h 485775"/>
                    <a:gd name="connsiteX36" fmla="*/ 392029 w 533400"/>
                    <a:gd name="connsiteY36" fmla="*/ 38721 h 485775"/>
                    <a:gd name="connsiteX37" fmla="*/ 375836 w 533400"/>
                    <a:gd name="connsiteY37" fmla="*/ 19862 h 485775"/>
                    <a:gd name="connsiteX38" fmla="*/ 374408 w 533400"/>
                    <a:gd name="connsiteY38" fmla="*/ 19671 h 485775"/>
                    <a:gd name="connsiteX39" fmla="*/ 372979 w 533400"/>
                    <a:gd name="connsiteY39" fmla="*/ 19671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533400" h="485775">
                      <a:moveTo>
                        <a:pt x="125329" y="229221"/>
                      </a:moveTo>
                      <a:lnTo>
                        <a:pt x="125329" y="276846"/>
                      </a:lnTo>
                      <a:lnTo>
                        <a:pt x="144379" y="276846"/>
                      </a:lnTo>
                      <a:lnTo>
                        <a:pt x="144379" y="229221"/>
                      </a:lnTo>
                      <a:lnTo>
                        <a:pt x="392029" y="229221"/>
                      </a:lnTo>
                      <a:lnTo>
                        <a:pt x="392029" y="276846"/>
                      </a:lnTo>
                      <a:lnTo>
                        <a:pt x="411079" y="276846"/>
                      </a:lnTo>
                      <a:lnTo>
                        <a:pt x="411079" y="229221"/>
                      </a:lnTo>
                      <a:lnTo>
                        <a:pt x="534904" y="229221"/>
                      </a:lnTo>
                      <a:lnTo>
                        <a:pt x="534904" y="457821"/>
                      </a:lnTo>
                      <a:cubicBezTo>
                        <a:pt x="534904" y="473632"/>
                        <a:pt x="522141" y="486396"/>
                        <a:pt x="506329" y="486396"/>
                      </a:cubicBezTo>
                      <a:lnTo>
                        <a:pt x="30079" y="486396"/>
                      </a:lnTo>
                      <a:cubicBezTo>
                        <a:pt x="14267" y="486396"/>
                        <a:pt x="1504" y="473632"/>
                        <a:pt x="1504" y="457821"/>
                      </a:cubicBezTo>
                      <a:lnTo>
                        <a:pt x="1504" y="229221"/>
                      </a:lnTo>
                      <a:lnTo>
                        <a:pt x="125329" y="229221"/>
                      </a:lnTo>
                      <a:close/>
                      <a:moveTo>
                        <a:pt x="372979" y="621"/>
                      </a:moveTo>
                      <a:cubicBezTo>
                        <a:pt x="393363" y="621"/>
                        <a:pt x="410031" y="16623"/>
                        <a:pt x="411079" y="36816"/>
                      </a:cubicBezTo>
                      <a:lnTo>
                        <a:pt x="411079" y="38721"/>
                      </a:lnTo>
                      <a:lnTo>
                        <a:pt x="411079" y="114921"/>
                      </a:lnTo>
                      <a:lnTo>
                        <a:pt x="506329" y="114921"/>
                      </a:lnTo>
                      <a:cubicBezTo>
                        <a:pt x="522141" y="114921"/>
                        <a:pt x="534904" y="127685"/>
                        <a:pt x="534904" y="143496"/>
                      </a:cubicBezTo>
                      <a:lnTo>
                        <a:pt x="534904" y="210171"/>
                      </a:lnTo>
                      <a:lnTo>
                        <a:pt x="1504" y="210171"/>
                      </a:lnTo>
                      <a:lnTo>
                        <a:pt x="1504" y="143496"/>
                      </a:lnTo>
                      <a:cubicBezTo>
                        <a:pt x="1504" y="127685"/>
                        <a:pt x="14267" y="114921"/>
                        <a:pt x="30079" y="114921"/>
                      </a:cubicBezTo>
                      <a:lnTo>
                        <a:pt x="125329" y="114921"/>
                      </a:lnTo>
                      <a:lnTo>
                        <a:pt x="125329" y="38721"/>
                      </a:lnTo>
                      <a:cubicBezTo>
                        <a:pt x="125329" y="18337"/>
                        <a:pt x="141331" y="1669"/>
                        <a:pt x="161524" y="621"/>
                      </a:cubicBezTo>
                      <a:lnTo>
                        <a:pt x="163429" y="621"/>
                      </a:lnTo>
                      <a:lnTo>
                        <a:pt x="372979" y="621"/>
                      </a:lnTo>
                      <a:close/>
                      <a:moveTo>
                        <a:pt x="372979" y="19671"/>
                      </a:moveTo>
                      <a:lnTo>
                        <a:pt x="163429" y="19671"/>
                      </a:lnTo>
                      <a:cubicBezTo>
                        <a:pt x="153428" y="19671"/>
                        <a:pt x="145141" y="27482"/>
                        <a:pt x="144474" y="37292"/>
                      </a:cubicBezTo>
                      <a:lnTo>
                        <a:pt x="144379" y="38721"/>
                      </a:lnTo>
                      <a:lnTo>
                        <a:pt x="144379" y="114921"/>
                      </a:lnTo>
                      <a:lnTo>
                        <a:pt x="392029" y="114921"/>
                      </a:lnTo>
                      <a:lnTo>
                        <a:pt x="392029" y="38721"/>
                      </a:lnTo>
                      <a:cubicBezTo>
                        <a:pt x="392029" y="29196"/>
                        <a:pt x="384981" y="21290"/>
                        <a:pt x="375836" y="19862"/>
                      </a:cubicBezTo>
                      <a:lnTo>
                        <a:pt x="374408" y="19671"/>
                      </a:lnTo>
                      <a:lnTo>
                        <a:pt x="372979" y="19671"/>
                      </a:lnTo>
                      <a:close/>
                    </a:path>
                  </a:pathLst>
                </a:custGeom>
                <a:solidFill>
                  <a:srgbClr val="FFFFFF"/>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475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endParaRPr>
                </a:p>
              </p:txBody>
            </p:sp>
          </p:grpSp>
          <p:sp>
            <p:nvSpPr>
              <p:cNvPr id="10" name="任意多边形: 形状 9"/>
              <p:cNvSpPr/>
              <p:nvPr/>
            </p:nvSpPr>
            <p:spPr>
              <a:xfrm>
                <a:off x="6058249" y="2392681"/>
                <a:ext cx="2509858" cy="2884894"/>
              </a:xfrm>
              <a:custGeom>
                <a:avLst/>
                <a:gdLst>
                  <a:gd name="connsiteX0" fmla="*/ 3603308 w 3603307"/>
                  <a:gd name="connsiteY0" fmla="*/ 1062038 h 4062412"/>
                  <a:gd name="connsiteX1" fmla="*/ 3603308 w 3603307"/>
                  <a:gd name="connsiteY1" fmla="*/ 3000375 h 4062412"/>
                  <a:gd name="connsiteX2" fmla="*/ 3424238 w 3603307"/>
                  <a:gd name="connsiteY2" fmla="*/ 3289935 h 4062412"/>
                  <a:gd name="connsiteX3" fmla="*/ 1946910 w 3603307"/>
                  <a:gd name="connsiteY3" fmla="*/ 4028123 h 4062412"/>
                  <a:gd name="connsiteX4" fmla="*/ 1657350 w 3603307"/>
                  <a:gd name="connsiteY4" fmla="*/ 4028123 h 4062412"/>
                  <a:gd name="connsiteX5" fmla="*/ 179070 w 3603307"/>
                  <a:gd name="connsiteY5" fmla="*/ 3289935 h 4062412"/>
                  <a:gd name="connsiteX6" fmla="*/ 0 w 3603307"/>
                  <a:gd name="connsiteY6" fmla="*/ 3000375 h 4062412"/>
                  <a:gd name="connsiteX7" fmla="*/ 0 w 3603307"/>
                  <a:gd name="connsiteY7" fmla="*/ 1062038 h 4062412"/>
                  <a:gd name="connsiteX8" fmla="*/ 179070 w 3603307"/>
                  <a:gd name="connsiteY8" fmla="*/ 772478 h 4062412"/>
                  <a:gd name="connsiteX9" fmla="*/ 1656398 w 3603307"/>
                  <a:gd name="connsiteY9" fmla="*/ 34290 h 4062412"/>
                  <a:gd name="connsiteX10" fmla="*/ 1945958 w 3603307"/>
                  <a:gd name="connsiteY10" fmla="*/ 34290 h 4062412"/>
                  <a:gd name="connsiteX11" fmla="*/ 3423285 w 3603307"/>
                  <a:gd name="connsiteY11" fmla="*/ 772478 h 4062412"/>
                  <a:gd name="connsiteX12" fmla="*/ 3603308 w 3603307"/>
                  <a:gd name="connsiteY12" fmla="*/ 1062038 h 4062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3307" h="4062412">
                    <a:moveTo>
                      <a:pt x="3603308" y="1062038"/>
                    </a:moveTo>
                    <a:lnTo>
                      <a:pt x="3603308" y="3000375"/>
                    </a:lnTo>
                    <a:cubicBezTo>
                      <a:pt x="3603308" y="3123248"/>
                      <a:pt x="3533775" y="3235643"/>
                      <a:pt x="3424238" y="3289935"/>
                    </a:cubicBezTo>
                    <a:lnTo>
                      <a:pt x="1946910" y="4028123"/>
                    </a:lnTo>
                    <a:cubicBezTo>
                      <a:pt x="1855470" y="4073843"/>
                      <a:pt x="1748790" y="4073843"/>
                      <a:pt x="1657350" y="4028123"/>
                    </a:cubicBezTo>
                    <a:lnTo>
                      <a:pt x="179070" y="3289935"/>
                    </a:lnTo>
                    <a:cubicBezTo>
                      <a:pt x="69533" y="3235643"/>
                      <a:pt x="0" y="3123248"/>
                      <a:pt x="0" y="3000375"/>
                    </a:cubicBezTo>
                    <a:lnTo>
                      <a:pt x="0" y="1062038"/>
                    </a:lnTo>
                    <a:cubicBezTo>
                      <a:pt x="0" y="939165"/>
                      <a:pt x="69533" y="826770"/>
                      <a:pt x="179070" y="772478"/>
                    </a:cubicBezTo>
                    <a:lnTo>
                      <a:pt x="1656398" y="34290"/>
                    </a:lnTo>
                    <a:cubicBezTo>
                      <a:pt x="1747838" y="-11430"/>
                      <a:pt x="1854518" y="-11430"/>
                      <a:pt x="1945958" y="34290"/>
                    </a:cubicBezTo>
                    <a:lnTo>
                      <a:pt x="3423285" y="772478"/>
                    </a:lnTo>
                    <a:cubicBezTo>
                      <a:pt x="3533775" y="827723"/>
                      <a:pt x="3603308" y="939165"/>
                      <a:pt x="3603308" y="1062038"/>
                    </a:cubicBezTo>
                    <a:close/>
                  </a:path>
                </a:pathLst>
              </a:custGeom>
              <a:solidFill>
                <a:schemeClr val="accent4">
                  <a:alpha val="10000"/>
                </a:schemeClr>
              </a:solid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0" numCol="1" spcCol="0" rtlCol="0" fromWordArt="0" anchor="ctr" anchorCtr="0" forceAA="0" compatLnSpc="1">
                <a:normAutofit/>
              </a:bodyPr>
              <a:lstStyle/>
              <a:p>
                <a:pPr algn="ctr" defTabSz="913765"/>
                <a:r>
                  <a:rPr lang="en-US" altLang="zh-CN" sz="1600" b="1" dirty="0">
                    <a:noFill/>
                    <a:latin typeface="Arial" panose="020B0604020202090204" pitchFamily="34" charset="0"/>
                    <a:ea typeface="华文楷体" panose="02010600040101010101" pitchFamily="2" charset="-122"/>
                  </a:rPr>
                  <a:t>01</a:t>
                </a:r>
                <a:endParaRPr lang="zh-CN" altLang="en-US" sz="1600" b="1" dirty="0">
                  <a:noFill/>
                  <a:latin typeface="Arial" panose="020B0604020202090204" pitchFamily="34" charset="0"/>
                  <a:ea typeface="华文楷体" panose="02010600040101010101" pitchFamily="2" charset="-122"/>
                </a:endParaRPr>
              </a:p>
            </p:txBody>
          </p:sp>
          <p:grpSp>
            <p:nvGrpSpPr>
              <p:cNvPr id="17" name="组合 16"/>
              <p:cNvGrpSpPr>
                <a:grpSpLocks noChangeAspect="1"/>
              </p:cNvGrpSpPr>
              <p:nvPr/>
            </p:nvGrpSpPr>
            <p:grpSpPr>
              <a:xfrm>
                <a:off x="7008766" y="2994950"/>
                <a:ext cx="540002" cy="540000"/>
                <a:chOff x="5033834" y="4530811"/>
                <a:chExt cx="876463" cy="876459"/>
              </a:xfrm>
            </p:grpSpPr>
            <p:sp>
              <p:nvSpPr>
                <p:cNvPr id="18" name="矩形: 圆角 17"/>
                <p:cNvSpPr/>
                <p:nvPr/>
              </p:nvSpPr>
              <p:spPr>
                <a:xfrm>
                  <a:off x="5033834" y="4530811"/>
                  <a:ext cx="876463" cy="876459"/>
                </a:xfrm>
                <a:prstGeom prst="roundRect">
                  <a:avLst/>
                </a:prstGeom>
                <a:gradFill>
                  <a:gsLst>
                    <a:gs pos="0">
                      <a:schemeClr val="accent4">
                        <a:lumMod val="60000"/>
                        <a:lumOff val="40000"/>
                      </a:schemeClr>
                    </a:gs>
                    <a:gs pos="60000">
                      <a:schemeClr val="accent4"/>
                    </a:gs>
                  </a:gsLst>
                  <a:lin ang="2700000" scaled="0"/>
                </a:gradFill>
                <a:ln w="57150" cap="rnd">
                  <a:noFill/>
                  <a:prstDash val="solid"/>
                  <a:round/>
                </a:ln>
                <a:effectLst>
                  <a:outerShdw blurRad="76200" dist="50800" dir="5400000" algn="ctr" rotWithShape="0">
                    <a:schemeClr val="accent4">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3765"/>
                  <a:endParaRPr lang="zh-CN" altLang="en-US" sz="2000" b="1" dirty="0">
                    <a:solidFill>
                      <a:schemeClr val="bg1"/>
                    </a:solidFill>
                  </a:endParaRPr>
                </a:p>
              </p:txBody>
            </p:sp>
            <p:sp>
              <p:nvSpPr>
                <p:cNvPr id="19" name="任意多边形: 形状 18"/>
                <p:cNvSpPr/>
                <p:nvPr/>
              </p:nvSpPr>
              <p:spPr>
                <a:xfrm>
                  <a:off x="5281901" y="4831180"/>
                  <a:ext cx="380330" cy="302854"/>
                </a:xfrm>
                <a:custGeom>
                  <a:avLst/>
                  <a:gdLst>
                    <a:gd name="connsiteX0" fmla="*/ 486767 w 514350"/>
                    <a:gd name="connsiteY0" fmla="*/ 621 h 409575"/>
                    <a:gd name="connsiteX1" fmla="*/ 515342 w 514350"/>
                    <a:gd name="connsiteY1" fmla="*/ 29196 h 409575"/>
                    <a:gd name="connsiteX2" fmla="*/ 515342 w 514350"/>
                    <a:gd name="connsiteY2" fmla="*/ 324471 h 409575"/>
                    <a:gd name="connsiteX3" fmla="*/ 486767 w 514350"/>
                    <a:gd name="connsiteY3" fmla="*/ 353046 h 409575"/>
                    <a:gd name="connsiteX4" fmla="*/ 192159 w 514350"/>
                    <a:gd name="connsiteY4" fmla="*/ 353046 h 409575"/>
                    <a:gd name="connsiteX5" fmla="*/ 115387 w 514350"/>
                    <a:gd name="connsiteY5" fmla="*/ 410196 h 409575"/>
                    <a:gd name="connsiteX6" fmla="*/ 115387 w 514350"/>
                    <a:gd name="connsiteY6" fmla="*/ 353046 h 409575"/>
                    <a:gd name="connsiteX7" fmla="*/ 29567 w 514350"/>
                    <a:gd name="connsiteY7" fmla="*/ 353046 h 409575"/>
                    <a:gd name="connsiteX8" fmla="*/ 992 w 514350"/>
                    <a:gd name="connsiteY8" fmla="*/ 324471 h 409575"/>
                    <a:gd name="connsiteX9" fmla="*/ 992 w 514350"/>
                    <a:gd name="connsiteY9" fmla="*/ 29196 h 409575"/>
                    <a:gd name="connsiteX10" fmla="*/ 29567 w 514350"/>
                    <a:gd name="connsiteY10" fmla="*/ 621 h 409575"/>
                    <a:gd name="connsiteX11" fmla="*/ 486767 w 514350"/>
                    <a:gd name="connsiteY11" fmla="*/ 621 h 409575"/>
                    <a:gd name="connsiteX12" fmla="*/ 124817 w 514350"/>
                    <a:gd name="connsiteY12" fmla="*/ 143496 h 409575"/>
                    <a:gd name="connsiteX13" fmla="*/ 91480 w 514350"/>
                    <a:gd name="connsiteY13" fmla="*/ 176834 h 409575"/>
                    <a:gd name="connsiteX14" fmla="*/ 124817 w 514350"/>
                    <a:gd name="connsiteY14" fmla="*/ 210171 h 409575"/>
                    <a:gd name="connsiteX15" fmla="*/ 158155 w 514350"/>
                    <a:gd name="connsiteY15" fmla="*/ 176834 h 409575"/>
                    <a:gd name="connsiteX16" fmla="*/ 124817 w 514350"/>
                    <a:gd name="connsiteY16" fmla="*/ 143496 h 409575"/>
                    <a:gd name="connsiteX17" fmla="*/ 258167 w 514350"/>
                    <a:gd name="connsiteY17" fmla="*/ 143496 h 409575"/>
                    <a:gd name="connsiteX18" fmla="*/ 224830 w 514350"/>
                    <a:gd name="connsiteY18" fmla="*/ 176834 h 409575"/>
                    <a:gd name="connsiteX19" fmla="*/ 258167 w 514350"/>
                    <a:gd name="connsiteY19" fmla="*/ 210171 h 409575"/>
                    <a:gd name="connsiteX20" fmla="*/ 291505 w 514350"/>
                    <a:gd name="connsiteY20" fmla="*/ 176834 h 409575"/>
                    <a:gd name="connsiteX21" fmla="*/ 258167 w 514350"/>
                    <a:gd name="connsiteY21" fmla="*/ 143496 h 409575"/>
                    <a:gd name="connsiteX22" fmla="*/ 391517 w 514350"/>
                    <a:gd name="connsiteY22" fmla="*/ 143496 h 409575"/>
                    <a:gd name="connsiteX23" fmla="*/ 358180 w 514350"/>
                    <a:gd name="connsiteY23" fmla="*/ 176834 h 409575"/>
                    <a:gd name="connsiteX24" fmla="*/ 391517 w 514350"/>
                    <a:gd name="connsiteY24" fmla="*/ 210171 h 409575"/>
                    <a:gd name="connsiteX25" fmla="*/ 424855 w 514350"/>
                    <a:gd name="connsiteY25" fmla="*/ 176834 h 409575"/>
                    <a:gd name="connsiteX26" fmla="*/ 391517 w 514350"/>
                    <a:gd name="connsiteY26" fmla="*/ 143496 h 409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14350" h="409575">
                      <a:moveTo>
                        <a:pt x="486767" y="621"/>
                      </a:moveTo>
                      <a:cubicBezTo>
                        <a:pt x="502579" y="621"/>
                        <a:pt x="515342" y="13385"/>
                        <a:pt x="515342" y="29196"/>
                      </a:cubicBezTo>
                      <a:lnTo>
                        <a:pt x="515342" y="324471"/>
                      </a:lnTo>
                      <a:cubicBezTo>
                        <a:pt x="515342" y="340282"/>
                        <a:pt x="502579" y="353046"/>
                        <a:pt x="486767" y="353046"/>
                      </a:cubicBezTo>
                      <a:lnTo>
                        <a:pt x="192159" y="353046"/>
                      </a:lnTo>
                      <a:lnTo>
                        <a:pt x="115387" y="410196"/>
                      </a:lnTo>
                      <a:lnTo>
                        <a:pt x="115387" y="353046"/>
                      </a:lnTo>
                      <a:lnTo>
                        <a:pt x="29567" y="353046"/>
                      </a:lnTo>
                      <a:cubicBezTo>
                        <a:pt x="13755" y="353046"/>
                        <a:pt x="992" y="340282"/>
                        <a:pt x="992" y="324471"/>
                      </a:cubicBezTo>
                      <a:lnTo>
                        <a:pt x="992" y="29196"/>
                      </a:lnTo>
                      <a:cubicBezTo>
                        <a:pt x="992" y="13385"/>
                        <a:pt x="13755" y="621"/>
                        <a:pt x="29567" y="621"/>
                      </a:cubicBezTo>
                      <a:lnTo>
                        <a:pt x="486767" y="621"/>
                      </a:lnTo>
                      <a:close/>
                      <a:moveTo>
                        <a:pt x="124817" y="143496"/>
                      </a:moveTo>
                      <a:cubicBezTo>
                        <a:pt x="106434" y="143496"/>
                        <a:pt x="91480" y="158450"/>
                        <a:pt x="91480" y="176834"/>
                      </a:cubicBezTo>
                      <a:cubicBezTo>
                        <a:pt x="91480" y="195217"/>
                        <a:pt x="106434" y="210171"/>
                        <a:pt x="124817" y="210171"/>
                      </a:cubicBezTo>
                      <a:cubicBezTo>
                        <a:pt x="143200" y="210171"/>
                        <a:pt x="158155" y="195217"/>
                        <a:pt x="158155" y="176834"/>
                      </a:cubicBezTo>
                      <a:cubicBezTo>
                        <a:pt x="158155" y="158450"/>
                        <a:pt x="143200" y="143496"/>
                        <a:pt x="124817" y="143496"/>
                      </a:cubicBezTo>
                      <a:close/>
                      <a:moveTo>
                        <a:pt x="258167" y="143496"/>
                      </a:moveTo>
                      <a:cubicBezTo>
                        <a:pt x="239784" y="143496"/>
                        <a:pt x="224830" y="158450"/>
                        <a:pt x="224830" y="176834"/>
                      </a:cubicBezTo>
                      <a:cubicBezTo>
                        <a:pt x="224830" y="195217"/>
                        <a:pt x="239784" y="210171"/>
                        <a:pt x="258167" y="210171"/>
                      </a:cubicBezTo>
                      <a:cubicBezTo>
                        <a:pt x="276550" y="210171"/>
                        <a:pt x="291505" y="195217"/>
                        <a:pt x="291505" y="176834"/>
                      </a:cubicBezTo>
                      <a:cubicBezTo>
                        <a:pt x="291505" y="158450"/>
                        <a:pt x="276550" y="143496"/>
                        <a:pt x="258167" y="143496"/>
                      </a:cubicBezTo>
                      <a:close/>
                      <a:moveTo>
                        <a:pt x="391517" y="143496"/>
                      </a:moveTo>
                      <a:cubicBezTo>
                        <a:pt x="373134" y="143496"/>
                        <a:pt x="358180" y="158450"/>
                        <a:pt x="358180" y="176834"/>
                      </a:cubicBezTo>
                      <a:cubicBezTo>
                        <a:pt x="358180" y="195217"/>
                        <a:pt x="373134" y="210171"/>
                        <a:pt x="391517" y="210171"/>
                      </a:cubicBezTo>
                      <a:cubicBezTo>
                        <a:pt x="409900" y="210171"/>
                        <a:pt x="424855" y="195217"/>
                        <a:pt x="424855" y="176834"/>
                      </a:cubicBezTo>
                      <a:cubicBezTo>
                        <a:pt x="424855" y="158450"/>
                        <a:pt x="409900" y="143496"/>
                        <a:pt x="391517" y="143496"/>
                      </a:cubicBezTo>
                      <a:close/>
                    </a:path>
                  </a:pathLst>
                </a:custGeom>
                <a:solidFill>
                  <a:srgbClr val="FFFFFF"/>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325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endParaRPr>
                </a:p>
              </p:txBody>
            </p:sp>
          </p:grpSp>
          <p:sp>
            <p:nvSpPr>
              <p:cNvPr id="36" name="任意多边形: 形状 35"/>
              <p:cNvSpPr/>
              <p:nvPr/>
            </p:nvSpPr>
            <p:spPr>
              <a:xfrm>
                <a:off x="8411389" y="2392681"/>
                <a:ext cx="2509858" cy="2884894"/>
              </a:xfrm>
              <a:custGeom>
                <a:avLst/>
                <a:gdLst>
                  <a:gd name="connsiteX0" fmla="*/ 3603308 w 3603307"/>
                  <a:gd name="connsiteY0" fmla="*/ 1062038 h 4062412"/>
                  <a:gd name="connsiteX1" fmla="*/ 3603308 w 3603307"/>
                  <a:gd name="connsiteY1" fmla="*/ 3000375 h 4062412"/>
                  <a:gd name="connsiteX2" fmla="*/ 3424238 w 3603307"/>
                  <a:gd name="connsiteY2" fmla="*/ 3289935 h 4062412"/>
                  <a:gd name="connsiteX3" fmla="*/ 1946910 w 3603307"/>
                  <a:gd name="connsiteY3" fmla="*/ 4028123 h 4062412"/>
                  <a:gd name="connsiteX4" fmla="*/ 1657350 w 3603307"/>
                  <a:gd name="connsiteY4" fmla="*/ 4028123 h 4062412"/>
                  <a:gd name="connsiteX5" fmla="*/ 179070 w 3603307"/>
                  <a:gd name="connsiteY5" fmla="*/ 3289935 h 4062412"/>
                  <a:gd name="connsiteX6" fmla="*/ 0 w 3603307"/>
                  <a:gd name="connsiteY6" fmla="*/ 3000375 h 4062412"/>
                  <a:gd name="connsiteX7" fmla="*/ 0 w 3603307"/>
                  <a:gd name="connsiteY7" fmla="*/ 1062038 h 4062412"/>
                  <a:gd name="connsiteX8" fmla="*/ 179070 w 3603307"/>
                  <a:gd name="connsiteY8" fmla="*/ 772478 h 4062412"/>
                  <a:gd name="connsiteX9" fmla="*/ 1656398 w 3603307"/>
                  <a:gd name="connsiteY9" fmla="*/ 34290 h 4062412"/>
                  <a:gd name="connsiteX10" fmla="*/ 1945958 w 3603307"/>
                  <a:gd name="connsiteY10" fmla="*/ 34290 h 4062412"/>
                  <a:gd name="connsiteX11" fmla="*/ 3423285 w 3603307"/>
                  <a:gd name="connsiteY11" fmla="*/ 772478 h 4062412"/>
                  <a:gd name="connsiteX12" fmla="*/ 3603308 w 3603307"/>
                  <a:gd name="connsiteY12" fmla="*/ 1062038 h 4062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3307" h="4062412">
                    <a:moveTo>
                      <a:pt x="3603308" y="1062038"/>
                    </a:moveTo>
                    <a:lnTo>
                      <a:pt x="3603308" y="3000375"/>
                    </a:lnTo>
                    <a:cubicBezTo>
                      <a:pt x="3603308" y="3123248"/>
                      <a:pt x="3533775" y="3235643"/>
                      <a:pt x="3424238" y="3289935"/>
                    </a:cubicBezTo>
                    <a:lnTo>
                      <a:pt x="1946910" y="4028123"/>
                    </a:lnTo>
                    <a:cubicBezTo>
                      <a:pt x="1855470" y="4073843"/>
                      <a:pt x="1748790" y="4073843"/>
                      <a:pt x="1657350" y="4028123"/>
                    </a:cubicBezTo>
                    <a:lnTo>
                      <a:pt x="179070" y="3289935"/>
                    </a:lnTo>
                    <a:cubicBezTo>
                      <a:pt x="69533" y="3235643"/>
                      <a:pt x="0" y="3123248"/>
                      <a:pt x="0" y="3000375"/>
                    </a:cubicBezTo>
                    <a:lnTo>
                      <a:pt x="0" y="1062038"/>
                    </a:lnTo>
                    <a:cubicBezTo>
                      <a:pt x="0" y="939165"/>
                      <a:pt x="69533" y="826770"/>
                      <a:pt x="179070" y="772478"/>
                    </a:cubicBezTo>
                    <a:lnTo>
                      <a:pt x="1656398" y="34290"/>
                    </a:lnTo>
                    <a:cubicBezTo>
                      <a:pt x="1747838" y="-11430"/>
                      <a:pt x="1854518" y="-11430"/>
                      <a:pt x="1945958" y="34290"/>
                    </a:cubicBezTo>
                    <a:lnTo>
                      <a:pt x="3423285" y="772478"/>
                    </a:lnTo>
                    <a:cubicBezTo>
                      <a:pt x="3533775" y="827723"/>
                      <a:pt x="3603308" y="939165"/>
                      <a:pt x="3603308" y="1062038"/>
                    </a:cubicBezTo>
                    <a:close/>
                  </a:path>
                </a:pathLst>
              </a:custGeom>
              <a:solidFill>
                <a:schemeClr val="accent2">
                  <a:alpha val="10000"/>
                </a:schemeClr>
              </a:solid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0" numCol="1" spcCol="0" rtlCol="0" fromWordArt="0" anchor="ctr" anchorCtr="0" forceAA="0" compatLnSpc="1">
                <a:normAutofit/>
              </a:bodyPr>
              <a:lstStyle/>
              <a:p>
                <a:pPr algn="ctr" defTabSz="913765"/>
                <a:r>
                  <a:rPr lang="en-US" altLang="zh-CN" sz="1600" b="1" dirty="0">
                    <a:noFill/>
                    <a:latin typeface="Arial" panose="020B0604020202090204" pitchFamily="34" charset="0"/>
                    <a:ea typeface="华文楷体" panose="02010600040101010101" pitchFamily="2" charset="-122"/>
                  </a:rPr>
                  <a:t>02</a:t>
                </a:r>
                <a:endParaRPr lang="zh-CN" altLang="en-US" sz="1600" b="1" dirty="0">
                  <a:noFill/>
                  <a:latin typeface="Arial" panose="020B0604020202090204" pitchFamily="34" charset="0"/>
                  <a:ea typeface="华文楷体" panose="02010600040101010101" pitchFamily="2" charset="-122"/>
                </a:endParaRPr>
              </a:p>
            </p:txBody>
          </p:sp>
          <p:grpSp>
            <p:nvGrpSpPr>
              <p:cNvPr id="12" name="组合 11"/>
              <p:cNvGrpSpPr>
                <a:grpSpLocks noChangeAspect="1"/>
              </p:cNvGrpSpPr>
              <p:nvPr/>
            </p:nvGrpSpPr>
            <p:grpSpPr>
              <a:xfrm>
                <a:off x="9396317" y="2994950"/>
                <a:ext cx="540002" cy="540000"/>
                <a:chOff x="7036727" y="1930888"/>
                <a:chExt cx="876463" cy="876459"/>
              </a:xfrm>
            </p:grpSpPr>
            <p:sp>
              <p:nvSpPr>
                <p:cNvPr id="28" name="矩形: 圆角 27"/>
                <p:cNvSpPr/>
                <p:nvPr/>
              </p:nvSpPr>
              <p:spPr>
                <a:xfrm>
                  <a:off x="7036727" y="1930888"/>
                  <a:ext cx="876463" cy="876459"/>
                </a:xfrm>
                <a:prstGeom prst="roundRect">
                  <a:avLst/>
                </a:prstGeom>
                <a:gradFill>
                  <a:gsLst>
                    <a:gs pos="0">
                      <a:schemeClr val="accent2">
                        <a:lumMod val="60000"/>
                        <a:lumOff val="40000"/>
                      </a:schemeClr>
                    </a:gs>
                    <a:gs pos="60000">
                      <a:schemeClr val="accent2"/>
                    </a:gs>
                  </a:gsLst>
                  <a:lin ang="2700000" scaled="0"/>
                </a:gradFill>
                <a:ln w="57150" cap="rnd">
                  <a:noFill/>
                  <a:prstDash val="solid"/>
                  <a:round/>
                </a:ln>
                <a:effectLst>
                  <a:outerShdw blurRad="76200" dist="50800" dir="5400000" algn="ctr" rotWithShape="0">
                    <a:schemeClr val="accent2">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3765"/>
                  <a:endParaRPr lang="zh-CN" altLang="en-US" sz="2000" b="1" dirty="0">
                    <a:solidFill>
                      <a:schemeClr val="bg1"/>
                    </a:solidFill>
                  </a:endParaRPr>
                </a:p>
              </p:txBody>
            </p:sp>
            <p:sp>
              <p:nvSpPr>
                <p:cNvPr id="29" name="任意多边形: 形状 28"/>
                <p:cNvSpPr/>
                <p:nvPr/>
              </p:nvSpPr>
              <p:spPr>
                <a:xfrm>
                  <a:off x="7301476" y="2192519"/>
                  <a:ext cx="346966" cy="380330"/>
                </a:xfrm>
                <a:custGeom>
                  <a:avLst/>
                  <a:gdLst>
                    <a:gd name="connsiteX0" fmla="*/ 248770 w 495300"/>
                    <a:gd name="connsiteY0" fmla="*/ 621 h 542925"/>
                    <a:gd name="connsiteX1" fmla="*/ 496420 w 495300"/>
                    <a:gd name="connsiteY1" fmla="*/ 248271 h 542925"/>
                    <a:gd name="connsiteX2" fmla="*/ 323827 w 495300"/>
                    <a:gd name="connsiteY2" fmla="*/ 484396 h 542925"/>
                    <a:gd name="connsiteX3" fmla="*/ 346973 w 495300"/>
                    <a:gd name="connsiteY3" fmla="*/ 524496 h 542925"/>
                    <a:gd name="connsiteX4" fmla="*/ 420220 w 495300"/>
                    <a:gd name="connsiteY4" fmla="*/ 524496 h 542925"/>
                    <a:gd name="connsiteX5" fmla="*/ 420220 w 495300"/>
                    <a:gd name="connsiteY5" fmla="*/ 543546 h 542925"/>
                    <a:gd name="connsiteX6" fmla="*/ 77320 w 495300"/>
                    <a:gd name="connsiteY6" fmla="*/ 543546 h 542925"/>
                    <a:gd name="connsiteX7" fmla="*/ 77320 w 495300"/>
                    <a:gd name="connsiteY7" fmla="*/ 524496 h 542925"/>
                    <a:gd name="connsiteX8" fmla="*/ 150567 w 495300"/>
                    <a:gd name="connsiteY8" fmla="*/ 524496 h 542925"/>
                    <a:gd name="connsiteX9" fmla="*/ 173713 w 495300"/>
                    <a:gd name="connsiteY9" fmla="*/ 484396 h 542925"/>
                    <a:gd name="connsiteX10" fmla="*/ 1120 w 495300"/>
                    <a:gd name="connsiteY10" fmla="*/ 248271 h 542925"/>
                    <a:gd name="connsiteX11" fmla="*/ 248770 w 495300"/>
                    <a:gd name="connsiteY11" fmla="*/ 621 h 542925"/>
                    <a:gd name="connsiteX12" fmla="*/ 192763 w 495300"/>
                    <a:gd name="connsiteY12" fmla="*/ 489539 h 542925"/>
                    <a:gd name="connsiteX13" fmla="*/ 172570 w 495300"/>
                    <a:gd name="connsiteY13" fmla="*/ 524496 h 542925"/>
                    <a:gd name="connsiteX14" fmla="*/ 324970 w 495300"/>
                    <a:gd name="connsiteY14" fmla="*/ 524496 h 542925"/>
                    <a:gd name="connsiteX15" fmla="*/ 304777 w 495300"/>
                    <a:gd name="connsiteY15" fmla="*/ 489539 h 542925"/>
                    <a:gd name="connsiteX16" fmla="*/ 248770 w 495300"/>
                    <a:gd name="connsiteY16" fmla="*/ 495921 h 542925"/>
                    <a:gd name="connsiteX17" fmla="*/ 192763 w 495300"/>
                    <a:gd name="connsiteY17" fmla="*/ 489539 h 542925"/>
                    <a:gd name="connsiteX18" fmla="*/ 248770 w 495300"/>
                    <a:gd name="connsiteY18" fmla="*/ 143496 h 542925"/>
                    <a:gd name="connsiteX19" fmla="*/ 143995 w 495300"/>
                    <a:gd name="connsiteY19" fmla="*/ 248271 h 542925"/>
                    <a:gd name="connsiteX20" fmla="*/ 248770 w 495300"/>
                    <a:gd name="connsiteY20" fmla="*/ 353046 h 542925"/>
                    <a:gd name="connsiteX21" fmla="*/ 353545 w 495300"/>
                    <a:gd name="connsiteY21" fmla="*/ 248271 h 542925"/>
                    <a:gd name="connsiteX22" fmla="*/ 248770 w 495300"/>
                    <a:gd name="connsiteY22" fmla="*/ 143496 h 542925"/>
                    <a:gd name="connsiteX23" fmla="*/ 367833 w 495300"/>
                    <a:gd name="connsiteY23" fmla="*/ 114921 h 542925"/>
                    <a:gd name="connsiteX24" fmla="*/ 353545 w 495300"/>
                    <a:gd name="connsiteY24" fmla="*/ 129209 h 542925"/>
                    <a:gd name="connsiteX25" fmla="*/ 367833 w 495300"/>
                    <a:gd name="connsiteY25" fmla="*/ 143496 h 542925"/>
                    <a:gd name="connsiteX26" fmla="*/ 382120 w 495300"/>
                    <a:gd name="connsiteY26" fmla="*/ 129209 h 542925"/>
                    <a:gd name="connsiteX27" fmla="*/ 367833 w 495300"/>
                    <a:gd name="connsiteY27" fmla="*/ 114921 h 54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95300" h="542925">
                      <a:moveTo>
                        <a:pt x="248770" y="621"/>
                      </a:moveTo>
                      <a:cubicBezTo>
                        <a:pt x="385549" y="621"/>
                        <a:pt x="496420" y="111492"/>
                        <a:pt x="496420" y="248271"/>
                      </a:cubicBezTo>
                      <a:cubicBezTo>
                        <a:pt x="496420" y="358856"/>
                        <a:pt x="423935" y="452582"/>
                        <a:pt x="323827" y="484396"/>
                      </a:cubicBezTo>
                      <a:lnTo>
                        <a:pt x="346973" y="524496"/>
                      </a:lnTo>
                      <a:lnTo>
                        <a:pt x="420220" y="524496"/>
                      </a:lnTo>
                      <a:lnTo>
                        <a:pt x="420220" y="543546"/>
                      </a:lnTo>
                      <a:lnTo>
                        <a:pt x="77320" y="543546"/>
                      </a:lnTo>
                      <a:lnTo>
                        <a:pt x="77320" y="524496"/>
                      </a:lnTo>
                      <a:lnTo>
                        <a:pt x="150567" y="524496"/>
                      </a:lnTo>
                      <a:lnTo>
                        <a:pt x="173713" y="484396"/>
                      </a:lnTo>
                      <a:cubicBezTo>
                        <a:pt x="73605" y="452582"/>
                        <a:pt x="1120" y="358856"/>
                        <a:pt x="1120" y="248271"/>
                      </a:cubicBezTo>
                      <a:cubicBezTo>
                        <a:pt x="1120" y="111492"/>
                        <a:pt x="111991" y="621"/>
                        <a:pt x="248770" y="621"/>
                      </a:cubicBezTo>
                      <a:close/>
                      <a:moveTo>
                        <a:pt x="192763" y="489539"/>
                      </a:moveTo>
                      <a:lnTo>
                        <a:pt x="172570" y="524496"/>
                      </a:lnTo>
                      <a:lnTo>
                        <a:pt x="324970" y="524496"/>
                      </a:lnTo>
                      <a:lnTo>
                        <a:pt x="304777" y="489539"/>
                      </a:lnTo>
                      <a:cubicBezTo>
                        <a:pt x="286775" y="493730"/>
                        <a:pt x="268010" y="495921"/>
                        <a:pt x="248770" y="495921"/>
                      </a:cubicBezTo>
                      <a:cubicBezTo>
                        <a:pt x="229530" y="495921"/>
                        <a:pt x="210765" y="493730"/>
                        <a:pt x="192763" y="489539"/>
                      </a:cubicBezTo>
                      <a:close/>
                      <a:moveTo>
                        <a:pt x="248770" y="143496"/>
                      </a:moveTo>
                      <a:cubicBezTo>
                        <a:pt x="190858" y="143496"/>
                        <a:pt x="143995" y="190359"/>
                        <a:pt x="143995" y="248271"/>
                      </a:cubicBezTo>
                      <a:cubicBezTo>
                        <a:pt x="143995" y="306183"/>
                        <a:pt x="190858" y="353046"/>
                        <a:pt x="248770" y="353046"/>
                      </a:cubicBezTo>
                      <a:cubicBezTo>
                        <a:pt x="306682" y="353046"/>
                        <a:pt x="353545" y="306183"/>
                        <a:pt x="353545" y="248271"/>
                      </a:cubicBezTo>
                      <a:cubicBezTo>
                        <a:pt x="353545" y="190359"/>
                        <a:pt x="306682" y="143496"/>
                        <a:pt x="248770" y="143496"/>
                      </a:cubicBezTo>
                      <a:close/>
                      <a:moveTo>
                        <a:pt x="367833" y="114921"/>
                      </a:moveTo>
                      <a:cubicBezTo>
                        <a:pt x="359927" y="114921"/>
                        <a:pt x="353545" y="121303"/>
                        <a:pt x="353545" y="129209"/>
                      </a:cubicBezTo>
                      <a:cubicBezTo>
                        <a:pt x="353545" y="137114"/>
                        <a:pt x="359927" y="143496"/>
                        <a:pt x="367833" y="143496"/>
                      </a:cubicBezTo>
                      <a:cubicBezTo>
                        <a:pt x="375738" y="143496"/>
                        <a:pt x="382120" y="137114"/>
                        <a:pt x="382120" y="129209"/>
                      </a:cubicBezTo>
                      <a:cubicBezTo>
                        <a:pt x="382120" y="121303"/>
                        <a:pt x="375738" y="114921"/>
                        <a:pt x="367833" y="114921"/>
                      </a:cubicBezTo>
                      <a:close/>
                    </a:path>
                  </a:pathLst>
                </a:custGeom>
                <a:solidFill>
                  <a:srgbClr val="FFFFFF"/>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5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endParaRPr>
                </a:p>
              </p:txBody>
            </p:sp>
          </p:grpSp>
          <p:grpSp>
            <p:nvGrpSpPr>
              <p:cNvPr id="2" name="组合 1"/>
              <p:cNvGrpSpPr/>
              <p:nvPr/>
            </p:nvGrpSpPr>
            <p:grpSpPr>
              <a:xfrm>
                <a:off x="1672888" y="3799070"/>
                <a:ext cx="1868016" cy="913569"/>
                <a:chOff x="1672888" y="3799070"/>
                <a:chExt cx="1868016" cy="913569"/>
              </a:xfrm>
            </p:grpSpPr>
            <p:sp>
              <p:nvSpPr>
                <p:cNvPr id="37" name="文本框 36"/>
                <p:cNvSpPr txBox="1"/>
                <p:nvPr/>
              </p:nvSpPr>
              <p:spPr>
                <a:xfrm>
                  <a:off x="1672888" y="3799070"/>
                  <a:ext cx="1868016" cy="338554"/>
                </a:xfrm>
                <a:prstGeom prst="rect">
                  <a:avLst/>
                </a:prstGeom>
                <a:noFill/>
              </p:spPr>
              <p:txBody>
                <a:bodyPr wrap="square" rtlCol="0" anchor="b" anchorCtr="0">
                  <a:spAutoFit/>
                </a:bodyPr>
                <a:lstStyle/>
                <a:p>
                  <a:pPr algn="ctr"/>
                  <a:r>
                    <a:rPr lang="en-US" altLang="zh-CN" sz="1600" b="1" dirty="0">
                      <a:latin typeface="Arial" panose="020B0604020202090204" pitchFamily="34" charset="0"/>
                      <a:ea typeface="华文楷体" panose="02010600040101010101" pitchFamily="2" charset="-122"/>
                    </a:rPr>
                    <a:t>Text here</a:t>
                  </a:r>
                  <a:endParaRPr lang="zh-CN" altLang="en-US" sz="1600" b="1" dirty="0">
                    <a:latin typeface="Arial" panose="020B0604020202090204" pitchFamily="34" charset="0"/>
                    <a:ea typeface="华文楷体" panose="02010600040101010101" pitchFamily="2" charset="-122"/>
                  </a:endParaRPr>
                </a:p>
              </p:txBody>
            </p:sp>
            <p:sp>
              <p:nvSpPr>
                <p:cNvPr id="38" name="矩形 37"/>
                <p:cNvSpPr/>
                <p:nvPr/>
              </p:nvSpPr>
              <p:spPr>
                <a:xfrm>
                  <a:off x="1672888" y="4145941"/>
                  <a:ext cx="1868016" cy="566698"/>
                </a:xfrm>
                <a:prstGeom prst="rect">
                  <a:avLst/>
                </a:prstGeom>
                <a:no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0000" tIns="90000" rIns="90000" bIns="90000" numCol="1" spcCol="0" rtlCol="0" fromWordArt="0" anchor="t" anchorCtr="0" forceAA="0" compatLnSpc="1">
                  <a:noAutofit/>
                </a:bodyPr>
                <a:lstStyle/>
                <a:p>
                  <a:pPr algn="ctr">
                    <a:lnSpc>
                      <a:spcPct val="130000"/>
                    </a:lnSpc>
                  </a:pPr>
                  <a:r>
                    <a:rPr lang="en-US" altLang="zh-CN" sz="800" dirty="0">
                      <a:solidFill>
                        <a:schemeClr val="tx1"/>
                      </a:solidFill>
                      <a:latin typeface="Arial" panose="020B0604020202090204" pitchFamily="34" charset="0"/>
                      <a:ea typeface="华文楷体" panose="02010600040101010101" pitchFamily="2" charset="-122"/>
                    </a:rPr>
                    <a:t>Theme color makes PPT more convenient to change. </a:t>
                  </a:r>
                  <a:endParaRPr lang="en-US" altLang="zh-CN" sz="800" dirty="0">
                    <a:solidFill>
                      <a:schemeClr val="tx1"/>
                    </a:solidFill>
                    <a:latin typeface="Arial" panose="020B0604020202090204" pitchFamily="34" charset="0"/>
                    <a:ea typeface="华文楷体" panose="02010600040101010101" pitchFamily="2" charset="-122"/>
                  </a:endParaRPr>
                </a:p>
              </p:txBody>
            </p:sp>
          </p:grpSp>
          <p:grpSp>
            <p:nvGrpSpPr>
              <p:cNvPr id="39" name="组合 38"/>
              <p:cNvGrpSpPr/>
              <p:nvPr/>
            </p:nvGrpSpPr>
            <p:grpSpPr>
              <a:xfrm>
                <a:off x="4008823" y="3799070"/>
                <a:ext cx="1868016" cy="913569"/>
                <a:chOff x="1672888" y="3799070"/>
                <a:chExt cx="1868016" cy="913569"/>
              </a:xfrm>
            </p:grpSpPr>
            <p:sp>
              <p:nvSpPr>
                <p:cNvPr id="40" name="文本框 39"/>
                <p:cNvSpPr txBox="1"/>
                <p:nvPr/>
              </p:nvSpPr>
              <p:spPr>
                <a:xfrm>
                  <a:off x="1672888" y="3799070"/>
                  <a:ext cx="1868016" cy="338554"/>
                </a:xfrm>
                <a:prstGeom prst="rect">
                  <a:avLst/>
                </a:prstGeom>
                <a:noFill/>
              </p:spPr>
              <p:txBody>
                <a:bodyPr wrap="square" rtlCol="0" anchor="b" anchorCtr="0">
                  <a:spAutoFit/>
                </a:bodyPr>
                <a:lstStyle/>
                <a:p>
                  <a:pPr algn="ctr"/>
                  <a:r>
                    <a:rPr lang="en-US" altLang="zh-CN" sz="1600" b="1" dirty="0">
                      <a:latin typeface="Arial" panose="020B0604020202090204" pitchFamily="34" charset="0"/>
                      <a:ea typeface="华文楷体" panose="02010600040101010101" pitchFamily="2" charset="-122"/>
                    </a:rPr>
                    <a:t>Text here</a:t>
                  </a:r>
                  <a:endParaRPr lang="zh-CN" altLang="en-US" sz="1600" b="1" dirty="0">
                    <a:latin typeface="Arial" panose="020B0604020202090204" pitchFamily="34" charset="0"/>
                    <a:ea typeface="华文楷体" panose="02010600040101010101" pitchFamily="2" charset="-122"/>
                  </a:endParaRPr>
                </a:p>
              </p:txBody>
            </p:sp>
            <p:sp>
              <p:nvSpPr>
                <p:cNvPr id="41" name="矩形 40"/>
                <p:cNvSpPr/>
                <p:nvPr/>
              </p:nvSpPr>
              <p:spPr>
                <a:xfrm>
                  <a:off x="1672888" y="4145941"/>
                  <a:ext cx="1868016" cy="566698"/>
                </a:xfrm>
                <a:prstGeom prst="rect">
                  <a:avLst/>
                </a:prstGeom>
                <a:no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0000" tIns="90000" rIns="90000" bIns="90000" numCol="1" spcCol="0" rtlCol="0" fromWordArt="0" anchor="t" anchorCtr="0" forceAA="0" compatLnSpc="1">
                  <a:noAutofit/>
                </a:bodyPr>
                <a:lstStyle/>
                <a:p>
                  <a:pPr algn="ctr">
                    <a:lnSpc>
                      <a:spcPct val="130000"/>
                    </a:lnSpc>
                  </a:pPr>
                  <a:r>
                    <a:rPr lang="en-US" altLang="zh-CN" sz="800" dirty="0">
                      <a:solidFill>
                        <a:schemeClr val="tx1"/>
                      </a:solidFill>
                      <a:latin typeface="Arial" panose="020B0604020202090204" pitchFamily="34" charset="0"/>
                      <a:ea typeface="华文楷体" panose="02010600040101010101" pitchFamily="2" charset="-122"/>
                    </a:rPr>
                    <a:t>Theme color makes PPT more convenient to change. </a:t>
                  </a:r>
                  <a:endParaRPr lang="en-US" altLang="zh-CN" sz="800" dirty="0">
                    <a:solidFill>
                      <a:schemeClr val="tx1"/>
                    </a:solidFill>
                    <a:latin typeface="Arial" panose="020B0604020202090204" pitchFamily="34" charset="0"/>
                    <a:ea typeface="华文楷体" panose="02010600040101010101" pitchFamily="2" charset="-122"/>
                  </a:endParaRPr>
                </a:p>
              </p:txBody>
            </p:sp>
          </p:grpSp>
          <p:grpSp>
            <p:nvGrpSpPr>
              <p:cNvPr id="42" name="组合 41"/>
              <p:cNvGrpSpPr/>
              <p:nvPr/>
            </p:nvGrpSpPr>
            <p:grpSpPr>
              <a:xfrm>
                <a:off x="6344759" y="3799070"/>
                <a:ext cx="1868016" cy="913569"/>
                <a:chOff x="1672888" y="3799070"/>
                <a:chExt cx="1868016" cy="913569"/>
              </a:xfrm>
            </p:grpSpPr>
            <p:sp>
              <p:nvSpPr>
                <p:cNvPr id="43" name="文本框 42"/>
                <p:cNvSpPr txBox="1"/>
                <p:nvPr/>
              </p:nvSpPr>
              <p:spPr>
                <a:xfrm>
                  <a:off x="1672888" y="3799070"/>
                  <a:ext cx="1868016" cy="338554"/>
                </a:xfrm>
                <a:prstGeom prst="rect">
                  <a:avLst/>
                </a:prstGeom>
                <a:noFill/>
              </p:spPr>
              <p:txBody>
                <a:bodyPr wrap="square" rtlCol="0" anchor="b" anchorCtr="0">
                  <a:spAutoFit/>
                </a:bodyPr>
                <a:lstStyle/>
                <a:p>
                  <a:pPr algn="ctr"/>
                  <a:r>
                    <a:rPr lang="en-US" altLang="zh-CN" sz="1600" b="1" dirty="0">
                      <a:latin typeface="Arial" panose="020B0604020202090204" pitchFamily="34" charset="0"/>
                      <a:ea typeface="华文楷体" panose="02010600040101010101" pitchFamily="2" charset="-122"/>
                    </a:rPr>
                    <a:t>Text here</a:t>
                  </a:r>
                  <a:endParaRPr lang="zh-CN" altLang="en-US" sz="1600" b="1" dirty="0">
                    <a:latin typeface="Arial" panose="020B0604020202090204" pitchFamily="34" charset="0"/>
                    <a:ea typeface="华文楷体" panose="02010600040101010101" pitchFamily="2" charset="-122"/>
                  </a:endParaRPr>
                </a:p>
              </p:txBody>
            </p:sp>
            <p:sp>
              <p:nvSpPr>
                <p:cNvPr id="44" name="矩形 43"/>
                <p:cNvSpPr/>
                <p:nvPr/>
              </p:nvSpPr>
              <p:spPr>
                <a:xfrm>
                  <a:off x="1672888" y="4145941"/>
                  <a:ext cx="1868016" cy="566698"/>
                </a:xfrm>
                <a:prstGeom prst="rect">
                  <a:avLst/>
                </a:prstGeom>
                <a:no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0000" tIns="90000" rIns="90000" bIns="90000" numCol="1" spcCol="0" rtlCol="0" fromWordArt="0" anchor="t" anchorCtr="0" forceAA="0" compatLnSpc="1">
                  <a:noAutofit/>
                </a:bodyPr>
                <a:lstStyle/>
                <a:p>
                  <a:pPr algn="ctr">
                    <a:lnSpc>
                      <a:spcPct val="130000"/>
                    </a:lnSpc>
                  </a:pPr>
                  <a:r>
                    <a:rPr lang="en-US" altLang="zh-CN" sz="800" dirty="0">
                      <a:solidFill>
                        <a:schemeClr val="tx1"/>
                      </a:solidFill>
                      <a:latin typeface="Arial" panose="020B0604020202090204" pitchFamily="34" charset="0"/>
                      <a:ea typeface="华文楷体" panose="02010600040101010101" pitchFamily="2" charset="-122"/>
                    </a:rPr>
                    <a:t>Theme color makes PPT more convenient to change. </a:t>
                  </a:r>
                  <a:endParaRPr lang="en-US" altLang="zh-CN" sz="800" dirty="0">
                    <a:solidFill>
                      <a:schemeClr val="tx1"/>
                    </a:solidFill>
                    <a:latin typeface="Arial" panose="020B0604020202090204" pitchFamily="34" charset="0"/>
                    <a:ea typeface="华文楷体" panose="02010600040101010101" pitchFamily="2" charset="-122"/>
                  </a:endParaRPr>
                </a:p>
              </p:txBody>
            </p:sp>
          </p:grpSp>
          <p:grpSp>
            <p:nvGrpSpPr>
              <p:cNvPr id="45" name="组合 44"/>
              <p:cNvGrpSpPr/>
              <p:nvPr/>
            </p:nvGrpSpPr>
            <p:grpSpPr>
              <a:xfrm>
                <a:off x="8732310" y="3799070"/>
                <a:ext cx="1868016" cy="913569"/>
                <a:chOff x="1672888" y="3799070"/>
                <a:chExt cx="1868016" cy="913569"/>
              </a:xfrm>
            </p:grpSpPr>
            <p:sp>
              <p:nvSpPr>
                <p:cNvPr id="46" name="文本框 45"/>
                <p:cNvSpPr txBox="1"/>
                <p:nvPr/>
              </p:nvSpPr>
              <p:spPr>
                <a:xfrm>
                  <a:off x="1672888" y="3799070"/>
                  <a:ext cx="1868016" cy="338554"/>
                </a:xfrm>
                <a:prstGeom prst="rect">
                  <a:avLst/>
                </a:prstGeom>
                <a:noFill/>
              </p:spPr>
              <p:txBody>
                <a:bodyPr wrap="square" rtlCol="0" anchor="b" anchorCtr="0">
                  <a:spAutoFit/>
                </a:bodyPr>
                <a:lstStyle/>
                <a:p>
                  <a:pPr algn="ctr"/>
                  <a:r>
                    <a:rPr lang="en-US" altLang="zh-CN" sz="1600" b="1" dirty="0">
                      <a:latin typeface="Arial" panose="020B0604020202090204" pitchFamily="34" charset="0"/>
                      <a:ea typeface="华文楷体" panose="02010600040101010101" pitchFamily="2" charset="-122"/>
                    </a:rPr>
                    <a:t>Text here</a:t>
                  </a:r>
                  <a:endParaRPr lang="zh-CN" altLang="en-US" sz="1600" b="1" dirty="0">
                    <a:latin typeface="Arial" panose="020B0604020202090204" pitchFamily="34" charset="0"/>
                    <a:ea typeface="华文楷体" panose="02010600040101010101" pitchFamily="2" charset="-122"/>
                  </a:endParaRPr>
                </a:p>
              </p:txBody>
            </p:sp>
            <p:sp>
              <p:nvSpPr>
                <p:cNvPr id="47" name="矩形 46"/>
                <p:cNvSpPr/>
                <p:nvPr/>
              </p:nvSpPr>
              <p:spPr>
                <a:xfrm>
                  <a:off x="1672888" y="4145941"/>
                  <a:ext cx="1868016" cy="566698"/>
                </a:xfrm>
                <a:prstGeom prst="rect">
                  <a:avLst/>
                </a:prstGeom>
                <a:no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0000" tIns="90000" rIns="90000" bIns="90000" numCol="1" spcCol="0" rtlCol="0" fromWordArt="0" anchor="t" anchorCtr="0" forceAA="0" compatLnSpc="1">
                  <a:noAutofit/>
                </a:bodyPr>
                <a:lstStyle/>
                <a:p>
                  <a:pPr algn="ctr">
                    <a:lnSpc>
                      <a:spcPct val="130000"/>
                    </a:lnSpc>
                  </a:pPr>
                  <a:r>
                    <a:rPr lang="en-US" altLang="zh-CN" sz="800" dirty="0">
                      <a:solidFill>
                        <a:schemeClr val="tx1"/>
                      </a:solidFill>
                      <a:latin typeface="Arial" panose="020B0604020202090204" pitchFamily="34" charset="0"/>
                      <a:ea typeface="华文楷体" panose="02010600040101010101" pitchFamily="2" charset="-122"/>
                    </a:rPr>
                    <a:t>Theme color makes PPT more convenient to change. </a:t>
                  </a:r>
                  <a:endParaRPr lang="en-US" altLang="zh-CN" sz="800" dirty="0">
                    <a:solidFill>
                      <a:schemeClr val="tx1"/>
                    </a:solidFill>
                    <a:latin typeface="Arial" panose="020B0604020202090204" pitchFamily="34" charset="0"/>
                    <a:ea typeface="华文楷体" panose="02010600040101010101" pitchFamily="2" charset="-122"/>
                  </a:endParaRPr>
                </a:p>
              </p:txBody>
            </p:sp>
          </p:grpSp>
        </p:grpSp>
        <p:sp>
          <p:nvSpPr>
            <p:cNvPr id="48" name="矩形 47"/>
            <p:cNvSpPr/>
            <p:nvPr/>
          </p:nvSpPr>
          <p:spPr>
            <a:xfrm>
              <a:off x="2032984" y="1180320"/>
              <a:ext cx="8126033" cy="815667"/>
            </a:xfrm>
            <a:prstGeom prst="rect">
              <a:avLst/>
            </a:prstGeom>
          </p:spPr>
          <p:txBody>
            <a:bodyPr wrap="square" anchor="b" anchorCtr="0">
              <a:noAutofit/>
            </a:bodyPr>
            <a:lstStyle/>
            <a:p>
              <a:pPr algn="ctr">
                <a:buSzPct val="25000"/>
              </a:pPr>
              <a:r>
                <a:rPr lang="en-US" altLang="zh-CN" sz="3200" b="1" dirty="0">
                  <a:latin typeface="Arial" panose="020B0604020202090204" pitchFamily="34" charset="0"/>
                  <a:ea typeface="华文楷体" panose="02010600040101010101" pitchFamily="2" charset="-122"/>
                </a:rPr>
                <a:t>Unified fonts</a:t>
              </a:r>
              <a:r>
                <a:rPr lang="zh-CN" altLang="en-US" sz="3200" b="1" dirty="0">
                  <a:latin typeface="Arial" panose="020B0604020202090204" pitchFamily="34" charset="0"/>
                  <a:ea typeface="华文楷体" panose="02010600040101010101" pitchFamily="2" charset="-122"/>
                </a:rPr>
                <a:t> </a:t>
              </a:r>
              <a:r>
                <a:rPr lang="en-US" altLang="zh-CN" sz="3200" b="1" dirty="0">
                  <a:latin typeface="Arial" panose="020B0604020202090204" pitchFamily="34" charset="0"/>
                  <a:ea typeface="华文楷体" panose="02010600040101010101" pitchFamily="2" charset="-122"/>
                </a:rPr>
                <a:t>make Rea</a:t>
              </a:r>
              <a:r>
                <a:rPr lang="en-US" altLang="zh-CN" sz="100" b="1" dirty="0">
                  <a:latin typeface="Arial" panose="020B0604020202090204" pitchFamily="34" charset="0"/>
                  <a:ea typeface="华文楷体" panose="02010600040101010101" pitchFamily="2" charset="-122"/>
                </a:rPr>
                <a:t> </a:t>
              </a:r>
              <a:r>
                <a:rPr lang="en-US" altLang="zh-CN" sz="3200" b="1" dirty="0">
                  <a:latin typeface="Arial" panose="020B0604020202090204" pitchFamily="34" charset="0"/>
                  <a:ea typeface="华文楷体" panose="02010600040101010101" pitchFamily="2" charset="-122"/>
                </a:rPr>
                <a:t>ding more fluent.</a:t>
              </a:r>
              <a:endParaRPr lang="en-US" altLang="zh-CN" sz="3200" b="1" dirty="0">
                <a:latin typeface="Arial" panose="020B0604020202090204" pitchFamily="34" charset="0"/>
                <a:ea typeface="华文楷体" panose="02010600040101010101" pitchFamily="2" charset="-122"/>
              </a:endParaRPr>
            </a:p>
          </p:txBody>
        </p:sp>
        <p:sp>
          <p:nvSpPr>
            <p:cNvPr id="49" name="文本框 48"/>
            <p:cNvSpPr txBox="1"/>
            <p:nvPr/>
          </p:nvSpPr>
          <p:spPr>
            <a:xfrm>
              <a:off x="2032983" y="2207435"/>
              <a:ext cx="8126034" cy="471604"/>
            </a:xfrm>
            <a:prstGeom prst="rect">
              <a:avLst/>
            </a:prstGeom>
            <a:noFill/>
          </p:spPr>
          <p:txBody>
            <a:bodyPr wrap="square" rtlCol="0">
              <a:spAutoFit/>
            </a:bodyPr>
            <a:lstStyle>
              <a:defPPr>
                <a:defRPr lang="zh-CN"/>
              </a:defPPr>
              <a:lvl1pPr algn="ctr">
                <a:lnSpc>
                  <a:spcPct val="150000"/>
                </a:lnSpc>
                <a:defRPr sz="1200">
                  <a:solidFill>
                    <a:schemeClr val="bg1">
                      <a:lumMod val="50000"/>
                    </a:schemeClr>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30000"/>
                </a:lnSpc>
              </a:pPr>
              <a:r>
                <a:rPr lang="en-US" altLang="zh-CN" sz="1000" dirty="0">
                  <a:solidFill>
                    <a:schemeClr val="tx1"/>
                  </a:solidFill>
                  <a:latin typeface="Arial" panose="020B0604020202090204" pitchFamily="34" charset="0"/>
                  <a:ea typeface="华文楷体" panose="02010600040101010101" pitchFamily="2" charset="-122"/>
                </a:rPr>
                <a:t>Theme color makes PPT more convenient to change. </a:t>
              </a:r>
              <a:endParaRPr lang="en-US" altLang="zh-CN" sz="1000" dirty="0">
                <a:solidFill>
                  <a:schemeClr val="tx1"/>
                </a:solidFill>
                <a:latin typeface="Arial" panose="020B0604020202090204" pitchFamily="34" charset="0"/>
                <a:ea typeface="华文楷体" panose="02010600040101010101" pitchFamily="2" charset="-122"/>
              </a:endParaRPr>
            </a:p>
            <a:p>
              <a:pPr>
                <a:lnSpc>
                  <a:spcPct val="130000"/>
                </a:lnSpc>
              </a:pPr>
              <a:r>
                <a:rPr lang="en-US" altLang="zh-CN" sz="1000" dirty="0">
                  <a:solidFill>
                    <a:schemeClr val="tx1"/>
                  </a:solidFill>
                  <a:latin typeface="Arial" panose="020B0604020202090204" pitchFamily="34" charset="0"/>
                  <a:ea typeface="华文楷体" panose="02010600040101010101" pitchFamily="2" charset="-122"/>
                </a:rPr>
                <a:t>Adjust the spacing to adapt to Chinese typesetting, use the reference line in PPT……</a:t>
              </a:r>
              <a:endParaRPr lang="en-US" altLang="zh-CN" sz="1000" dirty="0">
                <a:solidFill>
                  <a:schemeClr val="tx1"/>
                </a:solidFill>
                <a:latin typeface="Arial" panose="020B0604020202090204" pitchFamily="34" charset="0"/>
                <a:ea typeface="华文楷体" panose="02010600040101010101" pitchFamily="2" charset="-122"/>
              </a:endParaRPr>
            </a:p>
          </p:txBody>
        </p:sp>
      </p:grpSp>
    </p:spTree>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endParaRPr lang="zh-CN" altLang="en-US"/>
          </a:p>
        </p:txBody>
      </p:sp>
    </p:spTree>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endParaRPr lang="zh-CN" altLang="en-US"/>
          </a:p>
        </p:txBody>
      </p:sp>
    </p:spTree>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endParaRPr lang="zh-CN" altLang="en-US"/>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extBox 6"/>
          <p:cNvSpPr txBox="1"/>
          <p:nvPr/>
        </p:nvSpPr>
        <p:spPr>
          <a:xfrm>
            <a:off x="547832" y="187607"/>
            <a:ext cx="5548168" cy="461665"/>
          </a:xfrm>
          <a:prstGeom prst="rect">
            <a:avLst/>
          </a:prstGeom>
        </p:spPr>
        <p:txBody>
          <a:bodyPr vert="horz" wrap="square" lIns="0" tIns="0" rIns="0" bIns="0" rtlCol="0" anchor="ctr">
            <a:noAutofit/>
          </a:bodyPr>
          <a:lstStyle>
            <a:defPPr>
              <a:defRPr lang="zh-CN"/>
            </a:defPPr>
            <a:lvl1pPr marL="12700" marR="0" lvl="0" indent="0" fontAlgn="auto">
              <a:lnSpc>
                <a:spcPct val="100000"/>
              </a:lnSpc>
              <a:spcBef>
                <a:spcPts val="100"/>
              </a:spcBef>
              <a:spcAft>
                <a:spcPts val="0"/>
              </a:spcAft>
              <a:buClrTx/>
              <a:buSzTx/>
              <a:buFontTx/>
              <a:buNone/>
              <a:defRPr kumimoji="0" sz="3200" b="1" i="0" u="none" strike="noStrike" cap="none" spc="0" normalizeH="0" baseline="0">
                <a:ln>
                  <a:noFill/>
                </a:ln>
                <a:solidFill>
                  <a:srgbClr val="F05A23"/>
                </a:solidFill>
                <a:effectLst/>
                <a:uLnTx/>
                <a:uFillTx/>
                <a:latin typeface="Arial" panose="020B0604020202090204"/>
                <a:ea typeface="华文楷体" panose="02010600040101010101" pitchFamily="2" charset="-122"/>
              </a:defRPr>
            </a:lvl1pPr>
          </a:lstStyle>
          <a:p>
            <a:pPr marL="12700" marR="0" lvl="0" indent="0" algn="l" defTabSz="914400" rtl="0" eaLnBrk="1" fontAlgn="auto" latinLnBrk="0" hangingPunct="1">
              <a:lnSpc>
                <a:spcPct val="100000"/>
              </a:lnSpc>
              <a:spcBef>
                <a:spcPts val="100"/>
              </a:spcBef>
              <a:spcAft>
                <a:spcPts val="0"/>
              </a:spcAft>
              <a:buClrTx/>
              <a:buSzTx/>
              <a:buFontTx/>
              <a:buNone/>
              <a:defRPr/>
            </a:pPr>
            <a:r>
              <a:rPr kumimoji="0" lang="en-US" altLang="zh-CN" sz="2400" b="1" i="0" u="none" strike="noStrike" kern="1200" cap="none" spc="0" normalizeH="0" baseline="0" noProof="0" dirty="0">
                <a:ln>
                  <a:noFill/>
                </a:ln>
                <a:solidFill>
                  <a:srgbClr val="F05A23"/>
                </a:solidFill>
                <a:effectLst/>
                <a:uLnTx/>
                <a:uFillTx/>
                <a:latin typeface="Arial" panose="020B0604020202090204"/>
                <a:ea typeface="华文楷体" panose="02010600040101010101" pitchFamily="2" charset="-122"/>
                <a:cs typeface="+mn-cs"/>
              </a:rPr>
              <a:t>2</a:t>
            </a:r>
            <a:r>
              <a:rPr kumimoji="0" lang="zh-CN" altLang="en-US" sz="2400" b="1" i="0" u="none" strike="noStrike" kern="1200" cap="none" spc="0" normalizeH="0" baseline="0" noProof="0" dirty="0">
                <a:ln>
                  <a:noFill/>
                </a:ln>
                <a:solidFill>
                  <a:srgbClr val="F05A23"/>
                </a:solidFill>
                <a:effectLst/>
                <a:uLnTx/>
                <a:uFillTx/>
                <a:latin typeface="Arial" panose="020B0604020202090204"/>
                <a:ea typeface="华文楷体" panose="02010600040101010101" pitchFamily="2" charset="-122"/>
                <a:cs typeface="+mn-cs"/>
              </a:rPr>
              <a:t>、</a:t>
            </a:r>
            <a:endParaRPr kumimoji="0" lang="en-US" sz="2400" b="1" i="0" u="none" strike="noStrike" kern="1200" cap="none" spc="0" normalizeH="0" baseline="0" noProof="0" dirty="0">
              <a:ln>
                <a:noFill/>
              </a:ln>
              <a:solidFill>
                <a:srgbClr val="F05A23"/>
              </a:solidFill>
              <a:effectLst/>
              <a:uLnTx/>
              <a:uFillTx/>
              <a:latin typeface="Arial" panose="020B0604020202090204"/>
              <a:ea typeface="华文楷体" panose="02010600040101010101" pitchFamily="2" charset="-122"/>
              <a:cs typeface="+mn-cs"/>
            </a:endParaRPr>
          </a:p>
        </p:txBody>
      </p:sp>
      <p:pic>
        <p:nvPicPr>
          <p:cNvPr id="40" name="图片 39"/>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9949418" y="253211"/>
            <a:ext cx="1837445" cy="501494"/>
          </a:xfrm>
          <a:prstGeom prst="rect">
            <a:avLst/>
          </a:prstGeom>
        </p:spPr>
      </p:pic>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extBox 6"/>
          <p:cNvSpPr txBox="1"/>
          <p:nvPr/>
        </p:nvSpPr>
        <p:spPr>
          <a:xfrm>
            <a:off x="547832" y="187607"/>
            <a:ext cx="5548168" cy="461665"/>
          </a:xfrm>
          <a:prstGeom prst="rect">
            <a:avLst/>
          </a:prstGeom>
        </p:spPr>
        <p:txBody>
          <a:bodyPr vert="horz" wrap="square" lIns="0" tIns="0" rIns="0" bIns="0" rtlCol="0" anchor="ctr">
            <a:noAutofit/>
          </a:bodyPr>
          <a:lstStyle>
            <a:defPPr>
              <a:defRPr lang="zh-CN"/>
            </a:defPPr>
            <a:lvl1pPr marL="12700" marR="0" lvl="0" indent="0" fontAlgn="auto">
              <a:lnSpc>
                <a:spcPct val="100000"/>
              </a:lnSpc>
              <a:spcBef>
                <a:spcPts val="100"/>
              </a:spcBef>
              <a:spcAft>
                <a:spcPts val="0"/>
              </a:spcAft>
              <a:buClrTx/>
              <a:buSzTx/>
              <a:buFontTx/>
              <a:buNone/>
              <a:defRPr kumimoji="0" sz="3200" b="1" i="0" u="none" strike="noStrike" cap="none" spc="0" normalizeH="0" baseline="0">
                <a:ln>
                  <a:noFill/>
                </a:ln>
                <a:solidFill>
                  <a:srgbClr val="F05A23"/>
                </a:solidFill>
                <a:effectLst/>
                <a:uLnTx/>
                <a:uFillTx/>
                <a:latin typeface="Arial" panose="020B0604020202090204"/>
                <a:ea typeface="华文楷体" panose="02010600040101010101" pitchFamily="2" charset="-122"/>
              </a:defRPr>
            </a:lvl1pPr>
          </a:lstStyle>
          <a:p>
            <a:pPr marL="12700" marR="0" lvl="0" indent="0" algn="l" defTabSz="914400" rtl="0" eaLnBrk="1" fontAlgn="auto" latinLnBrk="0" hangingPunct="1">
              <a:lnSpc>
                <a:spcPct val="100000"/>
              </a:lnSpc>
              <a:spcBef>
                <a:spcPts val="100"/>
              </a:spcBef>
              <a:spcAft>
                <a:spcPts val="0"/>
              </a:spcAft>
              <a:buClrTx/>
              <a:buSzTx/>
              <a:buFontTx/>
              <a:buNone/>
              <a:defRPr/>
            </a:pPr>
            <a:r>
              <a:rPr kumimoji="0" lang="en-US" altLang="zh-CN" sz="2400" b="1" i="0" u="none" strike="noStrike" kern="1200" cap="none" spc="0" normalizeH="0" baseline="0" noProof="0" dirty="0">
                <a:ln>
                  <a:noFill/>
                </a:ln>
                <a:solidFill>
                  <a:srgbClr val="F05A23"/>
                </a:solidFill>
                <a:effectLst/>
                <a:uLnTx/>
                <a:uFillTx/>
                <a:latin typeface="Arial" panose="020B0604020202090204"/>
                <a:ea typeface="华文楷体" panose="02010600040101010101" pitchFamily="2" charset="-122"/>
                <a:cs typeface="+mn-cs"/>
              </a:rPr>
              <a:t>3</a:t>
            </a:r>
            <a:r>
              <a:rPr kumimoji="0" lang="zh-CN" altLang="en-US" sz="2400" b="1" i="0" u="none" strike="noStrike" kern="1200" cap="none" spc="0" normalizeH="0" baseline="0" noProof="0" dirty="0">
                <a:ln>
                  <a:noFill/>
                </a:ln>
                <a:solidFill>
                  <a:srgbClr val="F05A23"/>
                </a:solidFill>
                <a:effectLst/>
                <a:uLnTx/>
                <a:uFillTx/>
                <a:latin typeface="Arial" panose="020B0604020202090204"/>
                <a:ea typeface="华文楷体" panose="02010600040101010101" pitchFamily="2" charset="-122"/>
                <a:cs typeface="+mn-cs"/>
              </a:rPr>
              <a:t>、</a:t>
            </a:r>
            <a:endParaRPr kumimoji="0" lang="en-US" sz="2400" b="1" i="0" u="none" strike="noStrike" kern="1200" cap="none" spc="0" normalizeH="0" baseline="0" noProof="0" dirty="0">
              <a:ln>
                <a:noFill/>
              </a:ln>
              <a:solidFill>
                <a:srgbClr val="F05A23"/>
              </a:solidFill>
              <a:effectLst/>
              <a:uLnTx/>
              <a:uFillTx/>
              <a:latin typeface="Arial" panose="020B0604020202090204"/>
              <a:ea typeface="华文楷体" panose="02010600040101010101" pitchFamily="2" charset="-122"/>
              <a:cs typeface="+mn-cs"/>
            </a:endParaRPr>
          </a:p>
        </p:txBody>
      </p:sp>
      <p:pic>
        <p:nvPicPr>
          <p:cNvPr id="40" name="图片 39"/>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9949418" y="253211"/>
            <a:ext cx="1837445" cy="501494"/>
          </a:xfrm>
          <a:prstGeom prst="rect">
            <a:avLst/>
          </a:prstGeom>
        </p:spPr>
      </p:pic>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en-US" altLang="zh-CN">
                <a:latin typeface="Arial" panose="020B0604020202090204" pitchFamily="34" charset="0"/>
                <a:ea typeface="华文楷体" panose="02010600040101010101" pitchFamily="2" charset="-122"/>
              </a:rPr>
              <a:t>Section Header Here</a:t>
            </a:r>
            <a:endParaRPr lang="zh-CN" altLang="en-US" dirty="0">
              <a:latin typeface="Arial" panose="020B0604020202090204" pitchFamily="34" charset="0"/>
              <a:ea typeface="华文楷体" panose="02010600040101010101" pitchFamily="2" charset="-122"/>
            </a:endParaRPr>
          </a:p>
        </p:txBody>
      </p:sp>
      <p:sp>
        <p:nvSpPr>
          <p:cNvPr id="6" name="文本占位符 5"/>
          <p:cNvSpPr>
            <a:spLocks noGrp="1"/>
          </p:cNvSpPr>
          <p:nvPr>
            <p:ph type="body" idx="1"/>
          </p:nvPr>
        </p:nvSpPr>
        <p:spPr/>
        <p:txBody>
          <a:bodyPr/>
          <a:lstStyle/>
          <a:p>
            <a:pPr lvl="0"/>
            <a:r>
              <a:rPr lang="en-US" altLang="zh-CN">
                <a:latin typeface="Arial" panose="020B0604020202090204" pitchFamily="34" charset="0"/>
                <a:ea typeface="华文楷体" panose="02010600040101010101" pitchFamily="2" charset="-122"/>
              </a:rPr>
              <a:t>Supporting text here.</a:t>
            </a:r>
            <a:endParaRPr lang="en-US" altLang="zh-CN">
              <a:latin typeface="Arial" panose="020B0604020202090204" pitchFamily="34" charset="0"/>
              <a:ea typeface="华文楷体" panose="02010600040101010101" pitchFamily="2" charset="-122"/>
            </a:endParaRPr>
          </a:p>
          <a:p>
            <a:pPr lvl="0"/>
            <a:r>
              <a:rPr lang="en-US" altLang="zh-CN">
                <a:latin typeface="Arial" panose="020B0604020202090204" pitchFamily="34" charset="0"/>
                <a:ea typeface="华文楷体" panose="02010600040101010101" pitchFamily="2" charset="-122"/>
              </a:rPr>
              <a:t>When you copy &amp; paste, choose "keep text only" option.</a:t>
            </a:r>
            <a:endParaRPr lang="zh-CN" altLang="en-US" dirty="0">
              <a:latin typeface="Arial" panose="020B0604020202090204" pitchFamily="34" charset="0"/>
              <a:ea typeface="华文楷体" panose="02010600040101010101" pitchFamily="2" charset="-122"/>
            </a:endParaRPr>
          </a:p>
        </p:txBody>
      </p:sp>
      <p:sp>
        <p:nvSpPr>
          <p:cNvPr id="33" name="文本框 32"/>
          <p:cNvSpPr txBox="1"/>
          <p:nvPr/>
        </p:nvSpPr>
        <p:spPr>
          <a:xfrm>
            <a:off x="5552306" y="2361732"/>
            <a:ext cx="1057275" cy="895350"/>
          </a:xfrm>
          <a:prstGeom prst="rect">
            <a:avLst/>
          </a:prstGeom>
        </p:spPr>
        <p:txBody>
          <a:bodyPr vert="horz" lIns="91440" tIns="45720" rIns="91440" bIns="45720" rtlCol="0" anchor="b">
            <a:normAutofit fontScale="92500" lnSpcReduction="10000"/>
          </a:bodyPr>
          <a:lstStyle>
            <a:lvl1pPr algn="l" defTabSz="914400" rtl="0" eaLnBrk="1" latinLnBrk="0" hangingPunct="1">
              <a:lnSpc>
                <a:spcPct val="90000"/>
              </a:lnSpc>
              <a:spcBef>
                <a:spcPct val="0"/>
              </a:spcBef>
              <a:buNone/>
              <a:defRPr sz="2400" b="1" kern="1200">
                <a:solidFill>
                  <a:schemeClr val="bg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defRPr/>
            </a:pPr>
            <a:r>
              <a:rPr kumimoji="0" lang="en-US" altLang="zh-CN" sz="6600" b="1" i="0" u="none" strike="noStrike" kern="1200" cap="none" spc="0" normalizeH="0" baseline="0" noProof="0" dirty="0">
                <a:ln>
                  <a:noFill/>
                </a:ln>
                <a:solidFill>
                  <a:srgbClr val="FC6C1C"/>
                </a:solidFill>
                <a:effectLst/>
                <a:uLnTx/>
                <a:uFillTx/>
                <a:latin typeface="Arial" panose="020B0604020202090204" pitchFamily="34" charset="0"/>
                <a:ea typeface="华文楷体" panose="02010600040101010101" pitchFamily="2" charset="-122"/>
                <a:cs typeface="+mj-cs"/>
              </a:rPr>
              <a:t>03</a:t>
            </a:r>
            <a:endParaRPr kumimoji="0" lang="zh-CN" altLang="en-US" sz="6600" b="1" i="0" u="none" strike="noStrike" kern="1200" cap="none" spc="0" normalizeH="0" baseline="0" noProof="0" dirty="0">
              <a:ln>
                <a:noFill/>
              </a:ln>
              <a:solidFill>
                <a:srgbClr val="FC6C1C"/>
              </a:solidFill>
              <a:effectLst/>
              <a:uLnTx/>
              <a:uFillTx/>
              <a:latin typeface="Arial" panose="020B0604020202090204" pitchFamily="34" charset="0"/>
              <a:ea typeface="华文楷体" panose="02010600040101010101" pitchFamily="2" charset="-122"/>
              <a:cs typeface="+mj-cs"/>
            </a:endParaRPr>
          </a:p>
        </p:txBody>
      </p:sp>
      <p:sp>
        <p:nvSpPr>
          <p:cNvPr id="3" name="矩形 2"/>
          <p:cNvSpPr/>
          <p:nvPr/>
        </p:nvSpPr>
        <p:spPr>
          <a:xfrm>
            <a:off x="0" y="3340168"/>
            <a:ext cx="12192000" cy="3541736"/>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Arial" panose="020B0604020202090204"/>
              <a:ea typeface="华文楷体" panose="02010600040101010101" pitchFamily="2" charset="-122"/>
              <a:cs typeface="+mn-cs"/>
            </a:endParaRPr>
          </a:p>
        </p:txBody>
      </p:sp>
      <p:pic>
        <p:nvPicPr>
          <p:cNvPr id="122" name="图片 121"/>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9903035" y="299594"/>
            <a:ext cx="1837445" cy="501494"/>
          </a:xfrm>
          <a:prstGeom prst="rect">
            <a:avLst/>
          </a:prstGeom>
        </p:spPr>
      </p:pic>
      <p:sp>
        <p:nvSpPr>
          <p:cNvPr id="123" name="文本框 122"/>
          <p:cNvSpPr txBox="1"/>
          <p:nvPr/>
        </p:nvSpPr>
        <p:spPr>
          <a:xfrm>
            <a:off x="5569671" y="3767308"/>
            <a:ext cx="4240111" cy="895350"/>
          </a:xfrm>
          <a:prstGeom prst="rect">
            <a:avLst/>
          </a:prstGeom>
        </p:spPr>
        <p:txBody>
          <a:bodyPr vert="horz" wrap="square" lIns="91440" tIns="45720" rIns="91440" bIns="45720" rtlCol="0">
            <a:normAutofit/>
          </a:bodyPr>
          <a:lstStyle/>
          <a:p>
            <a:pPr marL="106045" marR="0" lvl="0" indent="0" algn="l" defTabSz="914400" rtl="0" eaLnBrk="1" fontAlgn="auto" latinLnBrk="0" hangingPunct="1">
              <a:lnSpc>
                <a:spcPct val="100000"/>
              </a:lnSpc>
              <a:spcBef>
                <a:spcPts val="0"/>
              </a:spcBef>
              <a:spcAft>
                <a:spcPts val="0"/>
              </a:spcAft>
              <a:buClrTx/>
              <a:buSzTx/>
              <a:buFontTx/>
              <a:buNone/>
              <a:defRPr/>
            </a:pPr>
            <a:r>
              <a:rPr kumimoji="0" lang="en-US" altLang="zh-CN" sz="3200" b="1" i="0" u="none" strike="noStrike" kern="1200" cap="none" spc="0" normalizeH="0" baseline="0" noProof="0" dirty="0">
                <a:ln>
                  <a:noFill/>
                </a:ln>
                <a:solidFill>
                  <a:prstClr val="white"/>
                </a:solidFill>
                <a:effectLst/>
                <a:uLnTx/>
                <a:uFillTx/>
                <a:latin typeface="Arial" panose="020B0604020202090204"/>
                <a:ea typeface="华文楷体" panose="02010600040101010101" pitchFamily="2" charset="-122"/>
                <a:cs typeface="+mn-cs"/>
              </a:rPr>
              <a:t>XXXX</a:t>
            </a:r>
            <a:endParaRPr kumimoji="0" lang="zh-CN" altLang="en-US" sz="3200" b="1" i="0" u="none" strike="noStrike" kern="1200" cap="none" spc="0" normalizeH="0" baseline="0" noProof="0" dirty="0">
              <a:ln>
                <a:noFill/>
              </a:ln>
              <a:solidFill>
                <a:prstClr val="white"/>
              </a:solidFill>
              <a:effectLst/>
              <a:uLnTx/>
              <a:uFillTx/>
              <a:latin typeface="Arial" panose="020B0604020202090204"/>
              <a:ea typeface="华文楷体" panose="02010600040101010101" pitchFamily="2" charset="-122"/>
              <a:cs typeface="+mn-cs"/>
            </a:endParaRPr>
          </a:p>
        </p:txBody>
      </p:sp>
      <p:grpSp>
        <p:nvGrpSpPr>
          <p:cNvPr id="38" name="组合 3"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nvGrpSpPr>
        <p:grpSpPr>
          <a:xfrm>
            <a:off x="1440740" y="1596872"/>
            <a:ext cx="3084877" cy="3068660"/>
            <a:chOff x="3535133" y="1130300"/>
            <a:chExt cx="5121610" cy="5094685"/>
          </a:xfrm>
        </p:grpSpPr>
        <p:grpSp>
          <p:nvGrpSpPr>
            <p:cNvPr id="39" name="ïsḷïde"/>
            <p:cNvGrpSpPr/>
            <p:nvPr/>
          </p:nvGrpSpPr>
          <p:grpSpPr bwMode="auto">
            <a:xfrm>
              <a:off x="4717696" y="1130300"/>
              <a:ext cx="3357828" cy="4323586"/>
              <a:chOff x="2663" y="-25"/>
              <a:chExt cx="2865" cy="3689"/>
            </a:xfrm>
          </p:grpSpPr>
          <p:sp>
            <p:nvSpPr>
              <p:cNvPr id="801" name="ïşľïḑê"/>
              <p:cNvSpPr/>
              <p:nvPr/>
            </p:nvSpPr>
            <p:spPr bwMode="auto">
              <a:xfrm>
                <a:off x="4271" y="3348"/>
                <a:ext cx="465" cy="316"/>
              </a:xfrm>
              <a:custGeom>
                <a:avLst/>
                <a:gdLst>
                  <a:gd name="T0" fmla="*/ 465 w 465"/>
                  <a:gd name="T1" fmla="*/ 0 h 316"/>
                  <a:gd name="T2" fmla="*/ 0 w 465"/>
                  <a:gd name="T3" fmla="*/ 268 h 316"/>
                  <a:gd name="T4" fmla="*/ 0 w 465"/>
                  <a:gd name="T5" fmla="*/ 316 h 316"/>
                  <a:gd name="T6" fmla="*/ 465 w 465"/>
                  <a:gd name="T7" fmla="*/ 48 h 316"/>
                  <a:gd name="T8" fmla="*/ 465 w 465"/>
                  <a:gd name="T9" fmla="*/ 0 h 316"/>
                </a:gdLst>
                <a:ahLst/>
                <a:cxnLst>
                  <a:cxn ang="0">
                    <a:pos x="T0" y="T1"/>
                  </a:cxn>
                  <a:cxn ang="0">
                    <a:pos x="T2" y="T3"/>
                  </a:cxn>
                  <a:cxn ang="0">
                    <a:pos x="T4" y="T5"/>
                  </a:cxn>
                  <a:cxn ang="0">
                    <a:pos x="T6" y="T7"/>
                  </a:cxn>
                  <a:cxn ang="0">
                    <a:pos x="T8" y="T9"/>
                  </a:cxn>
                </a:cxnLst>
                <a:rect l="0" t="0" r="r" b="b"/>
                <a:pathLst>
                  <a:path w="465" h="316">
                    <a:moveTo>
                      <a:pt x="465" y="0"/>
                    </a:moveTo>
                    <a:lnTo>
                      <a:pt x="0" y="268"/>
                    </a:lnTo>
                    <a:lnTo>
                      <a:pt x="0" y="316"/>
                    </a:lnTo>
                    <a:lnTo>
                      <a:pt x="465" y="48"/>
                    </a:lnTo>
                    <a:lnTo>
                      <a:pt x="465" y="0"/>
                    </a:lnTo>
                    <a:close/>
                  </a:path>
                </a:pathLst>
              </a:custGeom>
              <a:solidFill>
                <a:srgbClr val="74767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02" name="išlïḑe"/>
              <p:cNvSpPr/>
              <p:nvPr/>
            </p:nvSpPr>
            <p:spPr bwMode="auto">
              <a:xfrm>
                <a:off x="4271" y="3348"/>
                <a:ext cx="465" cy="316"/>
              </a:xfrm>
              <a:custGeom>
                <a:avLst/>
                <a:gdLst>
                  <a:gd name="T0" fmla="*/ 465 w 465"/>
                  <a:gd name="T1" fmla="*/ 0 h 316"/>
                  <a:gd name="T2" fmla="*/ 0 w 465"/>
                  <a:gd name="T3" fmla="*/ 268 h 316"/>
                  <a:gd name="T4" fmla="*/ 0 w 465"/>
                  <a:gd name="T5" fmla="*/ 316 h 316"/>
                  <a:gd name="T6" fmla="*/ 465 w 465"/>
                  <a:gd name="T7" fmla="*/ 48 h 316"/>
                  <a:gd name="T8" fmla="*/ 465 w 465"/>
                  <a:gd name="T9" fmla="*/ 0 h 316"/>
                </a:gdLst>
                <a:ahLst/>
                <a:cxnLst>
                  <a:cxn ang="0">
                    <a:pos x="T0" y="T1"/>
                  </a:cxn>
                  <a:cxn ang="0">
                    <a:pos x="T2" y="T3"/>
                  </a:cxn>
                  <a:cxn ang="0">
                    <a:pos x="T4" y="T5"/>
                  </a:cxn>
                  <a:cxn ang="0">
                    <a:pos x="T6" y="T7"/>
                  </a:cxn>
                  <a:cxn ang="0">
                    <a:pos x="T8" y="T9"/>
                  </a:cxn>
                </a:cxnLst>
                <a:rect l="0" t="0" r="r" b="b"/>
                <a:pathLst>
                  <a:path w="465" h="316">
                    <a:moveTo>
                      <a:pt x="465" y="0"/>
                    </a:moveTo>
                    <a:lnTo>
                      <a:pt x="0" y="268"/>
                    </a:lnTo>
                    <a:lnTo>
                      <a:pt x="0" y="316"/>
                    </a:lnTo>
                    <a:lnTo>
                      <a:pt x="465" y="48"/>
                    </a:lnTo>
                    <a:lnTo>
                      <a:pt x="46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03" name="îṣ1îḓé"/>
              <p:cNvSpPr/>
              <p:nvPr/>
            </p:nvSpPr>
            <p:spPr bwMode="auto">
              <a:xfrm>
                <a:off x="4249" y="3603"/>
                <a:ext cx="22" cy="61"/>
              </a:xfrm>
              <a:custGeom>
                <a:avLst/>
                <a:gdLst>
                  <a:gd name="T0" fmla="*/ 0 w 22"/>
                  <a:gd name="T1" fmla="*/ 0 h 61"/>
                  <a:gd name="T2" fmla="*/ 0 w 22"/>
                  <a:gd name="T3" fmla="*/ 49 h 61"/>
                  <a:gd name="T4" fmla="*/ 22 w 22"/>
                  <a:gd name="T5" fmla="*/ 61 h 61"/>
                  <a:gd name="T6" fmla="*/ 22 w 22"/>
                  <a:gd name="T7" fmla="*/ 13 h 61"/>
                  <a:gd name="T8" fmla="*/ 0 w 22"/>
                  <a:gd name="T9" fmla="*/ 0 h 61"/>
                </a:gdLst>
                <a:ahLst/>
                <a:cxnLst>
                  <a:cxn ang="0">
                    <a:pos x="T0" y="T1"/>
                  </a:cxn>
                  <a:cxn ang="0">
                    <a:pos x="T2" y="T3"/>
                  </a:cxn>
                  <a:cxn ang="0">
                    <a:pos x="T4" y="T5"/>
                  </a:cxn>
                  <a:cxn ang="0">
                    <a:pos x="T6" y="T7"/>
                  </a:cxn>
                  <a:cxn ang="0">
                    <a:pos x="T8" y="T9"/>
                  </a:cxn>
                </a:cxnLst>
                <a:rect l="0" t="0" r="r" b="b"/>
                <a:pathLst>
                  <a:path w="22" h="61">
                    <a:moveTo>
                      <a:pt x="0" y="0"/>
                    </a:moveTo>
                    <a:lnTo>
                      <a:pt x="0" y="49"/>
                    </a:lnTo>
                    <a:lnTo>
                      <a:pt x="22" y="61"/>
                    </a:lnTo>
                    <a:lnTo>
                      <a:pt x="22" y="13"/>
                    </a:lnTo>
                    <a:lnTo>
                      <a:pt x="0" y="0"/>
                    </a:lnTo>
                    <a:close/>
                  </a:path>
                </a:pathLst>
              </a:custGeom>
              <a:solidFill>
                <a:srgbClr val="8B909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04" name="ïšľïḑê"/>
              <p:cNvSpPr/>
              <p:nvPr/>
            </p:nvSpPr>
            <p:spPr bwMode="auto">
              <a:xfrm>
                <a:off x="4249" y="3603"/>
                <a:ext cx="22" cy="61"/>
              </a:xfrm>
              <a:custGeom>
                <a:avLst/>
                <a:gdLst>
                  <a:gd name="T0" fmla="*/ 0 w 22"/>
                  <a:gd name="T1" fmla="*/ 0 h 61"/>
                  <a:gd name="T2" fmla="*/ 0 w 22"/>
                  <a:gd name="T3" fmla="*/ 49 h 61"/>
                  <a:gd name="T4" fmla="*/ 22 w 22"/>
                  <a:gd name="T5" fmla="*/ 61 h 61"/>
                  <a:gd name="T6" fmla="*/ 22 w 22"/>
                  <a:gd name="T7" fmla="*/ 13 h 61"/>
                  <a:gd name="T8" fmla="*/ 0 w 22"/>
                  <a:gd name="T9" fmla="*/ 0 h 61"/>
                </a:gdLst>
                <a:ahLst/>
                <a:cxnLst>
                  <a:cxn ang="0">
                    <a:pos x="T0" y="T1"/>
                  </a:cxn>
                  <a:cxn ang="0">
                    <a:pos x="T2" y="T3"/>
                  </a:cxn>
                  <a:cxn ang="0">
                    <a:pos x="T4" y="T5"/>
                  </a:cxn>
                  <a:cxn ang="0">
                    <a:pos x="T6" y="T7"/>
                  </a:cxn>
                  <a:cxn ang="0">
                    <a:pos x="T8" y="T9"/>
                  </a:cxn>
                </a:cxnLst>
                <a:rect l="0" t="0" r="r" b="b"/>
                <a:pathLst>
                  <a:path w="22" h="61">
                    <a:moveTo>
                      <a:pt x="0" y="0"/>
                    </a:moveTo>
                    <a:lnTo>
                      <a:pt x="0" y="49"/>
                    </a:lnTo>
                    <a:lnTo>
                      <a:pt x="22" y="61"/>
                    </a:lnTo>
                    <a:lnTo>
                      <a:pt x="22" y="1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05" name="îṥlïḍê"/>
              <p:cNvSpPr/>
              <p:nvPr/>
            </p:nvSpPr>
            <p:spPr bwMode="auto">
              <a:xfrm>
                <a:off x="4249" y="3335"/>
                <a:ext cx="487" cy="281"/>
              </a:xfrm>
              <a:custGeom>
                <a:avLst/>
                <a:gdLst>
                  <a:gd name="T0" fmla="*/ 465 w 487"/>
                  <a:gd name="T1" fmla="*/ 0 h 281"/>
                  <a:gd name="T2" fmla="*/ 0 w 487"/>
                  <a:gd name="T3" fmla="*/ 268 h 281"/>
                  <a:gd name="T4" fmla="*/ 22 w 487"/>
                  <a:gd name="T5" fmla="*/ 281 h 281"/>
                  <a:gd name="T6" fmla="*/ 487 w 487"/>
                  <a:gd name="T7" fmla="*/ 13 h 281"/>
                  <a:gd name="T8" fmla="*/ 465 w 487"/>
                  <a:gd name="T9" fmla="*/ 0 h 281"/>
                </a:gdLst>
                <a:ahLst/>
                <a:cxnLst>
                  <a:cxn ang="0">
                    <a:pos x="T0" y="T1"/>
                  </a:cxn>
                  <a:cxn ang="0">
                    <a:pos x="T2" y="T3"/>
                  </a:cxn>
                  <a:cxn ang="0">
                    <a:pos x="T4" y="T5"/>
                  </a:cxn>
                  <a:cxn ang="0">
                    <a:pos x="T6" y="T7"/>
                  </a:cxn>
                  <a:cxn ang="0">
                    <a:pos x="T8" y="T9"/>
                  </a:cxn>
                </a:cxnLst>
                <a:rect l="0" t="0" r="r" b="b"/>
                <a:pathLst>
                  <a:path w="487" h="281">
                    <a:moveTo>
                      <a:pt x="465" y="0"/>
                    </a:moveTo>
                    <a:lnTo>
                      <a:pt x="0" y="268"/>
                    </a:lnTo>
                    <a:lnTo>
                      <a:pt x="22" y="281"/>
                    </a:lnTo>
                    <a:lnTo>
                      <a:pt x="487" y="13"/>
                    </a:lnTo>
                    <a:lnTo>
                      <a:pt x="465" y="0"/>
                    </a:lnTo>
                    <a:close/>
                  </a:path>
                </a:pathLst>
              </a:custGeom>
              <a:solidFill>
                <a:srgbClr val="ADAFB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06" name="îśḻîḓé"/>
              <p:cNvSpPr/>
              <p:nvPr/>
            </p:nvSpPr>
            <p:spPr bwMode="auto">
              <a:xfrm>
                <a:off x="4249" y="3335"/>
                <a:ext cx="487" cy="281"/>
              </a:xfrm>
              <a:custGeom>
                <a:avLst/>
                <a:gdLst>
                  <a:gd name="T0" fmla="*/ 465 w 487"/>
                  <a:gd name="T1" fmla="*/ 0 h 281"/>
                  <a:gd name="T2" fmla="*/ 0 w 487"/>
                  <a:gd name="T3" fmla="*/ 268 h 281"/>
                  <a:gd name="T4" fmla="*/ 22 w 487"/>
                  <a:gd name="T5" fmla="*/ 281 h 281"/>
                  <a:gd name="T6" fmla="*/ 487 w 487"/>
                  <a:gd name="T7" fmla="*/ 13 h 281"/>
                  <a:gd name="T8" fmla="*/ 465 w 487"/>
                  <a:gd name="T9" fmla="*/ 0 h 281"/>
                </a:gdLst>
                <a:ahLst/>
                <a:cxnLst>
                  <a:cxn ang="0">
                    <a:pos x="T0" y="T1"/>
                  </a:cxn>
                  <a:cxn ang="0">
                    <a:pos x="T2" y="T3"/>
                  </a:cxn>
                  <a:cxn ang="0">
                    <a:pos x="T4" y="T5"/>
                  </a:cxn>
                  <a:cxn ang="0">
                    <a:pos x="T6" y="T7"/>
                  </a:cxn>
                  <a:cxn ang="0">
                    <a:pos x="T8" y="T9"/>
                  </a:cxn>
                </a:cxnLst>
                <a:rect l="0" t="0" r="r" b="b"/>
                <a:pathLst>
                  <a:path w="487" h="281">
                    <a:moveTo>
                      <a:pt x="465" y="0"/>
                    </a:moveTo>
                    <a:lnTo>
                      <a:pt x="0" y="268"/>
                    </a:lnTo>
                    <a:lnTo>
                      <a:pt x="22" y="281"/>
                    </a:lnTo>
                    <a:lnTo>
                      <a:pt x="487" y="13"/>
                    </a:lnTo>
                    <a:lnTo>
                      <a:pt x="46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07" name="ïṩľïďê"/>
              <p:cNvSpPr/>
              <p:nvPr/>
            </p:nvSpPr>
            <p:spPr bwMode="auto">
              <a:xfrm>
                <a:off x="4186" y="3299"/>
                <a:ext cx="465" cy="315"/>
              </a:xfrm>
              <a:custGeom>
                <a:avLst/>
                <a:gdLst>
                  <a:gd name="T0" fmla="*/ 465 w 465"/>
                  <a:gd name="T1" fmla="*/ 0 h 315"/>
                  <a:gd name="T2" fmla="*/ 0 w 465"/>
                  <a:gd name="T3" fmla="*/ 268 h 315"/>
                  <a:gd name="T4" fmla="*/ 0 w 465"/>
                  <a:gd name="T5" fmla="*/ 315 h 315"/>
                  <a:gd name="T6" fmla="*/ 465 w 465"/>
                  <a:gd name="T7" fmla="*/ 47 h 315"/>
                  <a:gd name="T8" fmla="*/ 465 w 465"/>
                  <a:gd name="T9" fmla="*/ 0 h 315"/>
                </a:gdLst>
                <a:ahLst/>
                <a:cxnLst>
                  <a:cxn ang="0">
                    <a:pos x="T0" y="T1"/>
                  </a:cxn>
                  <a:cxn ang="0">
                    <a:pos x="T2" y="T3"/>
                  </a:cxn>
                  <a:cxn ang="0">
                    <a:pos x="T4" y="T5"/>
                  </a:cxn>
                  <a:cxn ang="0">
                    <a:pos x="T6" y="T7"/>
                  </a:cxn>
                  <a:cxn ang="0">
                    <a:pos x="T8" y="T9"/>
                  </a:cxn>
                </a:cxnLst>
                <a:rect l="0" t="0" r="r" b="b"/>
                <a:pathLst>
                  <a:path w="465" h="315">
                    <a:moveTo>
                      <a:pt x="465" y="0"/>
                    </a:moveTo>
                    <a:lnTo>
                      <a:pt x="0" y="268"/>
                    </a:lnTo>
                    <a:lnTo>
                      <a:pt x="0" y="315"/>
                    </a:lnTo>
                    <a:lnTo>
                      <a:pt x="465" y="47"/>
                    </a:lnTo>
                    <a:lnTo>
                      <a:pt x="465" y="0"/>
                    </a:lnTo>
                    <a:close/>
                  </a:path>
                </a:pathLst>
              </a:custGeom>
              <a:solidFill>
                <a:srgbClr val="74767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08" name="iśļíḋè"/>
              <p:cNvSpPr/>
              <p:nvPr/>
            </p:nvSpPr>
            <p:spPr bwMode="auto">
              <a:xfrm>
                <a:off x="4186" y="3299"/>
                <a:ext cx="465" cy="315"/>
              </a:xfrm>
              <a:custGeom>
                <a:avLst/>
                <a:gdLst>
                  <a:gd name="T0" fmla="*/ 465 w 465"/>
                  <a:gd name="T1" fmla="*/ 0 h 315"/>
                  <a:gd name="T2" fmla="*/ 0 w 465"/>
                  <a:gd name="T3" fmla="*/ 268 h 315"/>
                  <a:gd name="T4" fmla="*/ 0 w 465"/>
                  <a:gd name="T5" fmla="*/ 315 h 315"/>
                  <a:gd name="T6" fmla="*/ 465 w 465"/>
                  <a:gd name="T7" fmla="*/ 47 h 315"/>
                  <a:gd name="T8" fmla="*/ 465 w 465"/>
                  <a:gd name="T9" fmla="*/ 0 h 315"/>
                </a:gdLst>
                <a:ahLst/>
                <a:cxnLst>
                  <a:cxn ang="0">
                    <a:pos x="T0" y="T1"/>
                  </a:cxn>
                  <a:cxn ang="0">
                    <a:pos x="T2" y="T3"/>
                  </a:cxn>
                  <a:cxn ang="0">
                    <a:pos x="T4" y="T5"/>
                  </a:cxn>
                  <a:cxn ang="0">
                    <a:pos x="T6" y="T7"/>
                  </a:cxn>
                  <a:cxn ang="0">
                    <a:pos x="T8" y="T9"/>
                  </a:cxn>
                </a:cxnLst>
                <a:rect l="0" t="0" r="r" b="b"/>
                <a:pathLst>
                  <a:path w="465" h="315">
                    <a:moveTo>
                      <a:pt x="465" y="0"/>
                    </a:moveTo>
                    <a:lnTo>
                      <a:pt x="0" y="268"/>
                    </a:lnTo>
                    <a:lnTo>
                      <a:pt x="0" y="315"/>
                    </a:lnTo>
                    <a:lnTo>
                      <a:pt x="465" y="47"/>
                    </a:lnTo>
                    <a:lnTo>
                      <a:pt x="46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09" name="ïṣlîḓè"/>
              <p:cNvSpPr/>
              <p:nvPr/>
            </p:nvSpPr>
            <p:spPr bwMode="auto">
              <a:xfrm>
                <a:off x="4164" y="3553"/>
                <a:ext cx="22" cy="61"/>
              </a:xfrm>
              <a:custGeom>
                <a:avLst/>
                <a:gdLst>
                  <a:gd name="T0" fmla="*/ 0 w 22"/>
                  <a:gd name="T1" fmla="*/ 0 h 61"/>
                  <a:gd name="T2" fmla="*/ 0 w 22"/>
                  <a:gd name="T3" fmla="*/ 50 h 61"/>
                  <a:gd name="T4" fmla="*/ 22 w 22"/>
                  <a:gd name="T5" fmla="*/ 61 h 61"/>
                  <a:gd name="T6" fmla="*/ 22 w 22"/>
                  <a:gd name="T7" fmla="*/ 14 h 61"/>
                  <a:gd name="T8" fmla="*/ 0 w 22"/>
                  <a:gd name="T9" fmla="*/ 0 h 61"/>
                </a:gdLst>
                <a:ahLst/>
                <a:cxnLst>
                  <a:cxn ang="0">
                    <a:pos x="T0" y="T1"/>
                  </a:cxn>
                  <a:cxn ang="0">
                    <a:pos x="T2" y="T3"/>
                  </a:cxn>
                  <a:cxn ang="0">
                    <a:pos x="T4" y="T5"/>
                  </a:cxn>
                  <a:cxn ang="0">
                    <a:pos x="T6" y="T7"/>
                  </a:cxn>
                  <a:cxn ang="0">
                    <a:pos x="T8" y="T9"/>
                  </a:cxn>
                </a:cxnLst>
                <a:rect l="0" t="0" r="r" b="b"/>
                <a:pathLst>
                  <a:path w="22" h="61">
                    <a:moveTo>
                      <a:pt x="0" y="0"/>
                    </a:moveTo>
                    <a:lnTo>
                      <a:pt x="0" y="50"/>
                    </a:lnTo>
                    <a:lnTo>
                      <a:pt x="22" y="61"/>
                    </a:lnTo>
                    <a:lnTo>
                      <a:pt x="22" y="14"/>
                    </a:lnTo>
                    <a:lnTo>
                      <a:pt x="0" y="0"/>
                    </a:lnTo>
                    <a:close/>
                  </a:path>
                </a:pathLst>
              </a:custGeom>
              <a:solidFill>
                <a:srgbClr val="8B909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10" name="iṧľîḋê"/>
              <p:cNvSpPr/>
              <p:nvPr/>
            </p:nvSpPr>
            <p:spPr bwMode="auto">
              <a:xfrm>
                <a:off x="4164" y="3553"/>
                <a:ext cx="22" cy="61"/>
              </a:xfrm>
              <a:custGeom>
                <a:avLst/>
                <a:gdLst>
                  <a:gd name="T0" fmla="*/ 0 w 22"/>
                  <a:gd name="T1" fmla="*/ 0 h 61"/>
                  <a:gd name="T2" fmla="*/ 0 w 22"/>
                  <a:gd name="T3" fmla="*/ 50 h 61"/>
                  <a:gd name="T4" fmla="*/ 22 w 22"/>
                  <a:gd name="T5" fmla="*/ 61 h 61"/>
                  <a:gd name="T6" fmla="*/ 22 w 22"/>
                  <a:gd name="T7" fmla="*/ 14 h 61"/>
                  <a:gd name="T8" fmla="*/ 0 w 22"/>
                  <a:gd name="T9" fmla="*/ 0 h 61"/>
                </a:gdLst>
                <a:ahLst/>
                <a:cxnLst>
                  <a:cxn ang="0">
                    <a:pos x="T0" y="T1"/>
                  </a:cxn>
                  <a:cxn ang="0">
                    <a:pos x="T2" y="T3"/>
                  </a:cxn>
                  <a:cxn ang="0">
                    <a:pos x="T4" y="T5"/>
                  </a:cxn>
                  <a:cxn ang="0">
                    <a:pos x="T6" y="T7"/>
                  </a:cxn>
                  <a:cxn ang="0">
                    <a:pos x="T8" y="T9"/>
                  </a:cxn>
                </a:cxnLst>
                <a:rect l="0" t="0" r="r" b="b"/>
                <a:pathLst>
                  <a:path w="22" h="61">
                    <a:moveTo>
                      <a:pt x="0" y="0"/>
                    </a:moveTo>
                    <a:lnTo>
                      <a:pt x="0" y="50"/>
                    </a:lnTo>
                    <a:lnTo>
                      <a:pt x="22" y="61"/>
                    </a:lnTo>
                    <a:lnTo>
                      <a:pt x="22" y="1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11" name="îśľídè"/>
              <p:cNvSpPr/>
              <p:nvPr/>
            </p:nvSpPr>
            <p:spPr bwMode="auto">
              <a:xfrm>
                <a:off x="4164" y="3285"/>
                <a:ext cx="487" cy="282"/>
              </a:xfrm>
              <a:custGeom>
                <a:avLst/>
                <a:gdLst>
                  <a:gd name="T0" fmla="*/ 465 w 487"/>
                  <a:gd name="T1" fmla="*/ 0 h 282"/>
                  <a:gd name="T2" fmla="*/ 0 w 487"/>
                  <a:gd name="T3" fmla="*/ 268 h 282"/>
                  <a:gd name="T4" fmla="*/ 22 w 487"/>
                  <a:gd name="T5" fmla="*/ 282 h 282"/>
                  <a:gd name="T6" fmla="*/ 487 w 487"/>
                  <a:gd name="T7" fmla="*/ 14 h 282"/>
                  <a:gd name="T8" fmla="*/ 465 w 487"/>
                  <a:gd name="T9" fmla="*/ 0 h 282"/>
                </a:gdLst>
                <a:ahLst/>
                <a:cxnLst>
                  <a:cxn ang="0">
                    <a:pos x="T0" y="T1"/>
                  </a:cxn>
                  <a:cxn ang="0">
                    <a:pos x="T2" y="T3"/>
                  </a:cxn>
                  <a:cxn ang="0">
                    <a:pos x="T4" y="T5"/>
                  </a:cxn>
                  <a:cxn ang="0">
                    <a:pos x="T6" y="T7"/>
                  </a:cxn>
                  <a:cxn ang="0">
                    <a:pos x="T8" y="T9"/>
                  </a:cxn>
                </a:cxnLst>
                <a:rect l="0" t="0" r="r" b="b"/>
                <a:pathLst>
                  <a:path w="487" h="282">
                    <a:moveTo>
                      <a:pt x="465" y="0"/>
                    </a:moveTo>
                    <a:lnTo>
                      <a:pt x="0" y="268"/>
                    </a:lnTo>
                    <a:lnTo>
                      <a:pt x="22" y="282"/>
                    </a:lnTo>
                    <a:lnTo>
                      <a:pt x="487" y="14"/>
                    </a:lnTo>
                    <a:lnTo>
                      <a:pt x="465" y="0"/>
                    </a:lnTo>
                    <a:close/>
                  </a:path>
                </a:pathLst>
              </a:custGeom>
              <a:solidFill>
                <a:srgbClr val="ADAFB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12" name="işḻíďe"/>
              <p:cNvSpPr/>
              <p:nvPr/>
            </p:nvSpPr>
            <p:spPr bwMode="auto">
              <a:xfrm>
                <a:off x="4164" y="3285"/>
                <a:ext cx="487" cy="282"/>
              </a:xfrm>
              <a:custGeom>
                <a:avLst/>
                <a:gdLst>
                  <a:gd name="T0" fmla="*/ 465 w 487"/>
                  <a:gd name="T1" fmla="*/ 0 h 282"/>
                  <a:gd name="T2" fmla="*/ 0 w 487"/>
                  <a:gd name="T3" fmla="*/ 268 h 282"/>
                  <a:gd name="T4" fmla="*/ 22 w 487"/>
                  <a:gd name="T5" fmla="*/ 282 h 282"/>
                  <a:gd name="T6" fmla="*/ 487 w 487"/>
                  <a:gd name="T7" fmla="*/ 14 h 282"/>
                  <a:gd name="T8" fmla="*/ 465 w 487"/>
                  <a:gd name="T9" fmla="*/ 0 h 282"/>
                </a:gdLst>
                <a:ahLst/>
                <a:cxnLst>
                  <a:cxn ang="0">
                    <a:pos x="T0" y="T1"/>
                  </a:cxn>
                  <a:cxn ang="0">
                    <a:pos x="T2" y="T3"/>
                  </a:cxn>
                  <a:cxn ang="0">
                    <a:pos x="T4" y="T5"/>
                  </a:cxn>
                  <a:cxn ang="0">
                    <a:pos x="T6" y="T7"/>
                  </a:cxn>
                  <a:cxn ang="0">
                    <a:pos x="T8" y="T9"/>
                  </a:cxn>
                </a:cxnLst>
                <a:rect l="0" t="0" r="r" b="b"/>
                <a:pathLst>
                  <a:path w="487" h="282">
                    <a:moveTo>
                      <a:pt x="465" y="0"/>
                    </a:moveTo>
                    <a:lnTo>
                      <a:pt x="0" y="268"/>
                    </a:lnTo>
                    <a:lnTo>
                      <a:pt x="22" y="282"/>
                    </a:lnTo>
                    <a:lnTo>
                      <a:pt x="487" y="14"/>
                    </a:lnTo>
                    <a:lnTo>
                      <a:pt x="46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13" name="işḻîḓe"/>
              <p:cNvSpPr/>
              <p:nvPr/>
            </p:nvSpPr>
            <p:spPr bwMode="auto">
              <a:xfrm>
                <a:off x="4102" y="3250"/>
                <a:ext cx="466" cy="317"/>
              </a:xfrm>
              <a:custGeom>
                <a:avLst/>
                <a:gdLst>
                  <a:gd name="T0" fmla="*/ 466 w 466"/>
                  <a:gd name="T1" fmla="*/ 0 h 317"/>
                  <a:gd name="T2" fmla="*/ 0 w 466"/>
                  <a:gd name="T3" fmla="*/ 268 h 317"/>
                  <a:gd name="T4" fmla="*/ 0 w 466"/>
                  <a:gd name="T5" fmla="*/ 317 h 317"/>
                  <a:gd name="T6" fmla="*/ 466 w 466"/>
                  <a:gd name="T7" fmla="*/ 49 h 317"/>
                  <a:gd name="T8" fmla="*/ 466 w 466"/>
                  <a:gd name="T9" fmla="*/ 0 h 317"/>
                </a:gdLst>
                <a:ahLst/>
                <a:cxnLst>
                  <a:cxn ang="0">
                    <a:pos x="T0" y="T1"/>
                  </a:cxn>
                  <a:cxn ang="0">
                    <a:pos x="T2" y="T3"/>
                  </a:cxn>
                  <a:cxn ang="0">
                    <a:pos x="T4" y="T5"/>
                  </a:cxn>
                  <a:cxn ang="0">
                    <a:pos x="T6" y="T7"/>
                  </a:cxn>
                  <a:cxn ang="0">
                    <a:pos x="T8" y="T9"/>
                  </a:cxn>
                </a:cxnLst>
                <a:rect l="0" t="0" r="r" b="b"/>
                <a:pathLst>
                  <a:path w="466" h="317">
                    <a:moveTo>
                      <a:pt x="466" y="0"/>
                    </a:moveTo>
                    <a:lnTo>
                      <a:pt x="0" y="268"/>
                    </a:lnTo>
                    <a:lnTo>
                      <a:pt x="0" y="317"/>
                    </a:lnTo>
                    <a:lnTo>
                      <a:pt x="466" y="49"/>
                    </a:lnTo>
                    <a:lnTo>
                      <a:pt x="466" y="0"/>
                    </a:lnTo>
                    <a:close/>
                  </a:path>
                </a:pathLst>
              </a:custGeom>
              <a:solidFill>
                <a:srgbClr val="74767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14" name="íslïďê"/>
              <p:cNvSpPr/>
              <p:nvPr/>
            </p:nvSpPr>
            <p:spPr bwMode="auto">
              <a:xfrm>
                <a:off x="4102" y="3250"/>
                <a:ext cx="466" cy="317"/>
              </a:xfrm>
              <a:custGeom>
                <a:avLst/>
                <a:gdLst>
                  <a:gd name="T0" fmla="*/ 466 w 466"/>
                  <a:gd name="T1" fmla="*/ 0 h 317"/>
                  <a:gd name="T2" fmla="*/ 0 w 466"/>
                  <a:gd name="T3" fmla="*/ 268 h 317"/>
                  <a:gd name="T4" fmla="*/ 0 w 466"/>
                  <a:gd name="T5" fmla="*/ 317 h 317"/>
                  <a:gd name="T6" fmla="*/ 466 w 466"/>
                  <a:gd name="T7" fmla="*/ 49 h 317"/>
                  <a:gd name="T8" fmla="*/ 466 w 466"/>
                  <a:gd name="T9" fmla="*/ 0 h 317"/>
                </a:gdLst>
                <a:ahLst/>
                <a:cxnLst>
                  <a:cxn ang="0">
                    <a:pos x="T0" y="T1"/>
                  </a:cxn>
                  <a:cxn ang="0">
                    <a:pos x="T2" y="T3"/>
                  </a:cxn>
                  <a:cxn ang="0">
                    <a:pos x="T4" y="T5"/>
                  </a:cxn>
                  <a:cxn ang="0">
                    <a:pos x="T6" y="T7"/>
                  </a:cxn>
                  <a:cxn ang="0">
                    <a:pos x="T8" y="T9"/>
                  </a:cxn>
                </a:cxnLst>
                <a:rect l="0" t="0" r="r" b="b"/>
                <a:pathLst>
                  <a:path w="466" h="317">
                    <a:moveTo>
                      <a:pt x="466" y="0"/>
                    </a:moveTo>
                    <a:lnTo>
                      <a:pt x="0" y="268"/>
                    </a:lnTo>
                    <a:lnTo>
                      <a:pt x="0" y="317"/>
                    </a:lnTo>
                    <a:lnTo>
                      <a:pt x="466" y="49"/>
                    </a:lnTo>
                    <a:lnTo>
                      <a:pt x="46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15" name="îSľîḑe"/>
              <p:cNvSpPr/>
              <p:nvPr/>
            </p:nvSpPr>
            <p:spPr bwMode="auto">
              <a:xfrm>
                <a:off x="4080" y="3506"/>
                <a:ext cx="22" cy="61"/>
              </a:xfrm>
              <a:custGeom>
                <a:avLst/>
                <a:gdLst>
                  <a:gd name="T0" fmla="*/ 0 w 22"/>
                  <a:gd name="T1" fmla="*/ 0 h 61"/>
                  <a:gd name="T2" fmla="*/ 0 w 22"/>
                  <a:gd name="T3" fmla="*/ 47 h 61"/>
                  <a:gd name="T4" fmla="*/ 22 w 22"/>
                  <a:gd name="T5" fmla="*/ 61 h 61"/>
                  <a:gd name="T6" fmla="*/ 22 w 22"/>
                  <a:gd name="T7" fmla="*/ 12 h 61"/>
                  <a:gd name="T8" fmla="*/ 0 w 22"/>
                  <a:gd name="T9" fmla="*/ 0 h 61"/>
                </a:gdLst>
                <a:ahLst/>
                <a:cxnLst>
                  <a:cxn ang="0">
                    <a:pos x="T0" y="T1"/>
                  </a:cxn>
                  <a:cxn ang="0">
                    <a:pos x="T2" y="T3"/>
                  </a:cxn>
                  <a:cxn ang="0">
                    <a:pos x="T4" y="T5"/>
                  </a:cxn>
                  <a:cxn ang="0">
                    <a:pos x="T6" y="T7"/>
                  </a:cxn>
                  <a:cxn ang="0">
                    <a:pos x="T8" y="T9"/>
                  </a:cxn>
                </a:cxnLst>
                <a:rect l="0" t="0" r="r" b="b"/>
                <a:pathLst>
                  <a:path w="22" h="61">
                    <a:moveTo>
                      <a:pt x="0" y="0"/>
                    </a:moveTo>
                    <a:lnTo>
                      <a:pt x="0" y="47"/>
                    </a:lnTo>
                    <a:lnTo>
                      <a:pt x="22" y="61"/>
                    </a:lnTo>
                    <a:lnTo>
                      <a:pt x="22" y="12"/>
                    </a:lnTo>
                    <a:lnTo>
                      <a:pt x="0" y="0"/>
                    </a:lnTo>
                    <a:close/>
                  </a:path>
                </a:pathLst>
              </a:custGeom>
              <a:solidFill>
                <a:srgbClr val="8B909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16" name="íṡlídé"/>
              <p:cNvSpPr/>
              <p:nvPr/>
            </p:nvSpPr>
            <p:spPr bwMode="auto">
              <a:xfrm>
                <a:off x="4080" y="3506"/>
                <a:ext cx="22" cy="61"/>
              </a:xfrm>
              <a:custGeom>
                <a:avLst/>
                <a:gdLst>
                  <a:gd name="T0" fmla="*/ 0 w 22"/>
                  <a:gd name="T1" fmla="*/ 0 h 61"/>
                  <a:gd name="T2" fmla="*/ 0 w 22"/>
                  <a:gd name="T3" fmla="*/ 47 h 61"/>
                  <a:gd name="T4" fmla="*/ 22 w 22"/>
                  <a:gd name="T5" fmla="*/ 61 h 61"/>
                  <a:gd name="T6" fmla="*/ 22 w 22"/>
                  <a:gd name="T7" fmla="*/ 12 h 61"/>
                  <a:gd name="T8" fmla="*/ 0 w 22"/>
                  <a:gd name="T9" fmla="*/ 0 h 61"/>
                </a:gdLst>
                <a:ahLst/>
                <a:cxnLst>
                  <a:cxn ang="0">
                    <a:pos x="T0" y="T1"/>
                  </a:cxn>
                  <a:cxn ang="0">
                    <a:pos x="T2" y="T3"/>
                  </a:cxn>
                  <a:cxn ang="0">
                    <a:pos x="T4" y="T5"/>
                  </a:cxn>
                  <a:cxn ang="0">
                    <a:pos x="T6" y="T7"/>
                  </a:cxn>
                  <a:cxn ang="0">
                    <a:pos x="T8" y="T9"/>
                  </a:cxn>
                </a:cxnLst>
                <a:rect l="0" t="0" r="r" b="b"/>
                <a:pathLst>
                  <a:path w="22" h="61">
                    <a:moveTo>
                      <a:pt x="0" y="0"/>
                    </a:moveTo>
                    <a:lnTo>
                      <a:pt x="0" y="47"/>
                    </a:lnTo>
                    <a:lnTo>
                      <a:pt x="22" y="61"/>
                    </a:lnTo>
                    <a:lnTo>
                      <a:pt x="22" y="1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17" name="íṧlíḍè"/>
              <p:cNvSpPr/>
              <p:nvPr/>
            </p:nvSpPr>
            <p:spPr bwMode="auto">
              <a:xfrm>
                <a:off x="4080" y="3238"/>
                <a:ext cx="488" cy="280"/>
              </a:xfrm>
              <a:custGeom>
                <a:avLst/>
                <a:gdLst>
                  <a:gd name="T0" fmla="*/ 464 w 488"/>
                  <a:gd name="T1" fmla="*/ 0 h 280"/>
                  <a:gd name="T2" fmla="*/ 0 w 488"/>
                  <a:gd name="T3" fmla="*/ 268 h 280"/>
                  <a:gd name="T4" fmla="*/ 22 w 488"/>
                  <a:gd name="T5" fmla="*/ 280 h 280"/>
                  <a:gd name="T6" fmla="*/ 488 w 488"/>
                  <a:gd name="T7" fmla="*/ 12 h 280"/>
                  <a:gd name="T8" fmla="*/ 464 w 488"/>
                  <a:gd name="T9" fmla="*/ 0 h 280"/>
                </a:gdLst>
                <a:ahLst/>
                <a:cxnLst>
                  <a:cxn ang="0">
                    <a:pos x="T0" y="T1"/>
                  </a:cxn>
                  <a:cxn ang="0">
                    <a:pos x="T2" y="T3"/>
                  </a:cxn>
                  <a:cxn ang="0">
                    <a:pos x="T4" y="T5"/>
                  </a:cxn>
                  <a:cxn ang="0">
                    <a:pos x="T6" y="T7"/>
                  </a:cxn>
                  <a:cxn ang="0">
                    <a:pos x="T8" y="T9"/>
                  </a:cxn>
                </a:cxnLst>
                <a:rect l="0" t="0" r="r" b="b"/>
                <a:pathLst>
                  <a:path w="488" h="280">
                    <a:moveTo>
                      <a:pt x="464" y="0"/>
                    </a:moveTo>
                    <a:lnTo>
                      <a:pt x="0" y="268"/>
                    </a:lnTo>
                    <a:lnTo>
                      <a:pt x="22" y="280"/>
                    </a:lnTo>
                    <a:lnTo>
                      <a:pt x="488" y="12"/>
                    </a:lnTo>
                    <a:lnTo>
                      <a:pt x="464" y="0"/>
                    </a:lnTo>
                    <a:close/>
                  </a:path>
                </a:pathLst>
              </a:custGeom>
              <a:solidFill>
                <a:srgbClr val="ADAFB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18" name="îṥḷiḍê"/>
              <p:cNvSpPr/>
              <p:nvPr/>
            </p:nvSpPr>
            <p:spPr bwMode="auto">
              <a:xfrm>
                <a:off x="4080" y="3238"/>
                <a:ext cx="488" cy="280"/>
              </a:xfrm>
              <a:custGeom>
                <a:avLst/>
                <a:gdLst>
                  <a:gd name="T0" fmla="*/ 464 w 488"/>
                  <a:gd name="T1" fmla="*/ 0 h 280"/>
                  <a:gd name="T2" fmla="*/ 0 w 488"/>
                  <a:gd name="T3" fmla="*/ 268 h 280"/>
                  <a:gd name="T4" fmla="*/ 22 w 488"/>
                  <a:gd name="T5" fmla="*/ 280 h 280"/>
                  <a:gd name="T6" fmla="*/ 488 w 488"/>
                  <a:gd name="T7" fmla="*/ 12 h 280"/>
                  <a:gd name="T8" fmla="*/ 464 w 488"/>
                  <a:gd name="T9" fmla="*/ 0 h 280"/>
                </a:gdLst>
                <a:ahLst/>
                <a:cxnLst>
                  <a:cxn ang="0">
                    <a:pos x="T0" y="T1"/>
                  </a:cxn>
                  <a:cxn ang="0">
                    <a:pos x="T2" y="T3"/>
                  </a:cxn>
                  <a:cxn ang="0">
                    <a:pos x="T4" y="T5"/>
                  </a:cxn>
                  <a:cxn ang="0">
                    <a:pos x="T6" y="T7"/>
                  </a:cxn>
                  <a:cxn ang="0">
                    <a:pos x="T8" y="T9"/>
                  </a:cxn>
                </a:cxnLst>
                <a:rect l="0" t="0" r="r" b="b"/>
                <a:pathLst>
                  <a:path w="488" h="280">
                    <a:moveTo>
                      <a:pt x="464" y="0"/>
                    </a:moveTo>
                    <a:lnTo>
                      <a:pt x="0" y="268"/>
                    </a:lnTo>
                    <a:lnTo>
                      <a:pt x="22" y="280"/>
                    </a:lnTo>
                    <a:lnTo>
                      <a:pt x="488" y="12"/>
                    </a:lnTo>
                    <a:lnTo>
                      <a:pt x="46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19" name="íṩḻiḋe"/>
              <p:cNvSpPr/>
              <p:nvPr/>
            </p:nvSpPr>
            <p:spPr bwMode="auto">
              <a:xfrm>
                <a:off x="2725" y="-25"/>
                <a:ext cx="2803" cy="3426"/>
              </a:xfrm>
              <a:custGeom>
                <a:avLst/>
                <a:gdLst>
                  <a:gd name="T0" fmla="*/ 1566 w 1650"/>
                  <a:gd name="T1" fmla="*/ 1998 h 2020"/>
                  <a:gd name="T2" fmla="*/ 56 w 1650"/>
                  <a:gd name="T3" fmla="*/ 1126 h 2020"/>
                  <a:gd name="T4" fmla="*/ 0 w 1650"/>
                  <a:gd name="T5" fmla="*/ 1029 h 2020"/>
                  <a:gd name="T6" fmla="*/ 0 w 1650"/>
                  <a:gd name="T7" fmla="*/ 70 h 2020"/>
                  <a:gd name="T8" fmla="*/ 84 w 1650"/>
                  <a:gd name="T9" fmla="*/ 21 h 2020"/>
                  <a:gd name="T10" fmla="*/ 1594 w 1650"/>
                  <a:gd name="T11" fmla="*/ 891 h 2020"/>
                  <a:gd name="T12" fmla="*/ 1650 w 1650"/>
                  <a:gd name="T13" fmla="*/ 988 h 2020"/>
                  <a:gd name="T14" fmla="*/ 1650 w 1650"/>
                  <a:gd name="T15" fmla="*/ 1950 h 2020"/>
                  <a:gd name="T16" fmla="*/ 1566 w 1650"/>
                  <a:gd name="T17" fmla="*/ 1998 h 2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50" h="2020">
                    <a:moveTo>
                      <a:pt x="1566" y="1998"/>
                    </a:moveTo>
                    <a:cubicBezTo>
                      <a:pt x="56" y="1126"/>
                      <a:pt x="56" y="1126"/>
                      <a:pt x="56" y="1126"/>
                    </a:cubicBezTo>
                    <a:cubicBezTo>
                      <a:pt x="21" y="1106"/>
                      <a:pt x="0" y="1069"/>
                      <a:pt x="0" y="1029"/>
                    </a:cubicBezTo>
                    <a:cubicBezTo>
                      <a:pt x="0" y="70"/>
                      <a:pt x="0" y="70"/>
                      <a:pt x="0" y="70"/>
                    </a:cubicBezTo>
                    <a:cubicBezTo>
                      <a:pt x="0" y="27"/>
                      <a:pt x="46" y="0"/>
                      <a:pt x="84" y="21"/>
                    </a:cubicBezTo>
                    <a:cubicBezTo>
                      <a:pt x="1594" y="891"/>
                      <a:pt x="1594" y="891"/>
                      <a:pt x="1594" y="891"/>
                    </a:cubicBezTo>
                    <a:cubicBezTo>
                      <a:pt x="1629" y="911"/>
                      <a:pt x="1650" y="948"/>
                      <a:pt x="1650" y="988"/>
                    </a:cubicBezTo>
                    <a:cubicBezTo>
                      <a:pt x="1650" y="1950"/>
                      <a:pt x="1650" y="1950"/>
                      <a:pt x="1650" y="1950"/>
                    </a:cubicBezTo>
                    <a:cubicBezTo>
                      <a:pt x="1650" y="1993"/>
                      <a:pt x="1603" y="2020"/>
                      <a:pt x="1566" y="1998"/>
                    </a:cubicBezTo>
                  </a:path>
                </a:pathLst>
              </a:custGeom>
              <a:solidFill>
                <a:srgbClr val="A0A7AD"/>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20" name="îşlîḓê"/>
              <p:cNvSpPr/>
              <p:nvPr/>
            </p:nvSpPr>
            <p:spPr bwMode="auto">
              <a:xfrm>
                <a:off x="3464" y="2493"/>
                <a:ext cx="888" cy="852"/>
              </a:xfrm>
              <a:custGeom>
                <a:avLst/>
                <a:gdLst>
                  <a:gd name="T0" fmla="*/ 174 w 523"/>
                  <a:gd name="T1" fmla="*/ 0 h 502"/>
                  <a:gd name="T2" fmla="*/ 174 w 523"/>
                  <a:gd name="T3" fmla="*/ 145 h 502"/>
                  <a:gd name="T4" fmla="*/ 126 w 523"/>
                  <a:gd name="T5" fmla="*/ 228 h 502"/>
                  <a:gd name="T6" fmla="*/ 0 w 523"/>
                  <a:gd name="T7" fmla="*/ 301 h 502"/>
                  <a:gd name="T8" fmla="*/ 349 w 523"/>
                  <a:gd name="T9" fmla="*/ 502 h 502"/>
                  <a:gd name="T10" fmla="*/ 475 w 523"/>
                  <a:gd name="T11" fmla="*/ 429 h 502"/>
                  <a:gd name="T12" fmla="*/ 523 w 523"/>
                  <a:gd name="T13" fmla="*/ 346 h 502"/>
                  <a:gd name="T14" fmla="*/ 523 w 523"/>
                  <a:gd name="T15" fmla="*/ 201 h 502"/>
                  <a:gd name="T16" fmla="*/ 174 w 523"/>
                  <a:gd name="T17" fmla="*/ 0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3" h="502">
                    <a:moveTo>
                      <a:pt x="174" y="0"/>
                    </a:moveTo>
                    <a:cubicBezTo>
                      <a:pt x="174" y="145"/>
                      <a:pt x="174" y="145"/>
                      <a:pt x="174" y="145"/>
                    </a:cubicBezTo>
                    <a:cubicBezTo>
                      <a:pt x="174" y="179"/>
                      <a:pt x="156" y="211"/>
                      <a:pt x="126" y="228"/>
                    </a:cubicBezTo>
                    <a:cubicBezTo>
                      <a:pt x="0" y="301"/>
                      <a:pt x="0" y="301"/>
                      <a:pt x="0" y="301"/>
                    </a:cubicBezTo>
                    <a:cubicBezTo>
                      <a:pt x="349" y="502"/>
                      <a:pt x="349" y="502"/>
                      <a:pt x="349" y="502"/>
                    </a:cubicBezTo>
                    <a:cubicBezTo>
                      <a:pt x="475" y="429"/>
                      <a:pt x="475" y="429"/>
                      <a:pt x="475" y="429"/>
                    </a:cubicBezTo>
                    <a:cubicBezTo>
                      <a:pt x="505" y="412"/>
                      <a:pt x="523" y="381"/>
                      <a:pt x="523" y="346"/>
                    </a:cubicBezTo>
                    <a:cubicBezTo>
                      <a:pt x="523" y="201"/>
                      <a:pt x="523" y="201"/>
                      <a:pt x="523" y="201"/>
                    </a:cubicBezTo>
                    <a:cubicBezTo>
                      <a:pt x="174" y="0"/>
                      <a:pt x="174" y="0"/>
                      <a:pt x="174" y="0"/>
                    </a:cubicBezTo>
                  </a:path>
                </a:pathLst>
              </a:custGeom>
              <a:solidFill>
                <a:srgbClr val="A0A7AD"/>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21" name="ïṩľïdé"/>
              <p:cNvSpPr/>
              <p:nvPr/>
            </p:nvSpPr>
            <p:spPr bwMode="auto">
              <a:xfrm>
                <a:off x="5421" y="3299"/>
                <a:ext cx="56" cy="95"/>
              </a:xfrm>
              <a:custGeom>
                <a:avLst/>
                <a:gdLst>
                  <a:gd name="T0" fmla="*/ 0 w 56"/>
                  <a:gd name="T1" fmla="*/ 95 h 95"/>
                  <a:gd name="T2" fmla="*/ 56 w 56"/>
                  <a:gd name="T3" fmla="*/ 66 h 95"/>
                  <a:gd name="T4" fmla="*/ 8 w 56"/>
                  <a:gd name="T5" fmla="*/ 0 h 95"/>
                  <a:gd name="T6" fmla="*/ 0 w 56"/>
                  <a:gd name="T7" fmla="*/ 95 h 95"/>
                </a:gdLst>
                <a:ahLst/>
                <a:cxnLst>
                  <a:cxn ang="0">
                    <a:pos x="T0" y="T1"/>
                  </a:cxn>
                  <a:cxn ang="0">
                    <a:pos x="T2" y="T3"/>
                  </a:cxn>
                  <a:cxn ang="0">
                    <a:pos x="T4" y="T5"/>
                  </a:cxn>
                  <a:cxn ang="0">
                    <a:pos x="T6" y="T7"/>
                  </a:cxn>
                </a:cxnLst>
                <a:rect l="0" t="0" r="r" b="b"/>
                <a:pathLst>
                  <a:path w="56" h="95">
                    <a:moveTo>
                      <a:pt x="0" y="95"/>
                    </a:moveTo>
                    <a:lnTo>
                      <a:pt x="56" y="66"/>
                    </a:lnTo>
                    <a:lnTo>
                      <a:pt x="8" y="0"/>
                    </a:lnTo>
                    <a:lnTo>
                      <a:pt x="0" y="95"/>
                    </a:lnTo>
                    <a:close/>
                  </a:path>
                </a:pathLst>
              </a:custGeom>
              <a:solidFill>
                <a:srgbClr val="A0A7AD"/>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22" name="iŝḷiḍe"/>
              <p:cNvSpPr/>
              <p:nvPr/>
            </p:nvSpPr>
            <p:spPr bwMode="auto">
              <a:xfrm>
                <a:off x="2713" y="12"/>
                <a:ext cx="58" cy="29"/>
              </a:xfrm>
              <a:custGeom>
                <a:avLst/>
                <a:gdLst>
                  <a:gd name="T0" fmla="*/ 58 w 58"/>
                  <a:gd name="T1" fmla="*/ 0 h 29"/>
                  <a:gd name="T2" fmla="*/ 0 w 58"/>
                  <a:gd name="T3" fmla="*/ 29 h 29"/>
                  <a:gd name="T4" fmla="*/ 29 w 58"/>
                  <a:gd name="T5" fmla="*/ 29 h 29"/>
                  <a:gd name="T6" fmla="*/ 58 w 58"/>
                  <a:gd name="T7" fmla="*/ 0 h 29"/>
                </a:gdLst>
                <a:ahLst/>
                <a:cxnLst>
                  <a:cxn ang="0">
                    <a:pos x="T0" y="T1"/>
                  </a:cxn>
                  <a:cxn ang="0">
                    <a:pos x="T2" y="T3"/>
                  </a:cxn>
                  <a:cxn ang="0">
                    <a:pos x="T4" y="T5"/>
                  </a:cxn>
                  <a:cxn ang="0">
                    <a:pos x="T6" y="T7"/>
                  </a:cxn>
                </a:cxnLst>
                <a:rect l="0" t="0" r="r" b="b"/>
                <a:pathLst>
                  <a:path w="58" h="29">
                    <a:moveTo>
                      <a:pt x="58" y="0"/>
                    </a:moveTo>
                    <a:lnTo>
                      <a:pt x="0" y="29"/>
                    </a:lnTo>
                    <a:lnTo>
                      <a:pt x="29" y="29"/>
                    </a:lnTo>
                    <a:lnTo>
                      <a:pt x="58" y="0"/>
                    </a:lnTo>
                    <a:close/>
                  </a:path>
                </a:pathLst>
              </a:custGeom>
              <a:solidFill>
                <a:srgbClr val="A0A7AD"/>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23" name="ïşḷïḋè"/>
              <p:cNvSpPr/>
              <p:nvPr/>
            </p:nvSpPr>
            <p:spPr bwMode="auto">
              <a:xfrm>
                <a:off x="2663" y="5"/>
                <a:ext cx="2805" cy="3426"/>
              </a:xfrm>
              <a:custGeom>
                <a:avLst/>
                <a:gdLst>
                  <a:gd name="T0" fmla="*/ 1567 w 1651"/>
                  <a:gd name="T1" fmla="*/ 1999 h 2020"/>
                  <a:gd name="T2" fmla="*/ 56 w 1651"/>
                  <a:gd name="T3" fmla="*/ 1126 h 2020"/>
                  <a:gd name="T4" fmla="*/ 0 w 1651"/>
                  <a:gd name="T5" fmla="*/ 1029 h 2020"/>
                  <a:gd name="T6" fmla="*/ 0 w 1651"/>
                  <a:gd name="T7" fmla="*/ 70 h 2020"/>
                  <a:gd name="T8" fmla="*/ 84 w 1651"/>
                  <a:gd name="T9" fmla="*/ 22 h 2020"/>
                  <a:gd name="T10" fmla="*/ 1595 w 1651"/>
                  <a:gd name="T11" fmla="*/ 892 h 2020"/>
                  <a:gd name="T12" fmla="*/ 1651 w 1651"/>
                  <a:gd name="T13" fmla="*/ 989 h 2020"/>
                  <a:gd name="T14" fmla="*/ 1651 w 1651"/>
                  <a:gd name="T15" fmla="*/ 1950 h 2020"/>
                  <a:gd name="T16" fmla="*/ 1567 w 1651"/>
                  <a:gd name="T17" fmla="*/ 1999 h 2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51" h="2020">
                    <a:moveTo>
                      <a:pt x="1567" y="1999"/>
                    </a:moveTo>
                    <a:cubicBezTo>
                      <a:pt x="56" y="1126"/>
                      <a:pt x="56" y="1126"/>
                      <a:pt x="56" y="1126"/>
                    </a:cubicBezTo>
                    <a:cubicBezTo>
                      <a:pt x="22" y="1106"/>
                      <a:pt x="0" y="1069"/>
                      <a:pt x="0" y="1029"/>
                    </a:cubicBezTo>
                    <a:cubicBezTo>
                      <a:pt x="0" y="70"/>
                      <a:pt x="0" y="70"/>
                      <a:pt x="0" y="70"/>
                    </a:cubicBezTo>
                    <a:cubicBezTo>
                      <a:pt x="0" y="27"/>
                      <a:pt x="47" y="0"/>
                      <a:pt x="84" y="22"/>
                    </a:cubicBezTo>
                    <a:cubicBezTo>
                      <a:pt x="1595" y="892"/>
                      <a:pt x="1595" y="892"/>
                      <a:pt x="1595" y="892"/>
                    </a:cubicBezTo>
                    <a:cubicBezTo>
                      <a:pt x="1629" y="912"/>
                      <a:pt x="1651" y="949"/>
                      <a:pt x="1651" y="989"/>
                    </a:cubicBezTo>
                    <a:cubicBezTo>
                      <a:pt x="1651" y="1950"/>
                      <a:pt x="1651" y="1950"/>
                      <a:pt x="1651" y="1950"/>
                    </a:cubicBezTo>
                    <a:cubicBezTo>
                      <a:pt x="1651" y="1993"/>
                      <a:pt x="1604" y="2020"/>
                      <a:pt x="1567" y="1999"/>
                    </a:cubicBezTo>
                  </a:path>
                </a:pathLst>
              </a:custGeom>
              <a:solidFill>
                <a:srgbClr val="CACACC"/>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24" name="iṥļîḋe"/>
              <p:cNvSpPr/>
              <p:nvPr/>
            </p:nvSpPr>
            <p:spPr bwMode="auto">
              <a:xfrm>
                <a:off x="2791" y="181"/>
                <a:ext cx="2540" cy="3021"/>
              </a:xfrm>
              <a:custGeom>
                <a:avLst/>
                <a:gdLst>
                  <a:gd name="T0" fmla="*/ 0 w 2540"/>
                  <a:gd name="T1" fmla="*/ 0 h 3021"/>
                  <a:gd name="T2" fmla="*/ 0 w 2540"/>
                  <a:gd name="T3" fmla="*/ 1558 h 3021"/>
                  <a:gd name="T4" fmla="*/ 2540 w 2540"/>
                  <a:gd name="T5" fmla="*/ 3021 h 3021"/>
                  <a:gd name="T6" fmla="*/ 2540 w 2540"/>
                  <a:gd name="T7" fmla="*/ 1459 h 3021"/>
                  <a:gd name="T8" fmla="*/ 0 w 2540"/>
                  <a:gd name="T9" fmla="*/ 0 h 3021"/>
                </a:gdLst>
                <a:ahLst/>
                <a:cxnLst>
                  <a:cxn ang="0">
                    <a:pos x="T0" y="T1"/>
                  </a:cxn>
                  <a:cxn ang="0">
                    <a:pos x="T2" y="T3"/>
                  </a:cxn>
                  <a:cxn ang="0">
                    <a:pos x="T4" y="T5"/>
                  </a:cxn>
                  <a:cxn ang="0">
                    <a:pos x="T6" y="T7"/>
                  </a:cxn>
                  <a:cxn ang="0">
                    <a:pos x="T8" y="T9"/>
                  </a:cxn>
                </a:cxnLst>
                <a:rect l="0" t="0" r="r" b="b"/>
                <a:pathLst>
                  <a:path w="2540" h="3021">
                    <a:moveTo>
                      <a:pt x="0" y="0"/>
                    </a:moveTo>
                    <a:lnTo>
                      <a:pt x="0" y="1558"/>
                    </a:lnTo>
                    <a:lnTo>
                      <a:pt x="2540" y="3021"/>
                    </a:lnTo>
                    <a:lnTo>
                      <a:pt x="2540" y="1459"/>
                    </a:lnTo>
                    <a:lnTo>
                      <a:pt x="0" y="0"/>
                    </a:lnTo>
                    <a:close/>
                  </a:path>
                </a:pathLst>
              </a:custGeom>
              <a:solidFill>
                <a:srgbClr val="DAEEF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25" name="iS1iďe"/>
              <p:cNvSpPr/>
              <p:nvPr/>
            </p:nvSpPr>
            <p:spPr bwMode="auto">
              <a:xfrm>
                <a:off x="2791" y="181"/>
                <a:ext cx="2540" cy="3021"/>
              </a:xfrm>
              <a:custGeom>
                <a:avLst/>
                <a:gdLst>
                  <a:gd name="T0" fmla="*/ 0 w 2540"/>
                  <a:gd name="T1" fmla="*/ 0 h 3021"/>
                  <a:gd name="T2" fmla="*/ 0 w 2540"/>
                  <a:gd name="T3" fmla="*/ 1558 h 3021"/>
                  <a:gd name="T4" fmla="*/ 2540 w 2540"/>
                  <a:gd name="T5" fmla="*/ 3021 h 3021"/>
                  <a:gd name="T6" fmla="*/ 2540 w 2540"/>
                  <a:gd name="T7" fmla="*/ 1459 h 3021"/>
                  <a:gd name="T8" fmla="*/ 0 w 2540"/>
                  <a:gd name="T9" fmla="*/ 0 h 3021"/>
                </a:gdLst>
                <a:ahLst/>
                <a:cxnLst>
                  <a:cxn ang="0">
                    <a:pos x="T0" y="T1"/>
                  </a:cxn>
                  <a:cxn ang="0">
                    <a:pos x="T2" y="T3"/>
                  </a:cxn>
                  <a:cxn ang="0">
                    <a:pos x="T4" y="T5"/>
                  </a:cxn>
                  <a:cxn ang="0">
                    <a:pos x="T6" y="T7"/>
                  </a:cxn>
                  <a:cxn ang="0">
                    <a:pos x="T8" y="T9"/>
                  </a:cxn>
                </a:cxnLst>
                <a:rect l="0" t="0" r="r" b="b"/>
                <a:pathLst>
                  <a:path w="2540" h="3021">
                    <a:moveTo>
                      <a:pt x="0" y="0"/>
                    </a:moveTo>
                    <a:lnTo>
                      <a:pt x="0" y="1558"/>
                    </a:lnTo>
                    <a:lnTo>
                      <a:pt x="2540" y="3021"/>
                    </a:lnTo>
                    <a:lnTo>
                      <a:pt x="2540" y="1459"/>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26" name="íŝḻíḑê"/>
              <p:cNvSpPr/>
              <p:nvPr/>
            </p:nvSpPr>
            <p:spPr bwMode="auto">
              <a:xfrm>
                <a:off x="2918" y="399"/>
                <a:ext cx="2241" cy="1485"/>
              </a:xfrm>
              <a:custGeom>
                <a:avLst/>
                <a:gdLst>
                  <a:gd name="T0" fmla="*/ 0 w 2241"/>
                  <a:gd name="T1" fmla="*/ 0 h 1485"/>
                  <a:gd name="T2" fmla="*/ 0 w 2241"/>
                  <a:gd name="T3" fmla="*/ 195 h 1485"/>
                  <a:gd name="T4" fmla="*/ 2241 w 2241"/>
                  <a:gd name="T5" fmla="*/ 1485 h 1485"/>
                  <a:gd name="T6" fmla="*/ 2241 w 2241"/>
                  <a:gd name="T7" fmla="*/ 1292 h 1485"/>
                  <a:gd name="T8" fmla="*/ 0 w 2241"/>
                  <a:gd name="T9" fmla="*/ 0 h 1485"/>
                </a:gdLst>
                <a:ahLst/>
                <a:cxnLst>
                  <a:cxn ang="0">
                    <a:pos x="T0" y="T1"/>
                  </a:cxn>
                  <a:cxn ang="0">
                    <a:pos x="T2" y="T3"/>
                  </a:cxn>
                  <a:cxn ang="0">
                    <a:pos x="T4" y="T5"/>
                  </a:cxn>
                  <a:cxn ang="0">
                    <a:pos x="T6" y="T7"/>
                  </a:cxn>
                  <a:cxn ang="0">
                    <a:pos x="T8" y="T9"/>
                  </a:cxn>
                </a:cxnLst>
                <a:rect l="0" t="0" r="r" b="b"/>
                <a:pathLst>
                  <a:path w="2241" h="1485">
                    <a:moveTo>
                      <a:pt x="0" y="0"/>
                    </a:moveTo>
                    <a:lnTo>
                      <a:pt x="0" y="195"/>
                    </a:lnTo>
                    <a:lnTo>
                      <a:pt x="2241" y="1485"/>
                    </a:lnTo>
                    <a:lnTo>
                      <a:pt x="2241" y="1292"/>
                    </a:lnTo>
                    <a:lnTo>
                      <a:pt x="0" y="0"/>
                    </a:lnTo>
                    <a:close/>
                  </a:path>
                </a:pathLst>
              </a:custGeom>
              <a:solidFill>
                <a:srgbClr val="F37C5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27" name="ïṧľidé"/>
              <p:cNvSpPr/>
              <p:nvPr/>
            </p:nvSpPr>
            <p:spPr bwMode="auto">
              <a:xfrm>
                <a:off x="2918" y="399"/>
                <a:ext cx="2241" cy="1485"/>
              </a:xfrm>
              <a:custGeom>
                <a:avLst/>
                <a:gdLst>
                  <a:gd name="T0" fmla="*/ 0 w 2241"/>
                  <a:gd name="T1" fmla="*/ 0 h 1485"/>
                  <a:gd name="T2" fmla="*/ 0 w 2241"/>
                  <a:gd name="T3" fmla="*/ 195 h 1485"/>
                  <a:gd name="T4" fmla="*/ 2241 w 2241"/>
                  <a:gd name="T5" fmla="*/ 1485 h 1485"/>
                  <a:gd name="T6" fmla="*/ 2241 w 2241"/>
                  <a:gd name="T7" fmla="*/ 1292 h 1485"/>
                  <a:gd name="T8" fmla="*/ 0 w 2241"/>
                  <a:gd name="T9" fmla="*/ 0 h 1485"/>
                </a:gdLst>
                <a:ahLst/>
                <a:cxnLst>
                  <a:cxn ang="0">
                    <a:pos x="T0" y="T1"/>
                  </a:cxn>
                  <a:cxn ang="0">
                    <a:pos x="T2" y="T3"/>
                  </a:cxn>
                  <a:cxn ang="0">
                    <a:pos x="T4" y="T5"/>
                  </a:cxn>
                  <a:cxn ang="0">
                    <a:pos x="T6" y="T7"/>
                  </a:cxn>
                  <a:cxn ang="0">
                    <a:pos x="T8" y="T9"/>
                  </a:cxn>
                </a:cxnLst>
                <a:rect l="0" t="0" r="r" b="b"/>
                <a:pathLst>
                  <a:path w="2241" h="1485">
                    <a:moveTo>
                      <a:pt x="0" y="0"/>
                    </a:moveTo>
                    <a:lnTo>
                      <a:pt x="0" y="195"/>
                    </a:lnTo>
                    <a:lnTo>
                      <a:pt x="2241" y="1485"/>
                    </a:lnTo>
                    <a:lnTo>
                      <a:pt x="2241" y="129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28" name="iś1ïḋè"/>
              <p:cNvSpPr/>
              <p:nvPr/>
            </p:nvSpPr>
            <p:spPr bwMode="auto">
              <a:xfrm>
                <a:off x="2918" y="692"/>
                <a:ext cx="466" cy="851"/>
              </a:xfrm>
              <a:custGeom>
                <a:avLst/>
                <a:gdLst>
                  <a:gd name="T0" fmla="*/ 0 w 466"/>
                  <a:gd name="T1" fmla="*/ 0 h 851"/>
                  <a:gd name="T2" fmla="*/ 0 w 466"/>
                  <a:gd name="T3" fmla="*/ 585 h 851"/>
                  <a:gd name="T4" fmla="*/ 466 w 466"/>
                  <a:gd name="T5" fmla="*/ 851 h 851"/>
                  <a:gd name="T6" fmla="*/ 466 w 466"/>
                  <a:gd name="T7" fmla="*/ 268 h 851"/>
                  <a:gd name="T8" fmla="*/ 0 w 466"/>
                  <a:gd name="T9" fmla="*/ 0 h 851"/>
                </a:gdLst>
                <a:ahLst/>
                <a:cxnLst>
                  <a:cxn ang="0">
                    <a:pos x="T0" y="T1"/>
                  </a:cxn>
                  <a:cxn ang="0">
                    <a:pos x="T2" y="T3"/>
                  </a:cxn>
                  <a:cxn ang="0">
                    <a:pos x="T4" y="T5"/>
                  </a:cxn>
                  <a:cxn ang="0">
                    <a:pos x="T6" y="T7"/>
                  </a:cxn>
                  <a:cxn ang="0">
                    <a:pos x="T8" y="T9"/>
                  </a:cxn>
                </a:cxnLst>
                <a:rect l="0" t="0" r="r" b="b"/>
                <a:pathLst>
                  <a:path w="466" h="851">
                    <a:moveTo>
                      <a:pt x="0" y="0"/>
                    </a:moveTo>
                    <a:lnTo>
                      <a:pt x="0" y="585"/>
                    </a:lnTo>
                    <a:lnTo>
                      <a:pt x="466" y="851"/>
                    </a:lnTo>
                    <a:lnTo>
                      <a:pt x="466" y="268"/>
                    </a:lnTo>
                    <a:lnTo>
                      <a:pt x="0" y="0"/>
                    </a:lnTo>
                    <a:close/>
                  </a:path>
                </a:pathLst>
              </a:custGeom>
              <a:solidFill>
                <a:srgbClr val="5CD2D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29" name="íṣḷïḍè"/>
              <p:cNvSpPr/>
              <p:nvPr/>
            </p:nvSpPr>
            <p:spPr bwMode="auto">
              <a:xfrm>
                <a:off x="2918" y="692"/>
                <a:ext cx="466" cy="851"/>
              </a:xfrm>
              <a:custGeom>
                <a:avLst/>
                <a:gdLst>
                  <a:gd name="T0" fmla="*/ 0 w 466"/>
                  <a:gd name="T1" fmla="*/ 0 h 851"/>
                  <a:gd name="T2" fmla="*/ 0 w 466"/>
                  <a:gd name="T3" fmla="*/ 585 h 851"/>
                  <a:gd name="T4" fmla="*/ 466 w 466"/>
                  <a:gd name="T5" fmla="*/ 851 h 851"/>
                  <a:gd name="T6" fmla="*/ 466 w 466"/>
                  <a:gd name="T7" fmla="*/ 268 h 851"/>
                  <a:gd name="T8" fmla="*/ 0 w 466"/>
                  <a:gd name="T9" fmla="*/ 0 h 851"/>
                </a:gdLst>
                <a:ahLst/>
                <a:cxnLst>
                  <a:cxn ang="0">
                    <a:pos x="T0" y="T1"/>
                  </a:cxn>
                  <a:cxn ang="0">
                    <a:pos x="T2" y="T3"/>
                  </a:cxn>
                  <a:cxn ang="0">
                    <a:pos x="T4" y="T5"/>
                  </a:cxn>
                  <a:cxn ang="0">
                    <a:pos x="T6" y="T7"/>
                  </a:cxn>
                  <a:cxn ang="0">
                    <a:pos x="T8" y="T9"/>
                  </a:cxn>
                </a:cxnLst>
                <a:rect l="0" t="0" r="r" b="b"/>
                <a:pathLst>
                  <a:path w="466" h="851">
                    <a:moveTo>
                      <a:pt x="0" y="0"/>
                    </a:moveTo>
                    <a:lnTo>
                      <a:pt x="0" y="585"/>
                    </a:lnTo>
                    <a:lnTo>
                      <a:pt x="466" y="851"/>
                    </a:lnTo>
                    <a:lnTo>
                      <a:pt x="466" y="26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30" name="í$líḓe"/>
              <p:cNvSpPr/>
              <p:nvPr/>
            </p:nvSpPr>
            <p:spPr bwMode="auto">
              <a:xfrm>
                <a:off x="3467" y="1057"/>
                <a:ext cx="466" cy="853"/>
              </a:xfrm>
              <a:custGeom>
                <a:avLst/>
                <a:gdLst>
                  <a:gd name="T0" fmla="*/ 0 w 466"/>
                  <a:gd name="T1" fmla="*/ 0 h 853"/>
                  <a:gd name="T2" fmla="*/ 0 w 466"/>
                  <a:gd name="T3" fmla="*/ 583 h 853"/>
                  <a:gd name="T4" fmla="*/ 466 w 466"/>
                  <a:gd name="T5" fmla="*/ 853 h 853"/>
                  <a:gd name="T6" fmla="*/ 466 w 466"/>
                  <a:gd name="T7" fmla="*/ 268 h 853"/>
                  <a:gd name="T8" fmla="*/ 0 w 466"/>
                  <a:gd name="T9" fmla="*/ 0 h 853"/>
                </a:gdLst>
                <a:ahLst/>
                <a:cxnLst>
                  <a:cxn ang="0">
                    <a:pos x="T0" y="T1"/>
                  </a:cxn>
                  <a:cxn ang="0">
                    <a:pos x="T2" y="T3"/>
                  </a:cxn>
                  <a:cxn ang="0">
                    <a:pos x="T4" y="T5"/>
                  </a:cxn>
                  <a:cxn ang="0">
                    <a:pos x="T6" y="T7"/>
                  </a:cxn>
                  <a:cxn ang="0">
                    <a:pos x="T8" y="T9"/>
                  </a:cxn>
                </a:cxnLst>
                <a:rect l="0" t="0" r="r" b="b"/>
                <a:pathLst>
                  <a:path w="466" h="853">
                    <a:moveTo>
                      <a:pt x="0" y="0"/>
                    </a:moveTo>
                    <a:lnTo>
                      <a:pt x="0" y="583"/>
                    </a:lnTo>
                    <a:lnTo>
                      <a:pt x="466" y="853"/>
                    </a:lnTo>
                    <a:lnTo>
                      <a:pt x="466" y="268"/>
                    </a:lnTo>
                    <a:lnTo>
                      <a:pt x="0" y="0"/>
                    </a:lnTo>
                    <a:close/>
                  </a:path>
                </a:pathLst>
              </a:custGeom>
              <a:solidFill>
                <a:srgbClr val="CF3A5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31" name="íšḻîḓé"/>
              <p:cNvSpPr/>
              <p:nvPr/>
            </p:nvSpPr>
            <p:spPr bwMode="auto">
              <a:xfrm>
                <a:off x="3467" y="1057"/>
                <a:ext cx="466" cy="853"/>
              </a:xfrm>
              <a:custGeom>
                <a:avLst/>
                <a:gdLst>
                  <a:gd name="T0" fmla="*/ 0 w 466"/>
                  <a:gd name="T1" fmla="*/ 0 h 853"/>
                  <a:gd name="T2" fmla="*/ 0 w 466"/>
                  <a:gd name="T3" fmla="*/ 583 h 853"/>
                  <a:gd name="T4" fmla="*/ 466 w 466"/>
                  <a:gd name="T5" fmla="*/ 853 h 853"/>
                  <a:gd name="T6" fmla="*/ 466 w 466"/>
                  <a:gd name="T7" fmla="*/ 268 h 853"/>
                  <a:gd name="T8" fmla="*/ 0 w 466"/>
                  <a:gd name="T9" fmla="*/ 0 h 853"/>
                </a:gdLst>
                <a:ahLst/>
                <a:cxnLst>
                  <a:cxn ang="0">
                    <a:pos x="T0" y="T1"/>
                  </a:cxn>
                  <a:cxn ang="0">
                    <a:pos x="T2" y="T3"/>
                  </a:cxn>
                  <a:cxn ang="0">
                    <a:pos x="T4" y="T5"/>
                  </a:cxn>
                  <a:cxn ang="0">
                    <a:pos x="T6" y="T7"/>
                  </a:cxn>
                  <a:cxn ang="0">
                    <a:pos x="T8" y="T9"/>
                  </a:cxn>
                </a:cxnLst>
                <a:rect l="0" t="0" r="r" b="b"/>
                <a:pathLst>
                  <a:path w="466" h="853">
                    <a:moveTo>
                      <a:pt x="0" y="0"/>
                    </a:moveTo>
                    <a:lnTo>
                      <a:pt x="0" y="583"/>
                    </a:lnTo>
                    <a:lnTo>
                      <a:pt x="466" y="853"/>
                    </a:lnTo>
                    <a:lnTo>
                      <a:pt x="466" y="26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32" name="iṣľïdè"/>
              <p:cNvSpPr/>
              <p:nvPr/>
            </p:nvSpPr>
            <p:spPr bwMode="auto">
              <a:xfrm>
                <a:off x="3467" y="1057"/>
                <a:ext cx="466" cy="853"/>
              </a:xfrm>
              <a:custGeom>
                <a:avLst/>
                <a:gdLst>
                  <a:gd name="T0" fmla="*/ 60 w 274"/>
                  <a:gd name="T1" fmla="*/ 319 h 503"/>
                  <a:gd name="T2" fmla="*/ 60 w 274"/>
                  <a:gd name="T3" fmla="*/ 319 h 503"/>
                  <a:gd name="T4" fmla="*/ 85 w 274"/>
                  <a:gd name="T5" fmla="*/ 333 h 503"/>
                  <a:gd name="T6" fmla="*/ 85 w 274"/>
                  <a:gd name="T7" fmla="*/ 333 h 503"/>
                  <a:gd name="T8" fmla="*/ 60 w 274"/>
                  <a:gd name="T9" fmla="*/ 319 h 503"/>
                  <a:gd name="T10" fmla="*/ 0 w 274"/>
                  <a:gd name="T11" fmla="*/ 0 h 503"/>
                  <a:gd name="T12" fmla="*/ 0 w 274"/>
                  <a:gd name="T13" fmla="*/ 344 h 503"/>
                  <a:gd name="T14" fmla="*/ 60 w 274"/>
                  <a:gd name="T15" fmla="*/ 379 h 503"/>
                  <a:gd name="T16" fmla="*/ 60 w 274"/>
                  <a:gd name="T17" fmla="*/ 319 h 503"/>
                  <a:gd name="T18" fmla="*/ 59 w 274"/>
                  <a:gd name="T19" fmla="*/ 318 h 503"/>
                  <a:gd name="T20" fmla="*/ 52 w 274"/>
                  <a:gd name="T21" fmla="*/ 321 h 503"/>
                  <a:gd name="T22" fmla="*/ 51 w 274"/>
                  <a:gd name="T23" fmla="*/ 318 h 503"/>
                  <a:gd name="T24" fmla="*/ 55 w 274"/>
                  <a:gd name="T25" fmla="*/ 316 h 503"/>
                  <a:gd name="T26" fmla="*/ 80 w 274"/>
                  <a:gd name="T27" fmla="*/ 302 h 503"/>
                  <a:gd name="T28" fmla="*/ 85 w 274"/>
                  <a:gd name="T29" fmla="*/ 304 h 503"/>
                  <a:gd name="T30" fmla="*/ 102 w 274"/>
                  <a:gd name="T31" fmla="*/ 315 h 503"/>
                  <a:gd name="T32" fmla="*/ 106 w 274"/>
                  <a:gd name="T33" fmla="*/ 317 h 503"/>
                  <a:gd name="T34" fmla="*/ 110 w 274"/>
                  <a:gd name="T35" fmla="*/ 319 h 503"/>
                  <a:gd name="T36" fmla="*/ 143 w 274"/>
                  <a:gd name="T37" fmla="*/ 338 h 503"/>
                  <a:gd name="T38" fmla="*/ 159 w 274"/>
                  <a:gd name="T39" fmla="*/ 347 h 503"/>
                  <a:gd name="T40" fmla="*/ 159 w 274"/>
                  <a:gd name="T41" fmla="*/ 347 h 503"/>
                  <a:gd name="T42" fmla="*/ 159 w 274"/>
                  <a:gd name="T43" fmla="*/ 347 h 503"/>
                  <a:gd name="T44" fmla="*/ 180 w 274"/>
                  <a:gd name="T45" fmla="*/ 369 h 503"/>
                  <a:gd name="T46" fmla="*/ 185 w 274"/>
                  <a:gd name="T47" fmla="*/ 371 h 503"/>
                  <a:gd name="T48" fmla="*/ 189 w 274"/>
                  <a:gd name="T49" fmla="*/ 370 h 503"/>
                  <a:gd name="T50" fmla="*/ 209 w 274"/>
                  <a:gd name="T51" fmla="*/ 359 h 503"/>
                  <a:gd name="T52" fmla="*/ 234 w 274"/>
                  <a:gd name="T53" fmla="*/ 373 h 503"/>
                  <a:gd name="T54" fmla="*/ 189 w 274"/>
                  <a:gd name="T55" fmla="*/ 400 h 503"/>
                  <a:gd name="T56" fmla="*/ 185 w 274"/>
                  <a:gd name="T57" fmla="*/ 401 h 503"/>
                  <a:gd name="T58" fmla="*/ 180 w 274"/>
                  <a:gd name="T59" fmla="*/ 399 h 503"/>
                  <a:gd name="T60" fmla="*/ 159 w 274"/>
                  <a:gd name="T61" fmla="*/ 382 h 503"/>
                  <a:gd name="T62" fmla="*/ 180 w 274"/>
                  <a:gd name="T63" fmla="*/ 399 h 503"/>
                  <a:gd name="T64" fmla="*/ 185 w 274"/>
                  <a:gd name="T65" fmla="*/ 401 h 503"/>
                  <a:gd name="T66" fmla="*/ 189 w 274"/>
                  <a:gd name="T67" fmla="*/ 400 h 503"/>
                  <a:gd name="T68" fmla="*/ 234 w 274"/>
                  <a:gd name="T69" fmla="*/ 373 h 503"/>
                  <a:gd name="T70" fmla="*/ 234 w 274"/>
                  <a:gd name="T71" fmla="*/ 390 h 503"/>
                  <a:gd name="T72" fmla="*/ 189 w 274"/>
                  <a:gd name="T73" fmla="*/ 416 h 503"/>
                  <a:gd name="T74" fmla="*/ 185 w 274"/>
                  <a:gd name="T75" fmla="*/ 417 h 503"/>
                  <a:gd name="T76" fmla="*/ 180 w 274"/>
                  <a:gd name="T77" fmla="*/ 415 h 503"/>
                  <a:gd name="T78" fmla="*/ 159 w 274"/>
                  <a:gd name="T79" fmla="*/ 399 h 503"/>
                  <a:gd name="T80" fmla="*/ 159 w 274"/>
                  <a:gd name="T81" fmla="*/ 436 h 503"/>
                  <a:gd name="T82" fmla="*/ 274 w 274"/>
                  <a:gd name="T83" fmla="*/ 503 h 503"/>
                  <a:gd name="T84" fmla="*/ 274 w 274"/>
                  <a:gd name="T85" fmla="*/ 158 h 503"/>
                  <a:gd name="T86" fmla="*/ 0 w 274"/>
                  <a:gd name="T87" fmla="*/ 0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4" h="503">
                    <a:moveTo>
                      <a:pt x="60" y="319"/>
                    </a:moveTo>
                    <a:cubicBezTo>
                      <a:pt x="60" y="319"/>
                      <a:pt x="60" y="319"/>
                      <a:pt x="60" y="319"/>
                    </a:cubicBezTo>
                    <a:cubicBezTo>
                      <a:pt x="85" y="333"/>
                      <a:pt x="85" y="333"/>
                      <a:pt x="85" y="333"/>
                    </a:cubicBezTo>
                    <a:cubicBezTo>
                      <a:pt x="85" y="333"/>
                      <a:pt x="85" y="333"/>
                      <a:pt x="85" y="333"/>
                    </a:cubicBezTo>
                    <a:cubicBezTo>
                      <a:pt x="60" y="319"/>
                      <a:pt x="60" y="319"/>
                      <a:pt x="60" y="319"/>
                    </a:cubicBezTo>
                    <a:moveTo>
                      <a:pt x="0" y="0"/>
                    </a:moveTo>
                    <a:cubicBezTo>
                      <a:pt x="0" y="344"/>
                      <a:pt x="0" y="344"/>
                      <a:pt x="0" y="344"/>
                    </a:cubicBezTo>
                    <a:cubicBezTo>
                      <a:pt x="60" y="379"/>
                      <a:pt x="60" y="379"/>
                      <a:pt x="60" y="379"/>
                    </a:cubicBezTo>
                    <a:cubicBezTo>
                      <a:pt x="60" y="319"/>
                      <a:pt x="60" y="319"/>
                      <a:pt x="60" y="319"/>
                    </a:cubicBezTo>
                    <a:cubicBezTo>
                      <a:pt x="59" y="318"/>
                      <a:pt x="59" y="318"/>
                      <a:pt x="59" y="318"/>
                    </a:cubicBezTo>
                    <a:cubicBezTo>
                      <a:pt x="52" y="321"/>
                      <a:pt x="52" y="321"/>
                      <a:pt x="52" y="321"/>
                    </a:cubicBezTo>
                    <a:cubicBezTo>
                      <a:pt x="51" y="318"/>
                      <a:pt x="51" y="318"/>
                      <a:pt x="51" y="318"/>
                    </a:cubicBezTo>
                    <a:cubicBezTo>
                      <a:pt x="55" y="316"/>
                      <a:pt x="55" y="316"/>
                      <a:pt x="55" y="316"/>
                    </a:cubicBezTo>
                    <a:cubicBezTo>
                      <a:pt x="80" y="302"/>
                      <a:pt x="80" y="302"/>
                      <a:pt x="80" y="302"/>
                    </a:cubicBezTo>
                    <a:cubicBezTo>
                      <a:pt x="85" y="304"/>
                      <a:pt x="85" y="304"/>
                      <a:pt x="85" y="304"/>
                    </a:cubicBezTo>
                    <a:cubicBezTo>
                      <a:pt x="102" y="315"/>
                      <a:pt x="102" y="315"/>
                      <a:pt x="102" y="315"/>
                    </a:cubicBezTo>
                    <a:cubicBezTo>
                      <a:pt x="106" y="317"/>
                      <a:pt x="106" y="317"/>
                      <a:pt x="106" y="317"/>
                    </a:cubicBezTo>
                    <a:cubicBezTo>
                      <a:pt x="110" y="319"/>
                      <a:pt x="110" y="319"/>
                      <a:pt x="110" y="319"/>
                    </a:cubicBezTo>
                    <a:cubicBezTo>
                      <a:pt x="143" y="338"/>
                      <a:pt x="143" y="338"/>
                      <a:pt x="143" y="338"/>
                    </a:cubicBezTo>
                    <a:cubicBezTo>
                      <a:pt x="159" y="347"/>
                      <a:pt x="159" y="347"/>
                      <a:pt x="159" y="347"/>
                    </a:cubicBezTo>
                    <a:cubicBezTo>
                      <a:pt x="159" y="347"/>
                      <a:pt x="159" y="347"/>
                      <a:pt x="159" y="347"/>
                    </a:cubicBezTo>
                    <a:cubicBezTo>
                      <a:pt x="159" y="347"/>
                      <a:pt x="159" y="347"/>
                      <a:pt x="159" y="347"/>
                    </a:cubicBezTo>
                    <a:cubicBezTo>
                      <a:pt x="180" y="369"/>
                      <a:pt x="180" y="369"/>
                      <a:pt x="180" y="369"/>
                    </a:cubicBezTo>
                    <a:cubicBezTo>
                      <a:pt x="181" y="371"/>
                      <a:pt x="183" y="371"/>
                      <a:pt x="185" y="371"/>
                    </a:cubicBezTo>
                    <a:cubicBezTo>
                      <a:pt x="187" y="371"/>
                      <a:pt x="188" y="371"/>
                      <a:pt x="189" y="370"/>
                    </a:cubicBezTo>
                    <a:cubicBezTo>
                      <a:pt x="209" y="359"/>
                      <a:pt x="209" y="359"/>
                      <a:pt x="209" y="359"/>
                    </a:cubicBezTo>
                    <a:cubicBezTo>
                      <a:pt x="234" y="373"/>
                      <a:pt x="234" y="373"/>
                      <a:pt x="234" y="373"/>
                    </a:cubicBezTo>
                    <a:cubicBezTo>
                      <a:pt x="189" y="400"/>
                      <a:pt x="189" y="400"/>
                      <a:pt x="189" y="400"/>
                    </a:cubicBezTo>
                    <a:cubicBezTo>
                      <a:pt x="188" y="400"/>
                      <a:pt x="186" y="401"/>
                      <a:pt x="185" y="401"/>
                    </a:cubicBezTo>
                    <a:cubicBezTo>
                      <a:pt x="183" y="401"/>
                      <a:pt x="181" y="400"/>
                      <a:pt x="180" y="399"/>
                    </a:cubicBezTo>
                    <a:cubicBezTo>
                      <a:pt x="159" y="382"/>
                      <a:pt x="159" y="382"/>
                      <a:pt x="159" y="382"/>
                    </a:cubicBezTo>
                    <a:cubicBezTo>
                      <a:pt x="180" y="399"/>
                      <a:pt x="180" y="399"/>
                      <a:pt x="180" y="399"/>
                    </a:cubicBezTo>
                    <a:cubicBezTo>
                      <a:pt x="181" y="400"/>
                      <a:pt x="183" y="401"/>
                      <a:pt x="185" y="401"/>
                    </a:cubicBezTo>
                    <a:cubicBezTo>
                      <a:pt x="186" y="401"/>
                      <a:pt x="188" y="400"/>
                      <a:pt x="189" y="400"/>
                    </a:cubicBezTo>
                    <a:cubicBezTo>
                      <a:pt x="234" y="373"/>
                      <a:pt x="234" y="373"/>
                      <a:pt x="234" y="373"/>
                    </a:cubicBezTo>
                    <a:cubicBezTo>
                      <a:pt x="234" y="390"/>
                      <a:pt x="234" y="390"/>
                      <a:pt x="234" y="390"/>
                    </a:cubicBezTo>
                    <a:cubicBezTo>
                      <a:pt x="189" y="416"/>
                      <a:pt x="189" y="416"/>
                      <a:pt x="189" y="416"/>
                    </a:cubicBezTo>
                    <a:cubicBezTo>
                      <a:pt x="188" y="417"/>
                      <a:pt x="186" y="417"/>
                      <a:pt x="185" y="417"/>
                    </a:cubicBezTo>
                    <a:cubicBezTo>
                      <a:pt x="183" y="417"/>
                      <a:pt x="181" y="417"/>
                      <a:pt x="180" y="415"/>
                    </a:cubicBezTo>
                    <a:cubicBezTo>
                      <a:pt x="159" y="399"/>
                      <a:pt x="159" y="399"/>
                      <a:pt x="159" y="399"/>
                    </a:cubicBezTo>
                    <a:cubicBezTo>
                      <a:pt x="159" y="436"/>
                      <a:pt x="159" y="436"/>
                      <a:pt x="159" y="436"/>
                    </a:cubicBezTo>
                    <a:cubicBezTo>
                      <a:pt x="274" y="503"/>
                      <a:pt x="274" y="503"/>
                      <a:pt x="274" y="503"/>
                    </a:cubicBezTo>
                    <a:cubicBezTo>
                      <a:pt x="274" y="158"/>
                      <a:pt x="274" y="158"/>
                      <a:pt x="274" y="158"/>
                    </a:cubicBezTo>
                    <a:cubicBezTo>
                      <a:pt x="0" y="0"/>
                      <a:pt x="0" y="0"/>
                      <a:pt x="0" y="0"/>
                    </a:cubicBezTo>
                  </a:path>
                </a:pathLst>
              </a:custGeom>
              <a:solidFill>
                <a:srgbClr val="E3516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33" name="işľïḍê"/>
              <p:cNvSpPr/>
              <p:nvPr/>
            </p:nvSpPr>
            <p:spPr bwMode="auto">
              <a:xfrm>
                <a:off x="4101" y="1372"/>
                <a:ext cx="467" cy="853"/>
              </a:xfrm>
              <a:custGeom>
                <a:avLst/>
                <a:gdLst>
                  <a:gd name="T0" fmla="*/ 0 w 467"/>
                  <a:gd name="T1" fmla="*/ 0 h 853"/>
                  <a:gd name="T2" fmla="*/ 0 w 467"/>
                  <a:gd name="T3" fmla="*/ 587 h 853"/>
                  <a:gd name="T4" fmla="*/ 465 w 467"/>
                  <a:gd name="T5" fmla="*/ 853 h 853"/>
                  <a:gd name="T6" fmla="*/ 467 w 467"/>
                  <a:gd name="T7" fmla="*/ 270 h 853"/>
                  <a:gd name="T8" fmla="*/ 0 w 467"/>
                  <a:gd name="T9" fmla="*/ 0 h 853"/>
                </a:gdLst>
                <a:ahLst/>
                <a:cxnLst>
                  <a:cxn ang="0">
                    <a:pos x="T0" y="T1"/>
                  </a:cxn>
                  <a:cxn ang="0">
                    <a:pos x="T2" y="T3"/>
                  </a:cxn>
                  <a:cxn ang="0">
                    <a:pos x="T4" y="T5"/>
                  </a:cxn>
                  <a:cxn ang="0">
                    <a:pos x="T6" y="T7"/>
                  </a:cxn>
                  <a:cxn ang="0">
                    <a:pos x="T8" y="T9"/>
                  </a:cxn>
                </a:cxnLst>
                <a:rect l="0" t="0" r="r" b="b"/>
                <a:pathLst>
                  <a:path w="467" h="853">
                    <a:moveTo>
                      <a:pt x="0" y="0"/>
                    </a:moveTo>
                    <a:lnTo>
                      <a:pt x="0" y="587"/>
                    </a:lnTo>
                    <a:lnTo>
                      <a:pt x="465" y="853"/>
                    </a:lnTo>
                    <a:lnTo>
                      <a:pt x="467" y="270"/>
                    </a:lnTo>
                    <a:lnTo>
                      <a:pt x="0" y="0"/>
                    </a:lnTo>
                    <a:close/>
                  </a:path>
                </a:pathLst>
              </a:custGeom>
              <a:solidFill>
                <a:srgbClr val="4F9CD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34" name="ïSḷïḓe"/>
              <p:cNvSpPr/>
              <p:nvPr/>
            </p:nvSpPr>
            <p:spPr bwMode="auto">
              <a:xfrm>
                <a:off x="4101" y="1372"/>
                <a:ext cx="467" cy="853"/>
              </a:xfrm>
              <a:custGeom>
                <a:avLst/>
                <a:gdLst>
                  <a:gd name="T0" fmla="*/ 0 w 467"/>
                  <a:gd name="T1" fmla="*/ 0 h 853"/>
                  <a:gd name="T2" fmla="*/ 0 w 467"/>
                  <a:gd name="T3" fmla="*/ 587 h 853"/>
                  <a:gd name="T4" fmla="*/ 465 w 467"/>
                  <a:gd name="T5" fmla="*/ 853 h 853"/>
                  <a:gd name="T6" fmla="*/ 467 w 467"/>
                  <a:gd name="T7" fmla="*/ 270 h 853"/>
                  <a:gd name="T8" fmla="*/ 0 w 467"/>
                  <a:gd name="T9" fmla="*/ 0 h 853"/>
                </a:gdLst>
                <a:ahLst/>
                <a:cxnLst>
                  <a:cxn ang="0">
                    <a:pos x="T0" y="T1"/>
                  </a:cxn>
                  <a:cxn ang="0">
                    <a:pos x="T2" y="T3"/>
                  </a:cxn>
                  <a:cxn ang="0">
                    <a:pos x="T4" y="T5"/>
                  </a:cxn>
                  <a:cxn ang="0">
                    <a:pos x="T6" y="T7"/>
                  </a:cxn>
                  <a:cxn ang="0">
                    <a:pos x="T8" y="T9"/>
                  </a:cxn>
                </a:cxnLst>
                <a:rect l="0" t="0" r="r" b="b"/>
                <a:pathLst>
                  <a:path w="467" h="853">
                    <a:moveTo>
                      <a:pt x="0" y="0"/>
                    </a:moveTo>
                    <a:lnTo>
                      <a:pt x="0" y="587"/>
                    </a:lnTo>
                    <a:lnTo>
                      <a:pt x="465" y="853"/>
                    </a:lnTo>
                    <a:lnTo>
                      <a:pt x="467" y="27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35" name="îṥlîďè"/>
              <p:cNvSpPr/>
              <p:nvPr/>
            </p:nvSpPr>
            <p:spPr bwMode="auto">
              <a:xfrm>
                <a:off x="4693" y="1724"/>
                <a:ext cx="467" cy="1291"/>
              </a:xfrm>
              <a:custGeom>
                <a:avLst/>
                <a:gdLst>
                  <a:gd name="T0" fmla="*/ 0 w 467"/>
                  <a:gd name="T1" fmla="*/ 0 h 1291"/>
                  <a:gd name="T2" fmla="*/ 0 w 467"/>
                  <a:gd name="T3" fmla="*/ 1023 h 1291"/>
                  <a:gd name="T4" fmla="*/ 465 w 467"/>
                  <a:gd name="T5" fmla="*/ 1291 h 1291"/>
                  <a:gd name="T6" fmla="*/ 467 w 467"/>
                  <a:gd name="T7" fmla="*/ 268 h 1291"/>
                  <a:gd name="T8" fmla="*/ 0 w 467"/>
                  <a:gd name="T9" fmla="*/ 0 h 1291"/>
                </a:gdLst>
                <a:ahLst/>
                <a:cxnLst>
                  <a:cxn ang="0">
                    <a:pos x="T0" y="T1"/>
                  </a:cxn>
                  <a:cxn ang="0">
                    <a:pos x="T2" y="T3"/>
                  </a:cxn>
                  <a:cxn ang="0">
                    <a:pos x="T4" y="T5"/>
                  </a:cxn>
                  <a:cxn ang="0">
                    <a:pos x="T6" y="T7"/>
                  </a:cxn>
                  <a:cxn ang="0">
                    <a:pos x="T8" y="T9"/>
                  </a:cxn>
                </a:cxnLst>
                <a:rect l="0" t="0" r="r" b="b"/>
                <a:pathLst>
                  <a:path w="467" h="1291">
                    <a:moveTo>
                      <a:pt x="0" y="0"/>
                    </a:moveTo>
                    <a:lnTo>
                      <a:pt x="0" y="1023"/>
                    </a:lnTo>
                    <a:lnTo>
                      <a:pt x="465" y="1291"/>
                    </a:lnTo>
                    <a:lnTo>
                      <a:pt x="467" y="268"/>
                    </a:lnTo>
                    <a:lnTo>
                      <a:pt x="0" y="0"/>
                    </a:lnTo>
                    <a:close/>
                  </a:path>
                </a:pathLst>
              </a:custGeom>
              <a:solidFill>
                <a:srgbClr val="F2C06B"/>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36" name="îṩḻíḓe"/>
              <p:cNvSpPr/>
              <p:nvPr/>
            </p:nvSpPr>
            <p:spPr bwMode="auto">
              <a:xfrm>
                <a:off x="4694" y="1715"/>
                <a:ext cx="467" cy="1291"/>
              </a:xfrm>
              <a:custGeom>
                <a:avLst/>
                <a:gdLst>
                  <a:gd name="T0" fmla="*/ 0 w 467"/>
                  <a:gd name="T1" fmla="*/ 0 h 1291"/>
                  <a:gd name="T2" fmla="*/ 0 w 467"/>
                  <a:gd name="T3" fmla="*/ 1023 h 1291"/>
                  <a:gd name="T4" fmla="*/ 465 w 467"/>
                  <a:gd name="T5" fmla="*/ 1291 h 1291"/>
                  <a:gd name="T6" fmla="*/ 467 w 467"/>
                  <a:gd name="T7" fmla="*/ 268 h 1291"/>
                  <a:gd name="T8" fmla="*/ 0 w 467"/>
                  <a:gd name="T9" fmla="*/ 0 h 1291"/>
                </a:gdLst>
                <a:ahLst/>
                <a:cxnLst>
                  <a:cxn ang="0">
                    <a:pos x="T0" y="T1"/>
                  </a:cxn>
                  <a:cxn ang="0">
                    <a:pos x="T2" y="T3"/>
                  </a:cxn>
                  <a:cxn ang="0">
                    <a:pos x="T4" y="T5"/>
                  </a:cxn>
                  <a:cxn ang="0">
                    <a:pos x="T6" y="T7"/>
                  </a:cxn>
                  <a:cxn ang="0">
                    <a:pos x="T8" y="T9"/>
                  </a:cxn>
                </a:cxnLst>
                <a:rect l="0" t="0" r="r" b="b"/>
                <a:pathLst>
                  <a:path w="467" h="1291">
                    <a:moveTo>
                      <a:pt x="0" y="0"/>
                    </a:moveTo>
                    <a:lnTo>
                      <a:pt x="0" y="1023"/>
                    </a:lnTo>
                    <a:lnTo>
                      <a:pt x="465" y="1291"/>
                    </a:lnTo>
                    <a:lnTo>
                      <a:pt x="467" y="26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37" name="ïṣľíďé"/>
              <p:cNvSpPr/>
              <p:nvPr/>
            </p:nvSpPr>
            <p:spPr bwMode="auto">
              <a:xfrm>
                <a:off x="4310" y="2810"/>
                <a:ext cx="42" cy="48"/>
              </a:xfrm>
              <a:custGeom>
                <a:avLst/>
                <a:gdLst>
                  <a:gd name="T0" fmla="*/ 0 w 42"/>
                  <a:gd name="T1" fmla="*/ 0 h 48"/>
                  <a:gd name="T2" fmla="*/ 0 w 42"/>
                  <a:gd name="T3" fmla="*/ 48 h 48"/>
                  <a:gd name="T4" fmla="*/ 42 w 42"/>
                  <a:gd name="T5" fmla="*/ 24 h 48"/>
                  <a:gd name="T6" fmla="*/ 0 w 42"/>
                  <a:gd name="T7" fmla="*/ 0 h 48"/>
                </a:gdLst>
                <a:ahLst/>
                <a:cxnLst>
                  <a:cxn ang="0">
                    <a:pos x="T0" y="T1"/>
                  </a:cxn>
                  <a:cxn ang="0">
                    <a:pos x="T2" y="T3"/>
                  </a:cxn>
                  <a:cxn ang="0">
                    <a:pos x="T4" y="T5"/>
                  </a:cxn>
                  <a:cxn ang="0">
                    <a:pos x="T6" y="T7"/>
                  </a:cxn>
                </a:cxnLst>
                <a:rect l="0" t="0" r="r" b="b"/>
                <a:pathLst>
                  <a:path w="42" h="48">
                    <a:moveTo>
                      <a:pt x="0" y="0"/>
                    </a:moveTo>
                    <a:lnTo>
                      <a:pt x="0" y="48"/>
                    </a:lnTo>
                    <a:lnTo>
                      <a:pt x="42" y="24"/>
                    </a:lnTo>
                    <a:lnTo>
                      <a:pt x="0" y="0"/>
                    </a:lnTo>
                    <a:close/>
                  </a:path>
                </a:pathLst>
              </a:custGeom>
              <a:solidFill>
                <a:srgbClr val="8F959B"/>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38" name="ïṥļíďè"/>
              <p:cNvSpPr/>
              <p:nvPr/>
            </p:nvSpPr>
            <p:spPr bwMode="auto">
              <a:xfrm>
                <a:off x="4310" y="2810"/>
                <a:ext cx="42" cy="48"/>
              </a:xfrm>
              <a:custGeom>
                <a:avLst/>
                <a:gdLst>
                  <a:gd name="T0" fmla="*/ 0 w 42"/>
                  <a:gd name="T1" fmla="*/ 0 h 48"/>
                  <a:gd name="T2" fmla="*/ 0 w 42"/>
                  <a:gd name="T3" fmla="*/ 48 h 48"/>
                  <a:gd name="T4" fmla="*/ 42 w 42"/>
                  <a:gd name="T5" fmla="*/ 24 h 48"/>
                  <a:gd name="T6" fmla="*/ 0 w 42"/>
                  <a:gd name="T7" fmla="*/ 0 h 48"/>
                </a:gdLst>
                <a:ahLst/>
                <a:cxnLst>
                  <a:cxn ang="0">
                    <a:pos x="T0" y="T1"/>
                  </a:cxn>
                  <a:cxn ang="0">
                    <a:pos x="T2" y="T3"/>
                  </a:cxn>
                  <a:cxn ang="0">
                    <a:pos x="T4" y="T5"/>
                  </a:cxn>
                  <a:cxn ang="0">
                    <a:pos x="T6" y="T7"/>
                  </a:cxn>
                </a:cxnLst>
                <a:rect l="0" t="0" r="r" b="b"/>
                <a:pathLst>
                  <a:path w="42" h="48">
                    <a:moveTo>
                      <a:pt x="0" y="0"/>
                    </a:moveTo>
                    <a:lnTo>
                      <a:pt x="0" y="48"/>
                    </a:lnTo>
                    <a:lnTo>
                      <a:pt x="42" y="2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39" name="ïṩḷíḍê"/>
              <p:cNvSpPr/>
              <p:nvPr/>
            </p:nvSpPr>
            <p:spPr bwMode="auto">
              <a:xfrm>
                <a:off x="4310" y="2809"/>
                <a:ext cx="42" cy="25"/>
              </a:xfrm>
              <a:custGeom>
                <a:avLst/>
                <a:gdLst>
                  <a:gd name="T0" fmla="*/ 0 w 42"/>
                  <a:gd name="T1" fmla="*/ 0 h 25"/>
                  <a:gd name="T2" fmla="*/ 0 w 42"/>
                  <a:gd name="T3" fmla="*/ 1 h 25"/>
                  <a:gd name="T4" fmla="*/ 42 w 42"/>
                  <a:gd name="T5" fmla="*/ 25 h 25"/>
                  <a:gd name="T6" fmla="*/ 42 w 42"/>
                  <a:gd name="T7" fmla="*/ 25 h 25"/>
                  <a:gd name="T8" fmla="*/ 0 w 42"/>
                  <a:gd name="T9" fmla="*/ 0 h 25"/>
                </a:gdLst>
                <a:ahLst/>
                <a:cxnLst>
                  <a:cxn ang="0">
                    <a:pos x="T0" y="T1"/>
                  </a:cxn>
                  <a:cxn ang="0">
                    <a:pos x="T2" y="T3"/>
                  </a:cxn>
                  <a:cxn ang="0">
                    <a:pos x="T4" y="T5"/>
                  </a:cxn>
                  <a:cxn ang="0">
                    <a:pos x="T6" y="T7"/>
                  </a:cxn>
                  <a:cxn ang="0">
                    <a:pos x="T8" y="T9"/>
                  </a:cxn>
                </a:cxnLst>
                <a:rect l="0" t="0" r="r" b="b"/>
                <a:pathLst>
                  <a:path w="42" h="25">
                    <a:moveTo>
                      <a:pt x="0" y="0"/>
                    </a:moveTo>
                    <a:lnTo>
                      <a:pt x="0" y="1"/>
                    </a:lnTo>
                    <a:lnTo>
                      <a:pt x="42" y="25"/>
                    </a:lnTo>
                    <a:lnTo>
                      <a:pt x="42" y="25"/>
                    </a:lnTo>
                    <a:lnTo>
                      <a:pt x="0" y="0"/>
                    </a:lnTo>
                    <a:close/>
                  </a:path>
                </a:pathLst>
              </a:custGeom>
              <a:solidFill>
                <a:srgbClr val="B5B5B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40" name="iṥlîdè"/>
              <p:cNvSpPr/>
              <p:nvPr/>
            </p:nvSpPr>
            <p:spPr bwMode="auto">
              <a:xfrm>
                <a:off x="4310" y="2809"/>
                <a:ext cx="42" cy="25"/>
              </a:xfrm>
              <a:custGeom>
                <a:avLst/>
                <a:gdLst>
                  <a:gd name="T0" fmla="*/ 0 w 42"/>
                  <a:gd name="T1" fmla="*/ 0 h 25"/>
                  <a:gd name="T2" fmla="*/ 0 w 42"/>
                  <a:gd name="T3" fmla="*/ 1 h 25"/>
                  <a:gd name="T4" fmla="*/ 42 w 42"/>
                  <a:gd name="T5" fmla="*/ 25 h 25"/>
                  <a:gd name="T6" fmla="*/ 42 w 42"/>
                  <a:gd name="T7" fmla="*/ 25 h 25"/>
                  <a:gd name="T8" fmla="*/ 0 w 42"/>
                  <a:gd name="T9" fmla="*/ 0 h 25"/>
                </a:gdLst>
                <a:ahLst/>
                <a:cxnLst>
                  <a:cxn ang="0">
                    <a:pos x="T0" y="T1"/>
                  </a:cxn>
                  <a:cxn ang="0">
                    <a:pos x="T2" y="T3"/>
                  </a:cxn>
                  <a:cxn ang="0">
                    <a:pos x="T4" y="T5"/>
                  </a:cxn>
                  <a:cxn ang="0">
                    <a:pos x="T6" y="T7"/>
                  </a:cxn>
                  <a:cxn ang="0">
                    <a:pos x="T8" y="T9"/>
                  </a:cxn>
                </a:cxnLst>
                <a:rect l="0" t="0" r="r" b="b"/>
                <a:pathLst>
                  <a:path w="42" h="25">
                    <a:moveTo>
                      <a:pt x="0" y="0"/>
                    </a:moveTo>
                    <a:lnTo>
                      <a:pt x="0" y="1"/>
                    </a:lnTo>
                    <a:lnTo>
                      <a:pt x="42" y="25"/>
                    </a:lnTo>
                    <a:lnTo>
                      <a:pt x="42" y="2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41" name="íṡḷidé"/>
              <p:cNvSpPr/>
              <p:nvPr/>
            </p:nvSpPr>
            <p:spPr bwMode="auto">
              <a:xfrm>
                <a:off x="3956" y="2487"/>
                <a:ext cx="89" cy="115"/>
              </a:xfrm>
              <a:custGeom>
                <a:avLst/>
                <a:gdLst>
                  <a:gd name="T0" fmla="*/ 52 w 52"/>
                  <a:gd name="T1" fmla="*/ 49 h 68"/>
                  <a:gd name="T2" fmla="*/ 26 w 52"/>
                  <a:gd name="T3" fmla="*/ 60 h 68"/>
                  <a:gd name="T4" fmla="*/ 0 w 52"/>
                  <a:gd name="T5" fmla="*/ 19 h 68"/>
                  <a:gd name="T6" fmla="*/ 26 w 52"/>
                  <a:gd name="T7" fmla="*/ 8 h 68"/>
                  <a:gd name="T8" fmla="*/ 52 w 52"/>
                  <a:gd name="T9" fmla="*/ 49 h 68"/>
                </a:gdLst>
                <a:ahLst/>
                <a:cxnLst>
                  <a:cxn ang="0">
                    <a:pos x="T0" y="T1"/>
                  </a:cxn>
                  <a:cxn ang="0">
                    <a:pos x="T2" y="T3"/>
                  </a:cxn>
                  <a:cxn ang="0">
                    <a:pos x="T4" y="T5"/>
                  </a:cxn>
                  <a:cxn ang="0">
                    <a:pos x="T6" y="T7"/>
                  </a:cxn>
                  <a:cxn ang="0">
                    <a:pos x="T8" y="T9"/>
                  </a:cxn>
                </a:cxnLst>
                <a:rect l="0" t="0" r="r" b="b"/>
                <a:pathLst>
                  <a:path w="52" h="68">
                    <a:moveTo>
                      <a:pt x="52" y="49"/>
                    </a:moveTo>
                    <a:cubicBezTo>
                      <a:pt x="52" y="63"/>
                      <a:pt x="41" y="68"/>
                      <a:pt x="26" y="60"/>
                    </a:cubicBezTo>
                    <a:cubicBezTo>
                      <a:pt x="12" y="52"/>
                      <a:pt x="0" y="34"/>
                      <a:pt x="0" y="19"/>
                    </a:cubicBezTo>
                    <a:cubicBezTo>
                      <a:pt x="0" y="5"/>
                      <a:pt x="12" y="0"/>
                      <a:pt x="26" y="8"/>
                    </a:cubicBezTo>
                    <a:cubicBezTo>
                      <a:pt x="41" y="17"/>
                      <a:pt x="52" y="35"/>
                      <a:pt x="52" y="49"/>
                    </a:cubicBezTo>
                    <a:close/>
                  </a:path>
                </a:pathLst>
              </a:custGeom>
              <a:solidFill>
                <a:srgbClr val="A0A7AD"/>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42" name="íŝlídê"/>
              <p:cNvSpPr/>
              <p:nvPr/>
            </p:nvSpPr>
            <p:spPr bwMode="auto">
              <a:xfrm>
                <a:off x="2918" y="385"/>
                <a:ext cx="2262" cy="1501"/>
              </a:xfrm>
              <a:custGeom>
                <a:avLst/>
                <a:gdLst>
                  <a:gd name="T0" fmla="*/ 0 w 2262"/>
                  <a:gd name="T1" fmla="*/ 14 h 1501"/>
                  <a:gd name="T2" fmla="*/ 22 w 2262"/>
                  <a:gd name="T3" fmla="*/ 0 h 1501"/>
                  <a:gd name="T4" fmla="*/ 2262 w 2262"/>
                  <a:gd name="T5" fmla="*/ 1292 h 1501"/>
                  <a:gd name="T6" fmla="*/ 2262 w 2262"/>
                  <a:gd name="T7" fmla="*/ 1488 h 1501"/>
                  <a:gd name="T8" fmla="*/ 2241 w 2262"/>
                  <a:gd name="T9" fmla="*/ 1501 h 1501"/>
                  <a:gd name="T10" fmla="*/ 2241 w 2262"/>
                  <a:gd name="T11" fmla="*/ 1304 h 1501"/>
                  <a:gd name="T12" fmla="*/ 0 w 2262"/>
                  <a:gd name="T13" fmla="*/ 14 h 1501"/>
                </a:gdLst>
                <a:ahLst/>
                <a:cxnLst>
                  <a:cxn ang="0">
                    <a:pos x="T0" y="T1"/>
                  </a:cxn>
                  <a:cxn ang="0">
                    <a:pos x="T2" y="T3"/>
                  </a:cxn>
                  <a:cxn ang="0">
                    <a:pos x="T4" y="T5"/>
                  </a:cxn>
                  <a:cxn ang="0">
                    <a:pos x="T6" y="T7"/>
                  </a:cxn>
                  <a:cxn ang="0">
                    <a:pos x="T8" y="T9"/>
                  </a:cxn>
                  <a:cxn ang="0">
                    <a:pos x="T10" y="T11"/>
                  </a:cxn>
                  <a:cxn ang="0">
                    <a:pos x="T12" y="T13"/>
                  </a:cxn>
                </a:cxnLst>
                <a:rect l="0" t="0" r="r" b="b"/>
                <a:pathLst>
                  <a:path w="2262" h="1501">
                    <a:moveTo>
                      <a:pt x="0" y="14"/>
                    </a:moveTo>
                    <a:lnTo>
                      <a:pt x="22" y="0"/>
                    </a:lnTo>
                    <a:lnTo>
                      <a:pt x="2262" y="1292"/>
                    </a:lnTo>
                    <a:lnTo>
                      <a:pt x="2262" y="1488"/>
                    </a:lnTo>
                    <a:lnTo>
                      <a:pt x="2241" y="1501"/>
                    </a:lnTo>
                    <a:lnTo>
                      <a:pt x="2241" y="1304"/>
                    </a:lnTo>
                    <a:lnTo>
                      <a:pt x="0" y="14"/>
                    </a:lnTo>
                    <a:close/>
                  </a:path>
                </a:pathLst>
              </a:custGeom>
              <a:solidFill>
                <a:srgbClr val="F37C5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43" name="íṩlíde"/>
              <p:cNvSpPr/>
              <p:nvPr/>
            </p:nvSpPr>
            <p:spPr bwMode="auto">
              <a:xfrm>
                <a:off x="2918" y="385"/>
                <a:ext cx="2262" cy="1501"/>
              </a:xfrm>
              <a:custGeom>
                <a:avLst/>
                <a:gdLst>
                  <a:gd name="T0" fmla="*/ 0 w 2262"/>
                  <a:gd name="T1" fmla="*/ 14 h 1501"/>
                  <a:gd name="T2" fmla="*/ 22 w 2262"/>
                  <a:gd name="T3" fmla="*/ 0 h 1501"/>
                  <a:gd name="T4" fmla="*/ 2262 w 2262"/>
                  <a:gd name="T5" fmla="*/ 1292 h 1501"/>
                  <a:gd name="T6" fmla="*/ 2262 w 2262"/>
                  <a:gd name="T7" fmla="*/ 1488 h 1501"/>
                  <a:gd name="T8" fmla="*/ 2241 w 2262"/>
                  <a:gd name="T9" fmla="*/ 1501 h 1501"/>
                  <a:gd name="T10" fmla="*/ 2241 w 2262"/>
                  <a:gd name="T11" fmla="*/ 1304 h 1501"/>
                  <a:gd name="T12" fmla="*/ 0 w 2262"/>
                  <a:gd name="T13" fmla="*/ 14 h 1501"/>
                </a:gdLst>
                <a:ahLst/>
                <a:cxnLst>
                  <a:cxn ang="0">
                    <a:pos x="T0" y="T1"/>
                  </a:cxn>
                  <a:cxn ang="0">
                    <a:pos x="T2" y="T3"/>
                  </a:cxn>
                  <a:cxn ang="0">
                    <a:pos x="T4" y="T5"/>
                  </a:cxn>
                  <a:cxn ang="0">
                    <a:pos x="T6" y="T7"/>
                  </a:cxn>
                  <a:cxn ang="0">
                    <a:pos x="T8" y="T9"/>
                  </a:cxn>
                  <a:cxn ang="0">
                    <a:pos x="T10" y="T11"/>
                  </a:cxn>
                  <a:cxn ang="0">
                    <a:pos x="T12" y="T13"/>
                  </a:cxn>
                </a:cxnLst>
                <a:rect l="0" t="0" r="r" b="b"/>
                <a:pathLst>
                  <a:path w="2262" h="1501">
                    <a:moveTo>
                      <a:pt x="0" y="14"/>
                    </a:moveTo>
                    <a:lnTo>
                      <a:pt x="22" y="0"/>
                    </a:lnTo>
                    <a:lnTo>
                      <a:pt x="2262" y="1292"/>
                    </a:lnTo>
                    <a:lnTo>
                      <a:pt x="2262" y="1488"/>
                    </a:lnTo>
                    <a:lnTo>
                      <a:pt x="2241" y="1501"/>
                    </a:lnTo>
                    <a:lnTo>
                      <a:pt x="2241" y="1304"/>
                    </a:lnTo>
                    <a:lnTo>
                      <a:pt x="0"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44" name="î$ļïďè"/>
              <p:cNvSpPr/>
              <p:nvPr/>
            </p:nvSpPr>
            <p:spPr bwMode="auto">
              <a:xfrm>
                <a:off x="5159" y="1677"/>
                <a:ext cx="21" cy="209"/>
              </a:xfrm>
              <a:custGeom>
                <a:avLst/>
                <a:gdLst>
                  <a:gd name="T0" fmla="*/ 21 w 21"/>
                  <a:gd name="T1" fmla="*/ 0 h 209"/>
                  <a:gd name="T2" fmla="*/ 0 w 21"/>
                  <a:gd name="T3" fmla="*/ 12 h 209"/>
                  <a:gd name="T4" fmla="*/ 0 w 21"/>
                  <a:gd name="T5" fmla="*/ 209 h 209"/>
                  <a:gd name="T6" fmla="*/ 21 w 21"/>
                  <a:gd name="T7" fmla="*/ 196 h 209"/>
                  <a:gd name="T8" fmla="*/ 21 w 21"/>
                  <a:gd name="T9" fmla="*/ 0 h 209"/>
                </a:gdLst>
                <a:ahLst/>
                <a:cxnLst>
                  <a:cxn ang="0">
                    <a:pos x="T0" y="T1"/>
                  </a:cxn>
                  <a:cxn ang="0">
                    <a:pos x="T2" y="T3"/>
                  </a:cxn>
                  <a:cxn ang="0">
                    <a:pos x="T4" y="T5"/>
                  </a:cxn>
                  <a:cxn ang="0">
                    <a:pos x="T6" y="T7"/>
                  </a:cxn>
                  <a:cxn ang="0">
                    <a:pos x="T8" y="T9"/>
                  </a:cxn>
                </a:cxnLst>
                <a:rect l="0" t="0" r="r" b="b"/>
                <a:pathLst>
                  <a:path w="21" h="209">
                    <a:moveTo>
                      <a:pt x="21" y="0"/>
                    </a:moveTo>
                    <a:lnTo>
                      <a:pt x="0" y="12"/>
                    </a:lnTo>
                    <a:lnTo>
                      <a:pt x="0" y="209"/>
                    </a:lnTo>
                    <a:lnTo>
                      <a:pt x="21" y="196"/>
                    </a:lnTo>
                    <a:lnTo>
                      <a:pt x="21" y="0"/>
                    </a:lnTo>
                    <a:close/>
                  </a:path>
                </a:pathLst>
              </a:custGeom>
              <a:solidFill>
                <a:srgbClr val="C7674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45" name="îṩḻidè"/>
              <p:cNvSpPr/>
              <p:nvPr/>
            </p:nvSpPr>
            <p:spPr bwMode="auto">
              <a:xfrm>
                <a:off x="5159" y="1677"/>
                <a:ext cx="21" cy="209"/>
              </a:xfrm>
              <a:custGeom>
                <a:avLst/>
                <a:gdLst>
                  <a:gd name="T0" fmla="*/ 21 w 21"/>
                  <a:gd name="T1" fmla="*/ 0 h 209"/>
                  <a:gd name="T2" fmla="*/ 0 w 21"/>
                  <a:gd name="T3" fmla="*/ 12 h 209"/>
                  <a:gd name="T4" fmla="*/ 0 w 21"/>
                  <a:gd name="T5" fmla="*/ 209 h 209"/>
                  <a:gd name="T6" fmla="*/ 21 w 21"/>
                  <a:gd name="T7" fmla="*/ 196 h 209"/>
                  <a:gd name="T8" fmla="*/ 21 w 21"/>
                  <a:gd name="T9" fmla="*/ 0 h 209"/>
                </a:gdLst>
                <a:ahLst/>
                <a:cxnLst>
                  <a:cxn ang="0">
                    <a:pos x="T0" y="T1"/>
                  </a:cxn>
                  <a:cxn ang="0">
                    <a:pos x="T2" y="T3"/>
                  </a:cxn>
                  <a:cxn ang="0">
                    <a:pos x="T4" y="T5"/>
                  </a:cxn>
                  <a:cxn ang="0">
                    <a:pos x="T6" y="T7"/>
                  </a:cxn>
                  <a:cxn ang="0">
                    <a:pos x="T8" y="T9"/>
                  </a:cxn>
                </a:cxnLst>
                <a:rect l="0" t="0" r="r" b="b"/>
                <a:pathLst>
                  <a:path w="21" h="209">
                    <a:moveTo>
                      <a:pt x="21" y="0"/>
                    </a:moveTo>
                    <a:lnTo>
                      <a:pt x="0" y="12"/>
                    </a:lnTo>
                    <a:lnTo>
                      <a:pt x="0" y="209"/>
                    </a:lnTo>
                    <a:lnTo>
                      <a:pt x="21" y="196"/>
                    </a:lnTo>
                    <a:lnTo>
                      <a:pt x="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46" name="ïSļiḋé"/>
              <p:cNvSpPr/>
              <p:nvPr/>
            </p:nvSpPr>
            <p:spPr bwMode="auto">
              <a:xfrm>
                <a:off x="2791" y="181"/>
                <a:ext cx="27" cy="1573"/>
              </a:xfrm>
              <a:custGeom>
                <a:avLst/>
                <a:gdLst>
                  <a:gd name="T0" fmla="*/ 27 w 27"/>
                  <a:gd name="T1" fmla="*/ 16 h 1573"/>
                  <a:gd name="T2" fmla="*/ 27 w 27"/>
                  <a:gd name="T3" fmla="*/ 1573 h 1573"/>
                  <a:gd name="T4" fmla="*/ 0 w 27"/>
                  <a:gd name="T5" fmla="*/ 1558 h 1573"/>
                  <a:gd name="T6" fmla="*/ 0 w 27"/>
                  <a:gd name="T7" fmla="*/ 0 h 1573"/>
                  <a:gd name="T8" fmla="*/ 27 w 27"/>
                  <a:gd name="T9" fmla="*/ 16 h 1573"/>
                </a:gdLst>
                <a:ahLst/>
                <a:cxnLst>
                  <a:cxn ang="0">
                    <a:pos x="T0" y="T1"/>
                  </a:cxn>
                  <a:cxn ang="0">
                    <a:pos x="T2" y="T3"/>
                  </a:cxn>
                  <a:cxn ang="0">
                    <a:pos x="T4" y="T5"/>
                  </a:cxn>
                  <a:cxn ang="0">
                    <a:pos x="T6" y="T7"/>
                  </a:cxn>
                  <a:cxn ang="0">
                    <a:pos x="T8" y="T9"/>
                  </a:cxn>
                </a:cxnLst>
                <a:rect l="0" t="0" r="r" b="b"/>
                <a:pathLst>
                  <a:path w="27" h="1573">
                    <a:moveTo>
                      <a:pt x="27" y="16"/>
                    </a:moveTo>
                    <a:lnTo>
                      <a:pt x="27" y="1573"/>
                    </a:lnTo>
                    <a:lnTo>
                      <a:pt x="0" y="1558"/>
                    </a:lnTo>
                    <a:lnTo>
                      <a:pt x="0" y="0"/>
                    </a:lnTo>
                    <a:lnTo>
                      <a:pt x="27" y="16"/>
                    </a:lnTo>
                    <a:close/>
                  </a:path>
                </a:pathLst>
              </a:custGeom>
              <a:solidFill>
                <a:srgbClr val="A0A7AD"/>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47" name="ïŝļïďe"/>
              <p:cNvSpPr/>
              <p:nvPr/>
            </p:nvSpPr>
            <p:spPr bwMode="auto">
              <a:xfrm>
                <a:off x="2791" y="1723"/>
                <a:ext cx="2540" cy="1479"/>
              </a:xfrm>
              <a:custGeom>
                <a:avLst/>
                <a:gdLst>
                  <a:gd name="T0" fmla="*/ 27 w 2540"/>
                  <a:gd name="T1" fmla="*/ 0 h 1479"/>
                  <a:gd name="T2" fmla="*/ 2540 w 2540"/>
                  <a:gd name="T3" fmla="*/ 1449 h 1479"/>
                  <a:gd name="T4" fmla="*/ 2540 w 2540"/>
                  <a:gd name="T5" fmla="*/ 1479 h 1479"/>
                  <a:gd name="T6" fmla="*/ 0 w 2540"/>
                  <a:gd name="T7" fmla="*/ 16 h 1479"/>
                  <a:gd name="T8" fmla="*/ 27 w 2540"/>
                  <a:gd name="T9" fmla="*/ 0 h 1479"/>
                </a:gdLst>
                <a:ahLst/>
                <a:cxnLst>
                  <a:cxn ang="0">
                    <a:pos x="T0" y="T1"/>
                  </a:cxn>
                  <a:cxn ang="0">
                    <a:pos x="T2" y="T3"/>
                  </a:cxn>
                  <a:cxn ang="0">
                    <a:pos x="T4" y="T5"/>
                  </a:cxn>
                  <a:cxn ang="0">
                    <a:pos x="T6" y="T7"/>
                  </a:cxn>
                  <a:cxn ang="0">
                    <a:pos x="T8" y="T9"/>
                  </a:cxn>
                </a:cxnLst>
                <a:rect l="0" t="0" r="r" b="b"/>
                <a:pathLst>
                  <a:path w="2540" h="1479">
                    <a:moveTo>
                      <a:pt x="27" y="0"/>
                    </a:moveTo>
                    <a:lnTo>
                      <a:pt x="2540" y="1449"/>
                    </a:lnTo>
                    <a:lnTo>
                      <a:pt x="2540" y="1479"/>
                    </a:lnTo>
                    <a:lnTo>
                      <a:pt x="0" y="16"/>
                    </a:lnTo>
                    <a:lnTo>
                      <a:pt x="27" y="0"/>
                    </a:lnTo>
                    <a:close/>
                  </a:path>
                </a:pathLst>
              </a:custGeom>
              <a:solidFill>
                <a:srgbClr val="A0A7AD"/>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48" name="íṩľïḓê"/>
              <p:cNvSpPr/>
              <p:nvPr/>
            </p:nvSpPr>
            <p:spPr bwMode="auto">
              <a:xfrm>
                <a:off x="2791" y="1723"/>
                <a:ext cx="2540" cy="1479"/>
              </a:xfrm>
              <a:custGeom>
                <a:avLst/>
                <a:gdLst>
                  <a:gd name="T0" fmla="*/ 27 w 2540"/>
                  <a:gd name="T1" fmla="*/ 0 h 1479"/>
                  <a:gd name="T2" fmla="*/ 2540 w 2540"/>
                  <a:gd name="T3" fmla="*/ 1449 h 1479"/>
                  <a:gd name="T4" fmla="*/ 2540 w 2540"/>
                  <a:gd name="T5" fmla="*/ 1479 h 1479"/>
                  <a:gd name="T6" fmla="*/ 0 w 2540"/>
                  <a:gd name="T7" fmla="*/ 16 h 1479"/>
                  <a:gd name="T8" fmla="*/ 27 w 2540"/>
                  <a:gd name="T9" fmla="*/ 0 h 1479"/>
                </a:gdLst>
                <a:ahLst/>
                <a:cxnLst>
                  <a:cxn ang="0">
                    <a:pos x="T0" y="T1"/>
                  </a:cxn>
                  <a:cxn ang="0">
                    <a:pos x="T2" y="T3"/>
                  </a:cxn>
                  <a:cxn ang="0">
                    <a:pos x="T4" y="T5"/>
                  </a:cxn>
                  <a:cxn ang="0">
                    <a:pos x="T6" y="T7"/>
                  </a:cxn>
                  <a:cxn ang="0">
                    <a:pos x="T8" y="T9"/>
                  </a:cxn>
                </a:cxnLst>
                <a:rect l="0" t="0" r="r" b="b"/>
                <a:pathLst>
                  <a:path w="2540" h="1479">
                    <a:moveTo>
                      <a:pt x="27" y="0"/>
                    </a:moveTo>
                    <a:lnTo>
                      <a:pt x="2540" y="1449"/>
                    </a:lnTo>
                    <a:lnTo>
                      <a:pt x="2540" y="1479"/>
                    </a:lnTo>
                    <a:lnTo>
                      <a:pt x="0" y="16"/>
                    </a:lnTo>
                    <a:lnTo>
                      <a:pt x="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49" name="îşľidê"/>
              <p:cNvSpPr/>
              <p:nvPr/>
            </p:nvSpPr>
            <p:spPr bwMode="auto">
              <a:xfrm>
                <a:off x="2918" y="678"/>
                <a:ext cx="488" cy="865"/>
              </a:xfrm>
              <a:custGeom>
                <a:avLst/>
                <a:gdLst>
                  <a:gd name="T0" fmla="*/ 0 w 488"/>
                  <a:gd name="T1" fmla="*/ 12 h 865"/>
                  <a:gd name="T2" fmla="*/ 22 w 488"/>
                  <a:gd name="T3" fmla="*/ 0 h 865"/>
                  <a:gd name="T4" fmla="*/ 486 w 488"/>
                  <a:gd name="T5" fmla="*/ 268 h 865"/>
                  <a:gd name="T6" fmla="*/ 488 w 488"/>
                  <a:gd name="T7" fmla="*/ 854 h 865"/>
                  <a:gd name="T8" fmla="*/ 466 w 488"/>
                  <a:gd name="T9" fmla="*/ 865 h 865"/>
                  <a:gd name="T10" fmla="*/ 466 w 488"/>
                  <a:gd name="T11" fmla="*/ 282 h 865"/>
                  <a:gd name="T12" fmla="*/ 0 w 488"/>
                  <a:gd name="T13" fmla="*/ 12 h 865"/>
                </a:gdLst>
                <a:ahLst/>
                <a:cxnLst>
                  <a:cxn ang="0">
                    <a:pos x="T0" y="T1"/>
                  </a:cxn>
                  <a:cxn ang="0">
                    <a:pos x="T2" y="T3"/>
                  </a:cxn>
                  <a:cxn ang="0">
                    <a:pos x="T4" y="T5"/>
                  </a:cxn>
                  <a:cxn ang="0">
                    <a:pos x="T6" y="T7"/>
                  </a:cxn>
                  <a:cxn ang="0">
                    <a:pos x="T8" y="T9"/>
                  </a:cxn>
                  <a:cxn ang="0">
                    <a:pos x="T10" y="T11"/>
                  </a:cxn>
                  <a:cxn ang="0">
                    <a:pos x="T12" y="T13"/>
                  </a:cxn>
                </a:cxnLst>
                <a:rect l="0" t="0" r="r" b="b"/>
                <a:pathLst>
                  <a:path w="488" h="865">
                    <a:moveTo>
                      <a:pt x="0" y="12"/>
                    </a:moveTo>
                    <a:lnTo>
                      <a:pt x="22" y="0"/>
                    </a:lnTo>
                    <a:lnTo>
                      <a:pt x="486" y="268"/>
                    </a:lnTo>
                    <a:lnTo>
                      <a:pt x="488" y="854"/>
                    </a:lnTo>
                    <a:lnTo>
                      <a:pt x="466" y="865"/>
                    </a:lnTo>
                    <a:lnTo>
                      <a:pt x="466" y="282"/>
                    </a:lnTo>
                    <a:lnTo>
                      <a:pt x="0" y="12"/>
                    </a:lnTo>
                    <a:close/>
                  </a:path>
                </a:pathLst>
              </a:custGeom>
              <a:solidFill>
                <a:srgbClr val="5CD2D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50" name="îṩľíḍé"/>
              <p:cNvSpPr/>
              <p:nvPr/>
            </p:nvSpPr>
            <p:spPr bwMode="auto">
              <a:xfrm>
                <a:off x="2918" y="678"/>
                <a:ext cx="488" cy="865"/>
              </a:xfrm>
              <a:custGeom>
                <a:avLst/>
                <a:gdLst>
                  <a:gd name="T0" fmla="*/ 0 w 488"/>
                  <a:gd name="T1" fmla="*/ 12 h 865"/>
                  <a:gd name="T2" fmla="*/ 22 w 488"/>
                  <a:gd name="T3" fmla="*/ 0 h 865"/>
                  <a:gd name="T4" fmla="*/ 486 w 488"/>
                  <a:gd name="T5" fmla="*/ 268 h 865"/>
                  <a:gd name="T6" fmla="*/ 488 w 488"/>
                  <a:gd name="T7" fmla="*/ 854 h 865"/>
                  <a:gd name="T8" fmla="*/ 466 w 488"/>
                  <a:gd name="T9" fmla="*/ 865 h 865"/>
                  <a:gd name="T10" fmla="*/ 466 w 488"/>
                  <a:gd name="T11" fmla="*/ 282 h 865"/>
                  <a:gd name="T12" fmla="*/ 0 w 488"/>
                  <a:gd name="T13" fmla="*/ 12 h 865"/>
                </a:gdLst>
                <a:ahLst/>
                <a:cxnLst>
                  <a:cxn ang="0">
                    <a:pos x="T0" y="T1"/>
                  </a:cxn>
                  <a:cxn ang="0">
                    <a:pos x="T2" y="T3"/>
                  </a:cxn>
                  <a:cxn ang="0">
                    <a:pos x="T4" y="T5"/>
                  </a:cxn>
                  <a:cxn ang="0">
                    <a:pos x="T6" y="T7"/>
                  </a:cxn>
                  <a:cxn ang="0">
                    <a:pos x="T8" y="T9"/>
                  </a:cxn>
                  <a:cxn ang="0">
                    <a:pos x="T10" y="T11"/>
                  </a:cxn>
                  <a:cxn ang="0">
                    <a:pos x="T12" y="T13"/>
                  </a:cxn>
                </a:cxnLst>
                <a:rect l="0" t="0" r="r" b="b"/>
                <a:pathLst>
                  <a:path w="488" h="865">
                    <a:moveTo>
                      <a:pt x="0" y="12"/>
                    </a:moveTo>
                    <a:lnTo>
                      <a:pt x="22" y="0"/>
                    </a:lnTo>
                    <a:lnTo>
                      <a:pt x="486" y="268"/>
                    </a:lnTo>
                    <a:lnTo>
                      <a:pt x="488" y="854"/>
                    </a:lnTo>
                    <a:lnTo>
                      <a:pt x="466" y="865"/>
                    </a:lnTo>
                    <a:lnTo>
                      <a:pt x="466" y="282"/>
                    </a:lnTo>
                    <a:lnTo>
                      <a:pt x="0"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51" name="îśļïḍê"/>
              <p:cNvSpPr/>
              <p:nvPr/>
            </p:nvSpPr>
            <p:spPr bwMode="auto">
              <a:xfrm>
                <a:off x="3384" y="946"/>
                <a:ext cx="22" cy="597"/>
              </a:xfrm>
              <a:custGeom>
                <a:avLst/>
                <a:gdLst>
                  <a:gd name="T0" fmla="*/ 20 w 22"/>
                  <a:gd name="T1" fmla="*/ 0 h 597"/>
                  <a:gd name="T2" fmla="*/ 0 w 22"/>
                  <a:gd name="T3" fmla="*/ 14 h 597"/>
                  <a:gd name="T4" fmla="*/ 0 w 22"/>
                  <a:gd name="T5" fmla="*/ 597 h 597"/>
                  <a:gd name="T6" fmla="*/ 22 w 22"/>
                  <a:gd name="T7" fmla="*/ 586 h 597"/>
                  <a:gd name="T8" fmla="*/ 20 w 22"/>
                  <a:gd name="T9" fmla="*/ 0 h 597"/>
                </a:gdLst>
                <a:ahLst/>
                <a:cxnLst>
                  <a:cxn ang="0">
                    <a:pos x="T0" y="T1"/>
                  </a:cxn>
                  <a:cxn ang="0">
                    <a:pos x="T2" y="T3"/>
                  </a:cxn>
                  <a:cxn ang="0">
                    <a:pos x="T4" y="T5"/>
                  </a:cxn>
                  <a:cxn ang="0">
                    <a:pos x="T6" y="T7"/>
                  </a:cxn>
                  <a:cxn ang="0">
                    <a:pos x="T8" y="T9"/>
                  </a:cxn>
                </a:cxnLst>
                <a:rect l="0" t="0" r="r" b="b"/>
                <a:pathLst>
                  <a:path w="22" h="597">
                    <a:moveTo>
                      <a:pt x="20" y="0"/>
                    </a:moveTo>
                    <a:lnTo>
                      <a:pt x="0" y="14"/>
                    </a:lnTo>
                    <a:lnTo>
                      <a:pt x="0" y="597"/>
                    </a:lnTo>
                    <a:lnTo>
                      <a:pt x="22" y="586"/>
                    </a:lnTo>
                    <a:lnTo>
                      <a:pt x="20" y="0"/>
                    </a:lnTo>
                    <a:close/>
                  </a:path>
                </a:pathLst>
              </a:custGeom>
              <a:solidFill>
                <a:srgbClr val="4BAEA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52" name="í$lîḍè"/>
              <p:cNvSpPr/>
              <p:nvPr/>
            </p:nvSpPr>
            <p:spPr bwMode="auto">
              <a:xfrm>
                <a:off x="3384" y="946"/>
                <a:ext cx="22" cy="597"/>
              </a:xfrm>
              <a:custGeom>
                <a:avLst/>
                <a:gdLst>
                  <a:gd name="T0" fmla="*/ 20 w 22"/>
                  <a:gd name="T1" fmla="*/ 0 h 597"/>
                  <a:gd name="T2" fmla="*/ 0 w 22"/>
                  <a:gd name="T3" fmla="*/ 14 h 597"/>
                  <a:gd name="T4" fmla="*/ 0 w 22"/>
                  <a:gd name="T5" fmla="*/ 597 h 597"/>
                  <a:gd name="T6" fmla="*/ 22 w 22"/>
                  <a:gd name="T7" fmla="*/ 586 h 597"/>
                  <a:gd name="T8" fmla="*/ 20 w 22"/>
                  <a:gd name="T9" fmla="*/ 0 h 597"/>
                </a:gdLst>
                <a:ahLst/>
                <a:cxnLst>
                  <a:cxn ang="0">
                    <a:pos x="T0" y="T1"/>
                  </a:cxn>
                  <a:cxn ang="0">
                    <a:pos x="T2" y="T3"/>
                  </a:cxn>
                  <a:cxn ang="0">
                    <a:pos x="T4" y="T5"/>
                  </a:cxn>
                  <a:cxn ang="0">
                    <a:pos x="T6" y="T7"/>
                  </a:cxn>
                  <a:cxn ang="0">
                    <a:pos x="T8" y="T9"/>
                  </a:cxn>
                </a:cxnLst>
                <a:rect l="0" t="0" r="r" b="b"/>
                <a:pathLst>
                  <a:path w="22" h="597">
                    <a:moveTo>
                      <a:pt x="20" y="0"/>
                    </a:moveTo>
                    <a:lnTo>
                      <a:pt x="0" y="14"/>
                    </a:lnTo>
                    <a:lnTo>
                      <a:pt x="0" y="597"/>
                    </a:lnTo>
                    <a:lnTo>
                      <a:pt x="22" y="586"/>
                    </a:lnTo>
                    <a:lnTo>
                      <a:pt x="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53" name="îšlíḑè"/>
              <p:cNvSpPr/>
              <p:nvPr/>
            </p:nvSpPr>
            <p:spPr bwMode="auto">
              <a:xfrm>
                <a:off x="2918" y="678"/>
                <a:ext cx="486" cy="282"/>
              </a:xfrm>
              <a:custGeom>
                <a:avLst/>
                <a:gdLst>
                  <a:gd name="T0" fmla="*/ 22 w 486"/>
                  <a:gd name="T1" fmla="*/ 0 h 282"/>
                  <a:gd name="T2" fmla="*/ 0 w 486"/>
                  <a:gd name="T3" fmla="*/ 12 h 282"/>
                  <a:gd name="T4" fmla="*/ 466 w 486"/>
                  <a:gd name="T5" fmla="*/ 282 h 282"/>
                  <a:gd name="T6" fmla="*/ 486 w 486"/>
                  <a:gd name="T7" fmla="*/ 268 h 282"/>
                  <a:gd name="T8" fmla="*/ 22 w 486"/>
                  <a:gd name="T9" fmla="*/ 0 h 282"/>
                </a:gdLst>
                <a:ahLst/>
                <a:cxnLst>
                  <a:cxn ang="0">
                    <a:pos x="T0" y="T1"/>
                  </a:cxn>
                  <a:cxn ang="0">
                    <a:pos x="T2" y="T3"/>
                  </a:cxn>
                  <a:cxn ang="0">
                    <a:pos x="T4" y="T5"/>
                  </a:cxn>
                  <a:cxn ang="0">
                    <a:pos x="T6" y="T7"/>
                  </a:cxn>
                  <a:cxn ang="0">
                    <a:pos x="T8" y="T9"/>
                  </a:cxn>
                </a:cxnLst>
                <a:rect l="0" t="0" r="r" b="b"/>
                <a:pathLst>
                  <a:path w="486" h="282">
                    <a:moveTo>
                      <a:pt x="22" y="0"/>
                    </a:moveTo>
                    <a:lnTo>
                      <a:pt x="0" y="12"/>
                    </a:lnTo>
                    <a:lnTo>
                      <a:pt x="466" y="282"/>
                    </a:lnTo>
                    <a:lnTo>
                      <a:pt x="486" y="268"/>
                    </a:lnTo>
                    <a:lnTo>
                      <a:pt x="22" y="0"/>
                    </a:lnTo>
                    <a:close/>
                  </a:path>
                </a:pathLst>
              </a:custGeom>
              <a:solidFill>
                <a:srgbClr val="9FE5E5"/>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54" name="iṧḷiḑe"/>
              <p:cNvSpPr/>
              <p:nvPr/>
            </p:nvSpPr>
            <p:spPr bwMode="auto">
              <a:xfrm>
                <a:off x="2918" y="678"/>
                <a:ext cx="486" cy="282"/>
              </a:xfrm>
              <a:custGeom>
                <a:avLst/>
                <a:gdLst>
                  <a:gd name="T0" fmla="*/ 22 w 486"/>
                  <a:gd name="T1" fmla="*/ 0 h 282"/>
                  <a:gd name="T2" fmla="*/ 0 w 486"/>
                  <a:gd name="T3" fmla="*/ 12 h 282"/>
                  <a:gd name="T4" fmla="*/ 466 w 486"/>
                  <a:gd name="T5" fmla="*/ 282 h 282"/>
                  <a:gd name="T6" fmla="*/ 486 w 486"/>
                  <a:gd name="T7" fmla="*/ 268 h 282"/>
                  <a:gd name="T8" fmla="*/ 22 w 486"/>
                  <a:gd name="T9" fmla="*/ 0 h 282"/>
                </a:gdLst>
                <a:ahLst/>
                <a:cxnLst>
                  <a:cxn ang="0">
                    <a:pos x="T0" y="T1"/>
                  </a:cxn>
                  <a:cxn ang="0">
                    <a:pos x="T2" y="T3"/>
                  </a:cxn>
                  <a:cxn ang="0">
                    <a:pos x="T4" y="T5"/>
                  </a:cxn>
                  <a:cxn ang="0">
                    <a:pos x="T6" y="T7"/>
                  </a:cxn>
                  <a:cxn ang="0">
                    <a:pos x="T8" y="T9"/>
                  </a:cxn>
                </a:cxnLst>
                <a:rect l="0" t="0" r="r" b="b"/>
                <a:pathLst>
                  <a:path w="486" h="282">
                    <a:moveTo>
                      <a:pt x="22" y="0"/>
                    </a:moveTo>
                    <a:lnTo>
                      <a:pt x="0" y="12"/>
                    </a:lnTo>
                    <a:lnTo>
                      <a:pt x="466" y="282"/>
                    </a:lnTo>
                    <a:lnTo>
                      <a:pt x="486" y="268"/>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55" name="ïş1ïḑé"/>
              <p:cNvSpPr/>
              <p:nvPr/>
            </p:nvSpPr>
            <p:spPr bwMode="auto">
              <a:xfrm>
                <a:off x="3467" y="1019"/>
                <a:ext cx="530" cy="891"/>
              </a:xfrm>
              <a:custGeom>
                <a:avLst/>
                <a:gdLst>
                  <a:gd name="T0" fmla="*/ 0 w 530"/>
                  <a:gd name="T1" fmla="*/ 38 h 891"/>
                  <a:gd name="T2" fmla="*/ 65 w 530"/>
                  <a:gd name="T3" fmla="*/ 0 h 891"/>
                  <a:gd name="T4" fmla="*/ 530 w 530"/>
                  <a:gd name="T5" fmla="*/ 268 h 891"/>
                  <a:gd name="T6" fmla="*/ 528 w 530"/>
                  <a:gd name="T7" fmla="*/ 854 h 891"/>
                  <a:gd name="T8" fmla="*/ 466 w 530"/>
                  <a:gd name="T9" fmla="*/ 891 h 891"/>
                  <a:gd name="T10" fmla="*/ 466 w 530"/>
                  <a:gd name="T11" fmla="*/ 306 h 891"/>
                  <a:gd name="T12" fmla="*/ 0 w 530"/>
                  <a:gd name="T13" fmla="*/ 38 h 891"/>
                </a:gdLst>
                <a:ahLst/>
                <a:cxnLst>
                  <a:cxn ang="0">
                    <a:pos x="T0" y="T1"/>
                  </a:cxn>
                  <a:cxn ang="0">
                    <a:pos x="T2" y="T3"/>
                  </a:cxn>
                  <a:cxn ang="0">
                    <a:pos x="T4" y="T5"/>
                  </a:cxn>
                  <a:cxn ang="0">
                    <a:pos x="T6" y="T7"/>
                  </a:cxn>
                  <a:cxn ang="0">
                    <a:pos x="T8" y="T9"/>
                  </a:cxn>
                  <a:cxn ang="0">
                    <a:pos x="T10" y="T11"/>
                  </a:cxn>
                  <a:cxn ang="0">
                    <a:pos x="T12" y="T13"/>
                  </a:cxn>
                </a:cxnLst>
                <a:rect l="0" t="0" r="r" b="b"/>
                <a:pathLst>
                  <a:path w="530" h="891">
                    <a:moveTo>
                      <a:pt x="0" y="38"/>
                    </a:moveTo>
                    <a:lnTo>
                      <a:pt x="65" y="0"/>
                    </a:lnTo>
                    <a:lnTo>
                      <a:pt x="530" y="268"/>
                    </a:lnTo>
                    <a:lnTo>
                      <a:pt x="528" y="854"/>
                    </a:lnTo>
                    <a:lnTo>
                      <a:pt x="466" y="891"/>
                    </a:lnTo>
                    <a:lnTo>
                      <a:pt x="466" y="306"/>
                    </a:lnTo>
                    <a:lnTo>
                      <a:pt x="0" y="38"/>
                    </a:lnTo>
                    <a:close/>
                  </a:path>
                </a:pathLst>
              </a:custGeom>
              <a:solidFill>
                <a:srgbClr val="20AAE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56" name="iṥlïdé"/>
              <p:cNvSpPr/>
              <p:nvPr/>
            </p:nvSpPr>
            <p:spPr bwMode="auto">
              <a:xfrm>
                <a:off x="3467" y="1019"/>
                <a:ext cx="530" cy="891"/>
              </a:xfrm>
              <a:custGeom>
                <a:avLst/>
                <a:gdLst>
                  <a:gd name="T0" fmla="*/ 0 w 530"/>
                  <a:gd name="T1" fmla="*/ 38 h 891"/>
                  <a:gd name="T2" fmla="*/ 65 w 530"/>
                  <a:gd name="T3" fmla="*/ 0 h 891"/>
                  <a:gd name="T4" fmla="*/ 530 w 530"/>
                  <a:gd name="T5" fmla="*/ 268 h 891"/>
                  <a:gd name="T6" fmla="*/ 528 w 530"/>
                  <a:gd name="T7" fmla="*/ 854 h 891"/>
                  <a:gd name="T8" fmla="*/ 466 w 530"/>
                  <a:gd name="T9" fmla="*/ 891 h 891"/>
                  <a:gd name="T10" fmla="*/ 466 w 530"/>
                  <a:gd name="T11" fmla="*/ 306 h 891"/>
                  <a:gd name="T12" fmla="*/ 0 w 530"/>
                  <a:gd name="T13" fmla="*/ 38 h 891"/>
                </a:gdLst>
                <a:ahLst/>
                <a:cxnLst>
                  <a:cxn ang="0">
                    <a:pos x="T0" y="T1"/>
                  </a:cxn>
                  <a:cxn ang="0">
                    <a:pos x="T2" y="T3"/>
                  </a:cxn>
                  <a:cxn ang="0">
                    <a:pos x="T4" y="T5"/>
                  </a:cxn>
                  <a:cxn ang="0">
                    <a:pos x="T6" y="T7"/>
                  </a:cxn>
                  <a:cxn ang="0">
                    <a:pos x="T8" y="T9"/>
                  </a:cxn>
                  <a:cxn ang="0">
                    <a:pos x="T10" y="T11"/>
                  </a:cxn>
                  <a:cxn ang="0">
                    <a:pos x="T12" y="T13"/>
                  </a:cxn>
                </a:cxnLst>
                <a:rect l="0" t="0" r="r" b="b"/>
                <a:pathLst>
                  <a:path w="530" h="891">
                    <a:moveTo>
                      <a:pt x="0" y="38"/>
                    </a:moveTo>
                    <a:lnTo>
                      <a:pt x="65" y="0"/>
                    </a:lnTo>
                    <a:lnTo>
                      <a:pt x="530" y="268"/>
                    </a:lnTo>
                    <a:lnTo>
                      <a:pt x="528" y="854"/>
                    </a:lnTo>
                    <a:lnTo>
                      <a:pt x="466" y="891"/>
                    </a:lnTo>
                    <a:lnTo>
                      <a:pt x="466" y="306"/>
                    </a:lnTo>
                    <a:lnTo>
                      <a:pt x="0" y="3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57" name="îś1íḑé"/>
              <p:cNvSpPr/>
              <p:nvPr/>
            </p:nvSpPr>
            <p:spPr bwMode="auto">
              <a:xfrm>
                <a:off x="3467" y="1019"/>
                <a:ext cx="530" cy="306"/>
              </a:xfrm>
              <a:custGeom>
                <a:avLst/>
                <a:gdLst>
                  <a:gd name="T0" fmla="*/ 0 w 530"/>
                  <a:gd name="T1" fmla="*/ 38 h 306"/>
                  <a:gd name="T2" fmla="*/ 65 w 530"/>
                  <a:gd name="T3" fmla="*/ 0 h 306"/>
                  <a:gd name="T4" fmla="*/ 530 w 530"/>
                  <a:gd name="T5" fmla="*/ 268 h 306"/>
                  <a:gd name="T6" fmla="*/ 466 w 530"/>
                  <a:gd name="T7" fmla="*/ 306 h 306"/>
                  <a:gd name="T8" fmla="*/ 0 w 530"/>
                  <a:gd name="T9" fmla="*/ 38 h 306"/>
                </a:gdLst>
                <a:ahLst/>
                <a:cxnLst>
                  <a:cxn ang="0">
                    <a:pos x="T0" y="T1"/>
                  </a:cxn>
                  <a:cxn ang="0">
                    <a:pos x="T2" y="T3"/>
                  </a:cxn>
                  <a:cxn ang="0">
                    <a:pos x="T4" y="T5"/>
                  </a:cxn>
                  <a:cxn ang="0">
                    <a:pos x="T6" y="T7"/>
                  </a:cxn>
                  <a:cxn ang="0">
                    <a:pos x="T8" y="T9"/>
                  </a:cxn>
                </a:cxnLst>
                <a:rect l="0" t="0" r="r" b="b"/>
                <a:pathLst>
                  <a:path w="530" h="306">
                    <a:moveTo>
                      <a:pt x="0" y="38"/>
                    </a:moveTo>
                    <a:lnTo>
                      <a:pt x="65" y="0"/>
                    </a:lnTo>
                    <a:lnTo>
                      <a:pt x="530" y="268"/>
                    </a:lnTo>
                    <a:lnTo>
                      <a:pt x="466" y="306"/>
                    </a:lnTo>
                    <a:lnTo>
                      <a:pt x="0" y="38"/>
                    </a:lnTo>
                    <a:close/>
                  </a:path>
                </a:pathLst>
              </a:custGeom>
              <a:solidFill>
                <a:srgbClr val="CF3A5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58" name="îşļiḍe"/>
              <p:cNvSpPr/>
              <p:nvPr/>
            </p:nvSpPr>
            <p:spPr bwMode="auto">
              <a:xfrm>
                <a:off x="3467" y="1019"/>
                <a:ext cx="530" cy="306"/>
              </a:xfrm>
              <a:custGeom>
                <a:avLst/>
                <a:gdLst>
                  <a:gd name="T0" fmla="*/ 0 w 530"/>
                  <a:gd name="T1" fmla="*/ 38 h 306"/>
                  <a:gd name="T2" fmla="*/ 65 w 530"/>
                  <a:gd name="T3" fmla="*/ 0 h 306"/>
                  <a:gd name="T4" fmla="*/ 530 w 530"/>
                  <a:gd name="T5" fmla="*/ 268 h 306"/>
                  <a:gd name="T6" fmla="*/ 466 w 530"/>
                  <a:gd name="T7" fmla="*/ 306 h 306"/>
                  <a:gd name="T8" fmla="*/ 0 w 530"/>
                  <a:gd name="T9" fmla="*/ 38 h 306"/>
                </a:gdLst>
                <a:ahLst/>
                <a:cxnLst>
                  <a:cxn ang="0">
                    <a:pos x="T0" y="T1"/>
                  </a:cxn>
                  <a:cxn ang="0">
                    <a:pos x="T2" y="T3"/>
                  </a:cxn>
                  <a:cxn ang="0">
                    <a:pos x="T4" y="T5"/>
                  </a:cxn>
                  <a:cxn ang="0">
                    <a:pos x="T6" y="T7"/>
                  </a:cxn>
                  <a:cxn ang="0">
                    <a:pos x="T8" y="T9"/>
                  </a:cxn>
                </a:cxnLst>
                <a:rect l="0" t="0" r="r" b="b"/>
                <a:pathLst>
                  <a:path w="530" h="306">
                    <a:moveTo>
                      <a:pt x="0" y="38"/>
                    </a:moveTo>
                    <a:lnTo>
                      <a:pt x="65" y="0"/>
                    </a:lnTo>
                    <a:lnTo>
                      <a:pt x="530" y="268"/>
                    </a:lnTo>
                    <a:lnTo>
                      <a:pt x="466" y="306"/>
                    </a:lnTo>
                    <a:lnTo>
                      <a:pt x="0" y="3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59" name="îsḻïḋé"/>
              <p:cNvSpPr/>
              <p:nvPr/>
            </p:nvSpPr>
            <p:spPr bwMode="auto">
              <a:xfrm>
                <a:off x="3467" y="1019"/>
                <a:ext cx="530" cy="306"/>
              </a:xfrm>
              <a:custGeom>
                <a:avLst/>
                <a:gdLst>
                  <a:gd name="T0" fmla="*/ 65 w 530"/>
                  <a:gd name="T1" fmla="*/ 0 h 306"/>
                  <a:gd name="T2" fmla="*/ 0 w 530"/>
                  <a:gd name="T3" fmla="*/ 38 h 306"/>
                  <a:gd name="T4" fmla="*/ 466 w 530"/>
                  <a:gd name="T5" fmla="*/ 306 h 306"/>
                  <a:gd name="T6" fmla="*/ 530 w 530"/>
                  <a:gd name="T7" fmla="*/ 268 h 306"/>
                  <a:gd name="T8" fmla="*/ 65 w 530"/>
                  <a:gd name="T9" fmla="*/ 0 h 306"/>
                </a:gdLst>
                <a:ahLst/>
                <a:cxnLst>
                  <a:cxn ang="0">
                    <a:pos x="T0" y="T1"/>
                  </a:cxn>
                  <a:cxn ang="0">
                    <a:pos x="T2" y="T3"/>
                  </a:cxn>
                  <a:cxn ang="0">
                    <a:pos x="T4" y="T5"/>
                  </a:cxn>
                  <a:cxn ang="0">
                    <a:pos x="T6" y="T7"/>
                  </a:cxn>
                  <a:cxn ang="0">
                    <a:pos x="T8" y="T9"/>
                  </a:cxn>
                </a:cxnLst>
                <a:rect l="0" t="0" r="r" b="b"/>
                <a:pathLst>
                  <a:path w="530" h="306">
                    <a:moveTo>
                      <a:pt x="65" y="0"/>
                    </a:moveTo>
                    <a:lnTo>
                      <a:pt x="0" y="38"/>
                    </a:lnTo>
                    <a:lnTo>
                      <a:pt x="466" y="306"/>
                    </a:lnTo>
                    <a:lnTo>
                      <a:pt x="530" y="268"/>
                    </a:lnTo>
                    <a:lnTo>
                      <a:pt x="65" y="0"/>
                    </a:lnTo>
                    <a:close/>
                  </a:path>
                </a:pathLst>
              </a:custGeom>
              <a:solidFill>
                <a:srgbClr val="F6678A"/>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60" name="ïŝḷídè"/>
              <p:cNvSpPr/>
              <p:nvPr/>
            </p:nvSpPr>
            <p:spPr bwMode="auto">
              <a:xfrm>
                <a:off x="3467" y="1019"/>
                <a:ext cx="530" cy="306"/>
              </a:xfrm>
              <a:custGeom>
                <a:avLst/>
                <a:gdLst>
                  <a:gd name="T0" fmla="*/ 65 w 530"/>
                  <a:gd name="T1" fmla="*/ 0 h 306"/>
                  <a:gd name="T2" fmla="*/ 0 w 530"/>
                  <a:gd name="T3" fmla="*/ 38 h 306"/>
                  <a:gd name="T4" fmla="*/ 466 w 530"/>
                  <a:gd name="T5" fmla="*/ 306 h 306"/>
                  <a:gd name="T6" fmla="*/ 530 w 530"/>
                  <a:gd name="T7" fmla="*/ 268 h 306"/>
                  <a:gd name="T8" fmla="*/ 65 w 530"/>
                  <a:gd name="T9" fmla="*/ 0 h 306"/>
                </a:gdLst>
                <a:ahLst/>
                <a:cxnLst>
                  <a:cxn ang="0">
                    <a:pos x="T0" y="T1"/>
                  </a:cxn>
                  <a:cxn ang="0">
                    <a:pos x="T2" y="T3"/>
                  </a:cxn>
                  <a:cxn ang="0">
                    <a:pos x="T4" y="T5"/>
                  </a:cxn>
                  <a:cxn ang="0">
                    <a:pos x="T6" y="T7"/>
                  </a:cxn>
                  <a:cxn ang="0">
                    <a:pos x="T8" y="T9"/>
                  </a:cxn>
                </a:cxnLst>
                <a:rect l="0" t="0" r="r" b="b"/>
                <a:pathLst>
                  <a:path w="530" h="306">
                    <a:moveTo>
                      <a:pt x="65" y="0"/>
                    </a:moveTo>
                    <a:lnTo>
                      <a:pt x="0" y="38"/>
                    </a:lnTo>
                    <a:lnTo>
                      <a:pt x="466" y="306"/>
                    </a:lnTo>
                    <a:lnTo>
                      <a:pt x="530" y="268"/>
                    </a:lnTo>
                    <a:lnTo>
                      <a:pt x="6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61" name="ïṥļîḍê"/>
              <p:cNvSpPr/>
              <p:nvPr/>
            </p:nvSpPr>
            <p:spPr bwMode="auto">
              <a:xfrm>
                <a:off x="3933" y="1287"/>
                <a:ext cx="64" cy="623"/>
              </a:xfrm>
              <a:custGeom>
                <a:avLst/>
                <a:gdLst>
                  <a:gd name="T0" fmla="*/ 64 w 64"/>
                  <a:gd name="T1" fmla="*/ 0 h 623"/>
                  <a:gd name="T2" fmla="*/ 62 w 64"/>
                  <a:gd name="T3" fmla="*/ 586 h 623"/>
                  <a:gd name="T4" fmla="*/ 0 w 64"/>
                  <a:gd name="T5" fmla="*/ 623 h 623"/>
                  <a:gd name="T6" fmla="*/ 0 w 64"/>
                  <a:gd name="T7" fmla="*/ 38 h 623"/>
                  <a:gd name="T8" fmla="*/ 64 w 64"/>
                  <a:gd name="T9" fmla="*/ 0 h 623"/>
                </a:gdLst>
                <a:ahLst/>
                <a:cxnLst>
                  <a:cxn ang="0">
                    <a:pos x="T0" y="T1"/>
                  </a:cxn>
                  <a:cxn ang="0">
                    <a:pos x="T2" y="T3"/>
                  </a:cxn>
                  <a:cxn ang="0">
                    <a:pos x="T4" y="T5"/>
                  </a:cxn>
                  <a:cxn ang="0">
                    <a:pos x="T6" y="T7"/>
                  </a:cxn>
                  <a:cxn ang="0">
                    <a:pos x="T8" y="T9"/>
                  </a:cxn>
                </a:cxnLst>
                <a:rect l="0" t="0" r="r" b="b"/>
                <a:pathLst>
                  <a:path w="64" h="623">
                    <a:moveTo>
                      <a:pt x="64" y="0"/>
                    </a:moveTo>
                    <a:lnTo>
                      <a:pt x="62" y="586"/>
                    </a:lnTo>
                    <a:lnTo>
                      <a:pt x="0" y="623"/>
                    </a:lnTo>
                    <a:lnTo>
                      <a:pt x="0" y="38"/>
                    </a:lnTo>
                    <a:lnTo>
                      <a:pt x="64" y="0"/>
                    </a:lnTo>
                    <a:close/>
                  </a:path>
                </a:pathLst>
              </a:custGeom>
              <a:solidFill>
                <a:srgbClr val="CF3A5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62" name="iŝḻïďe"/>
              <p:cNvSpPr/>
              <p:nvPr/>
            </p:nvSpPr>
            <p:spPr bwMode="auto">
              <a:xfrm>
                <a:off x="4101" y="1360"/>
                <a:ext cx="487" cy="865"/>
              </a:xfrm>
              <a:custGeom>
                <a:avLst/>
                <a:gdLst>
                  <a:gd name="T0" fmla="*/ 0 w 487"/>
                  <a:gd name="T1" fmla="*/ 12 h 865"/>
                  <a:gd name="T2" fmla="*/ 22 w 487"/>
                  <a:gd name="T3" fmla="*/ 0 h 865"/>
                  <a:gd name="T4" fmla="*/ 487 w 487"/>
                  <a:gd name="T5" fmla="*/ 268 h 865"/>
                  <a:gd name="T6" fmla="*/ 487 w 487"/>
                  <a:gd name="T7" fmla="*/ 853 h 865"/>
                  <a:gd name="T8" fmla="*/ 465 w 487"/>
                  <a:gd name="T9" fmla="*/ 865 h 865"/>
                  <a:gd name="T10" fmla="*/ 467 w 487"/>
                  <a:gd name="T11" fmla="*/ 282 h 865"/>
                  <a:gd name="T12" fmla="*/ 0 w 487"/>
                  <a:gd name="T13" fmla="*/ 12 h 865"/>
                </a:gdLst>
                <a:ahLst/>
                <a:cxnLst>
                  <a:cxn ang="0">
                    <a:pos x="T0" y="T1"/>
                  </a:cxn>
                  <a:cxn ang="0">
                    <a:pos x="T2" y="T3"/>
                  </a:cxn>
                  <a:cxn ang="0">
                    <a:pos x="T4" y="T5"/>
                  </a:cxn>
                  <a:cxn ang="0">
                    <a:pos x="T6" y="T7"/>
                  </a:cxn>
                  <a:cxn ang="0">
                    <a:pos x="T8" y="T9"/>
                  </a:cxn>
                  <a:cxn ang="0">
                    <a:pos x="T10" y="T11"/>
                  </a:cxn>
                  <a:cxn ang="0">
                    <a:pos x="T12" y="T13"/>
                  </a:cxn>
                </a:cxnLst>
                <a:rect l="0" t="0" r="r" b="b"/>
                <a:pathLst>
                  <a:path w="487" h="865">
                    <a:moveTo>
                      <a:pt x="0" y="12"/>
                    </a:moveTo>
                    <a:lnTo>
                      <a:pt x="22" y="0"/>
                    </a:lnTo>
                    <a:lnTo>
                      <a:pt x="487" y="268"/>
                    </a:lnTo>
                    <a:lnTo>
                      <a:pt x="487" y="853"/>
                    </a:lnTo>
                    <a:lnTo>
                      <a:pt x="465" y="865"/>
                    </a:lnTo>
                    <a:lnTo>
                      <a:pt x="467" y="282"/>
                    </a:lnTo>
                    <a:lnTo>
                      <a:pt x="0" y="12"/>
                    </a:lnTo>
                    <a:close/>
                  </a:path>
                </a:pathLst>
              </a:custGeom>
              <a:solidFill>
                <a:srgbClr val="4F9CD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63" name="íṥliḍé"/>
              <p:cNvSpPr/>
              <p:nvPr/>
            </p:nvSpPr>
            <p:spPr bwMode="auto">
              <a:xfrm>
                <a:off x="4101" y="1360"/>
                <a:ext cx="487" cy="865"/>
              </a:xfrm>
              <a:custGeom>
                <a:avLst/>
                <a:gdLst>
                  <a:gd name="T0" fmla="*/ 0 w 487"/>
                  <a:gd name="T1" fmla="*/ 12 h 865"/>
                  <a:gd name="T2" fmla="*/ 22 w 487"/>
                  <a:gd name="T3" fmla="*/ 0 h 865"/>
                  <a:gd name="T4" fmla="*/ 487 w 487"/>
                  <a:gd name="T5" fmla="*/ 268 h 865"/>
                  <a:gd name="T6" fmla="*/ 487 w 487"/>
                  <a:gd name="T7" fmla="*/ 853 h 865"/>
                  <a:gd name="T8" fmla="*/ 465 w 487"/>
                  <a:gd name="T9" fmla="*/ 865 h 865"/>
                  <a:gd name="T10" fmla="*/ 467 w 487"/>
                  <a:gd name="T11" fmla="*/ 282 h 865"/>
                  <a:gd name="T12" fmla="*/ 0 w 487"/>
                  <a:gd name="T13" fmla="*/ 12 h 865"/>
                </a:gdLst>
                <a:ahLst/>
                <a:cxnLst>
                  <a:cxn ang="0">
                    <a:pos x="T0" y="T1"/>
                  </a:cxn>
                  <a:cxn ang="0">
                    <a:pos x="T2" y="T3"/>
                  </a:cxn>
                  <a:cxn ang="0">
                    <a:pos x="T4" y="T5"/>
                  </a:cxn>
                  <a:cxn ang="0">
                    <a:pos x="T6" y="T7"/>
                  </a:cxn>
                  <a:cxn ang="0">
                    <a:pos x="T8" y="T9"/>
                  </a:cxn>
                  <a:cxn ang="0">
                    <a:pos x="T10" y="T11"/>
                  </a:cxn>
                  <a:cxn ang="0">
                    <a:pos x="T12" y="T13"/>
                  </a:cxn>
                </a:cxnLst>
                <a:rect l="0" t="0" r="r" b="b"/>
                <a:pathLst>
                  <a:path w="487" h="865">
                    <a:moveTo>
                      <a:pt x="0" y="12"/>
                    </a:moveTo>
                    <a:lnTo>
                      <a:pt x="22" y="0"/>
                    </a:lnTo>
                    <a:lnTo>
                      <a:pt x="487" y="268"/>
                    </a:lnTo>
                    <a:lnTo>
                      <a:pt x="487" y="853"/>
                    </a:lnTo>
                    <a:lnTo>
                      <a:pt x="465" y="865"/>
                    </a:lnTo>
                    <a:lnTo>
                      <a:pt x="467" y="282"/>
                    </a:lnTo>
                    <a:lnTo>
                      <a:pt x="0"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64" name="îṣļïḋè"/>
              <p:cNvSpPr/>
              <p:nvPr/>
            </p:nvSpPr>
            <p:spPr bwMode="auto">
              <a:xfrm>
                <a:off x="4566" y="1628"/>
                <a:ext cx="22" cy="597"/>
              </a:xfrm>
              <a:custGeom>
                <a:avLst/>
                <a:gdLst>
                  <a:gd name="T0" fmla="*/ 22 w 22"/>
                  <a:gd name="T1" fmla="*/ 0 h 597"/>
                  <a:gd name="T2" fmla="*/ 2 w 22"/>
                  <a:gd name="T3" fmla="*/ 14 h 597"/>
                  <a:gd name="T4" fmla="*/ 0 w 22"/>
                  <a:gd name="T5" fmla="*/ 597 h 597"/>
                  <a:gd name="T6" fmla="*/ 22 w 22"/>
                  <a:gd name="T7" fmla="*/ 585 h 597"/>
                  <a:gd name="T8" fmla="*/ 22 w 22"/>
                  <a:gd name="T9" fmla="*/ 0 h 597"/>
                </a:gdLst>
                <a:ahLst/>
                <a:cxnLst>
                  <a:cxn ang="0">
                    <a:pos x="T0" y="T1"/>
                  </a:cxn>
                  <a:cxn ang="0">
                    <a:pos x="T2" y="T3"/>
                  </a:cxn>
                  <a:cxn ang="0">
                    <a:pos x="T4" y="T5"/>
                  </a:cxn>
                  <a:cxn ang="0">
                    <a:pos x="T6" y="T7"/>
                  </a:cxn>
                  <a:cxn ang="0">
                    <a:pos x="T8" y="T9"/>
                  </a:cxn>
                </a:cxnLst>
                <a:rect l="0" t="0" r="r" b="b"/>
                <a:pathLst>
                  <a:path w="22" h="597">
                    <a:moveTo>
                      <a:pt x="22" y="0"/>
                    </a:moveTo>
                    <a:lnTo>
                      <a:pt x="2" y="14"/>
                    </a:lnTo>
                    <a:lnTo>
                      <a:pt x="0" y="597"/>
                    </a:lnTo>
                    <a:lnTo>
                      <a:pt x="22" y="585"/>
                    </a:lnTo>
                    <a:lnTo>
                      <a:pt x="22" y="0"/>
                    </a:lnTo>
                    <a:close/>
                  </a:path>
                </a:pathLst>
              </a:custGeom>
              <a:solidFill>
                <a:srgbClr val="4181AD"/>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65" name="ï$lîdè"/>
              <p:cNvSpPr/>
              <p:nvPr/>
            </p:nvSpPr>
            <p:spPr bwMode="auto">
              <a:xfrm>
                <a:off x="4566" y="1628"/>
                <a:ext cx="22" cy="597"/>
              </a:xfrm>
              <a:custGeom>
                <a:avLst/>
                <a:gdLst>
                  <a:gd name="T0" fmla="*/ 22 w 22"/>
                  <a:gd name="T1" fmla="*/ 0 h 597"/>
                  <a:gd name="T2" fmla="*/ 2 w 22"/>
                  <a:gd name="T3" fmla="*/ 14 h 597"/>
                  <a:gd name="T4" fmla="*/ 0 w 22"/>
                  <a:gd name="T5" fmla="*/ 597 h 597"/>
                  <a:gd name="T6" fmla="*/ 22 w 22"/>
                  <a:gd name="T7" fmla="*/ 585 h 597"/>
                  <a:gd name="T8" fmla="*/ 22 w 22"/>
                  <a:gd name="T9" fmla="*/ 0 h 597"/>
                </a:gdLst>
                <a:ahLst/>
                <a:cxnLst>
                  <a:cxn ang="0">
                    <a:pos x="T0" y="T1"/>
                  </a:cxn>
                  <a:cxn ang="0">
                    <a:pos x="T2" y="T3"/>
                  </a:cxn>
                  <a:cxn ang="0">
                    <a:pos x="T4" y="T5"/>
                  </a:cxn>
                  <a:cxn ang="0">
                    <a:pos x="T6" y="T7"/>
                  </a:cxn>
                  <a:cxn ang="0">
                    <a:pos x="T8" y="T9"/>
                  </a:cxn>
                </a:cxnLst>
                <a:rect l="0" t="0" r="r" b="b"/>
                <a:pathLst>
                  <a:path w="22" h="597">
                    <a:moveTo>
                      <a:pt x="22" y="0"/>
                    </a:moveTo>
                    <a:lnTo>
                      <a:pt x="2" y="14"/>
                    </a:lnTo>
                    <a:lnTo>
                      <a:pt x="0" y="597"/>
                    </a:lnTo>
                    <a:lnTo>
                      <a:pt x="22" y="585"/>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66" name="ïS1îḍe"/>
              <p:cNvSpPr/>
              <p:nvPr/>
            </p:nvSpPr>
            <p:spPr bwMode="auto">
              <a:xfrm>
                <a:off x="4101" y="1360"/>
                <a:ext cx="487" cy="282"/>
              </a:xfrm>
              <a:custGeom>
                <a:avLst/>
                <a:gdLst>
                  <a:gd name="T0" fmla="*/ 22 w 487"/>
                  <a:gd name="T1" fmla="*/ 0 h 282"/>
                  <a:gd name="T2" fmla="*/ 0 w 487"/>
                  <a:gd name="T3" fmla="*/ 12 h 282"/>
                  <a:gd name="T4" fmla="*/ 467 w 487"/>
                  <a:gd name="T5" fmla="*/ 282 h 282"/>
                  <a:gd name="T6" fmla="*/ 487 w 487"/>
                  <a:gd name="T7" fmla="*/ 268 h 282"/>
                  <a:gd name="T8" fmla="*/ 22 w 487"/>
                  <a:gd name="T9" fmla="*/ 0 h 282"/>
                </a:gdLst>
                <a:ahLst/>
                <a:cxnLst>
                  <a:cxn ang="0">
                    <a:pos x="T0" y="T1"/>
                  </a:cxn>
                  <a:cxn ang="0">
                    <a:pos x="T2" y="T3"/>
                  </a:cxn>
                  <a:cxn ang="0">
                    <a:pos x="T4" y="T5"/>
                  </a:cxn>
                  <a:cxn ang="0">
                    <a:pos x="T6" y="T7"/>
                  </a:cxn>
                  <a:cxn ang="0">
                    <a:pos x="T8" y="T9"/>
                  </a:cxn>
                </a:cxnLst>
                <a:rect l="0" t="0" r="r" b="b"/>
                <a:pathLst>
                  <a:path w="487" h="282">
                    <a:moveTo>
                      <a:pt x="22" y="0"/>
                    </a:moveTo>
                    <a:lnTo>
                      <a:pt x="0" y="12"/>
                    </a:lnTo>
                    <a:lnTo>
                      <a:pt x="467" y="282"/>
                    </a:lnTo>
                    <a:lnTo>
                      <a:pt x="487" y="268"/>
                    </a:lnTo>
                    <a:lnTo>
                      <a:pt x="22" y="0"/>
                    </a:lnTo>
                    <a:close/>
                  </a:path>
                </a:pathLst>
              </a:custGeom>
              <a:solidFill>
                <a:srgbClr val="97C5E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67" name="ïsļîdé"/>
              <p:cNvSpPr/>
              <p:nvPr/>
            </p:nvSpPr>
            <p:spPr bwMode="auto">
              <a:xfrm>
                <a:off x="4101" y="1360"/>
                <a:ext cx="487" cy="282"/>
              </a:xfrm>
              <a:custGeom>
                <a:avLst/>
                <a:gdLst>
                  <a:gd name="T0" fmla="*/ 22 w 487"/>
                  <a:gd name="T1" fmla="*/ 0 h 282"/>
                  <a:gd name="T2" fmla="*/ 0 w 487"/>
                  <a:gd name="T3" fmla="*/ 12 h 282"/>
                  <a:gd name="T4" fmla="*/ 467 w 487"/>
                  <a:gd name="T5" fmla="*/ 282 h 282"/>
                  <a:gd name="T6" fmla="*/ 487 w 487"/>
                  <a:gd name="T7" fmla="*/ 268 h 282"/>
                  <a:gd name="T8" fmla="*/ 22 w 487"/>
                  <a:gd name="T9" fmla="*/ 0 h 282"/>
                </a:gdLst>
                <a:ahLst/>
                <a:cxnLst>
                  <a:cxn ang="0">
                    <a:pos x="T0" y="T1"/>
                  </a:cxn>
                  <a:cxn ang="0">
                    <a:pos x="T2" y="T3"/>
                  </a:cxn>
                  <a:cxn ang="0">
                    <a:pos x="T4" y="T5"/>
                  </a:cxn>
                  <a:cxn ang="0">
                    <a:pos x="T6" y="T7"/>
                  </a:cxn>
                  <a:cxn ang="0">
                    <a:pos x="T8" y="T9"/>
                  </a:cxn>
                </a:cxnLst>
                <a:rect l="0" t="0" r="r" b="b"/>
                <a:pathLst>
                  <a:path w="487" h="282">
                    <a:moveTo>
                      <a:pt x="22" y="0"/>
                    </a:moveTo>
                    <a:lnTo>
                      <a:pt x="0" y="12"/>
                    </a:lnTo>
                    <a:lnTo>
                      <a:pt x="467" y="282"/>
                    </a:lnTo>
                    <a:lnTo>
                      <a:pt x="487" y="268"/>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68" name="íŝlîḑê"/>
              <p:cNvSpPr/>
              <p:nvPr/>
            </p:nvSpPr>
            <p:spPr bwMode="auto">
              <a:xfrm>
                <a:off x="4694" y="1701"/>
                <a:ext cx="487" cy="1306"/>
              </a:xfrm>
              <a:custGeom>
                <a:avLst/>
                <a:gdLst>
                  <a:gd name="T0" fmla="*/ 0 w 487"/>
                  <a:gd name="T1" fmla="*/ 14 h 1306"/>
                  <a:gd name="T2" fmla="*/ 22 w 487"/>
                  <a:gd name="T3" fmla="*/ 0 h 1306"/>
                  <a:gd name="T4" fmla="*/ 487 w 487"/>
                  <a:gd name="T5" fmla="*/ 270 h 1306"/>
                  <a:gd name="T6" fmla="*/ 487 w 487"/>
                  <a:gd name="T7" fmla="*/ 1293 h 1306"/>
                  <a:gd name="T8" fmla="*/ 465 w 487"/>
                  <a:gd name="T9" fmla="*/ 1306 h 1306"/>
                  <a:gd name="T10" fmla="*/ 465 w 487"/>
                  <a:gd name="T11" fmla="*/ 282 h 1306"/>
                  <a:gd name="T12" fmla="*/ 0 w 487"/>
                  <a:gd name="T13" fmla="*/ 14 h 1306"/>
                </a:gdLst>
                <a:ahLst/>
                <a:cxnLst>
                  <a:cxn ang="0">
                    <a:pos x="T0" y="T1"/>
                  </a:cxn>
                  <a:cxn ang="0">
                    <a:pos x="T2" y="T3"/>
                  </a:cxn>
                  <a:cxn ang="0">
                    <a:pos x="T4" y="T5"/>
                  </a:cxn>
                  <a:cxn ang="0">
                    <a:pos x="T6" y="T7"/>
                  </a:cxn>
                  <a:cxn ang="0">
                    <a:pos x="T8" y="T9"/>
                  </a:cxn>
                  <a:cxn ang="0">
                    <a:pos x="T10" y="T11"/>
                  </a:cxn>
                  <a:cxn ang="0">
                    <a:pos x="T12" y="T13"/>
                  </a:cxn>
                </a:cxnLst>
                <a:rect l="0" t="0" r="r" b="b"/>
                <a:pathLst>
                  <a:path w="487" h="1306">
                    <a:moveTo>
                      <a:pt x="0" y="14"/>
                    </a:moveTo>
                    <a:lnTo>
                      <a:pt x="22" y="0"/>
                    </a:lnTo>
                    <a:lnTo>
                      <a:pt x="487" y="270"/>
                    </a:lnTo>
                    <a:lnTo>
                      <a:pt x="487" y="1293"/>
                    </a:lnTo>
                    <a:lnTo>
                      <a:pt x="465" y="1306"/>
                    </a:lnTo>
                    <a:lnTo>
                      <a:pt x="465" y="282"/>
                    </a:lnTo>
                    <a:lnTo>
                      <a:pt x="0" y="14"/>
                    </a:lnTo>
                    <a:close/>
                  </a:path>
                </a:pathLst>
              </a:custGeom>
              <a:solidFill>
                <a:srgbClr val="F2C06B"/>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69" name="îŝliďé"/>
              <p:cNvSpPr/>
              <p:nvPr/>
            </p:nvSpPr>
            <p:spPr bwMode="auto">
              <a:xfrm>
                <a:off x="4694" y="1701"/>
                <a:ext cx="487" cy="1306"/>
              </a:xfrm>
              <a:custGeom>
                <a:avLst/>
                <a:gdLst>
                  <a:gd name="T0" fmla="*/ 0 w 487"/>
                  <a:gd name="T1" fmla="*/ 14 h 1306"/>
                  <a:gd name="T2" fmla="*/ 22 w 487"/>
                  <a:gd name="T3" fmla="*/ 0 h 1306"/>
                  <a:gd name="T4" fmla="*/ 487 w 487"/>
                  <a:gd name="T5" fmla="*/ 270 h 1306"/>
                  <a:gd name="T6" fmla="*/ 487 w 487"/>
                  <a:gd name="T7" fmla="*/ 1293 h 1306"/>
                  <a:gd name="T8" fmla="*/ 465 w 487"/>
                  <a:gd name="T9" fmla="*/ 1306 h 1306"/>
                  <a:gd name="T10" fmla="*/ 465 w 487"/>
                  <a:gd name="T11" fmla="*/ 282 h 1306"/>
                  <a:gd name="T12" fmla="*/ 0 w 487"/>
                  <a:gd name="T13" fmla="*/ 14 h 1306"/>
                </a:gdLst>
                <a:ahLst/>
                <a:cxnLst>
                  <a:cxn ang="0">
                    <a:pos x="T0" y="T1"/>
                  </a:cxn>
                  <a:cxn ang="0">
                    <a:pos x="T2" y="T3"/>
                  </a:cxn>
                  <a:cxn ang="0">
                    <a:pos x="T4" y="T5"/>
                  </a:cxn>
                  <a:cxn ang="0">
                    <a:pos x="T6" y="T7"/>
                  </a:cxn>
                  <a:cxn ang="0">
                    <a:pos x="T8" y="T9"/>
                  </a:cxn>
                  <a:cxn ang="0">
                    <a:pos x="T10" y="T11"/>
                  </a:cxn>
                  <a:cxn ang="0">
                    <a:pos x="T12" y="T13"/>
                  </a:cxn>
                </a:cxnLst>
                <a:rect l="0" t="0" r="r" b="b"/>
                <a:pathLst>
                  <a:path w="487" h="1306">
                    <a:moveTo>
                      <a:pt x="0" y="14"/>
                    </a:moveTo>
                    <a:lnTo>
                      <a:pt x="22" y="0"/>
                    </a:lnTo>
                    <a:lnTo>
                      <a:pt x="487" y="270"/>
                    </a:lnTo>
                    <a:lnTo>
                      <a:pt x="487" y="1293"/>
                    </a:lnTo>
                    <a:lnTo>
                      <a:pt x="465" y="1306"/>
                    </a:lnTo>
                    <a:lnTo>
                      <a:pt x="465" y="282"/>
                    </a:lnTo>
                    <a:lnTo>
                      <a:pt x="0"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70" name="ïsliḓè"/>
              <p:cNvSpPr/>
              <p:nvPr/>
            </p:nvSpPr>
            <p:spPr bwMode="auto">
              <a:xfrm>
                <a:off x="5181" y="1971"/>
                <a:ext cx="1" cy="1023"/>
              </a:xfrm>
              <a:prstGeom prst="rect">
                <a:avLst/>
              </a:prstGeom>
              <a:solidFill>
                <a:srgbClr val="DAEEF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p>
            </p:txBody>
          </p:sp>
          <p:sp>
            <p:nvSpPr>
              <p:cNvPr id="871" name="îṥļíďê"/>
              <p:cNvSpPr/>
              <p:nvPr/>
            </p:nvSpPr>
            <p:spPr bwMode="auto">
              <a:xfrm>
                <a:off x="5181" y="1971"/>
                <a:ext cx="1" cy="10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p>
            </p:txBody>
          </p:sp>
          <p:sp>
            <p:nvSpPr>
              <p:cNvPr id="872" name="iŝ1iḋè"/>
              <p:cNvSpPr/>
              <p:nvPr/>
            </p:nvSpPr>
            <p:spPr bwMode="auto">
              <a:xfrm>
                <a:off x="5181" y="1971"/>
                <a:ext cx="1" cy="1023"/>
              </a:xfrm>
              <a:prstGeom prst="rect">
                <a:avLst/>
              </a:prstGeom>
              <a:solidFill>
                <a:srgbClr val="D1D3D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p>
            </p:txBody>
          </p:sp>
          <p:sp>
            <p:nvSpPr>
              <p:cNvPr id="873" name="işľïḍé"/>
              <p:cNvSpPr/>
              <p:nvPr/>
            </p:nvSpPr>
            <p:spPr bwMode="auto">
              <a:xfrm>
                <a:off x="5181" y="1971"/>
                <a:ext cx="1" cy="10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p>
            </p:txBody>
          </p:sp>
          <p:sp>
            <p:nvSpPr>
              <p:cNvPr id="874" name="isḷíďè"/>
              <p:cNvSpPr/>
              <p:nvPr/>
            </p:nvSpPr>
            <p:spPr bwMode="auto">
              <a:xfrm>
                <a:off x="5159" y="1971"/>
                <a:ext cx="22" cy="1036"/>
              </a:xfrm>
              <a:custGeom>
                <a:avLst/>
                <a:gdLst>
                  <a:gd name="T0" fmla="*/ 22 w 22"/>
                  <a:gd name="T1" fmla="*/ 0 h 1036"/>
                  <a:gd name="T2" fmla="*/ 0 w 22"/>
                  <a:gd name="T3" fmla="*/ 12 h 1036"/>
                  <a:gd name="T4" fmla="*/ 0 w 22"/>
                  <a:gd name="T5" fmla="*/ 1036 h 1036"/>
                  <a:gd name="T6" fmla="*/ 22 w 22"/>
                  <a:gd name="T7" fmla="*/ 1023 h 1036"/>
                  <a:gd name="T8" fmla="*/ 22 w 22"/>
                  <a:gd name="T9" fmla="*/ 0 h 1036"/>
                </a:gdLst>
                <a:ahLst/>
                <a:cxnLst>
                  <a:cxn ang="0">
                    <a:pos x="T0" y="T1"/>
                  </a:cxn>
                  <a:cxn ang="0">
                    <a:pos x="T2" y="T3"/>
                  </a:cxn>
                  <a:cxn ang="0">
                    <a:pos x="T4" y="T5"/>
                  </a:cxn>
                  <a:cxn ang="0">
                    <a:pos x="T6" y="T7"/>
                  </a:cxn>
                  <a:cxn ang="0">
                    <a:pos x="T8" y="T9"/>
                  </a:cxn>
                </a:cxnLst>
                <a:rect l="0" t="0" r="r" b="b"/>
                <a:pathLst>
                  <a:path w="22" h="1036">
                    <a:moveTo>
                      <a:pt x="22" y="0"/>
                    </a:moveTo>
                    <a:lnTo>
                      <a:pt x="0" y="12"/>
                    </a:lnTo>
                    <a:lnTo>
                      <a:pt x="0" y="1036"/>
                    </a:lnTo>
                    <a:lnTo>
                      <a:pt x="22" y="1023"/>
                    </a:lnTo>
                    <a:lnTo>
                      <a:pt x="22" y="0"/>
                    </a:lnTo>
                    <a:close/>
                  </a:path>
                </a:pathLst>
              </a:custGeom>
              <a:solidFill>
                <a:srgbClr val="C69F5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75" name="iŝlîďè"/>
              <p:cNvSpPr/>
              <p:nvPr/>
            </p:nvSpPr>
            <p:spPr bwMode="auto">
              <a:xfrm>
                <a:off x="5159" y="1971"/>
                <a:ext cx="22" cy="1036"/>
              </a:xfrm>
              <a:custGeom>
                <a:avLst/>
                <a:gdLst>
                  <a:gd name="T0" fmla="*/ 22 w 22"/>
                  <a:gd name="T1" fmla="*/ 0 h 1036"/>
                  <a:gd name="T2" fmla="*/ 0 w 22"/>
                  <a:gd name="T3" fmla="*/ 12 h 1036"/>
                  <a:gd name="T4" fmla="*/ 0 w 22"/>
                  <a:gd name="T5" fmla="*/ 1036 h 1036"/>
                  <a:gd name="T6" fmla="*/ 22 w 22"/>
                  <a:gd name="T7" fmla="*/ 1023 h 1036"/>
                  <a:gd name="T8" fmla="*/ 22 w 22"/>
                  <a:gd name="T9" fmla="*/ 0 h 1036"/>
                </a:gdLst>
                <a:ahLst/>
                <a:cxnLst>
                  <a:cxn ang="0">
                    <a:pos x="T0" y="T1"/>
                  </a:cxn>
                  <a:cxn ang="0">
                    <a:pos x="T2" y="T3"/>
                  </a:cxn>
                  <a:cxn ang="0">
                    <a:pos x="T4" y="T5"/>
                  </a:cxn>
                  <a:cxn ang="0">
                    <a:pos x="T6" y="T7"/>
                  </a:cxn>
                  <a:cxn ang="0">
                    <a:pos x="T8" y="T9"/>
                  </a:cxn>
                </a:cxnLst>
                <a:rect l="0" t="0" r="r" b="b"/>
                <a:pathLst>
                  <a:path w="22" h="1036">
                    <a:moveTo>
                      <a:pt x="22" y="0"/>
                    </a:moveTo>
                    <a:lnTo>
                      <a:pt x="0" y="12"/>
                    </a:lnTo>
                    <a:lnTo>
                      <a:pt x="0" y="1036"/>
                    </a:lnTo>
                    <a:lnTo>
                      <a:pt x="22" y="1023"/>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76" name="îṧliďé"/>
              <p:cNvSpPr/>
              <p:nvPr/>
            </p:nvSpPr>
            <p:spPr bwMode="auto">
              <a:xfrm>
                <a:off x="2918" y="385"/>
                <a:ext cx="2262" cy="1304"/>
              </a:xfrm>
              <a:custGeom>
                <a:avLst/>
                <a:gdLst>
                  <a:gd name="T0" fmla="*/ 22 w 2262"/>
                  <a:gd name="T1" fmla="*/ 0 h 1304"/>
                  <a:gd name="T2" fmla="*/ 0 w 2262"/>
                  <a:gd name="T3" fmla="*/ 14 h 1304"/>
                  <a:gd name="T4" fmla="*/ 2241 w 2262"/>
                  <a:gd name="T5" fmla="*/ 1304 h 1304"/>
                  <a:gd name="T6" fmla="*/ 2262 w 2262"/>
                  <a:gd name="T7" fmla="*/ 1292 h 1304"/>
                  <a:gd name="T8" fmla="*/ 22 w 2262"/>
                  <a:gd name="T9" fmla="*/ 0 h 1304"/>
                </a:gdLst>
                <a:ahLst/>
                <a:cxnLst>
                  <a:cxn ang="0">
                    <a:pos x="T0" y="T1"/>
                  </a:cxn>
                  <a:cxn ang="0">
                    <a:pos x="T2" y="T3"/>
                  </a:cxn>
                  <a:cxn ang="0">
                    <a:pos x="T4" y="T5"/>
                  </a:cxn>
                  <a:cxn ang="0">
                    <a:pos x="T6" y="T7"/>
                  </a:cxn>
                  <a:cxn ang="0">
                    <a:pos x="T8" y="T9"/>
                  </a:cxn>
                </a:cxnLst>
                <a:rect l="0" t="0" r="r" b="b"/>
                <a:pathLst>
                  <a:path w="2262" h="1304">
                    <a:moveTo>
                      <a:pt x="22" y="0"/>
                    </a:moveTo>
                    <a:lnTo>
                      <a:pt x="0" y="14"/>
                    </a:lnTo>
                    <a:lnTo>
                      <a:pt x="2241" y="1304"/>
                    </a:lnTo>
                    <a:lnTo>
                      <a:pt x="2262" y="1292"/>
                    </a:lnTo>
                    <a:lnTo>
                      <a:pt x="22" y="0"/>
                    </a:lnTo>
                    <a:close/>
                  </a:path>
                </a:pathLst>
              </a:custGeom>
              <a:solidFill>
                <a:srgbClr val="F8B29B"/>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77" name="išḷíḑê"/>
              <p:cNvSpPr/>
              <p:nvPr/>
            </p:nvSpPr>
            <p:spPr bwMode="auto">
              <a:xfrm>
                <a:off x="2918" y="385"/>
                <a:ext cx="2262" cy="1304"/>
              </a:xfrm>
              <a:custGeom>
                <a:avLst/>
                <a:gdLst>
                  <a:gd name="T0" fmla="*/ 22 w 2262"/>
                  <a:gd name="T1" fmla="*/ 0 h 1304"/>
                  <a:gd name="T2" fmla="*/ 0 w 2262"/>
                  <a:gd name="T3" fmla="*/ 14 h 1304"/>
                  <a:gd name="T4" fmla="*/ 2241 w 2262"/>
                  <a:gd name="T5" fmla="*/ 1304 h 1304"/>
                  <a:gd name="T6" fmla="*/ 2262 w 2262"/>
                  <a:gd name="T7" fmla="*/ 1292 h 1304"/>
                  <a:gd name="T8" fmla="*/ 22 w 2262"/>
                  <a:gd name="T9" fmla="*/ 0 h 1304"/>
                </a:gdLst>
                <a:ahLst/>
                <a:cxnLst>
                  <a:cxn ang="0">
                    <a:pos x="T0" y="T1"/>
                  </a:cxn>
                  <a:cxn ang="0">
                    <a:pos x="T2" y="T3"/>
                  </a:cxn>
                  <a:cxn ang="0">
                    <a:pos x="T4" y="T5"/>
                  </a:cxn>
                  <a:cxn ang="0">
                    <a:pos x="T6" y="T7"/>
                  </a:cxn>
                  <a:cxn ang="0">
                    <a:pos x="T8" y="T9"/>
                  </a:cxn>
                </a:cxnLst>
                <a:rect l="0" t="0" r="r" b="b"/>
                <a:pathLst>
                  <a:path w="2262" h="1304">
                    <a:moveTo>
                      <a:pt x="22" y="0"/>
                    </a:moveTo>
                    <a:lnTo>
                      <a:pt x="0" y="14"/>
                    </a:lnTo>
                    <a:lnTo>
                      <a:pt x="2241" y="1304"/>
                    </a:lnTo>
                    <a:lnTo>
                      <a:pt x="2262" y="1292"/>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78" name="îṡľïďê"/>
              <p:cNvSpPr/>
              <p:nvPr/>
            </p:nvSpPr>
            <p:spPr bwMode="auto">
              <a:xfrm>
                <a:off x="4694" y="1701"/>
                <a:ext cx="487" cy="282"/>
              </a:xfrm>
              <a:custGeom>
                <a:avLst/>
                <a:gdLst>
                  <a:gd name="T0" fmla="*/ 22 w 487"/>
                  <a:gd name="T1" fmla="*/ 0 h 282"/>
                  <a:gd name="T2" fmla="*/ 0 w 487"/>
                  <a:gd name="T3" fmla="*/ 14 h 282"/>
                  <a:gd name="T4" fmla="*/ 465 w 487"/>
                  <a:gd name="T5" fmla="*/ 282 h 282"/>
                  <a:gd name="T6" fmla="*/ 487 w 487"/>
                  <a:gd name="T7" fmla="*/ 270 h 282"/>
                  <a:gd name="T8" fmla="*/ 22 w 487"/>
                  <a:gd name="T9" fmla="*/ 0 h 282"/>
                </a:gdLst>
                <a:ahLst/>
                <a:cxnLst>
                  <a:cxn ang="0">
                    <a:pos x="T0" y="T1"/>
                  </a:cxn>
                  <a:cxn ang="0">
                    <a:pos x="T2" y="T3"/>
                  </a:cxn>
                  <a:cxn ang="0">
                    <a:pos x="T4" y="T5"/>
                  </a:cxn>
                  <a:cxn ang="0">
                    <a:pos x="T6" y="T7"/>
                  </a:cxn>
                  <a:cxn ang="0">
                    <a:pos x="T8" y="T9"/>
                  </a:cxn>
                </a:cxnLst>
                <a:rect l="0" t="0" r="r" b="b"/>
                <a:pathLst>
                  <a:path w="487" h="282">
                    <a:moveTo>
                      <a:pt x="22" y="0"/>
                    </a:moveTo>
                    <a:lnTo>
                      <a:pt x="0" y="14"/>
                    </a:lnTo>
                    <a:lnTo>
                      <a:pt x="465" y="282"/>
                    </a:lnTo>
                    <a:lnTo>
                      <a:pt x="487" y="270"/>
                    </a:lnTo>
                    <a:lnTo>
                      <a:pt x="22" y="0"/>
                    </a:lnTo>
                    <a:close/>
                  </a:path>
                </a:pathLst>
              </a:custGeom>
              <a:solidFill>
                <a:srgbClr val="F8DAA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79" name="išḷîďé"/>
              <p:cNvSpPr/>
              <p:nvPr/>
            </p:nvSpPr>
            <p:spPr bwMode="auto">
              <a:xfrm>
                <a:off x="4694" y="1701"/>
                <a:ext cx="487" cy="282"/>
              </a:xfrm>
              <a:custGeom>
                <a:avLst/>
                <a:gdLst>
                  <a:gd name="T0" fmla="*/ 22 w 487"/>
                  <a:gd name="T1" fmla="*/ 0 h 282"/>
                  <a:gd name="T2" fmla="*/ 0 w 487"/>
                  <a:gd name="T3" fmla="*/ 14 h 282"/>
                  <a:gd name="T4" fmla="*/ 465 w 487"/>
                  <a:gd name="T5" fmla="*/ 282 h 282"/>
                  <a:gd name="T6" fmla="*/ 487 w 487"/>
                  <a:gd name="T7" fmla="*/ 270 h 282"/>
                  <a:gd name="T8" fmla="*/ 22 w 487"/>
                  <a:gd name="T9" fmla="*/ 0 h 282"/>
                </a:gdLst>
                <a:ahLst/>
                <a:cxnLst>
                  <a:cxn ang="0">
                    <a:pos x="T0" y="T1"/>
                  </a:cxn>
                  <a:cxn ang="0">
                    <a:pos x="T2" y="T3"/>
                  </a:cxn>
                  <a:cxn ang="0">
                    <a:pos x="T4" y="T5"/>
                  </a:cxn>
                  <a:cxn ang="0">
                    <a:pos x="T6" y="T7"/>
                  </a:cxn>
                  <a:cxn ang="0">
                    <a:pos x="T8" y="T9"/>
                  </a:cxn>
                </a:cxnLst>
                <a:rect l="0" t="0" r="r" b="b"/>
                <a:pathLst>
                  <a:path w="487" h="282">
                    <a:moveTo>
                      <a:pt x="22" y="0"/>
                    </a:moveTo>
                    <a:lnTo>
                      <a:pt x="0" y="14"/>
                    </a:lnTo>
                    <a:lnTo>
                      <a:pt x="465" y="282"/>
                    </a:lnTo>
                    <a:lnTo>
                      <a:pt x="487" y="27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80" name="î$ļiḍe"/>
              <p:cNvSpPr/>
              <p:nvPr/>
            </p:nvSpPr>
            <p:spPr bwMode="auto">
              <a:xfrm>
                <a:off x="2918" y="1374"/>
                <a:ext cx="464" cy="315"/>
              </a:xfrm>
              <a:custGeom>
                <a:avLst/>
                <a:gdLst>
                  <a:gd name="T0" fmla="*/ 0 w 464"/>
                  <a:gd name="T1" fmla="*/ 0 h 315"/>
                  <a:gd name="T2" fmla="*/ 0 w 464"/>
                  <a:gd name="T3" fmla="*/ 47 h 315"/>
                  <a:gd name="T4" fmla="*/ 464 w 464"/>
                  <a:gd name="T5" fmla="*/ 315 h 315"/>
                  <a:gd name="T6" fmla="*/ 464 w 464"/>
                  <a:gd name="T7" fmla="*/ 268 h 315"/>
                  <a:gd name="T8" fmla="*/ 0 w 464"/>
                  <a:gd name="T9" fmla="*/ 0 h 315"/>
                </a:gdLst>
                <a:ahLst/>
                <a:cxnLst>
                  <a:cxn ang="0">
                    <a:pos x="T0" y="T1"/>
                  </a:cxn>
                  <a:cxn ang="0">
                    <a:pos x="T2" y="T3"/>
                  </a:cxn>
                  <a:cxn ang="0">
                    <a:pos x="T4" y="T5"/>
                  </a:cxn>
                  <a:cxn ang="0">
                    <a:pos x="T6" y="T7"/>
                  </a:cxn>
                  <a:cxn ang="0">
                    <a:pos x="T8" y="T9"/>
                  </a:cxn>
                </a:cxnLst>
                <a:rect l="0" t="0" r="r" b="b"/>
                <a:pathLst>
                  <a:path w="464" h="315">
                    <a:moveTo>
                      <a:pt x="0" y="0"/>
                    </a:moveTo>
                    <a:lnTo>
                      <a:pt x="0" y="47"/>
                    </a:lnTo>
                    <a:lnTo>
                      <a:pt x="464" y="315"/>
                    </a:lnTo>
                    <a:lnTo>
                      <a:pt x="464" y="268"/>
                    </a:lnTo>
                    <a:lnTo>
                      <a:pt x="0" y="0"/>
                    </a:lnTo>
                    <a:close/>
                  </a:path>
                </a:pathLst>
              </a:custGeom>
              <a:solidFill>
                <a:srgbClr val="DAEEF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81" name="îṩḷîḍè"/>
              <p:cNvSpPr/>
              <p:nvPr/>
            </p:nvSpPr>
            <p:spPr bwMode="auto">
              <a:xfrm>
                <a:off x="2918" y="1374"/>
                <a:ext cx="464" cy="315"/>
              </a:xfrm>
              <a:custGeom>
                <a:avLst/>
                <a:gdLst>
                  <a:gd name="T0" fmla="*/ 0 w 464"/>
                  <a:gd name="T1" fmla="*/ 0 h 315"/>
                  <a:gd name="T2" fmla="*/ 0 w 464"/>
                  <a:gd name="T3" fmla="*/ 47 h 315"/>
                  <a:gd name="T4" fmla="*/ 464 w 464"/>
                  <a:gd name="T5" fmla="*/ 315 h 315"/>
                  <a:gd name="T6" fmla="*/ 464 w 464"/>
                  <a:gd name="T7" fmla="*/ 268 h 315"/>
                  <a:gd name="T8" fmla="*/ 0 w 464"/>
                  <a:gd name="T9" fmla="*/ 0 h 315"/>
                </a:gdLst>
                <a:ahLst/>
                <a:cxnLst>
                  <a:cxn ang="0">
                    <a:pos x="T0" y="T1"/>
                  </a:cxn>
                  <a:cxn ang="0">
                    <a:pos x="T2" y="T3"/>
                  </a:cxn>
                  <a:cxn ang="0">
                    <a:pos x="T4" y="T5"/>
                  </a:cxn>
                  <a:cxn ang="0">
                    <a:pos x="T6" y="T7"/>
                  </a:cxn>
                  <a:cxn ang="0">
                    <a:pos x="T8" y="T9"/>
                  </a:cxn>
                </a:cxnLst>
                <a:rect l="0" t="0" r="r" b="b"/>
                <a:pathLst>
                  <a:path w="464" h="315">
                    <a:moveTo>
                      <a:pt x="0" y="0"/>
                    </a:moveTo>
                    <a:lnTo>
                      <a:pt x="0" y="47"/>
                    </a:lnTo>
                    <a:lnTo>
                      <a:pt x="464" y="315"/>
                    </a:lnTo>
                    <a:lnTo>
                      <a:pt x="464" y="26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82" name="ïšḻïďé"/>
              <p:cNvSpPr/>
              <p:nvPr/>
            </p:nvSpPr>
            <p:spPr bwMode="auto">
              <a:xfrm>
                <a:off x="2918" y="1374"/>
                <a:ext cx="464" cy="315"/>
              </a:xfrm>
              <a:custGeom>
                <a:avLst/>
                <a:gdLst>
                  <a:gd name="T0" fmla="*/ 0 w 464"/>
                  <a:gd name="T1" fmla="*/ 0 h 315"/>
                  <a:gd name="T2" fmla="*/ 0 w 464"/>
                  <a:gd name="T3" fmla="*/ 47 h 315"/>
                  <a:gd name="T4" fmla="*/ 464 w 464"/>
                  <a:gd name="T5" fmla="*/ 315 h 315"/>
                  <a:gd name="T6" fmla="*/ 464 w 464"/>
                  <a:gd name="T7" fmla="*/ 268 h 315"/>
                  <a:gd name="T8" fmla="*/ 0 w 464"/>
                  <a:gd name="T9" fmla="*/ 0 h 315"/>
                </a:gdLst>
                <a:ahLst/>
                <a:cxnLst>
                  <a:cxn ang="0">
                    <a:pos x="T0" y="T1"/>
                  </a:cxn>
                  <a:cxn ang="0">
                    <a:pos x="T2" y="T3"/>
                  </a:cxn>
                  <a:cxn ang="0">
                    <a:pos x="T4" y="T5"/>
                  </a:cxn>
                  <a:cxn ang="0">
                    <a:pos x="T6" y="T7"/>
                  </a:cxn>
                  <a:cxn ang="0">
                    <a:pos x="T8" y="T9"/>
                  </a:cxn>
                </a:cxnLst>
                <a:rect l="0" t="0" r="r" b="b"/>
                <a:pathLst>
                  <a:path w="464" h="315">
                    <a:moveTo>
                      <a:pt x="0" y="0"/>
                    </a:moveTo>
                    <a:lnTo>
                      <a:pt x="0" y="47"/>
                    </a:lnTo>
                    <a:lnTo>
                      <a:pt x="464" y="315"/>
                    </a:lnTo>
                    <a:lnTo>
                      <a:pt x="464" y="268"/>
                    </a:lnTo>
                    <a:lnTo>
                      <a:pt x="0" y="0"/>
                    </a:lnTo>
                    <a:close/>
                  </a:path>
                </a:pathLst>
              </a:custGeom>
              <a:solidFill>
                <a:srgbClr val="909193"/>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83" name="ïṧļïḓé"/>
              <p:cNvSpPr/>
              <p:nvPr/>
            </p:nvSpPr>
            <p:spPr bwMode="auto">
              <a:xfrm>
                <a:off x="2918" y="1374"/>
                <a:ext cx="464" cy="315"/>
              </a:xfrm>
              <a:custGeom>
                <a:avLst/>
                <a:gdLst>
                  <a:gd name="T0" fmla="*/ 0 w 464"/>
                  <a:gd name="T1" fmla="*/ 0 h 315"/>
                  <a:gd name="T2" fmla="*/ 0 w 464"/>
                  <a:gd name="T3" fmla="*/ 47 h 315"/>
                  <a:gd name="T4" fmla="*/ 464 w 464"/>
                  <a:gd name="T5" fmla="*/ 315 h 315"/>
                  <a:gd name="T6" fmla="*/ 464 w 464"/>
                  <a:gd name="T7" fmla="*/ 268 h 315"/>
                  <a:gd name="T8" fmla="*/ 0 w 464"/>
                  <a:gd name="T9" fmla="*/ 0 h 315"/>
                </a:gdLst>
                <a:ahLst/>
                <a:cxnLst>
                  <a:cxn ang="0">
                    <a:pos x="T0" y="T1"/>
                  </a:cxn>
                  <a:cxn ang="0">
                    <a:pos x="T2" y="T3"/>
                  </a:cxn>
                  <a:cxn ang="0">
                    <a:pos x="T4" y="T5"/>
                  </a:cxn>
                  <a:cxn ang="0">
                    <a:pos x="T6" y="T7"/>
                  </a:cxn>
                  <a:cxn ang="0">
                    <a:pos x="T8" y="T9"/>
                  </a:cxn>
                </a:cxnLst>
                <a:rect l="0" t="0" r="r" b="b"/>
                <a:pathLst>
                  <a:path w="464" h="315">
                    <a:moveTo>
                      <a:pt x="0" y="0"/>
                    </a:moveTo>
                    <a:lnTo>
                      <a:pt x="0" y="47"/>
                    </a:lnTo>
                    <a:lnTo>
                      <a:pt x="464" y="315"/>
                    </a:lnTo>
                    <a:lnTo>
                      <a:pt x="464" y="26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84" name="ïSḷíḑe"/>
              <p:cNvSpPr/>
              <p:nvPr/>
            </p:nvSpPr>
            <p:spPr bwMode="auto">
              <a:xfrm>
                <a:off x="3382" y="1628"/>
                <a:ext cx="24" cy="61"/>
              </a:xfrm>
              <a:custGeom>
                <a:avLst/>
                <a:gdLst>
                  <a:gd name="T0" fmla="*/ 24 w 24"/>
                  <a:gd name="T1" fmla="*/ 0 h 61"/>
                  <a:gd name="T2" fmla="*/ 0 w 24"/>
                  <a:gd name="T3" fmla="*/ 14 h 61"/>
                  <a:gd name="T4" fmla="*/ 0 w 24"/>
                  <a:gd name="T5" fmla="*/ 61 h 61"/>
                  <a:gd name="T6" fmla="*/ 22 w 24"/>
                  <a:gd name="T7" fmla="*/ 49 h 61"/>
                  <a:gd name="T8" fmla="*/ 24 w 24"/>
                  <a:gd name="T9" fmla="*/ 0 h 61"/>
                </a:gdLst>
                <a:ahLst/>
                <a:cxnLst>
                  <a:cxn ang="0">
                    <a:pos x="T0" y="T1"/>
                  </a:cxn>
                  <a:cxn ang="0">
                    <a:pos x="T2" y="T3"/>
                  </a:cxn>
                  <a:cxn ang="0">
                    <a:pos x="T4" y="T5"/>
                  </a:cxn>
                  <a:cxn ang="0">
                    <a:pos x="T6" y="T7"/>
                  </a:cxn>
                  <a:cxn ang="0">
                    <a:pos x="T8" y="T9"/>
                  </a:cxn>
                </a:cxnLst>
                <a:rect l="0" t="0" r="r" b="b"/>
                <a:pathLst>
                  <a:path w="24" h="61">
                    <a:moveTo>
                      <a:pt x="24" y="0"/>
                    </a:moveTo>
                    <a:lnTo>
                      <a:pt x="0" y="14"/>
                    </a:lnTo>
                    <a:lnTo>
                      <a:pt x="0" y="61"/>
                    </a:lnTo>
                    <a:lnTo>
                      <a:pt x="22" y="49"/>
                    </a:lnTo>
                    <a:lnTo>
                      <a:pt x="24" y="0"/>
                    </a:lnTo>
                    <a:close/>
                  </a:path>
                </a:pathLst>
              </a:custGeom>
              <a:solidFill>
                <a:srgbClr val="DAEEF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85" name="îşḻîḑê"/>
              <p:cNvSpPr/>
              <p:nvPr/>
            </p:nvSpPr>
            <p:spPr bwMode="auto">
              <a:xfrm>
                <a:off x="3382" y="1628"/>
                <a:ext cx="24" cy="61"/>
              </a:xfrm>
              <a:custGeom>
                <a:avLst/>
                <a:gdLst>
                  <a:gd name="T0" fmla="*/ 24 w 24"/>
                  <a:gd name="T1" fmla="*/ 0 h 61"/>
                  <a:gd name="T2" fmla="*/ 0 w 24"/>
                  <a:gd name="T3" fmla="*/ 14 h 61"/>
                  <a:gd name="T4" fmla="*/ 0 w 24"/>
                  <a:gd name="T5" fmla="*/ 61 h 61"/>
                  <a:gd name="T6" fmla="*/ 22 w 24"/>
                  <a:gd name="T7" fmla="*/ 49 h 61"/>
                  <a:gd name="T8" fmla="*/ 24 w 24"/>
                  <a:gd name="T9" fmla="*/ 0 h 61"/>
                </a:gdLst>
                <a:ahLst/>
                <a:cxnLst>
                  <a:cxn ang="0">
                    <a:pos x="T0" y="T1"/>
                  </a:cxn>
                  <a:cxn ang="0">
                    <a:pos x="T2" y="T3"/>
                  </a:cxn>
                  <a:cxn ang="0">
                    <a:pos x="T4" y="T5"/>
                  </a:cxn>
                  <a:cxn ang="0">
                    <a:pos x="T6" y="T7"/>
                  </a:cxn>
                  <a:cxn ang="0">
                    <a:pos x="T8" y="T9"/>
                  </a:cxn>
                </a:cxnLst>
                <a:rect l="0" t="0" r="r" b="b"/>
                <a:pathLst>
                  <a:path w="24" h="61">
                    <a:moveTo>
                      <a:pt x="24" y="0"/>
                    </a:moveTo>
                    <a:lnTo>
                      <a:pt x="0" y="14"/>
                    </a:lnTo>
                    <a:lnTo>
                      <a:pt x="0" y="61"/>
                    </a:lnTo>
                    <a:lnTo>
                      <a:pt x="22" y="49"/>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86" name="ïšľîḓe"/>
              <p:cNvSpPr/>
              <p:nvPr/>
            </p:nvSpPr>
            <p:spPr bwMode="auto">
              <a:xfrm>
                <a:off x="3382" y="1628"/>
                <a:ext cx="24" cy="61"/>
              </a:xfrm>
              <a:custGeom>
                <a:avLst/>
                <a:gdLst>
                  <a:gd name="T0" fmla="*/ 24 w 24"/>
                  <a:gd name="T1" fmla="*/ 0 h 61"/>
                  <a:gd name="T2" fmla="*/ 0 w 24"/>
                  <a:gd name="T3" fmla="*/ 14 h 61"/>
                  <a:gd name="T4" fmla="*/ 0 w 24"/>
                  <a:gd name="T5" fmla="*/ 61 h 61"/>
                  <a:gd name="T6" fmla="*/ 22 w 24"/>
                  <a:gd name="T7" fmla="*/ 49 h 61"/>
                  <a:gd name="T8" fmla="*/ 24 w 24"/>
                  <a:gd name="T9" fmla="*/ 0 h 61"/>
                </a:gdLst>
                <a:ahLst/>
                <a:cxnLst>
                  <a:cxn ang="0">
                    <a:pos x="T0" y="T1"/>
                  </a:cxn>
                  <a:cxn ang="0">
                    <a:pos x="T2" y="T3"/>
                  </a:cxn>
                  <a:cxn ang="0">
                    <a:pos x="T4" y="T5"/>
                  </a:cxn>
                  <a:cxn ang="0">
                    <a:pos x="T6" y="T7"/>
                  </a:cxn>
                  <a:cxn ang="0">
                    <a:pos x="T8" y="T9"/>
                  </a:cxn>
                </a:cxnLst>
                <a:rect l="0" t="0" r="r" b="b"/>
                <a:pathLst>
                  <a:path w="24" h="61">
                    <a:moveTo>
                      <a:pt x="24" y="0"/>
                    </a:moveTo>
                    <a:lnTo>
                      <a:pt x="0" y="14"/>
                    </a:lnTo>
                    <a:lnTo>
                      <a:pt x="0" y="61"/>
                    </a:lnTo>
                    <a:lnTo>
                      <a:pt x="22" y="49"/>
                    </a:lnTo>
                    <a:lnTo>
                      <a:pt x="24" y="0"/>
                    </a:lnTo>
                    <a:close/>
                  </a:path>
                </a:pathLst>
              </a:custGeom>
              <a:solidFill>
                <a:srgbClr val="75808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87" name="işḻide"/>
              <p:cNvSpPr/>
              <p:nvPr/>
            </p:nvSpPr>
            <p:spPr bwMode="auto">
              <a:xfrm>
                <a:off x="3382" y="1628"/>
                <a:ext cx="24" cy="61"/>
              </a:xfrm>
              <a:custGeom>
                <a:avLst/>
                <a:gdLst>
                  <a:gd name="T0" fmla="*/ 24 w 24"/>
                  <a:gd name="T1" fmla="*/ 0 h 61"/>
                  <a:gd name="T2" fmla="*/ 0 w 24"/>
                  <a:gd name="T3" fmla="*/ 14 h 61"/>
                  <a:gd name="T4" fmla="*/ 0 w 24"/>
                  <a:gd name="T5" fmla="*/ 61 h 61"/>
                  <a:gd name="T6" fmla="*/ 22 w 24"/>
                  <a:gd name="T7" fmla="*/ 49 h 61"/>
                  <a:gd name="T8" fmla="*/ 24 w 24"/>
                  <a:gd name="T9" fmla="*/ 0 h 61"/>
                </a:gdLst>
                <a:ahLst/>
                <a:cxnLst>
                  <a:cxn ang="0">
                    <a:pos x="T0" y="T1"/>
                  </a:cxn>
                  <a:cxn ang="0">
                    <a:pos x="T2" y="T3"/>
                  </a:cxn>
                  <a:cxn ang="0">
                    <a:pos x="T4" y="T5"/>
                  </a:cxn>
                  <a:cxn ang="0">
                    <a:pos x="T6" y="T7"/>
                  </a:cxn>
                  <a:cxn ang="0">
                    <a:pos x="T8" y="T9"/>
                  </a:cxn>
                </a:cxnLst>
                <a:rect l="0" t="0" r="r" b="b"/>
                <a:pathLst>
                  <a:path w="24" h="61">
                    <a:moveTo>
                      <a:pt x="24" y="0"/>
                    </a:moveTo>
                    <a:lnTo>
                      <a:pt x="0" y="14"/>
                    </a:lnTo>
                    <a:lnTo>
                      <a:pt x="0" y="61"/>
                    </a:lnTo>
                    <a:lnTo>
                      <a:pt x="22" y="49"/>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88" name="ï$ḻiďe"/>
              <p:cNvSpPr/>
              <p:nvPr/>
            </p:nvSpPr>
            <p:spPr bwMode="auto">
              <a:xfrm>
                <a:off x="2918" y="1360"/>
                <a:ext cx="488" cy="282"/>
              </a:xfrm>
              <a:custGeom>
                <a:avLst/>
                <a:gdLst>
                  <a:gd name="T0" fmla="*/ 22 w 488"/>
                  <a:gd name="T1" fmla="*/ 0 h 282"/>
                  <a:gd name="T2" fmla="*/ 0 w 488"/>
                  <a:gd name="T3" fmla="*/ 14 h 282"/>
                  <a:gd name="T4" fmla="*/ 464 w 488"/>
                  <a:gd name="T5" fmla="*/ 282 h 282"/>
                  <a:gd name="T6" fmla="*/ 488 w 488"/>
                  <a:gd name="T7" fmla="*/ 268 h 282"/>
                  <a:gd name="T8" fmla="*/ 22 w 488"/>
                  <a:gd name="T9" fmla="*/ 0 h 282"/>
                </a:gdLst>
                <a:ahLst/>
                <a:cxnLst>
                  <a:cxn ang="0">
                    <a:pos x="T0" y="T1"/>
                  </a:cxn>
                  <a:cxn ang="0">
                    <a:pos x="T2" y="T3"/>
                  </a:cxn>
                  <a:cxn ang="0">
                    <a:pos x="T4" y="T5"/>
                  </a:cxn>
                  <a:cxn ang="0">
                    <a:pos x="T6" y="T7"/>
                  </a:cxn>
                  <a:cxn ang="0">
                    <a:pos x="T8" y="T9"/>
                  </a:cxn>
                </a:cxnLst>
                <a:rect l="0" t="0" r="r" b="b"/>
                <a:pathLst>
                  <a:path w="488" h="282">
                    <a:moveTo>
                      <a:pt x="22" y="0"/>
                    </a:moveTo>
                    <a:lnTo>
                      <a:pt x="0" y="14"/>
                    </a:lnTo>
                    <a:lnTo>
                      <a:pt x="464" y="282"/>
                    </a:lnTo>
                    <a:lnTo>
                      <a:pt x="488" y="268"/>
                    </a:lnTo>
                    <a:lnTo>
                      <a:pt x="22" y="0"/>
                    </a:lnTo>
                    <a:close/>
                  </a:path>
                </a:pathLst>
              </a:custGeom>
              <a:solidFill>
                <a:srgbClr val="DAEEF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89" name="iṧľïḍè"/>
              <p:cNvSpPr/>
              <p:nvPr/>
            </p:nvSpPr>
            <p:spPr bwMode="auto">
              <a:xfrm>
                <a:off x="2918" y="1360"/>
                <a:ext cx="488" cy="282"/>
              </a:xfrm>
              <a:custGeom>
                <a:avLst/>
                <a:gdLst>
                  <a:gd name="T0" fmla="*/ 22 w 488"/>
                  <a:gd name="T1" fmla="*/ 0 h 282"/>
                  <a:gd name="T2" fmla="*/ 0 w 488"/>
                  <a:gd name="T3" fmla="*/ 14 h 282"/>
                  <a:gd name="T4" fmla="*/ 464 w 488"/>
                  <a:gd name="T5" fmla="*/ 282 h 282"/>
                  <a:gd name="T6" fmla="*/ 488 w 488"/>
                  <a:gd name="T7" fmla="*/ 268 h 282"/>
                  <a:gd name="T8" fmla="*/ 22 w 488"/>
                  <a:gd name="T9" fmla="*/ 0 h 282"/>
                </a:gdLst>
                <a:ahLst/>
                <a:cxnLst>
                  <a:cxn ang="0">
                    <a:pos x="T0" y="T1"/>
                  </a:cxn>
                  <a:cxn ang="0">
                    <a:pos x="T2" y="T3"/>
                  </a:cxn>
                  <a:cxn ang="0">
                    <a:pos x="T4" y="T5"/>
                  </a:cxn>
                  <a:cxn ang="0">
                    <a:pos x="T6" y="T7"/>
                  </a:cxn>
                  <a:cxn ang="0">
                    <a:pos x="T8" y="T9"/>
                  </a:cxn>
                </a:cxnLst>
                <a:rect l="0" t="0" r="r" b="b"/>
                <a:pathLst>
                  <a:path w="488" h="282">
                    <a:moveTo>
                      <a:pt x="22" y="0"/>
                    </a:moveTo>
                    <a:lnTo>
                      <a:pt x="0" y="14"/>
                    </a:lnTo>
                    <a:lnTo>
                      <a:pt x="464" y="282"/>
                    </a:lnTo>
                    <a:lnTo>
                      <a:pt x="488" y="268"/>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90" name="íṡḻîdè"/>
              <p:cNvSpPr/>
              <p:nvPr/>
            </p:nvSpPr>
            <p:spPr bwMode="auto">
              <a:xfrm>
                <a:off x="2918" y="1360"/>
                <a:ext cx="488" cy="282"/>
              </a:xfrm>
              <a:custGeom>
                <a:avLst/>
                <a:gdLst>
                  <a:gd name="T0" fmla="*/ 22 w 488"/>
                  <a:gd name="T1" fmla="*/ 0 h 282"/>
                  <a:gd name="T2" fmla="*/ 0 w 488"/>
                  <a:gd name="T3" fmla="*/ 14 h 282"/>
                  <a:gd name="T4" fmla="*/ 464 w 488"/>
                  <a:gd name="T5" fmla="*/ 282 h 282"/>
                  <a:gd name="T6" fmla="*/ 488 w 488"/>
                  <a:gd name="T7" fmla="*/ 268 h 282"/>
                  <a:gd name="T8" fmla="*/ 22 w 488"/>
                  <a:gd name="T9" fmla="*/ 0 h 282"/>
                </a:gdLst>
                <a:ahLst/>
                <a:cxnLst>
                  <a:cxn ang="0">
                    <a:pos x="T0" y="T1"/>
                  </a:cxn>
                  <a:cxn ang="0">
                    <a:pos x="T2" y="T3"/>
                  </a:cxn>
                  <a:cxn ang="0">
                    <a:pos x="T4" y="T5"/>
                  </a:cxn>
                  <a:cxn ang="0">
                    <a:pos x="T6" y="T7"/>
                  </a:cxn>
                  <a:cxn ang="0">
                    <a:pos x="T8" y="T9"/>
                  </a:cxn>
                </a:cxnLst>
                <a:rect l="0" t="0" r="r" b="b"/>
                <a:pathLst>
                  <a:path w="488" h="282">
                    <a:moveTo>
                      <a:pt x="22" y="0"/>
                    </a:moveTo>
                    <a:lnTo>
                      <a:pt x="0" y="14"/>
                    </a:lnTo>
                    <a:lnTo>
                      <a:pt x="464" y="282"/>
                    </a:lnTo>
                    <a:lnTo>
                      <a:pt x="488" y="268"/>
                    </a:lnTo>
                    <a:lnTo>
                      <a:pt x="22" y="0"/>
                    </a:lnTo>
                    <a:close/>
                  </a:path>
                </a:pathLst>
              </a:custGeom>
              <a:solidFill>
                <a:srgbClr val="ADB5B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91" name="îśliďe"/>
              <p:cNvSpPr/>
              <p:nvPr/>
            </p:nvSpPr>
            <p:spPr bwMode="auto">
              <a:xfrm>
                <a:off x="2918" y="1360"/>
                <a:ext cx="488" cy="282"/>
              </a:xfrm>
              <a:custGeom>
                <a:avLst/>
                <a:gdLst>
                  <a:gd name="T0" fmla="*/ 22 w 488"/>
                  <a:gd name="T1" fmla="*/ 0 h 282"/>
                  <a:gd name="T2" fmla="*/ 0 w 488"/>
                  <a:gd name="T3" fmla="*/ 14 h 282"/>
                  <a:gd name="T4" fmla="*/ 464 w 488"/>
                  <a:gd name="T5" fmla="*/ 282 h 282"/>
                  <a:gd name="T6" fmla="*/ 488 w 488"/>
                  <a:gd name="T7" fmla="*/ 268 h 282"/>
                  <a:gd name="T8" fmla="*/ 22 w 488"/>
                  <a:gd name="T9" fmla="*/ 0 h 282"/>
                </a:gdLst>
                <a:ahLst/>
                <a:cxnLst>
                  <a:cxn ang="0">
                    <a:pos x="T0" y="T1"/>
                  </a:cxn>
                  <a:cxn ang="0">
                    <a:pos x="T2" y="T3"/>
                  </a:cxn>
                  <a:cxn ang="0">
                    <a:pos x="T4" y="T5"/>
                  </a:cxn>
                  <a:cxn ang="0">
                    <a:pos x="T6" y="T7"/>
                  </a:cxn>
                  <a:cxn ang="0">
                    <a:pos x="T8" y="T9"/>
                  </a:cxn>
                </a:cxnLst>
                <a:rect l="0" t="0" r="r" b="b"/>
                <a:pathLst>
                  <a:path w="488" h="282">
                    <a:moveTo>
                      <a:pt x="22" y="0"/>
                    </a:moveTo>
                    <a:lnTo>
                      <a:pt x="0" y="14"/>
                    </a:lnTo>
                    <a:lnTo>
                      <a:pt x="464" y="282"/>
                    </a:lnTo>
                    <a:lnTo>
                      <a:pt x="488" y="268"/>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92" name="i$1íḓê"/>
              <p:cNvSpPr/>
              <p:nvPr/>
            </p:nvSpPr>
            <p:spPr bwMode="auto">
              <a:xfrm>
                <a:off x="2918" y="1471"/>
                <a:ext cx="464" cy="317"/>
              </a:xfrm>
              <a:custGeom>
                <a:avLst/>
                <a:gdLst>
                  <a:gd name="T0" fmla="*/ 0 w 464"/>
                  <a:gd name="T1" fmla="*/ 0 h 317"/>
                  <a:gd name="T2" fmla="*/ 0 w 464"/>
                  <a:gd name="T3" fmla="*/ 49 h 317"/>
                  <a:gd name="T4" fmla="*/ 464 w 464"/>
                  <a:gd name="T5" fmla="*/ 317 h 317"/>
                  <a:gd name="T6" fmla="*/ 464 w 464"/>
                  <a:gd name="T7" fmla="*/ 268 h 317"/>
                  <a:gd name="T8" fmla="*/ 0 w 464"/>
                  <a:gd name="T9" fmla="*/ 0 h 317"/>
                </a:gdLst>
                <a:ahLst/>
                <a:cxnLst>
                  <a:cxn ang="0">
                    <a:pos x="T0" y="T1"/>
                  </a:cxn>
                  <a:cxn ang="0">
                    <a:pos x="T2" y="T3"/>
                  </a:cxn>
                  <a:cxn ang="0">
                    <a:pos x="T4" y="T5"/>
                  </a:cxn>
                  <a:cxn ang="0">
                    <a:pos x="T6" y="T7"/>
                  </a:cxn>
                  <a:cxn ang="0">
                    <a:pos x="T8" y="T9"/>
                  </a:cxn>
                </a:cxnLst>
                <a:rect l="0" t="0" r="r" b="b"/>
                <a:pathLst>
                  <a:path w="464" h="317">
                    <a:moveTo>
                      <a:pt x="0" y="0"/>
                    </a:moveTo>
                    <a:lnTo>
                      <a:pt x="0" y="49"/>
                    </a:lnTo>
                    <a:lnTo>
                      <a:pt x="464" y="317"/>
                    </a:lnTo>
                    <a:lnTo>
                      <a:pt x="464" y="268"/>
                    </a:lnTo>
                    <a:lnTo>
                      <a:pt x="0" y="0"/>
                    </a:lnTo>
                    <a:close/>
                  </a:path>
                </a:pathLst>
              </a:custGeom>
              <a:solidFill>
                <a:srgbClr val="DAEEF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93" name="îṧ1îḋè"/>
              <p:cNvSpPr/>
              <p:nvPr/>
            </p:nvSpPr>
            <p:spPr bwMode="auto">
              <a:xfrm>
                <a:off x="2918" y="1471"/>
                <a:ext cx="464" cy="317"/>
              </a:xfrm>
              <a:custGeom>
                <a:avLst/>
                <a:gdLst>
                  <a:gd name="T0" fmla="*/ 0 w 464"/>
                  <a:gd name="T1" fmla="*/ 0 h 317"/>
                  <a:gd name="T2" fmla="*/ 0 w 464"/>
                  <a:gd name="T3" fmla="*/ 49 h 317"/>
                  <a:gd name="T4" fmla="*/ 464 w 464"/>
                  <a:gd name="T5" fmla="*/ 317 h 317"/>
                  <a:gd name="T6" fmla="*/ 464 w 464"/>
                  <a:gd name="T7" fmla="*/ 268 h 317"/>
                  <a:gd name="T8" fmla="*/ 0 w 464"/>
                  <a:gd name="T9" fmla="*/ 0 h 317"/>
                </a:gdLst>
                <a:ahLst/>
                <a:cxnLst>
                  <a:cxn ang="0">
                    <a:pos x="T0" y="T1"/>
                  </a:cxn>
                  <a:cxn ang="0">
                    <a:pos x="T2" y="T3"/>
                  </a:cxn>
                  <a:cxn ang="0">
                    <a:pos x="T4" y="T5"/>
                  </a:cxn>
                  <a:cxn ang="0">
                    <a:pos x="T6" y="T7"/>
                  </a:cxn>
                  <a:cxn ang="0">
                    <a:pos x="T8" y="T9"/>
                  </a:cxn>
                </a:cxnLst>
                <a:rect l="0" t="0" r="r" b="b"/>
                <a:pathLst>
                  <a:path w="464" h="317">
                    <a:moveTo>
                      <a:pt x="0" y="0"/>
                    </a:moveTo>
                    <a:lnTo>
                      <a:pt x="0" y="49"/>
                    </a:lnTo>
                    <a:lnTo>
                      <a:pt x="464" y="317"/>
                    </a:lnTo>
                    <a:lnTo>
                      <a:pt x="464" y="26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94" name="iṥ1îḑê"/>
              <p:cNvSpPr/>
              <p:nvPr/>
            </p:nvSpPr>
            <p:spPr bwMode="auto">
              <a:xfrm>
                <a:off x="2918" y="1471"/>
                <a:ext cx="464" cy="317"/>
              </a:xfrm>
              <a:custGeom>
                <a:avLst/>
                <a:gdLst>
                  <a:gd name="T0" fmla="*/ 0 w 464"/>
                  <a:gd name="T1" fmla="*/ 0 h 317"/>
                  <a:gd name="T2" fmla="*/ 0 w 464"/>
                  <a:gd name="T3" fmla="*/ 49 h 317"/>
                  <a:gd name="T4" fmla="*/ 464 w 464"/>
                  <a:gd name="T5" fmla="*/ 317 h 317"/>
                  <a:gd name="T6" fmla="*/ 464 w 464"/>
                  <a:gd name="T7" fmla="*/ 268 h 317"/>
                  <a:gd name="T8" fmla="*/ 0 w 464"/>
                  <a:gd name="T9" fmla="*/ 0 h 317"/>
                </a:gdLst>
                <a:ahLst/>
                <a:cxnLst>
                  <a:cxn ang="0">
                    <a:pos x="T0" y="T1"/>
                  </a:cxn>
                  <a:cxn ang="0">
                    <a:pos x="T2" y="T3"/>
                  </a:cxn>
                  <a:cxn ang="0">
                    <a:pos x="T4" y="T5"/>
                  </a:cxn>
                  <a:cxn ang="0">
                    <a:pos x="T6" y="T7"/>
                  </a:cxn>
                  <a:cxn ang="0">
                    <a:pos x="T8" y="T9"/>
                  </a:cxn>
                </a:cxnLst>
                <a:rect l="0" t="0" r="r" b="b"/>
                <a:pathLst>
                  <a:path w="464" h="317">
                    <a:moveTo>
                      <a:pt x="0" y="0"/>
                    </a:moveTo>
                    <a:lnTo>
                      <a:pt x="0" y="49"/>
                    </a:lnTo>
                    <a:lnTo>
                      <a:pt x="464" y="317"/>
                    </a:lnTo>
                    <a:lnTo>
                      <a:pt x="464" y="268"/>
                    </a:lnTo>
                    <a:lnTo>
                      <a:pt x="0" y="0"/>
                    </a:lnTo>
                    <a:close/>
                  </a:path>
                </a:pathLst>
              </a:custGeom>
              <a:solidFill>
                <a:srgbClr val="909193"/>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95" name="íSļidè"/>
              <p:cNvSpPr/>
              <p:nvPr/>
            </p:nvSpPr>
            <p:spPr bwMode="auto">
              <a:xfrm>
                <a:off x="2918" y="1471"/>
                <a:ext cx="464" cy="317"/>
              </a:xfrm>
              <a:custGeom>
                <a:avLst/>
                <a:gdLst>
                  <a:gd name="T0" fmla="*/ 0 w 464"/>
                  <a:gd name="T1" fmla="*/ 0 h 317"/>
                  <a:gd name="T2" fmla="*/ 0 w 464"/>
                  <a:gd name="T3" fmla="*/ 49 h 317"/>
                  <a:gd name="T4" fmla="*/ 464 w 464"/>
                  <a:gd name="T5" fmla="*/ 317 h 317"/>
                  <a:gd name="T6" fmla="*/ 464 w 464"/>
                  <a:gd name="T7" fmla="*/ 268 h 317"/>
                  <a:gd name="T8" fmla="*/ 0 w 464"/>
                  <a:gd name="T9" fmla="*/ 0 h 317"/>
                </a:gdLst>
                <a:ahLst/>
                <a:cxnLst>
                  <a:cxn ang="0">
                    <a:pos x="T0" y="T1"/>
                  </a:cxn>
                  <a:cxn ang="0">
                    <a:pos x="T2" y="T3"/>
                  </a:cxn>
                  <a:cxn ang="0">
                    <a:pos x="T4" y="T5"/>
                  </a:cxn>
                  <a:cxn ang="0">
                    <a:pos x="T6" y="T7"/>
                  </a:cxn>
                  <a:cxn ang="0">
                    <a:pos x="T8" y="T9"/>
                  </a:cxn>
                </a:cxnLst>
                <a:rect l="0" t="0" r="r" b="b"/>
                <a:pathLst>
                  <a:path w="464" h="317">
                    <a:moveTo>
                      <a:pt x="0" y="0"/>
                    </a:moveTo>
                    <a:lnTo>
                      <a:pt x="0" y="49"/>
                    </a:lnTo>
                    <a:lnTo>
                      <a:pt x="464" y="317"/>
                    </a:lnTo>
                    <a:lnTo>
                      <a:pt x="464" y="26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96" name="iṡḻíḑé"/>
              <p:cNvSpPr/>
              <p:nvPr/>
            </p:nvSpPr>
            <p:spPr bwMode="auto">
              <a:xfrm>
                <a:off x="3382" y="1725"/>
                <a:ext cx="24" cy="63"/>
              </a:xfrm>
              <a:custGeom>
                <a:avLst/>
                <a:gdLst>
                  <a:gd name="T0" fmla="*/ 24 w 24"/>
                  <a:gd name="T1" fmla="*/ 0 h 63"/>
                  <a:gd name="T2" fmla="*/ 0 w 24"/>
                  <a:gd name="T3" fmla="*/ 14 h 63"/>
                  <a:gd name="T4" fmla="*/ 0 w 24"/>
                  <a:gd name="T5" fmla="*/ 63 h 63"/>
                  <a:gd name="T6" fmla="*/ 22 w 24"/>
                  <a:gd name="T7" fmla="*/ 49 h 63"/>
                  <a:gd name="T8" fmla="*/ 24 w 24"/>
                  <a:gd name="T9" fmla="*/ 0 h 63"/>
                </a:gdLst>
                <a:ahLst/>
                <a:cxnLst>
                  <a:cxn ang="0">
                    <a:pos x="T0" y="T1"/>
                  </a:cxn>
                  <a:cxn ang="0">
                    <a:pos x="T2" y="T3"/>
                  </a:cxn>
                  <a:cxn ang="0">
                    <a:pos x="T4" y="T5"/>
                  </a:cxn>
                  <a:cxn ang="0">
                    <a:pos x="T6" y="T7"/>
                  </a:cxn>
                  <a:cxn ang="0">
                    <a:pos x="T8" y="T9"/>
                  </a:cxn>
                </a:cxnLst>
                <a:rect l="0" t="0" r="r" b="b"/>
                <a:pathLst>
                  <a:path w="24" h="63">
                    <a:moveTo>
                      <a:pt x="24" y="0"/>
                    </a:moveTo>
                    <a:lnTo>
                      <a:pt x="0" y="14"/>
                    </a:lnTo>
                    <a:lnTo>
                      <a:pt x="0" y="63"/>
                    </a:lnTo>
                    <a:lnTo>
                      <a:pt x="22" y="49"/>
                    </a:lnTo>
                    <a:lnTo>
                      <a:pt x="24" y="0"/>
                    </a:lnTo>
                    <a:close/>
                  </a:path>
                </a:pathLst>
              </a:custGeom>
              <a:solidFill>
                <a:srgbClr val="DAEEF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97" name="ïšlïďê"/>
              <p:cNvSpPr/>
              <p:nvPr/>
            </p:nvSpPr>
            <p:spPr bwMode="auto">
              <a:xfrm>
                <a:off x="3382" y="1725"/>
                <a:ext cx="24" cy="63"/>
              </a:xfrm>
              <a:custGeom>
                <a:avLst/>
                <a:gdLst>
                  <a:gd name="T0" fmla="*/ 24 w 24"/>
                  <a:gd name="T1" fmla="*/ 0 h 63"/>
                  <a:gd name="T2" fmla="*/ 0 w 24"/>
                  <a:gd name="T3" fmla="*/ 14 h 63"/>
                  <a:gd name="T4" fmla="*/ 0 w 24"/>
                  <a:gd name="T5" fmla="*/ 63 h 63"/>
                  <a:gd name="T6" fmla="*/ 22 w 24"/>
                  <a:gd name="T7" fmla="*/ 49 h 63"/>
                  <a:gd name="T8" fmla="*/ 24 w 24"/>
                  <a:gd name="T9" fmla="*/ 0 h 63"/>
                </a:gdLst>
                <a:ahLst/>
                <a:cxnLst>
                  <a:cxn ang="0">
                    <a:pos x="T0" y="T1"/>
                  </a:cxn>
                  <a:cxn ang="0">
                    <a:pos x="T2" y="T3"/>
                  </a:cxn>
                  <a:cxn ang="0">
                    <a:pos x="T4" y="T5"/>
                  </a:cxn>
                  <a:cxn ang="0">
                    <a:pos x="T6" y="T7"/>
                  </a:cxn>
                  <a:cxn ang="0">
                    <a:pos x="T8" y="T9"/>
                  </a:cxn>
                </a:cxnLst>
                <a:rect l="0" t="0" r="r" b="b"/>
                <a:pathLst>
                  <a:path w="24" h="63">
                    <a:moveTo>
                      <a:pt x="24" y="0"/>
                    </a:moveTo>
                    <a:lnTo>
                      <a:pt x="0" y="14"/>
                    </a:lnTo>
                    <a:lnTo>
                      <a:pt x="0" y="63"/>
                    </a:lnTo>
                    <a:lnTo>
                      <a:pt x="22" y="49"/>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98" name="iŝ1îḋé"/>
              <p:cNvSpPr/>
              <p:nvPr/>
            </p:nvSpPr>
            <p:spPr bwMode="auto">
              <a:xfrm>
                <a:off x="3382" y="1725"/>
                <a:ext cx="24" cy="63"/>
              </a:xfrm>
              <a:custGeom>
                <a:avLst/>
                <a:gdLst>
                  <a:gd name="T0" fmla="*/ 24 w 24"/>
                  <a:gd name="T1" fmla="*/ 0 h 63"/>
                  <a:gd name="T2" fmla="*/ 0 w 24"/>
                  <a:gd name="T3" fmla="*/ 14 h 63"/>
                  <a:gd name="T4" fmla="*/ 0 w 24"/>
                  <a:gd name="T5" fmla="*/ 63 h 63"/>
                  <a:gd name="T6" fmla="*/ 22 w 24"/>
                  <a:gd name="T7" fmla="*/ 49 h 63"/>
                  <a:gd name="T8" fmla="*/ 24 w 24"/>
                  <a:gd name="T9" fmla="*/ 0 h 63"/>
                </a:gdLst>
                <a:ahLst/>
                <a:cxnLst>
                  <a:cxn ang="0">
                    <a:pos x="T0" y="T1"/>
                  </a:cxn>
                  <a:cxn ang="0">
                    <a:pos x="T2" y="T3"/>
                  </a:cxn>
                  <a:cxn ang="0">
                    <a:pos x="T4" y="T5"/>
                  </a:cxn>
                  <a:cxn ang="0">
                    <a:pos x="T6" y="T7"/>
                  </a:cxn>
                  <a:cxn ang="0">
                    <a:pos x="T8" y="T9"/>
                  </a:cxn>
                </a:cxnLst>
                <a:rect l="0" t="0" r="r" b="b"/>
                <a:pathLst>
                  <a:path w="24" h="63">
                    <a:moveTo>
                      <a:pt x="24" y="0"/>
                    </a:moveTo>
                    <a:lnTo>
                      <a:pt x="0" y="14"/>
                    </a:lnTo>
                    <a:lnTo>
                      <a:pt x="0" y="63"/>
                    </a:lnTo>
                    <a:lnTo>
                      <a:pt x="22" y="49"/>
                    </a:lnTo>
                    <a:lnTo>
                      <a:pt x="24" y="0"/>
                    </a:lnTo>
                    <a:close/>
                  </a:path>
                </a:pathLst>
              </a:custGeom>
              <a:solidFill>
                <a:srgbClr val="75808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99" name="íṧ1îḑé"/>
              <p:cNvSpPr/>
              <p:nvPr/>
            </p:nvSpPr>
            <p:spPr bwMode="auto">
              <a:xfrm>
                <a:off x="3382" y="1725"/>
                <a:ext cx="24" cy="63"/>
              </a:xfrm>
              <a:custGeom>
                <a:avLst/>
                <a:gdLst>
                  <a:gd name="T0" fmla="*/ 24 w 24"/>
                  <a:gd name="T1" fmla="*/ 0 h 63"/>
                  <a:gd name="T2" fmla="*/ 0 w 24"/>
                  <a:gd name="T3" fmla="*/ 14 h 63"/>
                  <a:gd name="T4" fmla="*/ 0 w 24"/>
                  <a:gd name="T5" fmla="*/ 63 h 63"/>
                  <a:gd name="T6" fmla="*/ 22 w 24"/>
                  <a:gd name="T7" fmla="*/ 49 h 63"/>
                  <a:gd name="T8" fmla="*/ 24 w 24"/>
                  <a:gd name="T9" fmla="*/ 0 h 63"/>
                </a:gdLst>
                <a:ahLst/>
                <a:cxnLst>
                  <a:cxn ang="0">
                    <a:pos x="T0" y="T1"/>
                  </a:cxn>
                  <a:cxn ang="0">
                    <a:pos x="T2" y="T3"/>
                  </a:cxn>
                  <a:cxn ang="0">
                    <a:pos x="T4" y="T5"/>
                  </a:cxn>
                  <a:cxn ang="0">
                    <a:pos x="T6" y="T7"/>
                  </a:cxn>
                  <a:cxn ang="0">
                    <a:pos x="T8" y="T9"/>
                  </a:cxn>
                </a:cxnLst>
                <a:rect l="0" t="0" r="r" b="b"/>
                <a:pathLst>
                  <a:path w="24" h="63">
                    <a:moveTo>
                      <a:pt x="24" y="0"/>
                    </a:moveTo>
                    <a:lnTo>
                      <a:pt x="0" y="14"/>
                    </a:lnTo>
                    <a:lnTo>
                      <a:pt x="0" y="63"/>
                    </a:lnTo>
                    <a:lnTo>
                      <a:pt x="22" y="49"/>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00" name="íṧḷíḓê"/>
              <p:cNvSpPr/>
              <p:nvPr/>
            </p:nvSpPr>
            <p:spPr bwMode="auto">
              <a:xfrm>
                <a:off x="2918" y="1457"/>
                <a:ext cx="488" cy="282"/>
              </a:xfrm>
              <a:custGeom>
                <a:avLst/>
                <a:gdLst>
                  <a:gd name="T0" fmla="*/ 22 w 488"/>
                  <a:gd name="T1" fmla="*/ 0 h 282"/>
                  <a:gd name="T2" fmla="*/ 0 w 488"/>
                  <a:gd name="T3" fmla="*/ 14 h 282"/>
                  <a:gd name="T4" fmla="*/ 464 w 488"/>
                  <a:gd name="T5" fmla="*/ 282 h 282"/>
                  <a:gd name="T6" fmla="*/ 488 w 488"/>
                  <a:gd name="T7" fmla="*/ 268 h 282"/>
                  <a:gd name="T8" fmla="*/ 22 w 488"/>
                  <a:gd name="T9" fmla="*/ 0 h 282"/>
                </a:gdLst>
                <a:ahLst/>
                <a:cxnLst>
                  <a:cxn ang="0">
                    <a:pos x="T0" y="T1"/>
                  </a:cxn>
                  <a:cxn ang="0">
                    <a:pos x="T2" y="T3"/>
                  </a:cxn>
                  <a:cxn ang="0">
                    <a:pos x="T4" y="T5"/>
                  </a:cxn>
                  <a:cxn ang="0">
                    <a:pos x="T6" y="T7"/>
                  </a:cxn>
                  <a:cxn ang="0">
                    <a:pos x="T8" y="T9"/>
                  </a:cxn>
                </a:cxnLst>
                <a:rect l="0" t="0" r="r" b="b"/>
                <a:pathLst>
                  <a:path w="488" h="282">
                    <a:moveTo>
                      <a:pt x="22" y="0"/>
                    </a:moveTo>
                    <a:lnTo>
                      <a:pt x="0" y="14"/>
                    </a:lnTo>
                    <a:lnTo>
                      <a:pt x="464" y="282"/>
                    </a:lnTo>
                    <a:lnTo>
                      <a:pt x="488" y="268"/>
                    </a:lnTo>
                    <a:lnTo>
                      <a:pt x="22" y="0"/>
                    </a:lnTo>
                    <a:close/>
                  </a:path>
                </a:pathLst>
              </a:custGeom>
              <a:solidFill>
                <a:srgbClr val="DAEEF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01" name="îS1îḋè"/>
              <p:cNvSpPr/>
              <p:nvPr/>
            </p:nvSpPr>
            <p:spPr bwMode="auto">
              <a:xfrm>
                <a:off x="2918" y="1457"/>
                <a:ext cx="488" cy="282"/>
              </a:xfrm>
              <a:custGeom>
                <a:avLst/>
                <a:gdLst>
                  <a:gd name="T0" fmla="*/ 22 w 488"/>
                  <a:gd name="T1" fmla="*/ 0 h 282"/>
                  <a:gd name="T2" fmla="*/ 0 w 488"/>
                  <a:gd name="T3" fmla="*/ 14 h 282"/>
                  <a:gd name="T4" fmla="*/ 464 w 488"/>
                  <a:gd name="T5" fmla="*/ 282 h 282"/>
                  <a:gd name="T6" fmla="*/ 488 w 488"/>
                  <a:gd name="T7" fmla="*/ 268 h 282"/>
                  <a:gd name="T8" fmla="*/ 22 w 488"/>
                  <a:gd name="T9" fmla="*/ 0 h 282"/>
                </a:gdLst>
                <a:ahLst/>
                <a:cxnLst>
                  <a:cxn ang="0">
                    <a:pos x="T0" y="T1"/>
                  </a:cxn>
                  <a:cxn ang="0">
                    <a:pos x="T2" y="T3"/>
                  </a:cxn>
                  <a:cxn ang="0">
                    <a:pos x="T4" y="T5"/>
                  </a:cxn>
                  <a:cxn ang="0">
                    <a:pos x="T6" y="T7"/>
                  </a:cxn>
                  <a:cxn ang="0">
                    <a:pos x="T8" y="T9"/>
                  </a:cxn>
                </a:cxnLst>
                <a:rect l="0" t="0" r="r" b="b"/>
                <a:pathLst>
                  <a:path w="488" h="282">
                    <a:moveTo>
                      <a:pt x="22" y="0"/>
                    </a:moveTo>
                    <a:lnTo>
                      <a:pt x="0" y="14"/>
                    </a:lnTo>
                    <a:lnTo>
                      <a:pt x="464" y="282"/>
                    </a:lnTo>
                    <a:lnTo>
                      <a:pt x="488" y="268"/>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02" name="ï$líḓè"/>
              <p:cNvSpPr/>
              <p:nvPr/>
            </p:nvSpPr>
            <p:spPr bwMode="auto">
              <a:xfrm>
                <a:off x="2918" y="1457"/>
                <a:ext cx="488" cy="282"/>
              </a:xfrm>
              <a:custGeom>
                <a:avLst/>
                <a:gdLst>
                  <a:gd name="T0" fmla="*/ 22 w 488"/>
                  <a:gd name="T1" fmla="*/ 0 h 282"/>
                  <a:gd name="T2" fmla="*/ 0 w 488"/>
                  <a:gd name="T3" fmla="*/ 14 h 282"/>
                  <a:gd name="T4" fmla="*/ 464 w 488"/>
                  <a:gd name="T5" fmla="*/ 282 h 282"/>
                  <a:gd name="T6" fmla="*/ 488 w 488"/>
                  <a:gd name="T7" fmla="*/ 268 h 282"/>
                  <a:gd name="T8" fmla="*/ 22 w 488"/>
                  <a:gd name="T9" fmla="*/ 0 h 282"/>
                </a:gdLst>
                <a:ahLst/>
                <a:cxnLst>
                  <a:cxn ang="0">
                    <a:pos x="T0" y="T1"/>
                  </a:cxn>
                  <a:cxn ang="0">
                    <a:pos x="T2" y="T3"/>
                  </a:cxn>
                  <a:cxn ang="0">
                    <a:pos x="T4" y="T5"/>
                  </a:cxn>
                  <a:cxn ang="0">
                    <a:pos x="T6" y="T7"/>
                  </a:cxn>
                  <a:cxn ang="0">
                    <a:pos x="T8" y="T9"/>
                  </a:cxn>
                </a:cxnLst>
                <a:rect l="0" t="0" r="r" b="b"/>
                <a:pathLst>
                  <a:path w="488" h="282">
                    <a:moveTo>
                      <a:pt x="22" y="0"/>
                    </a:moveTo>
                    <a:lnTo>
                      <a:pt x="0" y="14"/>
                    </a:lnTo>
                    <a:lnTo>
                      <a:pt x="464" y="282"/>
                    </a:lnTo>
                    <a:lnTo>
                      <a:pt x="488" y="268"/>
                    </a:lnTo>
                    <a:lnTo>
                      <a:pt x="22" y="0"/>
                    </a:lnTo>
                    <a:close/>
                  </a:path>
                </a:pathLst>
              </a:custGeom>
              <a:solidFill>
                <a:srgbClr val="ADB5B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03" name="i$ļiḑê"/>
              <p:cNvSpPr/>
              <p:nvPr/>
            </p:nvSpPr>
            <p:spPr bwMode="auto">
              <a:xfrm>
                <a:off x="2918" y="1457"/>
                <a:ext cx="488" cy="282"/>
              </a:xfrm>
              <a:custGeom>
                <a:avLst/>
                <a:gdLst>
                  <a:gd name="T0" fmla="*/ 22 w 488"/>
                  <a:gd name="T1" fmla="*/ 0 h 282"/>
                  <a:gd name="T2" fmla="*/ 0 w 488"/>
                  <a:gd name="T3" fmla="*/ 14 h 282"/>
                  <a:gd name="T4" fmla="*/ 464 w 488"/>
                  <a:gd name="T5" fmla="*/ 282 h 282"/>
                  <a:gd name="T6" fmla="*/ 488 w 488"/>
                  <a:gd name="T7" fmla="*/ 268 h 282"/>
                  <a:gd name="T8" fmla="*/ 22 w 488"/>
                  <a:gd name="T9" fmla="*/ 0 h 282"/>
                </a:gdLst>
                <a:ahLst/>
                <a:cxnLst>
                  <a:cxn ang="0">
                    <a:pos x="T0" y="T1"/>
                  </a:cxn>
                  <a:cxn ang="0">
                    <a:pos x="T2" y="T3"/>
                  </a:cxn>
                  <a:cxn ang="0">
                    <a:pos x="T4" y="T5"/>
                  </a:cxn>
                  <a:cxn ang="0">
                    <a:pos x="T6" y="T7"/>
                  </a:cxn>
                  <a:cxn ang="0">
                    <a:pos x="T8" y="T9"/>
                  </a:cxn>
                </a:cxnLst>
                <a:rect l="0" t="0" r="r" b="b"/>
                <a:pathLst>
                  <a:path w="488" h="282">
                    <a:moveTo>
                      <a:pt x="22" y="0"/>
                    </a:moveTo>
                    <a:lnTo>
                      <a:pt x="0" y="14"/>
                    </a:lnTo>
                    <a:lnTo>
                      <a:pt x="464" y="282"/>
                    </a:lnTo>
                    <a:lnTo>
                      <a:pt x="488" y="268"/>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04" name="ïṧḷïḓè"/>
              <p:cNvSpPr/>
              <p:nvPr/>
            </p:nvSpPr>
            <p:spPr bwMode="auto">
              <a:xfrm>
                <a:off x="2918" y="1569"/>
                <a:ext cx="464" cy="315"/>
              </a:xfrm>
              <a:custGeom>
                <a:avLst/>
                <a:gdLst>
                  <a:gd name="T0" fmla="*/ 0 w 464"/>
                  <a:gd name="T1" fmla="*/ 0 h 315"/>
                  <a:gd name="T2" fmla="*/ 0 w 464"/>
                  <a:gd name="T3" fmla="*/ 47 h 315"/>
                  <a:gd name="T4" fmla="*/ 464 w 464"/>
                  <a:gd name="T5" fmla="*/ 315 h 315"/>
                  <a:gd name="T6" fmla="*/ 464 w 464"/>
                  <a:gd name="T7" fmla="*/ 268 h 315"/>
                  <a:gd name="T8" fmla="*/ 0 w 464"/>
                  <a:gd name="T9" fmla="*/ 0 h 315"/>
                </a:gdLst>
                <a:ahLst/>
                <a:cxnLst>
                  <a:cxn ang="0">
                    <a:pos x="T0" y="T1"/>
                  </a:cxn>
                  <a:cxn ang="0">
                    <a:pos x="T2" y="T3"/>
                  </a:cxn>
                  <a:cxn ang="0">
                    <a:pos x="T4" y="T5"/>
                  </a:cxn>
                  <a:cxn ang="0">
                    <a:pos x="T6" y="T7"/>
                  </a:cxn>
                  <a:cxn ang="0">
                    <a:pos x="T8" y="T9"/>
                  </a:cxn>
                </a:cxnLst>
                <a:rect l="0" t="0" r="r" b="b"/>
                <a:pathLst>
                  <a:path w="464" h="315">
                    <a:moveTo>
                      <a:pt x="0" y="0"/>
                    </a:moveTo>
                    <a:lnTo>
                      <a:pt x="0" y="47"/>
                    </a:lnTo>
                    <a:lnTo>
                      <a:pt x="464" y="315"/>
                    </a:lnTo>
                    <a:lnTo>
                      <a:pt x="464" y="268"/>
                    </a:lnTo>
                    <a:lnTo>
                      <a:pt x="0" y="0"/>
                    </a:lnTo>
                    <a:close/>
                  </a:path>
                </a:pathLst>
              </a:custGeom>
              <a:solidFill>
                <a:srgbClr val="DAEEF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05" name="íṥḻídé"/>
              <p:cNvSpPr/>
              <p:nvPr/>
            </p:nvSpPr>
            <p:spPr bwMode="auto">
              <a:xfrm>
                <a:off x="2918" y="1569"/>
                <a:ext cx="464" cy="315"/>
              </a:xfrm>
              <a:custGeom>
                <a:avLst/>
                <a:gdLst>
                  <a:gd name="T0" fmla="*/ 0 w 464"/>
                  <a:gd name="T1" fmla="*/ 0 h 315"/>
                  <a:gd name="T2" fmla="*/ 0 w 464"/>
                  <a:gd name="T3" fmla="*/ 47 h 315"/>
                  <a:gd name="T4" fmla="*/ 464 w 464"/>
                  <a:gd name="T5" fmla="*/ 315 h 315"/>
                  <a:gd name="T6" fmla="*/ 464 w 464"/>
                  <a:gd name="T7" fmla="*/ 268 h 315"/>
                  <a:gd name="T8" fmla="*/ 0 w 464"/>
                  <a:gd name="T9" fmla="*/ 0 h 315"/>
                </a:gdLst>
                <a:ahLst/>
                <a:cxnLst>
                  <a:cxn ang="0">
                    <a:pos x="T0" y="T1"/>
                  </a:cxn>
                  <a:cxn ang="0">
                    <a:pos x="T2" y="T3"/>
                  </a:cxn>
                  <a:cxn ang="0">
                    <a:pos x="T4" y="T5"/>
                  </a:cxn>
                  <a:cxn ang="0">
                    <a:pos x="T6" y="T7"/>
                  </a:cxn>
                  <a:cxn ang="0">
                    <a:pos x="T8" y="T9"/>
                  </a:cxn>
                </a:cxnLst>
                <a:rect l="0" t="0" r="r" b="b"/>
                <a:pathLst>
                  <a:path w="464" h="315">
                    <a:moveTo>
                      <a:pt x="0" y="0"/>
                    </a:moveTo>
                    <a:lnTo>
                      <a:pt x="0" y="47"/>
                    </a:lnTo>
                    <a:lnTo>
                      <a:pt x="464" y="315"/>
                    </a:lnTo>
                    <a:lnTo>
                      <a:pt x="464" y="26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06" name="ïṣ1íḍê"/>
              <p:cNvSpPr/>
              <p:nvPr/>
            </p:nvSpPr>
            <p:spPr bwMode="auto">
              <a:xfrm>
                <a:off x="2918" y="1569"/>
                <a:ext cx="464" cy="315"/>
              </a:xfrm>
              <a:custGeom>
                <a:avLst/>
                <a:gdLst>
                  <a:gd name="T0" fmla="*/ 0 w 464"/>
                  <a:gd name="T1" fmla="*/ 0 h 315"/>
                  <a:gd name="T2" fmla="*/ 0 w 464"/>
                  <a:gd name="T3" fmla="*/ 47 h 315"/>
                  <a:gd name="T4" fmla="*/ 464 w 464"/>
                  <a:gd name="T5" fmla="*/ 315 h 315"/>
                  <a:gd name="T6" fmla="*/ 464 w 464"/>
                  <a:gd name="T7" fmla="*/ 268 h 315"/>
                  <a:gd name="T8" fmla="*/ 0 w 464"/>
                  <a:gd name="T9" fmla="*/ 0 h 315"/>
                </a:gdLst>
                <a:ahLst/>
                <a:cxnLst>
                  <a:cxn ang="0">
                    <a:pos x="T0" y="T1"/>
                  </a:cxn>
                  <a:cxn ang="0">
                    <a:pos x="T2" y="T3"/>
                  </a:cxn>
                  <a:cxn ang="0">
                    <a:pos x="T4" y="T5"/>
                  </a:cxn>
                  <a:cxn ang="0">
                    <a:pos x="T6" y="T7"/>
                  </a:cxn>
                  <a:cxn ang="0">
                    <a:pos x="T8" y="T9"/>
                  </a:cxn>
                </a:cxnLst>
                <a:rect l="0" t="0" r="r" b="b"/>
                <a:pathLst>
                  <a:path w="464" h="315">
                    <a:moveTo>
                      <a:pt x="0" y="0"/>
                    </a:moveTo>
                    <a:lnTo>
                      <a:pt x="0" y="47"/>
                    </a:lnTo>
                    <a:lnTo>
                      <a:pt x="464" y="315"/>
                    </a:lnTo>
                    <a:lnTo>
                      <a:pt x="464" y="268"/>
                    </a:lnTo>
                    <a:lnTo>
                      <a:pt x="0" y="0"/>
                    </a:lnTo>
                    <a:close/>
                  </a:path>
                </a:pathLst>
              </a:custGeom>
              <a:solidFill>
                <a:srgbClr val="909193"/>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07" name="ïṥľîḓe"/>
              <p:cNvSpPr/>
              <p:nvPr/>
            </p:nvSpPr>
            <p:spPr bwMode="auto">
              <a:xfrm>
                <a:off x="2918" y="1569"/>
                <a:ext cx="464" cy="315"/>
              </a:xfrm>
              <a:custGeom>
                <a:avLst/>
                <a:gdLst>
                  <a:gd name="T0" fmla="*/ 0 w 464"/>
                  <a:gd name="T1" fmla="*/ 0 h 315"/>
                  <a:gd name="T2" fmla="*/ 0 w 464"/>
                  <a:gd name="T3" fmla="*/ 47 h 315"/>
                  <a:gd name="T4" fmla="*/ 464 w 464"/>
                  <a:gd name="T5" fmla="*/ 315 h 315"/>
                  <a:gd name="T6" fmla="*/ 464 w 464"/>
                  <a:gd name="T7" fmla="*/ 268 h 315"/>
                  <a:gd name="T8" fmla="*/ 0 w 464"/>
                  <a:gd name="T9" fmla="*/ 0 h 315"/>
                </a:gdLst>
                <a:ahLst/>
                <a:cxnLst>
                  <a:cxn ang="0">
                    <a:pos x="T0" y="T1"/>
                  </a:cxn>
                  <a:cxn ang="0">
                    <a:pos x="T2" y="T3"/>
                  </a:cxn>
                  <a:cxn ang="0">
                    <a:pos x="T4" y="T5"/>
                  </a:cxn>
                  <a:cxn ang="0">
                    <a:pos x="T6" y="T7"/>
                  </a:cxn>
                  <a:cxn ang="0">
                    <a:pos x="T8" y="T9"/>
                  </a:cxn>
                </a:cxnLst>
                <a:rect l="0" t="0" r="r" b="b"/>
                <a:pathLst>
                  <a:path w="464" h="315">
                    <a:moveTo>
                      <a:pt x="0" y="0"/>
                    </a:moveTo>
                    <a:lnTo>
                      <a:pt x="0" y="47"/>
                    </a:lnTo>
                    <a:lnTo>
                      <a:pt x="464" y="315"/>
                    </a:lnTo>
                    <a:lnTo>
                      <a:pt x="464" y="26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08" name="iš1îḑè"/>
              <p:cNvSpPr/>
              <p:nvPr/>
            </p:nvSpPr>
            <p:spPr bwMode="auto">
              <a:xfrm>
                <a:off x="3382" y="1823"/>
                <a:ext cx="24" cy="61"/>
              </a:xfrm>
              <a:custGeom>
                <a:avLst/>
                <a:gdLst>
                  <a:gd name="T0" fmla="*/ 24 w 24"/>
                  <a:gd name="T1" fmla="*/ 0 h 61"/>
                  <a:gd name="T2" fmla="*/ 0 w 24"/>
                  <a:gd name="T3" fmla="*/ 14 h 61"/>
                  <a:gd name="T4" fmla="*/ 0 w 24"/>
                  <a:gd name="T5" fmla="*/ 61 h 61"/>
                  <a:gd name="T6" fmla="*/ 22 w 24"/>
                  <a:gd name="T7" fmla="*/ 50 h 61"/>
                  <a:gd name="T8" fmla="*/ 24 w 24"/>
                  <a:gd name="T9" fmla="*/ 0 h 61"/>
                </a:gdLst>
                <a:ahLst/>
                <a:cxnLst>
                  <a:cxn ang="0">
                    <a:pos x="T0" y="T1"/>
                  </a:cxn>
                  <a:cxn ang="0">
                    <a:pos x="T2" y="T3"/>
                  </a:cxn>
                  <a:cxn ang="0">
                    <a:pos x="T4" y="T5"/>
                  </a:cxn>
                  <a:cxn ang="0">
                    <a:pos x="T6" y="T7"/>
                  </a:cxn>
                  <a:cxn ang="0">
                    <a:pos x="T8" y="T9"/>
                  </a:cxn>
                </a:cxnLst>
                <a:rect l="0" t="0" r="r" b="b"/>
                <a:pathLst>
                  <a:path w="24" h="61">
                    <a:moveTo>
                      <a:pt x="24" y="0"/>
                    </a:moveTo>
                    <a:lnTo>
                      <a:pt x="0" y="14"/>
                    </a:lnTo>
                    <a:lnTo>
                      <a:pt x="0" y="61"/>
                    </a:lnTo>
                    <a:lnTo>
                      <a:pt x="22" y="50"/>
                    </a:lnTo>
                    <a:lnTo>
                      <a:pt x="24" y="0"/>
                    </a:lnTo>
                    <a:close/>
                  </a:path>
                </a:pathLst>
              </a:custGeom>
              <a:solidFill>
                <a:srgbClr val="DAEEF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09" name="ïślïḍê"/>
              <p:cNvSpPr/>
              <p:nvPr/>
            </p:nvSpPr>
            <p:spPr bwMode="auto">
              <a:xfrm>
                <a:off x="3382" y="1823"/>
                <a:ext cx="24" cy="61"/>
              </a:xfrm>
              <a:custGeom>
                <a:avLst/>
                <a:gdLst>
                  <a:gd name="T0" fmla="*/ 24 w 24"/>
                  <a:gd name="T1" fmla="*/ 0 h 61"/>
                  <a:gd name="T2" fmla="*/ 0 w 24"/>
                  <a:gd name="T3" fmla="*/ 14 h 61"/>
                  <a:gd name="T4" fmla="*/ 0 w 24"/>
                  <a:gd name="T5" fmla="*/ 61 h 61"/>
                  <a:gd name="T6" fmla="*/ 22 w 24"/>
                  <a:gd name="T7" fmla="*/ 50 h 61"/>
                  <a:gd name="T8" fmla="*/ 24 w 24"/>
                  <a:gd name="T9" fmla="*/ 0 h 61"/>
                </a:gdLst>
                <a:ahLst/>
                <a:cxnLst>
                  <a:cxn ang="0">
                    <a:pos x="T0" y="T1"/>
                  </a:cxn>
                  <a:cxn ang="0">
                    <a:pos x="T2" y="T3"/>
                  </a:cxn>
                  <a:cxn ang="0">
                    <a:pos x="T4" y="T5"/>
                  </a:cxn>
                  <a:cxn ang="0">
                    <a:pos x="T6" y="T7"/>
                  </a:cxn>
                  <a:cxn ang="0">
                    <a:pos x="T8" y="T9"/>
                  </a:cxn>
                </a:cxnLst>
                <a:rect l="0" t="0" r="r" b="b"/>
                <a:pathLst>
                  <a:path w="24" h="61">
                    <a:moveTo>
                      <a:pt x="24" y="0"/>
                    </a:moveTo>
                    <a:lnTo>
                      <a:pt x="0" y="14"/>
                    </a:lnTo>
                    <a:lnTo>
                      <a:pt x="0" y="61"/>
                    </a:lnTo>
                    <a:lnTo>
                      <a:pt x="22" y="50"/>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10" name="iṥlîḋé"/>
              <p:cNvSpPr/>
              <p:nvPr/>
            </p:nvSpPr>
            <p:spPr bwMode="auto">
              <a:xfrm>
                <a:off x="3382" y="1823"/>
                <a:ext cx="24" cy="61"/>
              </a:xfrm>
              <a:custGeom>
                <a:avLst/>
                <a:gdLst>
                  <a:gd name="T0" fmla="*/ 24 w 24"/>
                  <a:gd name="T1" fmla="*/ 0 h 61"/>
                  <a:gd name="T2" fmla="*/ 0 w 24"/>
                  <a:gd name="T3" fmla="*/ 14 h 61"/>
                  <a:gd name="T4" fmla="*/ 0 w 24"/>
                  <a:gd name="T5" fmla="*/ 61 h 61"/>
                  <a:gd name="T6" fmla="*/ 22 w 24"/>
                  <a:gd name="T7" fmla="*/ 50 h 61"/>
                  <a:gd name="T8" fmla="*/ 24 w 24"/>
                  <a:gd name="T9" fmla="*/ 0 h 61"/>
                </a:gdLst>
                <a:ahLst/>
                <a:cxnLst>
                  <a:cxn ang="0">
                    <a:pos x="T0" y="T1"/>
                  </a:cxn>
                  <a:cxn ang="0">
                    <a:pos x="T2" y="T3"/>
                  </a:cxn>
                  <a:cxn ang="0">
                    <a:pos x="T4" y="T5"/>
                  </a:cxn>
                  <a:cxn ang="0">
                    <a:pos x="T6" y="T7"/>
                  </a:cxn>
                  <a:cxn ang="0">
                    <a:pos x="T8" y="T9"/>
                  </a:cxn>
                </a:cxnLst>
                <a:rect l="0" t="0" r="r" b="b"/>
                <a:pathLst>
                  <a:path w="24" h="61">
                    <a:moveTo>
                      <a:pt x="24" y="0"/>
                    </a:moveTo>
                    <a:lnTo>
                      <a:pt x="0" y="14"/>
                    </a:lnTo>
                    <a:lnTo>
                      <a:pt x="0" y="61"/>
                    </a:lnTo>
                    <a:lnTo>
                      <a:pt x="22" y="50"/>
                    </a:lnTo>
                    <a:lnTo>
                      <a:pt x="24" y="0"/>
                    </a:lnTo>
                    <a:close/>
                  </a:path>
                </a:pathLst>
              </a:custGeom>
              <a:solidFill>
                <a:srgbClr val="75808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11" name="íṥlîḑe"/>
              <p:cNvSpPr/>
              <p:nvPr/>
            </p:nvSpPr>
            <p:spPr bwMode="auto">
              <a:xfrm>
                <a:off x="3382" y="1823"/>
                <a:ext cx="24" cy="61"/>
              </a:xfrm>
              <a:custGeom>
                <a:avLst/>
                <a:gdLst>
                  <a:gd name="T0" fmla="*/ 24 w 24"/>
                  <a:gd name="T1" fmla="*/ 0 h 61"/>
                  <a:gd name="T2" fmla="*/ 0 w 24"/>
                  <a:gd name="T3" fmla="*/ 14 h 61"/>
                  <a:gd name="T4" fmla="*/ 0 w 24"/>
                  <a:gd name="T5" fmla="*/ 61 h 61"/>
                  <a:gd name="T6" fmla="*/ 22 w 24"/>
                  <a:gd name="T7" fmla="*/ 50 h 61"/>
                  <a:gd name="T8" fmla="*/ 24 w 24"/>
                  <a:gd name="T9" fmla="*/ 0 h 61"/>
                </a:gdLst>
                <a:ahLst/>
                <a:cxnLst>
                  <a:cxn ang="0">
                    <a:pos x="T0" y="T1"/>
                  </a:cxn>
                  <a:cxn ang="0">
                    <a:pos x="T2" y="T3"/>
                  </a:cxn>
                  <a:cxn ang="0">
                    <a:pos x="T4" y="T5"/>
                  </a:cxn>
                  <a:cxn ang="0">
                    <a:pos x="T6" y="T7"/>
                  </a:cxn>
                  <a:cxn ang="0">
                    <a:pos x="T8" y="T9"/>
                  </a:cxn>
                </a:cxnLst>
                <a:rect l="0" t="0" r="r" b="b"/>
                <a:pathLst>
                  <a:path w="24" h="61">
                    <a:moveTo>
                      <a:pt x="24" y="0"/>
                    </a:moveTo>
                    <a:lnTo>
                      <a:pt x="0" y="14"/>
                    </a:lnTo>
                    <a:lnTo>
                      <a:pt x="0" y="61"/>
                    </a:lnTo>
                    <a:lnTo>
                      <a:pt x="22" y="50"/>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12" name="íṣḻïḍe"/>
              <p:cNvSpPr/>
              <p:nvPr/>
            </p:nvSpPr>
            <p:spPr bwMode="auto">
              <a:xfrm>
                <a:off x="2918" y="1555"/>
                <a:ext cx="488" cy="282"/>
              </a:xfrm>
              <a:custGeom>
                <a:avLst/>
                <a:gdLst>
                  <a:gd name="T0" fmla="*/ 22 w 488"/>
                  <a:gd name="T1" fmla="*/ 0 h 282"/>
                  <a:gd name="T2" fmla="*/ 0 w 488"/>
                  <a:gd name="T3" fmla="*/ 14 h 282"/>
                  <a:gd name="T4" fmla="*/ 464 w 488"/>
                  <a:gd name="T5" fmla="*/ 282 h 282"/>
                  <a:gd name="T6" fmla="*/ 488 w 488"/>
                  <a:gd name="T7" fmla="*/ 268 h 282"/>
                  <a:gd name="T8" fmla="*/ 22 w 488"/>
                  <a:gd name="T9" fmla="*/ 0 h 282"/>
                </a:gdLst>
                <a:ahLst/>
                <a:cxnLst>
                  <a:cxn ang="0">
                    <a:pos x="T0" y="T1"/>
                  </a:cxn>
                  <a:cxn ang="0">
                    <a:pos x="T2" y="T3"/>
                  </a:cxn>
                  <a:cxn ang="0">
                    <a:pos x="T4" y="T5"/>
                  </a:cxn>
                  <a:cxn ang="0">
                    <a:pos x="T6" y="T7"/>
                  </a:cxn>
                  <a:cxn ang="0">
                    <a:pos x="T8" y="T9"/>
                  </a:cxn>
                </a:cxnLst>
                <a:rect l="0" t="0" r="r" b="b"/>
                <a:pathLst>
                  <a:path w="488" h="282">
                    <a:moveTo>
                      <a:pt x="22" y="0"/>
                    </a:moveTo>
                    <a:lnTo>
                      <a:pt x="0" y="14"/>
                    </a:lnTo>
                    <a:lnTo>
                      <a:pt x="464" y="282"/>
                    </a:lnTo>
                    <a:lnTo>
                      <a:pt x="488" y="268"/>
                    </a:lnTo>
                    <a:lnTo>
                      <a:pt x="22" y="0"/>
                    </a:lnTo>
                    <a:close/>
                  </a:path>
                </a:pathLst>
              </a:custGeom>
              <a:solidFill>
                <a:srgbClr val="DAEEF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13" name="ís1îḓê"/>
              <p:cNvSpPr/>
              <p:nvPr/>
            </p:nvSpPr>
            <p:spPr bwMode="auto">
              <a:xfrm>
                <a:off x="2918" y="1555"/>
                <a:ext cx="488" cy="282"/>
              </a:xfrm>
              <a:custGeom>
                <a:avLst/>
                <a:gdLst>
                  <a:gd name="T0" fmla="*/ 22 w 488"/>
                  <a:gd name="T1" fmla="*/ 0 h 282"/>
                  <a:gd name="T2" fmla="*/ 0 w 488"/>
                  <a:gd name="T3" fmla="*/ 14 h 282"/>
                  <a:gd name="T4" fmla="*/ 464 w 488"/>
                  <a:gd name="T5" fmla="*/ 282 h 282"/>
                  <a:gd name="T6" fmla="*/ 488 w 488"/>
                  <a:gd name="T7" fmla="*/ 268 h 282"/>
                  <a:gd name="T8" fmla="*/ 22 w 488"/>
                  <a:gd name="T9" fmla="*/ 0 h 282"/>
                </a:gdLst>
                <a:ahLst/>
                <a:cxnLst>
                  <a:cxn ang="0">
                    <a:pos x="T0" y="T1"/>
                  </a:cxn>
                  <a:cxn ang="0">
                    <a:pos x="T2" y="T3"/>
                  </a:cxn>
                  <a:cxn ang="0">
                    <a:pos x="T4" y="T5"/>
                  </a:cxn>
                  <a:cxn ang="0">
                    <a:pos x="T6" y="T7"/>
                  </a:cxn>
                  <a:cxn ang="0">
                    <a:pos x="T8" y="T9"/>
                  </a:cxn>
                </a:cxnLst>
                <a:rect l="0" t="0" r="r" b="b"/>
                <a:pathLst>
                  <a:path w="488" h="282">
                    <a:moveTo>
                      <a:pt x="22" y="0"/>
                    </a:moveTo>
                    <a:lnTo>
                      <a:pt x="0" y="14"/>
                    </a:lnTo>
                    <a:lnTo>
                      <a:pt x="464" y="282"/>
                    </a:lnTo>
                    <a:lnTo>
                      <a:pt x="488" y="268"/>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14" name="iṣḻîḍê"/>
              <p:cNvSpPr/>
              <p:nvPr/>
            </p:nvSpPr>
            <p:spPr bwMode="auto">
              <a:xfrm>
                <a:off x="2918" y="1555"/>
                <a:ext cx="488" cy="282"/>
              </a:xfrm>
              <a:custGeom>
                <a:avLst/>
                <a:gdLst>
                  <a:gd name="T0" fmla="*/ 22 w 488"/>
                  <a:gd name="T1" fmla="*/ 0 h 282"/>
                  <a:gd name="T2" fmla="*/ 0 w 488"/>
                  <a:gd name="T3" fmla="*/ 14 h 282"/>
                  <a:gd name="T4" fmla="*/ 464 w 488"/>
                  <a:gd name="T5" fmla="*/ 282 h 282"/>
                  <a:gd name="T6" fmla="*/ 488 w 488"/>
                  <a:gd name="T7" fmla="*/ 268 h 282"/>
                  <a:gd name="T8" fmla="*/ 22 w 488"/>
                  <a:gd name="T9" fmla="*/ 0 h 282"/>
                </a:gdLst>
                <a:ahLst/>
                <a:cxnLst>
                  <a:cxn ang="0">
                    <a:pos x="T0" y="T1"/>
                  </a:cxn>
                  <a:cxn ang="0">
                    <a:pos x="T2" y="T3"/>
                  </a:cxn>
                  <a:cxn ang="0">
                    <a:pos x="T4" y="T5"/>
                  </a:cxn>
                  <a:cxn ang="0">
                    <a:pos x="T6" y="T7"/>
                  </a:cxn>
                  <a:cxn ang="0">
                    <a:pos x="T8" y="T9"/>
                  </a:cxn>
                </a:cxnLst>
                <a:rect l="0" t="0" r="r" b="b"/>
                <a:pathLst>
                  <a:path w="488" h="282">
                    <a:moveTo>
                      <a:pt x="22" y="0"/>
                    </a:moveTo>
                    <a:lnTo>
                      <a:pt x="0" y="14"/>
                    </a:lnTo>
                    <a:lnTo>
                      <a:pt x="464" y="282"/>
                    </a:lnTo>
                    <a:lnTo>
                      <a:pt x="488" y="268"/>
                    </a:lnTo>
                    <a:lnTo>
                      <a:pt x="22" y="0"/>
                    </a:lnTo>
                    <a:close/>
                  </a:path>
                </a:pathLst>
              </a:custGeom>
              <a:solidFill>
                <a:srgbClr val="ADB5B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15" name="íš1iḋê"/>
              <p:cNvSpPr/>
              <p:nvPr/>
            </p:nvSpPr>
            <p:spPr bwMode="auto">
              <a:xfrm>
                <a:off x="2918" y="1555"/>
                <a:ext cx="488" cy="282"/>
              </a:xfrm>
              <a:custGeom>
                <a:avLst/>
                <a:gdLst>
                  <a:gd name="T0" fmla="*/ 22 w 488"/>
                  <a:gd name="T1" fmla="*/ 0 h 282"/>
                  <a:gd name="T2" fmla="*/ 0 w 488"/>
                  <a:gd name="T3" fmla="*/ 14 h 282"/>
                  <a:gd name="T4" fmla="*/ 464 w 488"/>
                  <a:gd name="T5" fmla="*/ 282 h 282"/>
                  <a:gd name="T6" fmla="*/ 488 w 488"/>
                  <a:gd name="T7" fmla="*/ 268 h 282"/>
                  <a:gd name="T8" fmla="*/ 22 w 488"/>
                  <a:gd name="T9" fmla="*/ 0 h 282"/>
                </a:gdLst>
                <a:ahLst/>
                <a:cxnLst>
                  <a:cxn ang="0">
                    <a:pos x="T0" y="T1"/>
                  </a:cxn>
                  <a:cxn ang="0">
                    <a:pos x="T2" y="T3"/>
                  </a:cxn>
                  <a:cxn ang="0">
                    <a:pos x="T4" y="T5"/>
                  </a:cxn>
                  <a:cxn ang="0">
                    <a:pos x="T6" y="T7"/>
                  </a:cxn>
                  <a:cxn ang="0">
                    <a:pos x="T8" y="T9"/>
                  </a:cxn>
                </a:cxnLst>
                <a:rect l="0" t="0" r="r" b="b"/>
                <a:pathLst>
                  <a:path w="488" h="282">
                    <a:moveTo>
                      <a:pt x="22" y="0"/>
                    </a:moveTo>
                    <a:lnTo>
                      <a:pt x="0" y="14"/>
                    </a:lnTo>
                    <a:lnTo>
                      <a:pt x="464" y="282"/>
                    </a:lnTo>
                    <a:lnTo>
                      <a:pt x="488" y="268"/>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16" name="îSlïḋe"/>
              <p:cNvSpPr/>
              <p:nvPr/>
            </p:nvSpPr>
            <p:spPr bwMode="auto">
              <a:xfrm>
                <a:off x="2918" y="1666"/>
                <a:ext cx="464" cy="317"/>
              </a:xfrm>
              <a:custGeom>
                <a:avLst/>
                <a:gdLst>
                  <a:gd name="T0" fmla="*/ 0 w 464"/>
                  <a:gd name="T1" fmla="*/ 0 h 317"/>
                  <a:gd name="T2" fmla="*/ 0 w 464"/>
                  <a:gd name="T3" fmla="*/ 49 h 317"/>
                  <a:gd name="T4" fmla="*/ 464 w 464"/>
                  <a:gd name="T5" fmla="*/ 317 h 317"/>
                  <a:gd name="T6" fmla="*/ 464 w 464"/>
                  <a:gd name="T7" fmla="*/ 268 h 317"/>
                  <a:gd name="T8" fmla="*/ 0 w 464"/>
                  <a:gd name="T9" fmla="*/ 0 h 317"/>
                </a:gdLst>
                <a:ahLst/>
                <a:cxnLst>
                  <a:cxn ang="0">
                    <a:pos x="T0" y="T1"/>
                  </a:cxn>
                  <a:cxn ang="0">
                    <a:pos x="T2" y="T3"/>
                  </a:cxn>
                  <a:cxn ang="0">
                    <a:pos x="T4" y="T5"/>
                  </a:cxn>
                  <a:cxn ang="0">
                    <a:pos x="T6" y="T7"/>
                  </a:cxn>
                  <a:cxn ang="0">
                    <a:pos x="T8" y="T9"/>
                  </a:cxn>
                </a:cxnLst>
                <a:rect l="0" t="0" r="r" b="b"/>
                <a:pathLst>
                  <a:path w="464" h="317">
                    <a:moveTo>
                      <a:pt x="0" y="0"/>
                    </a:moveTo>
                    <a:lnTo>
                      <a:pt x="0" y="49"/>
                    </a:lnTo>
                    <a:lnTo>
                      <a:pt x="464" y="317"/>
                    </a:lnTo>
                    <a:lnTo>
                      <a:pt x="464" y="268"/>
                    </a:lnTo>
                    <a:lnTo>
                      <a:pt x="0" y="0"/>
                    </a:lnTo>
                    <a:close/>
                  </a:path>
                </a:pathLst>
              </a:custGeom>
              <a:solidFill>
                <a:srgbClr val="DAEEF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17" name="ïṣľïḍê"/>
              <p:cNvSpPr/>
              <p:nvPr/>
            </p:nvSpPr>
            <p:spPr bwMode="auto">
              <a:xfrm>
                <a:off x="2918" y="1666"/>
                <a:ext cx="464" cy="317"/>
              </a:xfrm>
              <a:custGeom>
                <a:avLst/>
                <a:gdLst>
                  <a:gd name="T0" fmla="*/ 0 w 464"/>
                  <a:gd name="T1" fmla="*/ 0 h 317"/>
                  <a:gd name="T2" fmla="*/ 0 w 464"/>
                  <a:gd name="T3" fmla="*/ 49 h 317"/>
                  <a:gd name="T4" fmla="*/ 464 w 464"/>
                  <a:gd name="T5" fmla="*/ 317 h 317"/>
                  <a:gd name="T6" fmla="*/ 464 w 464"/>
                  <a:gd name="T7" fmla="*/ 268 h 317"/>
                  <a:gd name="T8" fmla="*/ 0 w 464"/>
                  <a:gd name="T9" fmla="*/ 0 h 317"/>
                </a:gdLst>
                <a:ahLst/>
                <a:cxnLst>
                  <a:cxn ang="0">
                    <a:pos x="T0" y="T1"/>
                  </a:cxn>
                  <a:cxn ang="0">
                    <a:pos x="T2" y="T3"/>
                  </a:cxn>
                  <a:cxn ang="0">
                    <a:pos x="T4" y="T5"/>
                  </a:cxn>
                  <a:cxn ang="0">
                    <a:pos x="T6" y="T7"/>
                  </a:cxn>
                  <a:cxn ang="0">
                    <a:pos x="T8" y="T9"/>
                  </a:cxn>
                </a:cxnLst>
                <a:rect l="0" t="0" r="r" b="b"/>
                <a:pathLst>
                  <a:path w="464" h="317">
                    <a:moveTo>
                      <a:pt x="0" y="0"/>
                    </a:moveTo>
                    <a:lnTo>
                      <a:pt x="0" y="49"/>
                    </a:lnTo>
                    <a:lnTo>
                      <a:pt x="464" y="317"/>
                    </a:lnTo>
                    <a:lnTo>
                      <a:pt x="464" y="26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18" name="í$ḻiḓè"/>
              <p:cNvSpPr/>
              <p:nvPr/>
            </p:nvSpPr>
            <p:spPr bwMode="auto">
              <a:xfrm>
                <a:off x="2918" y="1666"/>
                <a:ext cx="464" cy="317"/>
              </a:xfrm>
              <a:custGeom>
                <a:avLst/>
                <a:gdLst>
                  <a:gd name="T0" fmla="*/ 0 w 464"/>
                  <a:gd name="T1" fmla="*/ 0 h 317"/>
                  <a:gd name="T2" fmla="*/ 0 w 464"/>
                  <a:gd name="T3" fmla="*/ 49 h 317"/>
                  <a:gd name="T4" fmla="*/ 464 w 464"/>
                  <a:gd name="T5" fmla="*/ 317 h 317"/>
                  <a:gd name="T6" fmla="*/ 464 w 464"/>
                  <a:gd name="T7" fmla="*/ 268 h 317"/>
                  <a:gd name="T8" fmla="*/ 0 w 464"/>
                  <a:gd name="T9" fmla="*/ 0 h 317"/>
                </a:gdLst>
                <a:ahLst/>
                <a:cxnLst>
                  <a:cxn ang="0">
                    <a:pos x="T0" y="T1"/>
                  </a:cxn>
                  <a:cxn ang="0">
                    <a:pos x="T2" y="T3"/>
                  </a:cxn>
                  <a:cxn ang="0">
                    <a:pos x="T4" y="T5"/>
                  </a:cxn>
                  <a:cxn ang="0">
                    <a:pos x="T6" y="T7"/>
                  </a:cxn>
                  <a:cxn ang="0">
                    <a:pos x="T8" y="T9"/>
                  </a:cxn>
                </a:cxnLst>
                <a:rect l="0" t="0" r="r" b="b"/>
                <a:pathLst>
                  <a:path w="464" h="317">
                    <a:moveTo>
                      <a:pt x="0" y="0"/>
                    </a:moveTo>
                    <a:lnTo>
                      <a:pt x="0" y="49"/>
                    </a:lnTo>
                    <a:lnTo>
                      <a:pt x="464" y="317"/>
                    </a:lnTo>
                    <a:lnTo>
                      <a:pt x="464" y="268"/>
                    </a:lnTo>
                    <a:lnTo>
                      <a:pt x="0" y="0"/>
                    </a:lnTo>
                    <a:close/>
                  </a:path>
                </a:pathLst>
              </a:custGeom>
              <a:solidFill>
                <a:srgbClr val="909193"/>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19" name="ïṡḷíḑé"/>
              <p:cNvSpPr/>
              <p:nvPr/>
            </p:nvSpPr>
            <p:spPr bwMode="auto">
              <a:xfrm>
                <a:off x="2918" y="1666"/>
                <a:ext cx="464" cy="317"/>
              </a:xfrm>
              <a:custGeom>
                <a:avLst/>
                <a:gdLst>
                  <a:gd name="T0" fmla="*/ 0 w 464"/>
                  <a:gd name="T1" fmla="*/ 0 h 317"/>
                  <a:gd name="T2" fmla="*/ 0 w 464"/>
                  <a:gd name="T3" fmla="*/ 49 h 317"/>
                  <a:gd name="T4" fmla="*/ 464 w 464"/>
                  <a:gd name="T5" fmla="*/ 317 h 317"/>
                  <a:gd name="T6" fmla="*/ 464 w 464"/>
                  <a:gd name="T7" fmla="*/ 268 h 317"/>
                  <a:gd name="T8" fmla="*/ 0 w 464"/>
                  <a:gd name="T9" fmla="*/ 0 h 317"/>
                </a:gdLst>
                <a:ahLst/>
                <a:cxnLst>
                  <a:cxn ang="0">
                    <a:pos x="T0" y="T1"/>
                  </a:cxn>
                  <a:cxn ang="0">
                    <a:pos x="T2" y="T3"/>
                  </a:cxn>
                  <a:cxn ang="0">
                    <a:pos x="T4" y="T5"/>
                  </a:cxn>
                  <a:cxn ang="0">
                    <a:pos x="T6" y="T7"/>
                  </a:cxn>
                  <a:cxn ang="0">
                    <a:pos x="T8" y="T9"/>
                  </a:cxn>
                </a:cxnLst>
                <a:rect l="0" t="0" r="r" b="b"/>
                <a:pathLst>
                  <a:path w="464" h="317">
                    <a:moveTo>
                      <a:pt x="0" y="0"/>
                    </a:moveTo>
                    <a:lnTo>
                      <a:pt x="0" y="49"/>
                    </a:lnTo>
                    <a:lnTo>
                      <a:pt x="464" y="317"/>
                    </a:lnTo>
                    <a:lnTo>
                      <a:pt x="464" y="26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20" name="ïş1ídé"/>
              <p:cNvSpPr/>
              <p:nvPr/>
            </p:nvSpPr>
            <p:spPr bwMode="auto">
              <a:xfrm>
                <a:off x="3382" y="1920"/>
                <a:ext cx="24" cy="63"/>
              </a:xfrm>
              <a:custGeom>
                <a:avLst/>
                <a:gdLst>
                  <a:gd name="T0" fmla="*/ 24 w 24"/>
                  <a:gd name="T1" fmla="*/ 0 h 63"/>
                  <a:gd name="T2" fmla="*/ 0 w 24"/>
                  <a:gd name="T3" fmla="*/ 14 h 63"/>
                  <a:gd name="T4" fmla="*/ 0 w 24"/>
                  <a:gd name="T5" fmla="*/ 63 h 63"/>
                  <a:gd name="T6" fmla="*/ 22 w 24"/>
                  <a:gd name="T7" fmla="*/ 49 h 63"/>
                  <a:gd name="T8" fmla="*/ 24 w 24"/>
                  <a:gd name="T9" fmla="*/ 0 h 63"/>
                </a:gdLst>
                <a:ahLst/>
                <a:cxnLst>
                  <a:cxn ang="0">
                    <a:pos x="T0" y="T1"/>
                  </a:cxn>
                  <a:cxn ang="0">
                    <a:pos x="T2" y="T3"/>
                  </a:cxn>
                  <a:cxn ang="0">
                    <a:pos x="T4" y="T5"/>
                  </a:cxn>
                  <a:cxn ang="0">
                    <a:pos x="T6" y="T7"/>
                  </a:cxn>
                  <a:cxn ang="0">
                    <a:pos x="T8" y="T9"/>
                  </a:cxn>
                </a:cxnLst>
                <a:rect l="0" t="0" r="r" b="b"/>
                <a:pathLst>
                  <a:path w="24" h="63">
                    <a:moveTo>
                      <a:pt x="24" y="0"/>
                    </a:moveTo>
                    <a:lnTo>
                      <a:pt x="0" y="14"/>
                    </a:lnTo>
                    <a:lnTo>
                      <a:pt x="0" y="63"/>
                    </a:lnTo>
                    <a:lnTo>
                      <a:pt x="22" y="49"/>
                    </a:lnTo>
                    <a:lnTo>
                      <a:pt x="24" y="0"/>
                    </a:lnTo>
                    <a:close/>
                  </a:path>
                </a:pathLst>
              </a:custGeom>
              <a:solidFill>
                <a:srgbClr val="DAEEF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21" name="isľiḋè"/>
              <p:cNvSpPr/>
              <p:nvPr/>
            </p:nvSpPr>
            <p:spPr bwMode="auto">
              <a:xfrm>
                <a:off x="3382" y="1920"/>
                <a:ext cx="24" cy="63"/>
              </a:xfrm>
              <a:custGeom>
                <a:avLst/>
                <a:gdLst>
                  <a:gd name="T0" fmla="*/ 24 w 24"/>
                  <a:gd name="T1" fmla="*/ 0 h 63"/>
                  <a:gd name="T2" fmla="*/ 0 w 24"/>
                  <a:gd name="T3" fmla="*/ 14 h 63"/>
                  <a:gd name="T4" fmla="*/ 0 w 24"/>
                  <a:gd name="T5" fmla="*/ 63 h 63"/>
                  <a:gd name="T6" fmla="*/ 22 w 24"/>
                  <a:gd name="T7" fmla="*/ 49 h 63"/>
                  <a:gd name="T8" fmla="*/ 24 w 24"/>
                  <a:gd name="T9" fmla="*/ 0 h 63"/>
                </a:gdLst>
                <a:ahLst/>
                <a:cxnLst>
                  <a:cxn ang="0">
                    <a:pos x="T0" y="T1"/>
                  </a:cxn>
                  <a:cxn ang="0">
                    <a:pos x="T2" y="T3"/>
                  </a:cxn>
                  <a:cxn ang="0">
                    <a:pos x="T4" y="T5"/>
                  </a:cxn>
                  <a:cxn ang="0">
                    <a:pos x="T6" y="T7"/>
                  </a:cxn>
                  <a:cxn ang="0">
                    <a:pos x="T8" y="T9"/>
                  </a:cxn>
                </a:cxnLst>
                <a:rect l="0" t="0" r="r" b="b"/>
                <a:pathLst>
                  <a:path w="24" h="63">
                    <a:moveTo>
                      <a:pt x="24" y="0"/>
                    </a:moveTo>
                    <a:lnTo>
                      <a:pt x="0" y="14"/>
                    </a:lnTo>
                    <a:lnTo>
                      <a:pt x="0" y="63"/>
                    </a:lnTo>
                    <a:lnTo>
                      <a:pt x="22" y="49"/>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22" name="ïṥḻïďe"/>
              <p:cNvSpPr/>
              <p:nvPr/>
            </p:nvSpPr>
            <p:spPr bwMode="auto">
              <a:xfrm>
                <a:off x="3382" y="1920"/>
                <a:ext cx="24" cy="63"/>
              </a:xfrm>
              <a:custGeom>
                <a:avLst/>
                <a:gdLst>
                  <a:gd name="T0" fmla="*/ 24 w 24"/>
                  <a:gd name="T1" fmla="*/ 0 h 63"/>
                  <a:gd name="T2" fmla="*/ 0 w 24"/>
                  <a:gd name="T3" fmla="*/ 14 h 63"/>
                  <a:gd name="T4" fmla="*/ 0 w 24"/>
                  <a:gd name="T5" fmla="*/ 63 h 63"/>
                  <a:gd name="T6" fmla="*/ 22 w 24"/>
                  <a:gd name="T7" fmla="*/ 49 h 63"/>
                  <a:gd name="T8" fmla="*/ 24 w 24"/>
                  <a:gd name="T9" fmla="*/ 0 h 63"/>
                </a:gdLst>
                <a:ahLst/>
                <a:cxnLst>
                  <a:cxn ang="0">
                    <a:pos x="T0" y="T1"/>
                  </a:cxn>
                  <a:cxn ang="0">
                    <a:pos x="T2" y="T3"/>
                  </a:cxn>
                  <a:cxn ang="0">
                    <a:pos x="T4" y="T5"/>
                  </a:cxn>
                  <a:cxn ang="0">
                    <a:pos x="T6" y="T7"/>
                  </a:cxn>
                  <a:cxn ang="0">
                    <a:pos x="T8" y="T9"/>
                  </a:cxn>
                </a:cxnLst>
                <a:rect l="0" t="0" r="r" b="b"/>
                <a:pathLst>
                  <a:path w="24" h="63">
                    <a:moveTo>
                      <a:pt x="24" y="0"/>
                    </a:moveTo>
                    <a:lnTo>
                      <a:pt x="0" y="14"/>
                    </a:lnTo>
                    <a:lnTo>
                      <a:pt x="0" y="63"/>
                    </a:lnTo>
                    <a:lnTo>
                      <a:pt x="22" y="49"/>
                    </a:lnTo>
                    <a:lnTo>
                      <a:pt x="24" y="0"/>
                    </a:lnTo>
                    <a:close/>
                  </a:path>
                </a:pathLst>
              </a:custGeom>
              <a:solidFill>
                <a:srgbClr val="75808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23" name="í$lïde"/>
              <p:cNvSpPr/>
              <p:nvPr/>
            </p:nvSpPr>
            <p:spPr bwMode="auto">
              <a:xfrm>
                <a:off x="3382" y="1920"/>
                <a:ext cx="24" cy="63"/>
              </a:xfrm>
              <a:custGeom>
                <a:avLst/>
                <a:gdLst>
                  <a:gd name="T0" fmla="*/ 24 w 24"/>
                  <a:gd name="T1" fmla="*/ 0 h 63"/>
                  <a:gd name="T2" fmla="*/ 0 w 24"/>
                  <a:gd name="T3" fmla="*/ 14 h 63"/>
                  <a:gd name="T4" fmla="*/ 0 w 24"/>
                  <a:gd name="T5" fmla="*/ 63 h 63"/>
                  <a:gd name="T6" fmla="*/ 22 w 24"/>
                  <a:gd name="T7" fmla="*/ 49 h 63"/>
                  <a:gd name="T8" fmla="*/ 24 w 24"/>
                  <a:gd name="T9" fmla="*/ 0 h 63"/>
                </a:gdLst>
                <a:ahLst/>
                <a:cxnLst>
                  <a:cxn ang="0">
                    <a:pos x="T0" y="T1"/>
                  </a:cxn>
                  <a:cxn ang="0">
                    <a:pos x="T2" y="T3"/>
                  </a:cxn>
                  <a:cxn ang="0">
                    <a:pos x="T4" y="T5"/>
                  </a:cxn>
                  <a:cxn ang="0">
                    <a:pos x="T6" y="T7"/>
                  </a:cxn>
                  <a:cxn ang="0">
                    <a:pos x="T8" y="T9"/>
                  </a:cxn>
                </a:cxnLst>
                <a:rect l="0" t="0" r="r" b="b"/>
                <a:pathLst>
                  <a:path w="24" h="63">
                    <a:moveTo>
                      <a:pt x="24" y="0"/>
                    </a:moveTo>
                    <a:lnTo>
                      <a:pt x="0" y="14"/>
                    </a:lnTo>
                    <a:lnTo>
                      <a:pt x="0" y="63"/>
                    </a:lnTo>
                    <a:lnTo>
                      <a:pt x="22" y="49"/>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24" name="ïṡlîḍê"/>
              <p:cNvSpPr/>
              <p:nvPr/>
            </p:nvSpPr>
            <p:spPr bwMode="auto">
              <a:xfrm>
                <a:off x="2918" y="1652"/>
                <a:ext cx="488" cy="282"/>
              </a:xfrm>
              <a:custGeom>
                <a:avLst/>
                <a:gdLst>
                  <a:gd name="T0" fmla="*/ 22 w 488"/>
                  <a:gd name="T1" fmla="*/ 0 h 282"/>
                  <a:gd name="T2" fmla="*/ 0 w 488"/>
                  <a:gd name="T3" fmla="*/ 14 h 282"/>
                  <a:gd name="T4" fmla="*/ 464 w 488"/>
                  <a:gd name="T5" fmla="*/ 282 h 282"/>
                  <a:gd name="T6" fmla="*/ 488 w 488"/>
                  <a:gd name="T7" fmla="*/ 268 h 282"/>
                  <a:gd name="T8" fmla="*/ 22 w 488"/>
                  <a:gd name="T9" fmla="*/ 0 h 282"/>
                </a:gdLst>
                <a:ahLst/>
                <a:cxnLst>
                  <a:cxn ang="0">
                    <a:pos x="T0" y="T1"/>
                  </a:cxn>
                  <a:cxn ang="0">
                    <a:pos x="T2" y="T3"/>
                  </a:cxn>
                  <a:cxn ang="0">
                    <a:pos x="T4" y="T5"/>
                  </a:cxn>
                  <a:cxn ang="0">
                    <a:pos x="T6" y="T7"/>
                  </a:cxn>
                  <a:cxn ang="0">
                    <a:pos x="T8" y="T9"/>
                  </a:cxn>
                </a:cxnLst>
                <a:rect l="0" t="0" r="r" b="b"/>
                <a:pathLst>
                  <a:path w="488" h="282">
                    <a:moveTo>
                      <a:pt x="22" y="0"/>
                    </a:moveTo>
                    <a:lnTo>
                      <a:pt x="0" y="14"/>
                    </a:lnTo>
                    <a:lnTo>
                      <a:pt x="464" y="282"/>
                    </a:lnTo>
                    <a:lnTo>
                      <a:pt x="488" y="268"/>
                    </a:lnTo>
                    <a:lnTo>
                      <a:pt x="22" y="0"/>
                    </a:lnTo>
                    <a:close/>
                  </a:path>
                </a:pathLst>
              </a:custGeom>
              <a:solidFill>
                <a:srgbClr val="DAEEF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25" name="isļîďè"/>
              <p:cNvSpPr/>
              <p:nvPr/>
            </p:nvSpPr>
            <p:spPr bwMode="auto">
              <a:xfrm>
                <a:off x="2918" y="1652"/>
                <a:ext cx="488" cy="282"/>
              </a:xfrm>
              <a:custGeom>
                <a:avLst/>
                <a:gdLst>
                  <a:gd name="T0" fmla="*/ 22 w 488"/>
                  <a:gd name="T1" fmla="*/ 0 h 282"/>
                  <a:gd name="T2" fmla="*/ 0 w 488"/>
                  <a:gd name="T3" fmla="*/ 14 h 282"/>
                  <a:gd name="T4" fmla="*/ 464 w 488"/>
                  <a:gd name="T5" fmla="*/ 282 h 282"/>
                  <a:gd name="T6" fmla="*/ 488 w 488"/>
                  <a:gd name="T7" fmla="*/ 268 h 282"/>
                  <a:gd name="T8" fmla="*/ 22 w 488"/>
                  <a:gd name="T9" fmla="*/ 0 h 282"/>
                </a:gdLst>
                <a:ahLst/>
                <a:cxnLst>
                  <a:cxn ang="0">
                    <a:pos x="T0" y="T1"/>
                  </a:cxn>
                  <a:cxn ang="0">
                    <a:pos x="T2" y="T3"/>
                  </a:cxn>
                  <a:cxn ang="0">
                    <a:pos x="T4" y="T5"/>
                  </a:cxn>
                  <a:cxn ang="0">
                    <a:pos x="T6" y="T7"/>
                  </a:cxn>
                  <a:cxn ang="0">
                    <a:pos x="T8" y="T9"/>
                  </a:cxn>
                </a:cxnLst>
                <a:rect l="0" t="0" r="r" b="b"/>
                <a:pathLst>
                  <a:path w="488" h="282">
                    <a:moveTo>
                      <a:pt x="22" y="0"/>
                    </a:moveTo>
                    <a:lnTo>
                      <a:pt x="0" y="14"/>
                    </a:lnTo>
                    <a:lnTo>
                      <a:pt x="464" y="282"/>
                    </a:lnTo>
                    <a:lnTo>
                      <a:pt x="488" y="268"/>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26" name="iṡľîďè"/>
              <p:cNvSpPr/>
              <p:nvPr/>
            </p:nvSpPr>
            <p:spPr bwMode="auto">
              <a:xfrm>
                <a:off x="2918" y="1652"/>
                <a:ext cx="488" cy="282"/>
              </a:xfrm>
              <a:custGeom>
                <a:avLst/>
                <a:gdLst>
                  <a:gd name="T0" fmla="*/ 22 w 488"/>
                  <a:gd name="T1" fmla="*/ 0 h 282"/>
                  <a:gd name="T2" fmla="*/ 0 w 488"/>
                  <a:gd name="T3" fmla="*/ 14 h 282"/>
                  <a:gd name="T4" fmla="*/ 464 w 488"/>
                  <a:gd name="T5" fmla="*/ 282 h 282"/>
                  <a:gd name="T6" fmla="*/ 488 w 488"/>
                  <a:gd name="T7" fmla="*/ 268 h 282"/>
                  <a:gd name="T8" fmla="*/ 22 w 488"/>
                  <a:gd name="T9" fmla="*/ 0 h 282"/>
                </a:gdLst>
                <a:ahLst/>
                <a:cxnLst>
                  <a:cxn ang="0">
                    <a:pos x="T0" y="T1"/>
                  </a:cxn>
                  <a:cxn ang="0">
                    <a:pos x="T2" y="T3"/>
                  </a:cxn>
                  <a:cxn ang="0">
                    <a:pos x="T4" y="T5"/>
                  </a:cxn>
                  <a:cxn ang="0">
                    <a:pos x="T6" y="T7"/>
                  </a:cxn>
                  <a:cxn ang="0">
                    <a:pos x="T8" y="T9"/>
                  </a:cxn>
                </a:cxnLst>
                <a:rect l="0" t="0" r="r" b="b"/>
                <a:pathLst>
                  <a:path w="488" h="282">
                    <a:moveTo>
                      <a:pt x="22" y="0"/>
                    </a:moveTo>
                    <a:lnTo>
                      <a:pt x="0" y="14"/>
                    </a:lnTo>
                    <a:lnTo>
                      <a:pt x="464" y="282"/>
                    </a:lnTo>
                    <a:lnTo>
                      <a:pt x="488" y="268"/>
                    </a:lnTo>
                    <a:lnTo>
                      <a:pt x="22" y="0"/>
                    </a:lnTo>
                    <a:close/>
                  </a:path>
                </a:pathLst>
              </a:custGeom>
              <a:solidFill>
                <a:srgbClr val="ADB5B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27" name="îṩḻîḋe"/>
              <p:cNvSpPr/>
              <p:nvPr/>
            </p:nvSpPr>
            <p:spPr bwMode="auto">
              <a:xfrm>
                <a:off x="2918" y="1652"/>
                <a:ext cx="488" cy="282"/>
              </a:xfrm>
              <a:custGeom>
                <a:avLst/>
                <a:gdLst>
                  <a:gd name="T0" fmla="*/ 22 w 488"/>
                  <a:gd name="T1" fmla="*/ 0 h 282"/>
                  <a:gd name="T2" fmla="*/ 0 w 488"/>
                  <a:gd name="T3" fmla="*/ 14 h 282"/>
                  <a:gd name="T4" fmla="*/ 464 w 488"/>
                  <a:gd name="T5" fmla="*/ 282 h 282"/>
                  <a:gd name="T6" fmla="*/ 488 w 488"/>
                  <a:gd name="T7" fmla="*/ 268 h 282"/>
                  <a:gd name="T8" fmla="*/ 22 w 488"/>
                  <a:gd name="T9" fmla="*/ 0 h 282"/>
                </a:gdLst>
                <a:ahLst/>
                <a:cxnLst>
                  <a:cxn ang="0">
                    <a:pos x="T0" y="T1"/>
                  </a:cxn>
                  <a:cxn ang="0">
                    <a:pos x="T2" y="T3"/>
                  </a:cxn>
                  <a:cxn ang="0">
                    <a:pos x="T4" y="T5"/>
                  </a:cxn>
                  <a:cxn ang="0">
                    <a:pos x="T6" y="T7"/>
                  </a:cxn>
                  <a:cxn ang="0">
                    <a:pos x="T8" y="T9"/>
                  </a:cxn>
                </a:cxnLst>
                <a:rect l="0" t="0" r="r" b="b"/>
                <a:pathLst>
                  <a:path w="488" h="282">
                    <a:moveTo>
                      <a:pt x="22" y="0"/>
                    </a:moveTo>
                    <a:lnTo>
                      <a:pt x="0" y="14"/>
                    </a:lnTo>
                    <a:lnTo>
                      <a:pt x="464" y="282"/>
                    </a:lnTo>
                    <a:lnTo>
                      <a:pt x="488" y="268"/>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28" name="îšľîďè"/>
              <p:cNvSpPr/>
              <p:nvPr/>
            </p:nvSpPr>
            <p:spPr bwMode="auto">
              <a:xfrm>
                <a:off x="3510" y="1715"/>
                <a:ext cx="465" cy="317"/>
              </a:xfrm>
              <a:custGeom>
                <a:avLst/>
                <a:gdLst>
                  <a:gd name="T0" fmla="*/ 227 w 465"/>
                  <a:gd name="T1" fmla="*/ 130 h 317"/>
                  <a:gd name="T2" fmla="*/ 227 w 465"/>
                  <a:gd name="T3" fmla="*/ 180 h 317"/>
                  <a:gd name="T4" fmla="*/ 336 w 465"/>
                  <a:gd name="T5" fmla="*/ 242 h 317"/>
                  <a:gd name="T6" fmla="*/ 353 w 465"/>
                  <a:gd name="T7" fmla="*/ 232 h 317"/>
                  <a:gd name="T8" fmla="*/ 395 w 465"/>
                  <a:gd name="T9" fmla="*/ 258 h 317"/>
                  <a:gd name="T10" fmla="*/ 392 w 465"/>
                  <a:gd name="T11" fmla="*/ 275 h 317"/>
                  <a:gd name="T12" fmla="*/ 465 w 465"/>
                  <a:gd name="T13" fmla="*/ 317 h 317"/>
                  <a:gd name="T14" fmla="*/ 465 w 465"/>
                  <a:gd name="T15" fmla="*/ 268 h 317"/>
                  <a:gd name="T16" fmla="*/ 227 w 465"/>
                  <a:gd name="T17" fmla="*/ 130 h 317"/>
                  <a:gd name="T18" fmla="*/ 0 w 465"/>
                  <a:gd name="T19" fmla="*/ 0 h 317"/>
                  <a:gd name="T20" fmla="*/ 0 w 465"/>
                  <a:gd name="T21" fmla="*/ 49 h 317"/>
                  <a:gd name="T22" fmla="*/ 59 w 465"/>
                  <a:gd name="T23" fmla="*/ 83 h 317"/>
                  <a:gd name="T24" fmla="*/ 59 w 465"/>
                  <a:gd name="T25" fmla="*/ 34 h 317"/>
                  <a:gd name="T26" fmla="*/ 0 w 465"/>
                  <a:gd name="T27" fmla="*/ 0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5" h="317">
                    <a:moveTo>
                      <a:pt x="227" y="130"/>
                    </a:moveTo>
                    <a:lnTo>
                      <a:pt x="227" y="180"/>
                    </a:lnTo>
                    <a:lnTo>
                      <a:pt x="336" y="242"/>
                    </a:lnTo>
                    <a:lnTo>
                      <a:pt x="353" y="232"/>
                    </a:lnTo>
                    <a:lnTo>
                      <a:pt x="395" y="258"/>
                    </a:lnTo>
                    <a:lnTo>
                      <a:pt x="392" y="275"/>
                    </a:lnTo>
                    <a:lnTo>
                      <a:pt x="465" y="317"/>
                    </a:lnTo>
                    <a:lnTo>
                      <a:pt x="465" y="268"/>
                    </a:lnTo>
                    <a:lnTo>
                      <a:pt x="227" y="130"/>
                    </a:lnTo>
                    <a:close/>
                    <a:moveTo>
                      <a:pt x="0" y="0"/>
                    </a:moveTo>
                    <a:lnTo>
                      <a:pt x="0" y="49"/>
                    </a:lnTo>
                    <a:lnTo>
                      <a:pt x="59" y="83"/>
                    </a:lnTo>
                    <a:lnTo>
                      <a:pt x="59" y="34"/>
                    </a:lnTo>
                    <a:lnTo>
                      <a:pt x="0" y="0"/>
                    </a:lnTo>
                    <a:close/>
                  </a:path>
                </a:pathLst>
              </a:custGeom>
              <a:solidFill>
                <a:srgbClr val="DAEEF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29" name="íšḻïḑê"/>
              <p:cNvSpPr/>
              <p:nvPr/>
            </p:nvSpPr>
            <p:spPr bwMode="auto">
              <a:xfrm>
                <a:off x="3510" y="1715"/>
                <a:ext cx="465" cy="317"/>
              </a:xfrm>
              <a:custGeom>
                <a:avLst/>
                <a:gdLst>
                  <a:gd name="T0" fmla="*/ 227 w 465"/>
                  <a:gd name="T1" fmla="*/ 130 h 317"/>
                  <a:gd name="T2" fmla="*/ 227 w 465"/>
                  <a:gd name="T3" fmla="*/ 180 h 317"/>
                  <a:gd name="T4" fmla="*/ 336 w 465"/>
                  <a:gd name="T5" fmla="*/ 242 h 317"/>
                  <a:gd name="T6" fmla="*/ 353 w 465"/>
                  <a:gd name="T7" fmla="*/ 232 h 317"/>
                  <a:gd name="T8" fmla="*/ 395 w 465"/>
                  <a:gd name="T9" fmla="*/ 258 h 317"/>
                  <a:gd name="T10" fmla="*/ 392 w 465"/>
                  <a:gd name="T11" fmla="*/ 275 h 317"/>
                  <a:gd name="T12" fmla="*/ 465 w 465"/>
                  <a:gd name="T13" fmla="*/ 317 h 317"/>
                  <a:gd name="T14" fmla="*/ 465 w 465"/>
                  <a:gd name="T15" fmla="*/ 268 h 317"/>
                  <a:gd name="T16" fmla="*/ 227 w 465"/>
                  <a:gd name="T17" fmla="*/ 130 h 317"/>
                  <a:gd name="T18" fmla="*/ 0 w 465"/>
                  <a:gd name="T19" fmla="*/ 0 h 317"/>
                  <a:gd name="T20" fmla="*/ 0 w 465"/>
                  <a:gd name="T21" fmla="*/ 49 h 317"/>
                  <a:gd name="T22" fmla="*/ 59 w 465"/>
                  <a:gd name="T23" fmla="*/ 83 h 317"/>
                  <a:gd name="T24" fmla="*/ 59 w 465"/>
                  <a:gd name="T25" fmla="*/ 34 h 317"/>
                  <a:gd name="T26" fmla="*/ 0 w 465"/>
                  <a:gd name="T27" fmla="*/ 0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5" h="317">
                    <a:moveTo>
                      <a:pt x="227" y="130"/>
                    </a:moveTo>
                    <a:lnTo>
                      <a:pt x="227" y="180"/>
                    </a:lnTo>
                    <a:lnTo>
                      <a:pt x="336" y="242"/>
                    </a:lnTo>
                    <a:lnTo>
                      <a:pt x="353" y="232"/>
                    </a:lnTo>
                    <a:lnTo>
                      <a:pt x="395" y="258"/>
                    </a:lnTo>
                    <a:lnTo>
                      <a:pt x="392" y="275"/>
                    </a:lnTo>
                    <a:lnTo>
                      <a:pt x="465" y="317"/>
                    </a:lnTo>
                    <a:lnTo>
                      <a:pt x="465" y="268"/>
                    </a:lnTo>
                    <a:lnTo>
                      <a:pt x="227" y="130"/>
                    </a:lnTo>
                    <a:moveTo>
                      <a:pt x="0" y="0"/>
                    </a:moveTo>
                    <a:lnTo>
                      <a:pt x="0" y="49"/>
                    </a:lnTo>
                    <a:lnTo>
                      <a:pt x="59" y="83"/>
                    </a:lnTo>
                    <a:lnTo>
                      <a:pt x="59" y="3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30" name="íśḷíďe"/>
              <p:cNvSpPr/>
              <p:nvPr/>
            </p:nvSpPr>
            <p:spPr bwMode="auto">
              <a:xfrm>
                <a:off x="3510" y="1715"/>
                <a:ext cx="465" cy="317"/>
              </a:xfrm>
              <a:custGeom>
                <a:avLst/>
                <a:gdLst>
                  <a:gd name="T0" fmla="*/ 227 w 465"/>
                  <a:gd name="T1" fmla="*/ 130 h 317"/>
                  <a:gd name="T2" fmla="*/ 227 w 465"/>
                  <a:gd name="T3" fmla="*/ 180 h 317"/>
                  <a:gd name="T4" fmla="*/ 336 w 465"/>
                  <a:gd name="T5" fmla="*/ 242 h 317"/>
                  <a:gd name="T6" fmla="*/ 353 w 465"/>
                  <a:gd name="T7" fmla="*/ 232 h 317"/>
                  <a:gd name="T8" fmla="*/ 395 w 465"/>
                  <a:gd name="T9" fmla="*/ 258 h 317"/>
                  <a:gd name="T10" fmla="*/ 392 w 465"/>
                  <a:gd name="T11" fmla="*/ 275 h 317"/>
                  <a:gd name="T12" fmla="*/ 465 w 465"/>
                  <a:gd name="T13" fmla="*/ 317 h 317"/>
                  <a:gd name="T14" fmla="*/ 465 w 465"/>
                  <a:gd name="T15" fmla="*/ 268 h 317"/>
                  <a:gd name="T16" fmla="*/ 227 w 465"/>
                  <a:gd name="T17" fmla="*/ 130 h 317"/>
                  <a:gd name="T18" fmla="*/ 0 w 465"/>
                  <a:gd name="T19" fmla="*/ 0 h 317"/>
                  <a:gd name="T20" fmla="*/ 0 w 465"/>
                  <a:gd name="T21" fmla="*/ 49 h 317"/>
                  <a:gd name="T22" fmla="*/ 59 w 465"/>
                  <a:gd name="T23" fmla="*/ 83 h 317"/>
                  <a:gd name="T24" fmla="*/ 59 w 465"/>
                  <a:gd name="T25" fmla="*/ 34 h 317"/>
                  <a:gd name="T26" fmla="*/ 0 w 465"/>
                  <a:gd name="T27" fmla="*/ 0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5" h="317">
                    <a:moveTo>
                      <a:pt x="227" y="130"/>
                    </a:moveTo>
                    <a:lnTo>
                      <a:pt x="227" y="180"/>
                    </a:lnTo>
                    <a:lnTo>
                      <a:pt x="336" y="242"/>
                    </a:lnTo>
                    <a:lnTo>
                      <a:pt x="353" y="232"/>
                    </a:lnTo>
                    <a:lnTo>
                      <a:pt x="395" y="258"/>
                    </a:lnTo>
                    <a:lnTo>
                      <a:pt x="392" y="275"/>
                    </a:lnTo>
                    <a:lnTo>
                      <a:pt x="465" y="317"/>
                    </a:lnTo>
                    <a:lnTo>
                      <a:pt x="465" y="268"/>
                    </a:lnTo>
                    <a:lnTo>
                      <a:pt x="227" y="130"/>
                    </a:lnTo>
                    <a:close/>
                    <a:moveTo>
                      <a:pt x="0" y="0"/>
                    </a:moveTo>
                    <a:lnTo>
                      <a:pt x="0" y="49"/>
                    </a:lnTo>
                    <a:lnTo>
                      <a:pt x="59" y="83"/>
                    </a:lnTo>
                    <a:lnTo>
                      <a:pt x="59" y="34"/>
                    </a:lnTo>
                    <a:lnTo>
                      <a:pt x="0" y="0"/>
                    </a:lnTo>
                    <a:close/>
                  </a:path>
                </a:pathLst>
              </a:custGeom>
              <a:solidFill>
                <a:srgbClr val="909193"/>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31" name="ïśļîďé"/>
              <p:cNvSpPr/>
              <p:nvPr/>
            </p:nvSpPr>
            <p:spPr bwMode="auto">
              <a:xfrm>
                <a:off x="3510" y="1715"/>
                <a:ext cx="465" cy="317"/>
              </a:xfrm>
              <a:custGeom>
                <a:avLst/>
                <a:gdLst>
                  <a:gd name="T0" fmla="*/ 227 w 465"/>
                  <a:gd name="T1" fmla="*/ 130 h 317"/>
                  <a:gd name="T2" fmla="*/ 227 w 465"/>
                  <a:gd name="T3" fmla="*/ 180 h 317"/>
                  <a:gd name="T4" fmla="*/ 336 w 465"/>
                  <a:gd name="T5" fmla="*/ 242 h 317"/>
                  <a:gd name="T6" fmla="*/ 353 w 465"/>
                  <a:gd name="T7" fmla="*/ 232 h 317"/>
                  <a:gd name="T8" fmla="*/ 395 w 465"/>
                  <a:gd name="T9" fmla="*/ 258 h 317"/>
                  <a:gd name="T10" fmla="*/ 392 w 465"/>
                  <a:gd name="T11" fmla="*/ 275 h 317"/>
                  <a:gd name="T12" fmla="*/ 465 w 465"/>
                  <a:gd name="T13" fmla="*/ 317 h 317"/>
                  <a:gd name="T14" fmla="*/ 465 w 465"/>
                  <a:gd name="T15" fmla="*/ 268 h 317"/>
                  <a:gd name="T16" fmla="*/ 227 w 465"/>
                  <a:gd name="T17" fmla="*/ 130 h 317"/>
                  <a:gd name="T18" fmla="*/ 0 w 465"/>
                  <a:gd name="T19" fmla="*/ 0 h 317"/>
                  <a:gd name="T20" fmla="*/ 0 w 465"/>
                  <a:gd name="T21" fmla="*/ 49 h 317"/>
                  <a:gd name="T22" fmla="*/ 59 w 465"/>
                  <a:gd name="T23" fmla="*/ 83 h 317"/>
                  <a:gd name="T24" fmla="*/ 59 w 465"/>
                  <a:gd name="T25" fmla="*/ 34 h 317"/>
                  <a:gd name="T26" fmla="*/ 0 w 465"/>
                  <a:gd name="T27" fmla="*/ 0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5" h="317">
                    <a:moveTo>
                      <a:pt x="227" y="130"/>
                    </a:moveTo>
                    <a:lnTo>
                      <a:pt x="227" y="180"/>
                    </a:lnTo>
                    <a:lnTo>
                      <a:pt x="336" y="242"/>
                    </a:lnTo>
                    <a:lnTo>
                      <a:pt x="353" y="232"/>
                    </a:lnTo>
                    <a:lnTo>
                      <a:pt x="395" y="258"/>
                    </a:lnTo>
                    <a:lnTo>
                      <a:pt x="392" y="275"/>
                    </a:lnTo>
                    <a:lnTo>
                      <a:pt x="465" y="317"/>
                    </a:lnTo>
                    <a:lnTo>
                      <a:pt x="465" y="268"/>
                    </a:lnTo>
                    <a:lnTo>
                      <a:pt x="227" y="130"/>
                    </a:lnTo>
                    <a:moveTo>
                      <a:pt x="0" y="0"/>
                    </a:moveTo>
                    <a:lnTo>
                      <a:pt x="0" y="49"/>
                    </a:lnTo>
                    <a:lnTo>
                      <a:pt x="59" y="83"/>
                    </a:lnTo>
                    <a:lnTo>
                      <a:pt x="59" y="3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32" name="îŝliḋé"/>
              <p:cNvSpPr/>
              <p:nvPr/>
            </p:nvSpPr>
            <p:spPr bwMode="auto">
              <a:xfrm>
                <a:off x="3975" y="1969"/>
                <a:ext cx="22" cy="63"/>
              </a:xfrm>
              <a:custGeom>
                <a:avLst/>
                <a:gdLst>
                  <a:gd name="T0" fmla="*/ 22 w 22"/>
                  <a:gd name="T1" fmla="*/ 0 h 63"/>
                  <a:gd name="T2" fmla="*/ 0 w 22"/>
                  <a:gd name="T3" fmla="*/ 14 h 63"/>
                  <a:gd name="T4" fmla="*/ 0 w 22"/>
                  <a:gd name="T5" fmla="*/ 63 h 63"/>
                  <a:gd name="T6" fmla="*/ 22 w 22"/>
                  <a:gd name="T7" fmla="*/ 49 h 63"/>
                  <a:gd name="T8" fmla="*/ 22 w 22"/>
                  <a:gd name="T9" fmla="*/ 0 h 63"/>
                </a:gdLst>
                <a:ahLst/>
                <a:cxnLst>
                  <a:cxn ang="0">
                    <a:pos x="T0" y="T1"/>
                  </a:cxn>
                  <a:cxn ang="0">
                    <a:pos x="T2" y="T3"/>
                  </a:cxn>
                  <a:cxn ang="0">
                    <a:pos x="T4" y="T5"/>
                  </a:cxn>
                  <a:cxn ang="0">
                    <a:pos x="T6" y="T7"/>
                  </a:cxn>
                  <a:cxn ang="0">
                    <a:pos x="T8" y="T9"/>
                  </a:cxn>
                </a:cxnLst>
                <a:rect l="0" t="0" r="r" b="b"/>
                <a:pathLst>
                  <a:path w="22" h="63">
                    <a:moveTo>
                      <a:pt x="22" y="0"/>
                    </a:moveTo>
                    <a:lnTo>
                      <a:pt x="0" y="14"/>
                    </a:lnTo>
                    <a:lnTo>
                      <a:pt x="0" y="63"/>
                    </a:lnTo>
                    <a:lnTo>
                      <a:pt x="22" y="49"/>
                    </a:lnTo>
                    <a:lnTo>
                      <a:pt x="22" y="0"/>
                    </a:lnTo>
                    <a:close/>
                  </a:path>
                </a:pathLst>
              </a:custGeom>
              <a:solidFill>
                <a:srgbClr val="DAEEF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33" name="iṡliḋè"/>
              <p:cNvSpPr/>
              <p:nvPr/>
            </p:nvSpPr>
            <p:spPr bwMode="auto">
              <a:xfrm>
                <a:off x="3975" y="1969"/>
                <a:ext cx="22" cy="63"/>
              </a:xfrm>
              <a:custGeom>
                <a:avLst/>
                <a:gdLst>
                  <a:gd name="T0" fmla="*/ 22 w 22"/>
                  <a:gd name="T1" fmla="*/ 0 h 63"/>
                  <a:gd name="T2" fmla="*/ 0 w 22"/>
                  <a:gd name="T3" fmla="*/ 14 h 63"/>
                  <a:gd name="T4" fmla="*/ 0 w 22"/>
                  <a:gd name="T5" fmla="*/ 63 h 63"/>
                  <a:gd name="T6" fmla="*/ 22 w 22"/>
                  <a:gd name="T7" fmla="*/ 49 h 63"/>
                  <a:gd name="T8" fmla="*/ 22 w 22"/>
                  <a:gd name="T9" fmla="*/ 0 h 63"/>
                </a:gdLst>
                <a:ahLst/>
                <a:cxnLst>
                  <a:cxn ang="0">
                    <a:pos x="T0" y="T1"/>
                  </a:cxn>
                  <a:cxn ang="0">
                    <a:pos x="T2" y="T3"/>
                  </a:cxn>
                  <a:cxn ang="0">
                    <a:pos x="T4" y="T5"/>
                  </a:cxn>
                  <a:cxn ang="0">
                    <a:pos x="T6" y="T7"/>
                  </a:cxn>
                  <a:cxn ang="0">
                    <a:pos x="T8" y="T9"/>
                  </a:cxn>
                </a:cxnLst>
                <a:rect l="0" t="0" r="r" b="b"/>
                <a:pathLst>
                  <a:path w="22" h="63">
                    <a:moveTo>
                      <a:pt x="22" y="0"/>
                    </a:moveTo>
                    <a:lnTo>
                      <a:pt x="0" y="14"/>
                    </a:lnTo>
                    <a:lnTo>
                      <a:pt x="0" y="63"/>
                    </a:lnTo>
                    <a:lnTo>
                      <a:pt x="22" y="49"/>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34" name="íṩliḋe"/>
              <p:cNvSpPr/>
              <p:nvPr/>
            </p:nvSpPr>
            <p:spPr bwMode="auto">
              <a:xfrm>
                <a:off x="3975" y="1969"/>
                <a:ext cx="22" cy="63"/>
              </a:xfrm>
              <a:custGeom>
                <a:avLst/>
                <a:gdLst>
                  <a:gd name="T0" fmla="*/ 22 w 22"/>
                  <a:gd name="T1" fmla="*/ 0 h 63"/>
                  <a:gd name="T2" fmla="*/ 0 w 22"/>
                  <a:gd name="T3" fmla="*/ 14 h 63"/>
                  <a:gd name="T4" fmla="*/ 0 w 22"/>
                  <a:gd name="T5" fmla="*/ 63 h 63"/>
                  <a:gd name="T6" fmla="*/ 22 w 22"/>
                  <a:gd name="T7" fmla="*/ 49 h 63"/>
                  <a:gd name="T8" fmla="*/ 22 w 22"/>
                  <a:gd name="T9" fmla="*/ 0 h 63"/>
                </a:gdLst>
                <a:ahLst/>
                <a:cxnLst>
                  <a:cxn ang="0">
                    <a:pos x="T0" y="T1"/>
                  </a:cxn>
                  <a:cxn ang="0">
                    <a:pos x="T2" y="T3"/>
                  </a:cxn>
                  <a:cxn ang="0">
                    <a:pos x="T4" y="T5"/>
                  </a:cxn>
                  <a:cxn ang="0">
                    <a:pos x="T6" y="T7"/>
                  </a:cxn>
                  <a:cxn ang="0">
                    <a:pos x="T8" y="T9"/>
                  </a:cxn>
                </a:cxnLst>
                <a:rect l="0" t="0" r="r" b="b"/>
                <a:pathLst>
                  <a:path w="22" h="63">
                    <a:moveTo>
                      <a:pt x="22" y="0"/>
                    </a:moveTo>
                    <a:lnTo>
                      <a:pt x="0" y="14"/>
                    </a:lnTo>
                    <a:lnTo>
                      <a:pt x="0" y="63"/>
                    </a:lnTo>
                    <a:lnTo>
                      <a:pt x="22" y="49"/>
                    </a:lnTo>
                    <a:lnTo>
                      <a:pt x="22" y="0"/>
                    </a:lnTo>
                    <a:close/>
                  </a:path>
                </a:pathLst>
              </a:custGeom>
              <a:solidFill>
                <a:srgbClr val="75808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35" name="ísḷîḋé"/>
              <p:cNvSpPr/>
              <p:nvPr/>
            </p:nvSpPr>
            <p:spPr bwMode="auto">
              <a:xfrm>
                <a:off x="3975" y="1969"/>
                <a:ext cx="22" cy="63"/>
              </a:xfrm>
              <a:custGeom>
                <a:avLst/>
                <a:gdLst>
                  <a:gd name="T0" fmla="*/ 22 w 22"/>
                  <a:gd name="T1" fmla="*/ 0 h 63"/>
                  <a:gd name="T2" fmla="*/ 0 w 22"/>
                  <a:gd name="T3" fmla="*/ 14 h 63"/>
                  <a:gd name="T4" fmla="*/ 0 w 22"/>
                  <a:gd name="T5" fmla="*/ 63 h 63"/>
                  <a:gd name="T6" fmla="*/ 22 w 22"/>
                  <a:gd name="T7" fmla="*/ 49 h 63"/>
                  <a:gd name="T8" fmla="*/ 22 w 22"/>
                  <a:gd name="T9" fmla="*/ 0 h 63"/>
                </a:gdLst>
                <a:ahLst/>
                <a:cxnLst>
                  <a:cxn ang="0">
                    <a:pos x="T0" y="T1"/>
                  </a:cxn>
                  <a:cxn ang="0">
                    <a:pos x="T2" y="T3"/>
                  </a:cxn>
                  <a:cxn ang="0">
                    <a:pos x="T4" y="T5"/>
                  </a:cxn>
                  <a:cxn ang="0">
                    <a:pos x="T6" y="T7"/>
                  </a:cxn>
                  <a:cxn ang="0">
                    <a:pos x="T8" y="T9"/>
                  </a:cxn>
                </a:cxnLst>
                <a:rect l="0" t="0" r="r" b="b"/>
                <a:pathLst>
                  <a:path w="22" h="63">
                    <a:moveTo>
                      <a:pt x="22" y="0"/>
                    </a:moveTo>
                    <a:lnTo>
                      <a:pt x="0" y="14"/>
                    </a:lnTo>
                    <a:lnTo>
                      <a:pt x="0" y="63"/>
                    </a:lnTo>
                    <a:lnTo>
                      <a:pt x="22" y="49"/>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36" name="î$ļïḓê"/>
              <p:cNvSpPr/>
              <p:nvPr/>
            </p:nvSpPr>
            <p:spPr bwMode="auto">
              <a:xfrm>
                <a:off x="3510" y="1701"/>
                <a:ext cx="487" cy="282"/>
              </a:xfrm>
              <a:custGeom>
                <a:avLst/>
                <a:gdLst>
                  <a:gd name="T0" fmla="*/ 227 w 487"/>
                  <a:gd name="T1" fmla="*/ 119 h 282"/>
                  <a:gd name="T2" fmla="*/ 227 w 487"/>
                  <a:gd name="T3" fmla="*/ 144 h 282"/>
                  <a:gd name="T4" fmla="*/ 465 w 487"/>
                  <a:gd name="T5" fmla="*/ 282 h 282"/>
                  <a:gd name="T6" fmla="*/ 487 w 487"/>
                  <a:gd name="T7" fmla="*/ 268 h 282"/>
                  <a:gd name="T8" fmla="*/ 227 w 487"/>
                  <a:gd name="T9" fmla="*/ 119 h 282"/>
                  <a:gd name="T10" fmla="*/ 22 w 487"/>
                  <a:gd name="T11" fmla="*/ 0 h 282"/>
                  <a:gd name="T12" fmla="*/ 0 w 487"/>
                  <a:gd name="T13" fmla="*/ 14 h 282"/>
                  <a:gd name="T14" fmla="*/ 59 w 487"/>
                  <a:gd name="T15" fmla="*/ 48 h 282"/>
                  <a:gd name="T16" fmla="*/ 59 w 487"/>
                  <a:gd name="T17" fmla="*/ 22 h 282"/>
                  <a:gd name="T18" fmla="*/ 22 w 487"/>
                  <a:gd name="T19" fmla="*/ 0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7" h="282">
                    <a:moveTo>
                      <a:pt x="227" y="119"/>
                    </a:moveTo>
                    <a:lnTo>
                      <a:pt x="227" y="144"/>
                    </a:lnTo>
                    <a:lnTo>
                      <a:pt x="465" y="282"/>
                    </a:lnTo>
                    <a:lnTo>
                      <a:pt x="487" y="268"/>
                    </a:lnTo>
                    <a:lnTo>
                      <a:pt x="227" y="119"/>
                    </a:lnTo>
                    <a:close/>
                    <a:moveTo>
                      <a:pt x="22" y="0"/>
                    </a:moveTo>
                    <a:lnTo>
                      <a:pt x="0" y="14"/>
                    </a:lnTo>
                    <a:lnTo>
                      <a:pt x="59" y="48"/>
                    </a:lnTo>
                    <a:lnTo>
                      <a:pt x="59" y="22"/>
                    </a:lnTo>
                    <a:lnTo>
                      <a:pt x="22" y="0"/>
                    </a:lnTo>
                    <a:close/>
                  </a:path>
                </a:pathLst>
              </a:custGeom>
              <a:solidFill>
                <a:srgbClr val="DAEEF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37" name="íš1ïďe"/>
              <p:cNvSpPr/>
              <p:nvPr/>
            </p:nvSpPr>
            <p:spPr bwMode="auto">
              <a:xfrm>
                <a:off x="3510" y="1701"/>
                <a:ext cx="487" cy="282"/>
              </a:xfrm>
              <a:custGeom>
                <a:avLst/>
                <a:gdLst>
                  <a:gd name="T0" fmla="*/ 227 w 487"/>
                  <a:gd name="T1" fmla="*/ 119 h 282"/>
                  <a:gd name="T2" fmla="*/ 227 w 487"/>
                  <a:gd name="T3" fmla="*/ 144 h 282"/>
                  <a:gd name="T4" fmla="*/ 465 w 487"/>
                  <a:gd name="T5" fmla="*/ 282 h 282"/>
                  <a:gd name="T6" fmla="*/ 487 w 487"/>
                  <a:gd name="T7" fmla="*/ 268 h 282"/>
                  <a:gd name="T8" fmla="*/ 227 w 487"/>
                  <a:gd name="T9" fmla="*/ 119 h 282"/>
                  <a:gd name="T10" fmla="*/ 22 w 487"/>
                  <a:gd name="T11" fmla="*/ 0 h 282"/>
                  <a:gd name="T12" fmla="*/ 0 w 487"/>
                  <a:gd name="T13" fmla="*/ 14 h 282"/>
                  <a:gd name="T14" fmla="*/ 59 w 487"/>
                  <a:gd name="T15" fmla="*/ 48 h 282"/>
                  <a:gd name="T16" fmla="*/ 59 w 487"/>
                  <a:gd name="T17" fmla="*/ 22 h 282"/>
                  <a:gd name="T18" fmla="*/ 22 w 487"/>
                  <a:gd name="T19" fmla="*/ 0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7" h="282">
                    <a:moveTo>
                      <a:pt x="227" y="119"/>
                    </a:moveTo>
                    <a:lnTo>
                      <a:pt x="227" y="144"/>
                    </a:lnTo>
                    <a:lnTo>
                      <a:pt x="465" y="282"/>
                    </a:lnTo>
                    <a:lnTo>
                      <a:pt x="487" y="268"/>
                    </a:lnTo>
                    <a:lnTo>
                      <a:pt x="227" y="119"/>
                    </a:lnTo>
                    <a:moveTo>
                      <a:pt x="22" y="0"/>
                    </a:moveTo>
                    <a:lnTo>
                      <a:pt x="0" y="14"/>
                    </a:lnTo>
                    <a:lnTo>
                      <a:pt x="59" y="48"/>
                    </a:lnTo>
                    <a:lnTo>
                      <a:pt x="59" y="22"/>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38" name="iśļíḑe"/>
              <p:cNvSpPr/>
              <p:nvPr/>
            </p:nvSpPr>
            <p:spPr bwMode="auto">
              <a:xfrm>
                <a:off x="3510" y="1701"/>
                <a:ext cx="487" cy="282"/>
              </a:xfrm>
              <a:custGeom>
                <a:avLst/>
                <a:gdLst>
                  <a:gd name="T0" fmla="*/ 227 w 487"/>
                  <a:gd name="T1" fmla="*/ 119 h 282"/>
                  <a:gd name="T2" fmla="*/ 227 w 487"/>
                  <a:gd name="T3" fmla="*/ 144 h 282"/>
                  <a:gd name="T4" fmla="*/ 465 w 487"/>
                  <a:gd name="T5" fmla="*/ 282 h 282"/>
                  <a:gd name="T6" fmla="*/ 487 w 487"/>
                  <a:gd name="T7" fmla="*/ 268 h 282"/>
                  <a:gd name="T8" fmla="*/ 227 w 487"/>
                  <a:gd name="T9" fmla="*/ 119 h 282"/>
                  <a:gd name="T10" fmla="*/ 22 w 487"/>
                  <a:gd name="T11" fmla="*/ 0 h 282"/>
                  <a:gd name="T12" fmla="*/ 0 w 487"/>
                  <a:gd name="T13" fmla="*/ 14 h 282"/>
                  <a:gd name="T14" fmla="*/ 59 w 487"/>
                  <a:gd name="T15" fmla="*/ 48 h 282"/>
                  <a:gd name="T16" fmla="*/ 59 w 487"/>
                  <a:gd name="T17" fmla="*/ 22 h 282"/>
                  <a:gd name="T18" fmla="*/ 22 w 487"/>
                  <a:gd name="T19" fmla="*/ 0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7" h="282">
                    <a:moveTo>
                      <a:pt x="227" y="119"/>
                    </a:moveTo>
                    <a:lnTo>
                      <a:pt x="227" y="144"/>
                    </a:lnTo>
                    <a:lnTo>
                      <a:pt x="465" y="282"/>
                    </a:lnTo>
                    <a:lnTo>
                      <a:pt x="487" y="268"/>
                    </a:lnTo>
                    <a:lnTo>
                      <a:pt x="227" y="119"/>
                    </a:lnTo>
                    <a:close/>
                    <a:moveTo>
                      <a:pt x="22" y="0"/>
                    </a:moveTo>
                    <a:lnTo>
                      <a:pt x="0" y="14"/>
                    </a:lnTo>
                    <a:lnTo>
                      <a:pt x="59" y="48"/>
                    </a:lnTo>
                    <a:lnTo>
                      <a:pt x="59" y="22"/>
                    </a:lnTo>
                    <a:lnTo>
                      <a:pt x="22" y="0"/>
                    </a:lnTo>
                    <a:close/>
                  </a:path>
                </a:pathLst>
              </a:custGeom>
              <a:solidFill>
                <a:srgbClr val="ADB5B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39" name="îṡ1íďé"/>
              <p:cNvSpPr/>
              <p:nvPr/>
            </p:nvSpPr>
            <p:spPr bwMode="auto">
              <a:xfrm>
                <a:off x="3510" y="1701"/>
                <a:ext cx="487" cy="282"/>
              </a:xfrm>
              <a:custGeom>
                <a:avLst/>
                <a:gdLst>
                  <a:gd name="T0" fmla="*/ 227 w 487"/>
                  <a:gd name="T1" fmla="*/ 119 h 282"/>
                  <a:gd name="T2" fmla="*/ 227 w 487"/>
                  <a:gd name="T3" fmla="*/ 144 h 282"/>
                  <a:gd name="T4" fmla="*/ 465 w 487"/>
                  <a:gd name="T5" fmla="*/ 282 h 282"/>
                  <a:gd name="T6" fmla="*/ 487 w 487"/>
                  <a:gd name="T7" fmla="*/ 268 h 282"/>
                  <a:gd name="T8" fmla="*/ 227 w 487"/>
                  <a:gd name="T9" fmla="*/ 119 h 282"/>
                  <a:gd name="T10" fmla="*/ 22 w 487"/>
                  <a:gd name="T11" fmla="*/ 0 h 282"/>
                  <a:gd name="T12" fmla="*/ 0 w 487"/>
                  <a:gd name="T13" fmla="*/ 14 h 282"/>
                  <a:gd name="T14" fmla="*/ 59 w 487"/>
                  <a:gd name="T15" fmla="*/ 48 h 282"/>
                  <a:gd name="T16" fmla="*/ 59 w 487"/>
                  <a:gd name="T17" fmla="*/ 22 h 282"/>
                  <a:gd name="T18" fmla="*/ 22 w 487"/>
                  <a:gd name="T19" fmla="*/ 0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7" h="282">
                    <a:moveTo>
                      <a:pt x="227" y="119"/>
                    </a:moveTo>
                    <a:lnTo>
                      <a:pt x="227" y="144"/>
                    </a:lnTo>
                    <a:lnTo>
                      <a:pt x="465" y="282"/>
                    </a:lnTo>
                    <a:lnTo>
                      <a:pt x="487" y="268"/>
                    </a:lnTo>
                    <a:lnTo>
                      <a:pt x="227" y="119"/>
                    </a:lnTo>
                    <a:moveTo>
                      <a:pt x="22" y="0"/>
                    </a:moveTo>
                    <a:lnTo>
                      <a:pt x="0" y="14"/>
                    </a:lnTo>
                    <a:lnTo>
                      <a:pt x="59" y="48"/>
                    </a:lnTo>
                    <a:lnTo>
                      <a:pt x="59" y="22"/>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40" name="ïṣ1îḋê"/>
              <p:cNvSpPr/>
              <p:nvPr/>
            </p:nvSpPr>
            <p:spPr bwMode="auto">
              <a:xfrm>
                <a:off x="3510" y="1811"/>
                <a:ext cx="465" cy="318"/>
              </a:xfrm>
              <a:custGeom>
                <a:avLst/>
                <a:gdLst>
                  <a:gd name="T0" fmla="*/ 382 w 465"/>
                  <a:gd name="T1" fmla="*/ 221 h 318"/>
                  <a:gd name="T2" fmla="*/ 372 w 465"/>
                  <a:gd name="T3" fmla="*/ 265 h 318"/>
                  <a:gd name="T4" fmla="*/ 465 w 465"/>
                  <a:gd name="T5" fmla="*/ 318 h 318"/>
                  <a:gd name="T6" fmla="*/ 465 w 465"/>
                  <a:gd name="T7" fmla="*/ 268 h 318"/>
                  <a:gd name="T8" fmla="*/ 382 w 465"/>
                  <a:gd name="T9" fmla="*/ 221 h 318"/>
                  <a:gd name="T10" fmla="*/ 186 w 465"/>
                  <a:gd name="T11" fmla="*/ 109 h 318"/>
                  <a:gd name="T12" fmla="*/ 186 w 465"/>
                  <a:gd name="T13" fmla="*/ 151 h 318"/>
                  <a:gd name="T14" fmla="*/ 120 w 465"/>
                  <a:gd name="T15" fmla="*/ 114 h 318"/>
                  <a:gd name="T16" fmla="*/ 118 w 465"/>
                  <a:gd name="T17" fmla="*/ 117 h 318"/>
                  <a:gd name="T18" fmla="*/ 339 w 465"/>
                  <a:gd name="T19" fmla="*/ 246 h 318"/>
                  <a:gd name="T20" fmla="*/ 350 w 465"/>
                  <a:gd name="T21" fmla="*/ 202 h 318"/>
                  <a:gd name="T22" fmla="*/ 186 w 465"/>
                  <a:gd name="T23" fmla="*/ 109 h 318"/>
                  <a:gd name="T24" fmla="*/ 0 w 465"/>
                  <a:gd name="T25" fmla="*/ 0 h 318"/>
                  <a:gd name="T26" fmla="*/ 0 w 465"/>
                  <a:gd name="T27" fmla="*/ 50 h 318"/>
                  <a:gd name="T28" fmla="*/ 44 w 465"/>
                  <a:gd name="T29" fmla="*/ 75 h 318"/>
                  <a:gd name="T30" fmla="*/ 54 w 465"/>
                  <a:gd name="T31" fmla="*/ 33 h 318"/>
                  <a:gd name="T32" fmla="*/ 0 w 465"/>
                  <a:gd name="T33"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5" h="318">
                    <a:moveTo>
                      <a:pt x="382" y="221"/>
                    </a:moveTo>
                    <a:lnTo>
                      <a:pt x="372" y="265"/>
                    </a:lnTo>
                    <a:lnTo>
                      <a:pt x="465" y="318"/>
                    </a:lnTo>
                    <a:lnTo>
                      <a:pt x="465" y="268"/>
                    </a:lnTo>
                    <a:lnTo>
                      <a:pt x="382" y="221"/>
                    </a:lnTo>
                    <a:close/>
                    <a:moveTo>
                      <a:pt x="186" y="109"/>
                    </a:moveTo>
                    <a:lnTo>
                      <a:pt x="186" y="151"/>
                    </a:lnTo>
                    <a:lnTo>
                      <a:pt x="120" y="114"/>
                    </a:lnTo>
                    <a:lnTo>
                      <a:pt x="118" y="117"/>
                    </a:lnTo>
                    <a:lnTo>
                      <a:pt x="339" y="246"/>
                    </a:lnTo>
                    <a:lnTo>
                      <a:pt x="350" y="202"/>
                    </a:lnTo>
                    <a:lnTo>
                      <a:pt x="186" y="109"/>
                    </a:lnTo>
                    <a:close/>
                    <a:moveTo>
                      <a:pt x="0" y="0"/>
                    </a:moveTo>
                    <a:lnTo>
                      <a:pt x="0" y="50"/>
                    </a:lnTo>
                    <a:lnTo>
                      <a:pt x="44" y="75"/>
                    </a:lnTo>
                    <a:lnTo>
                      <a:pt x="54" y="33"/>
                    </a:lnTo>
                    <a:lnTo>
                      <a:pt x="0" y="0"/>
                    </a:lnTo>
                    <a:close/>
                  </a:path>
                </a:pathLst>
              </a:custGeom>
              <a:solidFill>
                <a:srgbClr val="DAEEF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41" name="ïSľîḍe"/>
              <p:cNvSpPr/>
              <p:nvPr/>
            </p:nvSpPr>
            <p:spPr bwMode="auto">
              <a:xfrm>
                <a:off x="3510" y="1811"/>
                <a:ext cx="465" cy="318"/>
              </a:xfrm>
              <a:custGeom>
                <a:avLst/>
                <a:gdLst>
                  <a:gd name="T0" fmla="*/ 382 w 465"/>
                  <a:gd name="T1" fmla="*/ 221 h 318"/>
                  <a:gd name="T2" fmla="*/ 372 w 465"/>
                  <a:gd name="T3" fmla="*/ 265 h 318"/>
                  <a:gd name="T4" fmla="*/ 465 w 465"/>
                  <a:gd name="T5" fmla="*/ 318 h 318"/>
                  <a:gd name="T6" fmla="*/ 465 w 465"/>
                  <a:gd name="T7" fmla="*/ 268 h 318"/>
                  <a:gd name="T8" fmla="*/ 382 w 465"/>
                  <a:gd name="T9" fmla="*/ 221 h 318"/>
                  <a:gd name="T10" fmla="*/ 186 w 465"/>
                  <a:gd name="T11" fmla="*/ 109 h 318"/>
                  <a:gd name="T12" fmla="*/ 186 w 465"/>
                  <a:gd name="T13" fmla="*/ 151 h 318"/>
                  <a:gd name="T14" fmla="*/ 120 w 465"/>
                  <a:gd name="T15" fmla="*/ 114 h 318"/>
                  <a:gd name="T16" fmla="*/ 118 w 465"/>
                  <a:gd name="T17" fmla="*/ 117 h 318"/>
                  <a:gd name="T18" fmla="*/ 339 w 465"/>
                  <a:gd name="T19" fmla="*/ 246 h 318"/>
                  <a:gd name="T20" fmla="*/ 350 w 465"/>
                  <a:gd name="T21" fmla="*/ 202 h 318"/>
                  <a:gd name="T22" fmla="*/ 186 w 465"/>
                  <a:gd name="T23" fmla="*/ 109 h 318"/>
                  <a:gd name="T24" fmla="*/ 0 w 465"/>
                  <a:gd name="T25" fmla="*/ 0 h 318"/>
                  <a:gd name="T26" fmla="*/ 0 w 465"/>
                  <a:gd name="T27" fmla="*/ 50 h 318"/>
                  <a:gd name="T28" fmla="*/ 44 w 465"/>
                  <a:gd name="T29" fmla="*/ 75 h 318"/>
                  <a:gd name="T30" fmla="*/ 54 w 465"/>
                  <a:gd name="T31" fmla="*/ 33 h 318"/>
                  <a:gd name="T32" fmla="*/ 0 w 465"/>
                  <a:gd name="T33"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5" h="318">
                    <a:moveTo>
                      <a:pt x="382" y="221"/>
                    </a:moveTo>
                    <a:lnTo>
                      <a:pt x="372" y="265"/>
                    </a:lnTo>
                    <a:lnTo>
                      <a:pt x="465" y="318"/>
                    </a:lnTo>
                    <a:lnTo>
                      <a:pt x="465" y="268"/>
                    </a:lnTo>
                    <a:lnTo>
                      <a:pt x="382" y="221"/>
                    </a:lnTo>
                    <a:moveTo>
                      <a:pt x="186" y="109"/>
                    </a:moveTo>
                    <a:lnTo>
                      <a:pt x="186" y="151"/>
                    </a:lnTo>
                    <a:lnTo>
                      <a:pt x="120" y="114"/>
                    </a:lnTo>
                    <a:lnTo>
                      <a:pt x="118" y="117"/>
                    </a:lnTo>
                    <a:lnTo>
                      <a:pt x="339" y="246"/>
                    </a:lnTo>
                    <a:lnTo>
                      <a:pt x="350" y="202"/>
                    </a:lnTo>
                    <a:lnTo>
                      <a:pt x="186" y="109"/>
                    </a:lnTo>
                    <a:moveTo>
                      <a:pt x="0" y="0"/>
                    </a:moveTo>
                    <a:lnTo>
                      <a:pt x="0" y="50"/>
                    </a:lnTo>
                    <a:lnTo>
                      <a:pt x="44" y="75"/>
                    </a:lnTo>
                    <a:lnTo>
                      <a:pt x="54" y="3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42" name="iṡḷíḑè"/>
              <p:cNvSpPr/>
              <p:nvPr/>
            </p:nvSpPr>
            <p:spPr bwMode="auto">
              <a:xfrm>
                <a:off x="3510" y="1811"/>
                <a:ext cx="465" cy="318"/>
              </a:xfrm>
              <a:custGeom>
                <a:avLst/>
                <a:gdLst>
                  <a:gd name="T0" fmla="*/ 382 w 465"/>
                  <a:gd name="T1" fmla="*/ 221 h 318"/>
                  <a:gd name="T2" fmla="*/ 372 w 465"/>
                  <a:gd name="T3" fmla="*/ 265 h 318"/>
                  <a:gd name="T4" fmla="*/ 465 w 465"/>
                  <a:gd name="T5" fmla="*/ 318 h 318"/>
                  <a:gd name="T6" fmla="*/ 465 w 465"/>
                  <a:gd name="T7" fmla="*/ 268 h 318"/>
                  <a:gd name="T8" fmla="*/ 382 w 465"/>
                  <a:gd name="T9" fmla="*/ 221 h 318"/>
                  <a:gd name="T10" fmla="*/ 186 w 465"/>
                  <a:gd name="T11" fmla="*/ 109 h 318"/>
                  <a:gd name="T12" fmla="*/ 186 w 465"/>
                  <a:gd name="T13" fmla="*/ 151 h 318"/>
                  <a:gd name="T14" fmla="*/ 120 w 465"/>
                  <a:gd name="T15" fmla="*/ 114 h 318"/>
                  <a:gd name="T16" fmla="*/ 118 w 465"/>
                  <a:gd name="T17" fmla="*/ 117 h 318"/>
                  <a:gd name="T18" fmla="*/ 339 w 465"/>
                  <a:gd name="T19" fmla="*/ 246 h 318"/>
                  <a:gd name="T20" fmla="*/ 350 w 465"/>
                  <a:gd name="T21" fmla="*/ 202 h 318"/>
                  <a:gd name="T22" fmla="*/ 186 w 465"/>
                  <a:gd name="T23" fmla="*/ 109 h 318"/>
                  <a:gd name="T24" fmla="*/ 0 w 465"/>
                  <a:gd name="T25" fmla="*/ 0 h 318"/>
                  <a:gd name="T26" fmla="*/ 0 w 465"/>
                  <a:gd name="T27" fmla="*/ 50 h 318"/>
                  <a:gd name="T28" fmla="*/ 44 w 465"/>
                  <a:gd name="T29" fmla="*/ 75 h 318"/>
                  <a:gd name="T30" fmla="*/ 54 w 465"/>
                  <a:gd name="T31" fmla="*/ 33 h 318"/>
                  <a:gd name="T32" fmla="*/ 0 w 465"/>
                  <a:gd name="T33"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5" h="318">
                    <a:moveTo>
                      <a:pt x="382" y="221"/>
                    </a:moveTo>
                    <a:lnTo>
                      <a:pt x="372" y="265"/>
                    </a:lnTo>
                    <a:lnTo>
                      <a:pt x="465" y="318"/>
                    </a:lnTo>
                    <a:lnTo>
                      <a:pt x="465" y="268"/>
                    </a:lnTo>
                    <a:lnTo>
                      <a:pt x="382" y="221"/>
                    </a:lnTo>
                    <a:close/>
                    <a:moveTo>
                      <a:pt x="186" y="109"/>
                    </a:moveTo>
                    <a:lnTo>
                      <a:pt x="186" y="151"/>
                    </a:lnTo>
                    <a:lnTo>
                      <a:pt x="120" y="114"/>
                    </a:lnTo>
                    <a:lnTo>
                      <a:pt x="118" y="117"/>
                    </a:lnTo>
                    <a:lnTo>
                      <a:pt x="339" y="246"/>
                    </a:lnTo>
                    <a:lnTo>
                      <a:pt x="350" y="202"/>
                    </a:lnTo>
                    <a:lnTo>
                      <a:pt x="186" y="109"/>
                    </a:lnTo>
                    <a:close/>
                    <a:moveTo>
                      <a:pt x="0" y="0"/>
                    </a:moveTo>
                    <a:lnTo>
                      <a:pt x="0" y="50"/>
                    </a:lnTo>
                    <a:lnTo>
                      <a:pt x="44" y="75"/>
                    </a:lnTo>
                    <a:lnTo>
                      <a:pt x="54" y="33"/>
                    </a:lnTo>
                    <a:lnTo>
                      <a:pt x="0" y="0"/>
                    </a:lnTo>
                    <a:close/>
                  </a:path>
                </a:pathLst>
              </a:custGeom>
              <a:solidFill>
                <a:srgbClr val="909193"/>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43" name="íṣļïdê"/>
              <p:cNvSpPr/>
              <p:nvPr/>
            </p:nvSpPr>
            <p:spPr bwMode="auto">
              <a:xfrm>
                <a:off x="3510" y="1811"/>
                <a:ext cx="465" cy="318"/>
              </a:xfrm>
              <a:custGeom>
                <a:avLst/>
                <a:gdLst>
                  <a:gd name="T0" fmla="*/ 382 w 465"/>
                  <a:gd name="T1" fmla="*/ 221 h 318"/>
                  <a:gd name="T2" fmla="*/ 372 w 465"/>
                  <a:gd name="T3" fmla="*/ 265 h 318"/>
                  <a:gd name="T4" fmla="*/ 465 w 465"/>
                  <a:gd name="T5" fmla="*/ 318 h 318"/>
                  <a:gd name="T6" fmla="*/ 465 w 465"/>
                  <a:gd name="T7" fmla="*/ 268 h 318"/>
                  <a:gd name="T8" fmla="*/ 382 w 465"/>
                  <a:gd name="T9" fmla="*/ 221 h 318"/>
                  <a:gd name="T10" fmla="*/ 186 w 465"/>
                  <a:gd name="T11" fmla="*/ 109 h 318"/>
                  <a:gd name="T12" fmla="*/ 186 w 465"/>
                  <a:gd name="T13" fmla="*/ 151 h 318"/>
                  <a:gd name="T14" fmla="*/ 120 w 465"/>
                  <a:gd name="T15" fmla="*/ 114 h 318"/>
                  <a:gd name="T16" fmla="*/ 118 w 465"/>
                  <a:gd name="T17" fmla="*/ 117 h 318"/>
                  <a:gd name="T18" fmla="*/ 339 w 465"/>
                  <a:gd name="T19" fmla="*/ 246 h 318"/>
                  <a:gd name="T20" fmla="*/ 350 w 465"/>
                  <a:gd name="T21" fmla="*/ 202 h 318"/>
                  <a:gd name="T22" fmla="*/ 186 w 465"/>
                  <a:gd name="T23" fmla="*/ 109 h 318"/>
                  <a:gd name="T24" fmla="*/ 0 w 465"/>
                  <a:gd name="T25" fmla="*/ 0 h 318"/>
                  <a:gd name="T26" fmla="*/ 0 w 465"/>
                  <a:gd name="T27" fmla="*/ 50 h 318"/>
                  <a:gd name="T28" fmla="*/ 44 w 465"/>
                  <a:gd name="T29" fmla="*/ 75 h 318"/>
                  <a:gd name="T30" fmla="*/ 54 w 465"/>
                  <a:gd name="T31" fmla="*/ 33 h 318"/>
                  <a:gd name="T32" fmla="*/ 0 w 465"/>
                  <a:gd name="T33"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5" h="318">
                    <a:moveTo>
                      <a:pt x="382" y="221"/>
                    </a:moveTo>
                    <a:lnTo>
                      <a:pt x="372" y="265"/>
                    </a:lnTo>
                    <a:lnTo>
                      <a:pt x="465" y="318"/>
                    </a:lnTo>
                    <a:lnTo>
                      <a:pt x="465" y="268"/>
                    </a:lnTo>
                    <a:lnTo>
                      <a:pt x="382" y="221"/>
                    </a:lnTo>
                    <a:moveTo>
                      <a:pt x="186" y="109"/>
                    </a:moveTo>
                    <a:lnTo>
                      <a:pt x="186" y="151"/>
                    </a:lnTo>
                    <a:lnTo>
                      <a:pt x="120" y="114"/>
                    </a:lnTo>
                    <a:lnTo>
                      <a:pt x="118" y="117"/>
                    </a:lnTo>
                    <a:lnTo>
                      <a:pt x="339" y="246"/>
                    </a:lnTo>
                    <a:lnTo>
                      <a:pt x="350" y="202"/>
                    </a:lnTo>
                    <a:lnTo>
                      <a:pt x="186" y="109"/>
                    </a:lnTo>
                    <a:moveTo>
                      <a:pt x="0" y="0"/>
                    </a:moveTo>
                    <a:lnTo>
                      <a:pt x="0" y="50"/>
                    </a:lnTo>
                    <a:lnTo>
                      <a:pt x="44" y="75"/>
                    </a:lnTo>
                    <a:lnTo>
                      <a:pt x="54" y="3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44" name="îşľîdê"/>
              <p:cNvSpPr/>
              <p:nvPr/>
            </p:nvSpPr>
            <p:spPr bwMode="auto">
              <a:xfrm>
                <a:off x="3975" y="2068"/>
                <a:ext cx="22" cy="61"/>
              </a:xfrm>
              <a:custGeom>
                <a:avLst/>
                <a:gdLst>
                  <a:gd name="T0" fmla="*/ 22 w 22"/>
                  <a:gd name="T1" fmla="*/ 0 h 61"/>
                  <a:gd name="T2" fmla="*/ 0 w 22"/>
                  <a:gd name="T3" fmla="*/ 11 h 61"/>
                  <a:gd name="T4" fmla="*/ 0 w 22"/>
                  <a:gd name="T5" fmla="*/ 61 h 61"/>
                  <a:gd name="T6" fmla="*/ 22 w 22"/>
                  <a:gd name="T7" fmla="*/ 49 h 61"/>
                  <a:gd name="T8" fmla="*/ 22 w 22"/>
                  <a:gd name="T9" fmla="*/ 0 h 61"/>
                </a:gdLst>
                <a:ahLst/>
                <a:cxnLst>
                  <a:cxn ang="0">
                    <a:pos x="T0" y="T1"/>
                  </a:cxn>
                  <a:cxn ang="0">
                    <a:pos x="T2" y="T3"/>
                  </a:cxn>
                  <a:cxn ang="0">
                    <a:pos x="T4" y="T5"/>
                  </a:cxn>
                  <a:cxn ang="0">
                    <a:pos x="T6" y="T7"/>
                  </a:cxn>
                  <a:cxn ang="0">
                    <a:pos x="T8" y="T9"/>
                  </a:cxn>
                </a:cxnLst>
                <a:rect l="0" t="0" r="r" b="b"/>
                <a:pathLst>
                  <a:path w="22" h="61">
                    <a:moveTo>
                      <a:pt x="22" y="0"/>
                    </a:moveTo>
                    <a:lnTo>
                      <a:pt x="0" y="11"/>
                    </a:lnTo>
                    <a:lnTo>
                      <a:pt x="0" y="61"/>
                    </a:lnTo>
                    <a:lnTo>
                      <a:pt x="22" y="49"/>
                    </a:lnTo>
                    <a:lnTo>
                      <a:pt x="22" y="0"/>
                    </a:lnTo>
                    <a:close/>
                  </a:path>
                </a:pathLst>
              </a:custGeom>
              <a:solidFill>
                <a:srgbClr val="DAEEF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45" name="îślïde"/>
              <p:cNvSpPr/>
              <p:nvPr/>
            </p:nvSpPr>
            <p:spPr bwMode="auto">
              <a:xfrm>
                <a:off x="3975" y="2068"/>
                <a:ext cx="22" cy="61"/>
              </a:xfrm>
              <a:custGeom>
                <a:avLst/>
                <a:gdLst>
                  <a:gd name="T0" fmla="*/ 22 w 22"/>
                  <a:gd name="T1" fmla="*/ 0 h 61"/>
                  <a:gd name="T2" fmla="*/ 0 w 22"/>
                  <a:gd name="T3" fmla="*/ 11 h 61"/>
                  <a:gd name="T4" fmla="*/ 0 w 22"/>
                  <a:gd name="T5" fmla="*/ 61 h 61"/>
                  <a:gd name="T6" fmla="*/ 22 w 22"/>
                  <a:gd name="T7" fmla="*/ 49 h 61"/>
                  <a:gd name="T8" fmla="*/ 22 w 22"/>
                  <a:gd name="T9" fmla="*/ 0 h 61"/>
                </a:gdLst>
                <a:ahLst/>
                <a:cxnLst>
                  <a:cxn ang="0">
                    <a:pos x="T0" y="T1"/>
                  </a:cxn>
                  <a:cxn ang="0">
                    <a:pos x="T2" y="T3"/>
                  </a:cxn>
                  <a:cxn ang="0">
                    <a:pos x="T4" y="T5"/>
                  </a:cxn>
                  <a:cxn ang="0">
                    <a:pos x="T6" y="T7"/>
                  </a:cxn>
                  <a:cxn ang="0">
                    <a:pos x="T8" y="T9"/>
                  </a:cxn>
                </a:cxnLst>
                <a:rect l="0" t="0" r="r" b="b"/>
                <a:pathLst>
                  <a:path w="22" h="61">
                    <a:moveTo>
                      <a:pt x="22" y="0"/>
                    </a:moveTo>
                    <a:lnTo>
                      <a:pt x="0" y="11"/>
                    </a:lnTo>
                    <a:lnTo>
                      <a:pt x="0" y="61"/>
                    </a:lnTo>
                    <a:lnTo>
                      <a:pt x="22" y="49"/>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46" name="ïşļidê"/>
              <p:cNvSpPr/>
              <p:nvPr/>
            </p:nvSpPr>
            <p:spPr bwMode="auto">
              <a:xfrm>
                <a:off x="3975" y="2068"/>
                <a:ext cx="22" cy="61"/>
              </a:xfrm>
              <a:custGeom>
                <a:avLst/>
                <a:gdLst>
                  <a:gd name="T0" fmla="*/ 22 w 22"/>
                  <a:gd name="T1" fmla="*/ 0 h 61"/>
                  <a:gd name="T2" fmla="*/ 0 w 22"/>
                  <a:gd name="T3" fmla="*/ 11 h 61"/>
                  <a:gd name="T4" fmla="*/ 0 w 22"/>
                  <a:gd name="T5" fmla="*/ 61 h 61"/>
                  <a:gd name="T6" fmla="*/ 22 w 22"/>
                  <a:gd name="T7" fmla="*/ 49 h 61"/>
                  <a:gd name="T8" fmla="*/ 22 w 22"/>
                  <a:gd name="T9" fmla="*/ 0 h 61"/>
                </a:gdLst>
                <a:ahLst/>
                <a:cxnLst>
                  <a:cxn ang="0">
                    <a:pos x="T0" y="T1"/>
                  </a:cxn>
                  <a:cxn ang="0">
                    <a:pos x="T2" y="T3"/>
                  </a:cxn>
                  <a:cxn ang="0">
                    <a:pos x="T4" y="T5"/>
                  </a:cxn>
                  <a:cxn ang="0">
                    <a:pos x="T6" y="T7"/>
                  </a:cxn>
                  <a:cxn ang="0">
                    <a:pos x="T8" y="T9"/>
                  </a:cxn>
                </a:cxnLst>
                <a:rect l="0" t="0" r="r" b="b"/>
                <a:pathLst>
                  <a:path w="22" h="61">
                    <a:moveTo>
                      <a:pt x="22" y="0"/>
                    </a:moveTo>
                    <a:lnTo>
                      <a:pt x="0" y="11"/>
                    </a:lnTo>
                    <a:lnTo>
                      <a:pt x="0" y="61"/>
                    </a:lnTo>
                    <a:lnTo>
                      <a:pt x="22" y="49"/>
                    </a:lnTo>
                    <a:lnTo>
                      <a:pt x="22" y="0"/>
                    </a:lnTo>
                    <a:close/>
                  </a:path>
                </a:pathLst>
              </a:custGeom>
              <a:solidFill>
                <a:srgbClr val="75808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47" name="ïṣḻíḍè"/>
              <p:cNvSpPr/>
              <p:nvPr/>
            </p:nvSpPr>
            <p:spPr bwMode="auto">
              <a:xfrm>
                <a:off x="3975" y="2068"/>
                <a:ext cx="22" cy="61"/>
              </a:xfrm>
              <a:custGeom>
                <a:avLst/>
                <a:gdLst>
                  <a:gd name="T0" fmla="*/ 22 w 22"/>
                  <a:gd name="T1" fmla="*/ 0 h 61"/>
                  <a:gd name="T2" fmla="*/ 0 w 22"/>
                  <a:gd name="T3" fmla="*/ 11 h 61"/>
                  <a:gd name="T4" fmla="*/ 0 w 22"/>
                  <a:gd name="T5" fmla="*/ 61 h 61"/>
                  <a:gd name="T6" fmla="*/ 22 w 22"/>
                  <a:gd name="T7" fmla="*/ 49 h 61"/>
                  <a:gd name="T8" fmla="*/ 22 w 22"/>
                  <a:gd name="T9" fmla="*/ 0 h 61"/>
                </a:gdLst>
                <a:ahLst/>
                <a:cxnLst>
                  <a:cxn ang="0">
                    <a:pos x="T0" y="T1"/>
                  </a:cxn>
                  <a:cxn ang="0">
                    <a:pos x="T2" y="T3"/>
                  </a:cxn>
                  <a:cxn ang="0">
                    <a:pos x="T4" y="T5"/>
                  </a:cxn>
                  <a:cxn ang="0">
                    <a:pos x="T6" y="T7"/>
                  </a:cxn>
                  <a:cxn ang="0">
                    <a:pos x="T8" y="T9"/>
                  </a:cxn>
                </a:cxnLst>
                <a:rect l="0" t="0" r="r" b="b"/>
                <a:pathLst>
                  <a:path w="22" h="61">
                    <a:moveTo>
                      <a:pt x="22" y="0"/>
                    </a:moveTo>
                    <a:lnTo>
                      <a:pt x="0" y="11"/>
                    </a:lnTo>
                    <a:lnTo>
                      <a:pt x="0" y="61"/>
                    </a:lnTo>
                    <a:lnTo>
                      <a:pt x="22" y="49"/>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48" name="íśḷïḓè"/>
              <p:cNvSpPr/>
              <p:nvPr/>
            </p:nvSpPr>
            <p:spPr bwMode="auto">
              <a:xfrm>
                <a:off x="3510" y="1800"/>
                <a:ext cx="487" cy="279"/>
              </a:xfrm>
              <a:custGeom>
                <a:avLst/>
                <a:gdLst>
                  <a:gd name="T0" fmla="*/ 387 w 487"/>
                  <a:gd name="T1" fmla="*/ 210 h 279"/>
                  <a:gd name="T2" fmla="*/ 382 w 487"/>
                  <a:gd name="T3" fmla="*/ 232 h 279"/>
                  <a:gd name="T4" fmla="*/ 465 w 487"/>
                  <a:gd name="T5" fmla="*/ 279 h 279"/>
                  <a:gd name="T6" fmla="*/ 487 w 487"/>
                  <a:gd name="T7" fmla="*/ 268 h 279"/>
                  <a:gd name="T8" fmla="*/ 387 w 487"/>
                  <a:gd name="T9" fmla="*/ 210 h 279"/>
                  <a:gd name="T10" fmla="*/ 186 w 487"/>
                  <a:gd name="T11" fmla="*/ 115 h 279"/>
                  <a:gd name="T12" fmla="*/ 186 w 487"/>
                  <a:gd name="T13" fmla="*/ 120 h 279"/>
                  <a:gd name="T14" fmla="*/ 350 w 487"/>
                  <a:gd name="T15" fmla="*/ 213 h 279"/>
                  <a:gd name="T16" fmla="*/ 353 w 487"/>
                  <a:gd name="T17" fmla="*/ 196 h 279"/>
                  <a:gd name="T18" fmla="*/ 310 w 487"/>
                  <a:gd name="T19" fmla="*/ 173 h 279"/>
                  <a:gd name="T20" fmla="*/ 317 w 487"/>
                  <a:gd name="T21" fmla="*/ 169 h 279"/>
                  <a:gd name="T22" fmla="*/ 227 w 487"/>
                  <a:gd name="T23" fmla="*/ 117 h 279"/>
                  <a:gd name="T24" fmla="*/ 227 w 487"/>
                  <a:gd name="T25" fmla="*/ 139 h 279"/>
                  <a:gd name="T26" fmla="*/ 227 w 487"/>
                  <a:gd name="T27" fmla="*/ 139 h 279"/>
                  <a:gd name="T28" fmla="*/ 227 w 487"/>
                  <a:gd name="T29" fmla="*/ 139 h 279"/>
                  <a:gd name="T30" fmla="*/ 186 w 487"/>
                  <a:gd name="T31" fmla="*/ 115 h 279"/>
                  <a:gd name="T32" fmla="*/ 22 w 487"/>
                  <a:gd name="T33" fmla="*/ 0 h 279"/>
                  <a:gd name="T34" fmla="*/ 0 w 487"/>
                  <a:gd name="T35" fmla="*/ 11 h 279"/>
                  <a:gd name="T36" fmla="*/ 54 w 487"/>
                  <a:gd name="T37" fmla="*/ 44 h 279"/>
                  <a:gd name="T38" fmla="*/ 57 w 487"/>
                  <a:gd name="T39" fmla="*/ 25 h 279"/>
                  <a:gd name="T40" fmla="*/ 59 w 487"/>
                  <a:gd name="T41" fmla="*/ 25 h 279"/>
                  <a:gd name="T42" fmla="*/ 59 w 487"/>
                  <a:gd name="T43" fmla="*/ 20 h 279"/>
                  <a:gd name="T44" fmla="*/ 22 w 487"/>
                  <a:gd name="T45" fmla="*/ 0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7" h="279">
                    <a:moveTo>
                      <a:pt x="387" y="210"/>
                    </a:moveTo>
                    <a:lnTo>
                      <a:pt x="382" y="232"/>
                    </a:lnTo>
                    <a:lnTo>
                      <a:pt x="465" y="279"/>
                    </a:lnTo>
                    <a:lnTo>
                      <a:pt x="487" y="268"/>
                    </a:lnTo>
                    <a:lnTo>
                      <a:pt x="387" y="210"/>
                    </a:lnTo>
                    <a:close/>
                    <a:moveTo>
                      <a:pt x="186" y="115"/>
                    </a:moveTo>
                    <a:lnTo>
                      <a:pt x="186" y="120"/>
                    </a:lnTo>
                    <a:lnTo>
                      <a:pt x="350" y="213"/>
                    </a:lnTo>
                    <a:lnTo>
                      <a:pt x="353" y="196"/>
                    </a:lnTo>
                    <a:lnTo>
                      <a:pt x="310" y="173"/>
                    </a:lnTo>
                    <a:lnTo>
                      <a:pt x="317" y="169"/>
                    </a:lnTo>
                    <a:lnTo>
                      <a:pt x="227" y="117"/>
                    </a:lnTo>
                    <a:lnTo>
                      <a:pt x="227" y="139"/>
                    </a:lnTo>
                    <a:lnTo>
                      <a:pt x="227" y="139"/>
                    </a:lnTo>
                    <a:lnTo>
                      <a:pt x="227" y="139"/>
                    </a:lnTo>
                    <a:lnTo>
                      <a:pt x="186" y="115"/>
                    </a:lnTo>
                    <a:close/>
                    <a:moveTo>
                      <a:pt x="22" y="0"/>
                    </a:moveTo>
                    <a:lnTo>
                      <a:pt x="0" y="11"/>
                    </a:lnTo>
                    <a:lnTo>
                      <a:pt x="54" y="44"/>
                    </a:lnTo>
                    <a:lnTo>
                      <a:pt x="57" y="25"/>
                    </a:lnTo>
                    <a:lnTo>
                      <a:pt x="59" y="25"/>
                    </a:lnTo>
                    <a:lnTo>
                      <a:pt x="59" y="20"/>
                    </a:lnTo>
                    <a:lnTo>
                      <a:pt x="22" y="0"/>
                    </a:lnTo>
                    <a:close/>
                  </a:path>
                </a:pathLst>
              </a:custGeom>
              <a:solidFill>
                <a:srgbClr val="DAEEF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49" name="išļiďè"/>
              <p:cNvSpPr/>
              <p:nvPr/>
            </p:nvSpPr>
            <p:spPr bwMode="auto">
              <a:xfrm>
                <a:off x="3510" y="1800"/>
                <a:ext cx="487" cy="279"/>
              </a:xfrm>
              <a:custGeom>
                <a:avLst/>
                <a:gdLst>
                  <a:gd name="T0" fmla="*/ 387 w 487"/>
                  <a:gd name="T1" fmla="*/ 210 h 279"/>
                  <a:gd name="T2" fmla="*/ 382 w 487"/>
                  <a:gd name="T3" fmla="*/ 232 h 279"/>
                  <a:gd name="T4" fmla="*/ 465 w 487"/>
                  <a:gd name="T5" fmla="*/ 279 h 279"/>
                  <a:gd name="T6" fmla="*/ 487 w 487"/>
                  <a:gd name="T7" fmla="*/ 268 h 279"/>
                  <a:gd name="T8" fmla="*/ 387 w 487"/>
                  <a:gd name="T9" fmla="*/ 210 h 279"/>
                  <a:gd name="T10" fmla="*/ 186 w 487"/>
                  <a:gd name="T11" fmla="*/ 115 h 279"/>
                  <a:gd name="T12" fmla="*/ 186 w 487"/>
                  <a:gd name="T13" fmla="*/ 120 h 279"/>
                  <a:gd name="T14" fmla="*/ 350 w 487"/>
                  <a:gd name="T15" fmla="*/ 213 h 279"/>
                  <a:gd name="T16" fmla="*/ 353 w 487"/>
                  <a:gd name="T17" fmla="*/ 196 h 279"/>
                  <a:gd name="T18" fmla="*/ 310 w 487"/>
                  <a:gd name="T19" fmla="*/ 173 h 279"/>
                  <a:gd name="T20" fmla="*/ 317 w 487"/>
                  <a:gd name="T21" fmla="*/ 169 h 279"/>
                  <a:gd name="T22" fmla="*/ 227 w 487"/>
                  <a:gd name="T23" fmla="*/ 117 h 279"/>
                  <a:gd name="T24" fmla="*/ 227 w 487"/>
                  <a:gd name="T25" fmla="*/ 139 h 279"/>
                  <a:gd name="T26" fmla="*/ 227 w 487"/>
                  <a:gd name="T27" fmla="*/ 139 h 279"/>
                  <a:gd name="T28" fmla="*/ 227 w 487"/>
                  <a:gd name="T29" fmla="*/ 139 h 279"/>
                  <a:gd name="T30" fmla="*/ 186 w 487"/>
                  <a:gd name="T31" fmla="*/ 115 h 279"/>
                  <a:gd name="T32" fmla="*/ 22 w 487"/>
                  <a:gd name="T33" fmla="*/ 0 h 279"/>
                  <a:gd name="T34" fmla="*/ 0 w 487"/>
                  <a:gd name="T35" fmla="*/ 11 h 279"/>
                  <a:gd name="T36" fmla="*/ 54 w 487"/>
                  <a:gd name="T37" fmla="*/ 44 h 279"/>
                  <a:gd name="T38" fmla="*/ 57 w 487"/>
                  <a:gd name="T39" fmla="*/ 25 h 279"/>
                  <a:gd name="T40" fmla="*/ 59 w 487"/>
                  <a:gd name="T41" fmla="*/ 25 h 279"/>
                  <a:gd name="T42" fmla="*/ 59 w 487"/>
                  <a:gd name="T43" fmla="*/ 20 h 279"/>
                  <a:gd name="T44" fmla="*/ 22 w 487"/>
                  <a:gd name="T45" fmla="*/ 0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7" h="279">
                    <a:moveTo>
                      <a:pt x="387" y="210"/>
                    </a:moveTo>
                    <a:lnTo>
                      <a:pt x="382" y="232"/>
                    </a:lnTo>
                    <a:lnTo>
                      <a:pt x="465" y="279"/>
                    </a:lnTo>
                    <a:lnTo>
                      <a:pt x="487" y="268"/>
                    </a:lnTo>
                    <a:lnTo>
                      <a:pt x="387" y="210"/>
                    </a:lnTo>
                    <a:moveTo>
                      <a:pt x="186" y="115"/>
                    </a:moveTo>
                    <a:lnTo>
                      <a:pt x="186" y="120"/>
                    </a:lnTo>
                    <a:lnTo>
                      <a:pt x="350" y="213"/>
                    </a:lnTo>
                    <a:lnTo>
                      <a:pt x="353" y="196"/>
                    </a:lnTo>
                    <a:lnTo>
                      <a:pt x="310" y="173"/>
                    </a:lnTo>
                    <a:lnTo>
                      <a:pt x="317" y="169"/>
                    </a:lnTo>
                    <a:lnTo>
                      <a:pt x="227" y="117"/>
                    </a:lnTo>
                    <a:lnTo>
                      <a:pt x="227" y="139"/>
                    </a:lnTo>
                    <a:lnTo>
                      <a:pt x="227" y="139"/>
                    </a:lnTo>
                    <a:lnTo>
                      <a:pt x="227" y="139"/>
                    </a:lnTo>
                    <a:lnTo>
                      <a:pt x="186" y="115"/>
                    </a:lnTo>
                    <a:moveTo>
                      <a:pt x="22" y="0"/>
                    </a:moveTo>
                    <a:lnTo>
                      <a:pt x="0" y="11"/>
                    </a:lnTo>
                    <a:lnTo>
                      <a:pt x="54" y="44"/>
                    </a:lnTo>
                    <a:lnTo>
                      <a:pt x="57" y="25"/>
                    </a:lnTo>
                    <a:lnTo>
                      <a:pt x="59" y="25"/>
                    </a:lnTo>
                    <a:lnTo>
                      <a:pt x="59" y="2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50" name="ísḻíďe"/>
              <p:cNvSpPr/>
              <p:nvPr/>
            </p:nvSpPr>
            <p:spPr bwMode="auto">
              <a:xfrm>
                <a:off x="3510" y="1800"/>
                <a:ext cx="487" cy="279"/>
              </a:xfrm>
              <a:custGeom>
                <a:avLst/>
                <a:gdLst>
                  <a:gd name="T0" fmla="*/ 387 w 487"/>
                  <a:gd name="T1" fmla="*/ 210 h 279"/>
                  <a:gd name="T2" fmla="*/ 382 w 487"/>
                  <a:gd name="T3" fmla="*/ 232 h 279"/>
                  <a:gd name="T4" fmla="*/ 465 w 487"/>
                  <a:gd name="T5" fmla="*/ 279 h 279"/>
                  <a:gd name="T6" fmla="*/ 487 w 487"/>
                  <a:gd name="T7" fmla="*/ 268 h 279"/>
                  <a:gd name="T8" fmla="*/ 387 w 487"/>
                  <a:gd name="T9" fmla="*/ 210 h 279"/>
                  <a:gd name="T10" fmla="*/ 186 w 487"/>
                  <a:gd name="T11" fmla="*/ 115 h 279"/>
                  <a:gd name="T12" fmla="*/ 186 w 487"/>
                  <a:gd name="T13" fmla="*/ 120 h 279"/>
                  <a:gd name="T14" fmla="*/ 350 w 487"/>
                  <a:gd name="T15" fmla="*/ 213 h 279"/>
                  <a:gd name="T16" fmla="*/ 353 w 487"/>
                  <a:gd name="T17" fmla="*/ 196 h 279"/>
                  <a:gd name="T18" fmla="*/ 310 w 487"/>
                  <a:gd name="T19" fmla="*/ 173 h 279"/>
                  <a:gd name="T20" fmla="*/ 317 w 487"/>
                  <a:gd name="T21" fmla="*/ 169 h 279"/>
                  <a:gd name="T22" fmla="*/ 227 w 487"/>
                  <a:gd name="T23" fmla="*/ 117 h 279"/>
                  <a:gd name="T24" fmla="*/ 227 w 487"/>
                  <a:gd name="T25" fmla="*/ 139 h 279"/>
                  <a:gd name="T26" fmla="*/ 227 w 487"/>
                  <a:gd name="T27" fmla="*/ 139 h 279"/>
                  <a:gd name="T28" fmla="*/ 227 w 487"/>
                  <a:gd name="T29" fmla="*/ 139 h 279"/>
                  <a:gd name="T30" fmla="*/ 186 w 487"/>
                  <a:gd name="T31" fmla="*/ 115 h 279"/>
                  <a:gd name="T32" fmla="*/ 22 w 487"/>
                  <a:gd name="T33" fmla="*/ 0 h 279"/>
                  <a:gd name="T34" fmla="*/ 0 w 487"/>
                  <a:gd name="T35" fmla="*/ 11 h 279"/>
                  <a:gd name="T36" fmla="*/ 54 w 487"/>
                  <a:gd name="T37" fmla="*/ 44 h 279"/>
                  <a:gd name="T38" fmla="*/ 57 w 487"/>
                  <a:gd name="T39" fmla="*/ 25 h 279"/>
                  <a:gd name="T40" fmla="*/ 59 w 487"/>
                  <a:gd name="T41" fmla="*/ 25 h 279"/>
                  <a:gd name="T42" fmla="*/ 59 w 487"/>
                  <a:gd name="T43" fmla="*/ 20 h 279"/>
                  <a:gd name="T44" fmla="*/ 22 w 487"/>
                  <a:gd name="T45" fmla="*/ 0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7" h="279">
                    <a:moveTo>
                      <a:pt x="387" y="210"/>
                    </a:moveTo>
                    <a:lnTo>
                      <a:pt x="382" y="232"/>
                    </a:lnTo>
                    <a:lnTo>
                      <a:pt x="465" y="279"/>
                    </a:lnTo>
                    <a:lnTo>
                      <a:pt x="487" y="268"/>
                    </a:lnTo>
                    <a:lnTo>
                      <a:pt x="387" y="210"/>
                    </a:lnTo>
                    <a:close/>
                    <a:moveTo>
                      <a:pt x="186" y="115"/>
                    </a:moveTo>
                    <a:lnTo>
                      <a:pt x="186" y="120"/>
                    </a:lnTo>
                    <a:lnTo>
                      <a:pt x="350" y="213"/>
                    </a:lnTo>
                    <a:lnTo>
                      <a:pt x="353" y="196"/>
                    </a:lnTo>
                    <a:lnTo>
                      <a:pt x="310" y="173"/>
                    </a:lnTo>
                    <a:lnTo>
                      <a:pt x="317" y="169"/>
                    </a:lnTo>
                    <a:lnTo>
                      <a:pt x="227" y="117"/>
                    </a:lnTo>
                    <a:lnTo>
                      <a:pt x="227" y="139"/>
                    </a:lnTo>
                    <a:lnTo>
                      <a:pt x="227" y="139"/>
                    </a:lnTo>
                    <a:lnTo>
                      <a:pt x="227" y="139"/>
                    </a:lnTo>
                    <a:lnTo>
                      <a:pt x="186" y="115"/>
                    </a:lnTo>
                    <a:close/>
                    <a:moveTo>
                      <a:pt x="22" y="0"/>
                    </a:moveTo>
                    <a:lnTo>
                      <a:pt x="0" y="11"/>
                    </a:lnTo>
                    <a:lnTo>
                      <a:pt x="54" y="44"/>
                    </a:lnTo>
                    <a:lnTo>
                      <a:pt x="57" y="25"/>
                    </a:lnTo>
                    <a:lnTo>
                      <a:pt x="59" y="25"/>
                    </a:lnTo>
                    <a:lnTo>
                      <a:pt x="59" y="20"/>
                    </a:lnTo>
                    <a:lnTo>
                      <a:pt x="22" y="0"/>
                    </a:lnTo>
                    <a:close/>
                  </a:path>
                </a:pathLst>
              </a:custGeom>
              <a:solidFill>
                <a:srgbClr val="ADB5B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51" name="ïSľîḍé"/>
              <p:cNvSpPr/>
              <p:nvPr/>
            </p:nvSpPr>
            <p:spPr bwMode="auto">
              <a:xfrm>
                <a:off x="3510" y="1800"/>
                <a:ext cx="487" cy="279"/>
              </a:xfrm>
              <a:custGeom>
                <a:avLst/>
                <a:gdLst>
                  <a:gd name="T0" fmla="*/ 387 w 487"/>
                  <a:gd name="T1" fmla="*/ 210 h 279"/>
                  <a:gd name="T2" fmla="*/ 382 w 487"/>
                  <a:gd name="T3" fmla="*/ 232 h 279"/>
                  <a:gd name="T4" fmla="*/ 465 w 487"/>
                  <a:gd name="T5" fmla="*/ 279 h 279"/>
                  <a:gd name="T6" fmla="*/ 487 w 487"/>
                  <a:gd name="T7" fmla="*/ 268 h 279"/>
                  <a:gd name="T8" fmla="*/ 387 w 487"/>
                  <a:gd name="T9" fmla="*/ 210 h 279"/>
                  <a:gd name="T10" fmla="*/ 186 w 487"/>
                  <a:gd name="T11" fmla="*/ 115 h 279"/>
                  <a:gd name="T12" fmla="*/ 186 w 487"/>
                  <a:gd name="T13" fmla="*/ 120 h 279"/>
                  <a:gd name="T14" fmla="*/ 350 w 487"/>
                  <a:gd name="T15" fmla="*/ 213 h 279"/>
                  <a:gd name="T16" fmla="*/ 353 w 487"/>
                  <a:gd name="T17" fmla="*/ 196 h 279"/>
                  <a:gd name="T18" fmla="*/ 310 w 487"/>
                  <a:gd name="T19" fmla="*/ 173 h 279"/>
                  <a:gd name="T20" fmla="*/ 317 w 487"/>
                  <a:gd name="T21" fmla="*/ 169 h 279"/>
                  <a:gd name="T22" fmla="*/ 227 w 487"/>
                  <a:gd name="T23" fmla="*/ 117 h 279"/>
                  <a:gd name="T24" fmla="*/ 227 w 487"/>
                  <a:gd name="T25" fmla="*/ 139 h 279"/>
                  <a:gd name="T26" fmla="*/ 227 w 487"/>
                  <a:gd name="T27" fmla="*/ 139 h 279"/>
                  <a:gd name="T28" fmla="*/ 227 w 487"/>
                  <a:gd name="T29" fmla="*/ 139 h 279"/>
                  <a:gd name="T30" fmla="*/ 186 w 487"/>
                  <a:gd name="T31" fmla="*/ 115 h 279"/>
                  <a:gd name="T32" fmla="*/ 22 w 487"/>
                  <a:gd name="T33" fmla="*/ 0 h 279"/>
                  <a:gd name="T34" fmla="*/ 0 w 487"/>
                  <a:gd name="T35" fmla="*/ 11 h 279"/>
                  <a:gd name="T36" fmla="*/ 54 w 487"/>
                  <a:gd name="T37" fmla="*/ 44 h 279"/>
                  <a:gd name="T38" fmla="*/ 57 w 487"/>
                  <a:gd name="T39" fmla="*/ 25 h 279"/>
                  <a:gd name="T40" fmla="*/ 59 w 487"/>
                  <a:gd name="T41" fmla="*/ 25 h 279"/>
                  <a:gd name="T42" fmla="*/ 59 w 487"/>
                  <a:gd name="T43" fmla="*/ 20 h 279"/>
                  <a:gd name="T44" fmla="*/ 22 w 487"/>
                  <a:gd name="T45" fmla="*/ 0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7" h="279">
                    <a:moveTo>
                      <a:pt x="387" y="210"/>
                    </a:moveTo>
                    <a:lnTo>
                      <a:pt x="382" y="232"/>
                    </a:lnTo>
                    <a:lnTo>
                      <a:pt x="465" y="279"/>
                    </a:lnTo>
                    <a:lnTo>
                      <a:pt x="487" y="268"/>
                    </a:lnTo>
                    <a:lnTo>
                      <a:pt x="387" y="210"/>
                    </a:lnTo>
                    <a:moveTo>
                      <a:pt x="186" y="115"/>
                    </a:moveTo>
                    <a:lnTo>
                      <a:pt x="186" y="120"/>
                    </a:lnTo>
                    <a:lnTo>
                      <a:pt x="350" y="213"/>
                    </a:lnTo>
                    <a:lnTo>
                      <a:pt x="353" y="196"/>
                    </a:lnTo>
                    <a:lnTo>
                      <a:pt x="310" y="173"/>
                    </a:lnTo>
                    <a:lnTo>
                      <a:pt x="317" y="169"/>
                    </a:lnTo>
                    <a:lnTo>
                      <a:pt x="227" y="117"/>
                    </a:lnTo>
                    <a:lnTo>
                      <a:pt x="227" y="139"/>
                    </a:lnTo>
                    <a:lnTo>
                      <a:pt x="227" y="139"/>
                    </a:lnTo>
                    <a:lnTo>
                      <a:pt x="227" y="139"/>
                    </a:lnTo>
                    <a:lnTo>
                      <a:pt x="186" y="115"/>
                    </a:lnTo>
                    <a:moveTo>
                      <a:pt x="22" y="0"/>
                    </a:moveTo>
                    <a:lnTo>
                      <a:pt x="0" y="11"/>
                    </a:lnTo>
                    <a:lnTo>
                      <a:pt x="54" y="44"/>
                    </a:lnTo>
                    <a:lnTo>
                      <a:pt x="57" y="25"/>
                    </a:lnTo>
                    <a:lnTo>
                      <a:pt x="59" y="25"/>
                    </a:lnTo>
                    <a:lnTo>
                      <a:pt x="59" y="2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52" name="î$ļîḋè"/>
              <p:cNvSpPr/>
              <p:nvPr/>
            </p:nvSpPr>
            <p:spPr bwMode="auto">
              <a:xfrm>
                <a:off x="3510" y="1910"/>
                <a:ext cx="465" cy="317"/>
              </a:xfrm>
              <a:custGeom>
                <a:avLst/>
                <a:gdLst>
                  <a:gd name="T0" fmla="*/ 321 w 465"/>
                  <a:gd name="T1" fmla="*/ 229 h 317"/>
                  <a:gd name="T2" fmla="*/ 317 w 465"/>
                  <a:gd name="T3" fmla="*/ 232 h 317"/>
                  <a:gd name="T4" fmla="*/ 321 w 465"/>
                  <a:gd name="T5" fmla="*/ 234 h 317"/>
                  <a:gd name="T6" fmla="*/ 321 w 465"/>
                  <a:gd name="T7" fmla="*/ 229 h 317"/>
                  <a:gd name="T8" fmla="*/ 363 w 465"/>
                  <a:gd name="T9" fmla="*/ 208 h 317"/>
                  <a:gd name="T10" fmla="*/ 353 w 465"/>
                  <a:gd name="T11" fmla="*/ 253 h 317"/>
                  <a:gd name="T12" fmla="*/ 465 w 465"/>
                  <a:gd name="T13" fmla="*/ 317 h 317"/>
                  <a:gd name="T14" fmla="*/ 465 w 465"/>
                  <a:gd name="T15" fmla="*/ 268 h 317"/>
                  <a:gd name="T16" fmla="*/ 363 w 465"/>
                  <a:gd name="T17" fmla="*/ 208 h 317"/>
                  <a:gd name="T18" fmla="*/ 0 w 465"/>
                  <a:gd name="T19" fmla="*/ 0 h 317"/>
                  <a:gd name="T20" fmla="*/ 0 w 465"/>
                  <a:gd name="T21" fmla="*/ 49 h 317"/>
                  <a:gd name="T22" fmla="*/ 25 w 465"/>
                  <a:gd name="T23" fmla="*/ 63 h 317"/>
                  <a:gd name="T24" fmla="*/ 34 w 465"/>
                  <a:gd name="T25" fmla="*/ 18 h 317"/>
                  <a:gd name="T26" fmla="*/ 0 w 465"/>
                  <a:gd name="T27" fmla="*/ 0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5" h="317">
                    <a:moveTo>
                      <a:pt x="321" y="229"/>
                    </a:moveTo>
                    <a:lnTo>
                      <a:pt x="317" y="232"/>
                    </a:lnTo>
                    <a:lnTo>
                      <a:pt x="321" y="234"/>
                    </a:lnTo>
                    <a:lnTo>
                      <a:pt x="321" y="229"/>
                    </a:lnTo>
                    <a:close/>
                    <a:moveTo>
                      <a:pt x="363" y="208"/>
                    </a:moveTo>
                    <a:lnTo>
                      <a:pt x="353" y="253"/>
                    </a:lnTo>
                    <a:lnTo>
                      <a:pt x="465" y="317"/>
                    </a:lnTo>
                    <a:lnTo>
                      <a:pt x="465" y="268"/>
                    </a:lnTo>
                    <a:lnTo>
                      <a:pt x="363" y="208"/>
                    </a:lnTo>
                    <a:close/>
                    <a:moveTo>
                      <a:pt x="0" y="0"/>
                    </a:moveTo>
                    <a:lnTo>
                      <a:pt x="0" y="49"/>
                    </a:lnTo>
                    <a:lnTo>
                      <a:pt x="25" y="63"/>
                    </a:lnTo>
                    <a:lnTo>
                      <a:pt x="34" y="18"/>
                    </a:lnTo>
                    <a:lnTo>
                      <a:pt x="0" y="0"/>
                    </a:lnTo>
                    <a:close/>
                  </a:path>
                </a:pathLst>
              </a:custGeom>
              <a:solidFill>
                <a:srgbClr val="DAEEF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53" name="isļiḋê"/>
              <p:cNvSpPr/>
              <p:nvPr/>
            </p:nvSpPr>
            <p:spPr bwMode="auto">
              <a:xfrm>
                <a:off x="3510" y="1910"/>
                <a:ext cx="465" cy="317"/>
              </a:xfrm>
              <a:custGeom>
                <a:avLst/>
                <a:gdLst>
                  <a:gd name="T0" fmla="*/ 321 w 465"/>
                  <a:gd name="T1" fmla="*/ 229 h 317"/>
                  <a:gd name="T2" fmla="*/ 317 w 465"/>
                  <a:gd name="T3" fmla="*/ 232 h 317"/>
                  <a:gd name="T4" fmla="*/ 321 w 465"/>
                  <a:gd name="T5" fmla="*/ 234 h 317"/>
                  <a:gd name="T6" fmla="*/ 321 w 465"/>
                  <a:gd name="T7" fmla="*/ 229 h 317"/>
                  <a:gd name="T8" fmla="*/ 363 w 465"/>
                  <a:gd name="T9" fmla="*/ 208 h 317"/>
                  <a:gd name="T10" fmla="*/ 353 w 465"/>
                  <a:gd name="T11" fmla="*/ 253 h 317"/>
                  <a:gd name="T12" fmla="*/ 465 w 465"/>
                  <a:gd name="T13" fmla="*/ 317 h 317"/>
                  <a:gd name="T14" fmla="*/ 465 w 465"/>
                  <a:gd name="T15" fmla="*/ 268 h 317"/>
                  <a:gd name="T16" fmla="*/ 363 w 465"/>
                  <a:gd name="T17" fmla="*/ 208 h 317"/>
                  <a:gd name="T18" fmla="*/ 0 w 465"/>
                  <a:gd name="T19" fmla="*/ 0 h 317"/>
                  <a:gd name="T20" fmla="*/ 0 w 465"/>
                  <a:gd name="T21" fmla="*/ 49 h 317"/>
                  <a:gd name="T22" fmla="*/ 25 w 465"/>
                  <a:gd name="T23" fmla="*/ 63 h 317"/>
                  <a:gd name="T24" fmla="*/ 34 w 465"/>
                  <a:gd name="T25" fmla="*/ 18 h 317"/>
                  <a:gd name="T26" fmla="*/ 0 w 465"/>
                  <a:gd name="T27" fmla="*/ 0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5" h="317">
                    <a:moveTo>
                      <a:pt x="321" y="229"/>
                    </a:moveTo>
                    <a:lnTo>
                      <a:pt x="317" y="232"/>
                    </a:lnTo>
                    <a:lnTo>
                      <a:pt x="321" y="234"/>
                    </a:lnTo>
                    <a:lnTo>
                      <a:pt x="321" y="229"/>
                    </a:lnTo>
                    <a:moveTo>
                      <a:pt x="363" y="208"/>
                    </a:moveTo>
                    <a:lnTo>
                      <a:pt x="353" y="253"/>
                    </a:lnTo>
                    <a:lnTo>
                      <a:pt x="465" y="317"/>
                    </a:lnTo>
                    <a:lnTo>
                      <a:pt x="465" y="268"/>
                    </a:lnTo>
                    <a:lnTo>
                      <a:pt x="363" y="208"/>
                    </a:lnTo>
                    <a:moveTo>
                      <a:pt x="0" y="0"/>
                    </a:moveTo>
                    <a:lnTo>
                      <a:pt x="0" y="49"/>
                    </a:lnTo>
                    <a:lnTo>
                      <a:pt x="25" y="63"/>
                    </a:lnTo>
                    <a:lnTo>
                      <a:pt x="34" y="1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54" name="išľïďe"/>
              <p:cNvSpPr/>
              <p:nvPr/>
            </p:nvSpPr>
            <p:spPr bwMode="auto">
              <a:xfrm>
                <a:off x="3510" y="1910"/>
                <a:ext cx="465" cy="317"/>
              </a:xfrm>
              <a:custGeom>
                <a:avLst/>
                <a:gdLst>
                  <a:gd name="T0" fmla="*/ 321 w 465"/>
                  <a:gd name="T1" fmla="*/ 229 h 317"/>
                  <a:gd name="T2" fmla="*/ 317 w 465"/>
                  <a:gd name="T3" fmla="*/ 232 h 317"/>
                  <a:gd name="T4" fmla="*/ 321 w 465"/>
                  <a:gd name="T5" fmla="*/ 234 h 317"/>
                  <a:gd name="T6" fmla="*/ 321 w 465"/>
                  <a:gd name="T7" fmla="*/ 229 h 317"/>
                  <a:gd name="T8" fmla="*/ 363 w 465"/>
                  <a:gd name="T9" fmla="*/ 208 h 317"/>
                  <a:gd name="T10" fmla="*/ 353 w 465"/>
                  <a:gd name="T11" fmla="*/ 253 h 317"/>
                  <a:gd name="T12" fmla="*/ 465 w 465"/>
                  <a:gd name="T13" fmla="*/ 317 h 317"/>
                  <a:gd name="T14" fmla="*/ 465 w 465"/>
                  <a:gd name="T15" fmla="*/ 268 h 317"/>
                  <a:gd name="T16" fmla="*/ 363 w 465"/>
                  <a:gd name="T17" fmla="*/ 208 h 317"/>
                  <a:gd name="T18" fmla="*/ 0 w 465"/>
                  <a:gd name="T19" fmla="*/ 0 h 317"/>
                  <a:gd name="T20" fmla="*/ 0 w 465"/>
                  <a:gd name="T21" fmla="*/ 49 h 317"/>
                  <a:gd name="T22" fmla="*/ 25 w 465"/>
                  <a:gd name="T23" fmla="*/ 63 h 317"/>
                  <a:gd name="T24" fmla="*/ 34 w 465"/>
                  <a:gd name="T25" fmla="*/ 18 h 317"/>
                  <a:gd name="T26" fmla="*/ 0 w 465"/>
                  <a:gd name="T27" fmla="*/ 0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5" h="317">
                    <a:moveTo>
                      <a:pt x="321" y="229"/>
                    </a:moveTo>
                    <a:lnTo>
                      <a:pt x="317" y="232"/>
                    </a:lnTo>
                    <a:lnTo>
                      <a:pt x="321" y="234"/>
                    </a:lnTo>
                    <a:lnTo>
                      <a:pt x="321" y="229"/>
                    </a:lnTo>
                    <a:close/>
                    <a:moveTo>
                      <a:pt x="363" y="208"/>
                    </a:moveTo>
                    <a:lnTo>
                      <a:pt x="353" y="253"/>
                    </a:lnTo>
                    <a:lnTo>
                      <a:pt x="465" y="317"/>
                    </a:lnTo>
                    <a:lnTo>
                      <a:pt x="465" y="268"/>
                    </a:lnTo>
                    <a:lnTo>
                      <a:pt x="363" y="208"/>
                    </a:lnTo>
                    <a:close/>
                    <a:moveTo>
                      <a:pt x="0" y="0"/>
                    </a:moveTo>
                    <a:lnTo>
                      <a:pt x="0" y="49"/>
                    </a:lnTo>
                    <a:lnTo>
                      <a:pt x="25" y="63"/>
                    </a:lnTo>
                    <a:lnTo>
                      <a:pt x="34" y="18"/>
                    </a:lnTo>
                    <a:lnTo>
                      <a:pt x="0" y="0"/>
                    </a:lnTo>
                    <a:close/>
                  </a:path>
                </a:pathLst>
              </a:custGeom>
              <a:solidFill>
                <a:srgbClr val="909193"/>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55" name="íṣḻíďê"/>
              <p:cNvSpPr/>
              <p:nvPr/>
            </p:nvSpPr>
            <p:spPr bwMode="auto">
              <a:xfrm>
                <a:off x="3510" y="1910"/>
                <a:ext cx="465" cy="317"/>
              </a:xfrm>
              <a:custGeom>
                <a:avLst/>
                <a:gdLst>
                  <a:gd name="T0" fmla="*/ 321 w 465"/>
                  <a:gd name="T1" fmla="*/ 229 h 317"/>
                  <a:gd name="T2" fmla="*/ 317 w 465"/>
                  <a:gd name="T3" fmla="*/ 232 h 317"/>
                  <a:gd name="T4" fmla="*/ 321 w 465"/>
                  <a:gd name="T5" fmla="*/ 234 h 317"/>
                  <a:gd name="T6" fmla="*/ 321 w 465"/>
                  <a:gd name="T7" fmla="*/ 229 h 317"/>
                  <a:gd name="T8" fmla="*/ 363 w 465"/>
                  <a:gd name="T9" fmla="*/ 208 h 317"/>
                  <a:gd name="T10" fmla="*/ 353 w 465"/>
                  <a:gd name="T11" fmla="*/ 253 h 317"/>
                  <a:gd name="T12" fmla="*/ 465 w 465"/>
                  <a:gd name="T13" fmla="*/ 317 h 317"/>
                  <a:gd name="T14" fmla="*/ 465 w 465"/>
                  <a:gd name="T15" fmla="*/ 268 h 317"/>
                  <a:gd name="T16" fmla="*/ 363 w 465"/>
                  <a:gd name="T17" fmla="*/ 208 h 317"/>
                  <a:gd name="T18" fmla="*/ 0 w 465"/>
                  <a:gd name="T19" fmla="*/ 0 h 317"/>
                  <a:gd name="T20" fmla="*/ 0 w 465"/>
                  <a:gd name="T21" fmla="*/ 49 h 317"/>
                  <a:gd name="T22" fmla="*/ 25 w 465"/>
                  <a:gd name="T23" fmla="*/ 63 h 317"/>
                  <a:gd name="T24" fmla="*/ 34 w 465"/>
                  <a:gd name="T25" fmla="*/ 18 h 317"/>
                  <a:gd name="T26" fmla="*/ 0 w 465"/>
                  <a:gd name="T27" fmla="*/ 0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5" h="317">
                    <a:moveTo>
                      <a:pt x="321" y="229"/>
                    </a:moveTo>
                    <a:lnTo>
                      <a:pt x="317" y="232"/>
                    </a:lnTo>
                    <a:lnTo>
                      <a:pt x="321" y="234"/>
                    </a:lnTo>
                    <a:lnTo>
                      <a:pt x="321" y="229"/>
                    </a:lnTo>
                    <a:moveTo>
                      <a:pt x="363" y="208"/>
                    </a:moveTo>
                    <a:lnTo>
                      <a:pt x="353" y="253"/>
                    </a:lnTo>
                    <a:lnTo>
                      <a:pt x="465" y="317"/>
                    </a:lnTo>
                    <a:lnTo>
                      <a:pt x="465" y="268"/>
                    </a:lnTo>
                    <a:lnTo>
                      <a:pt x="363" y="208"/>
                    </a:lnTo>
                    <a:moveTo>
                      <a:pt x="0" y="0"/>
                    </a:moveTo>
                    <a:lnTo>
                      <a:pt x="0" y="49"/>
                    </a:lnTo>
                    <a:lnTo>
                      <a:pt x="25" y="63"/>
                    </a:lnTo>
                    <a:lnTo>
                      <a:pt x="34" y="1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56" name="ïśḷîḑè"/>
              <p:cNvSpPr/>
              <p:nvPr/>
            </p:nvSpPr>
            <p:spPr bwMode="auto">
              <a:xfrm>
                <a:off x="3975" y="2164"/>
                <a:ext cx="22" cy="63"/>
              </a:xfrm>
              <a:custGeom>
                <a:avLst/>
                <a:gdLst>
                  <a:gd name="T0" fmla="*/ 22 w 22"/>
                  <a:gd name="T1" fmla="*/ 0 h 63"/>
                  <a:gd name="T2" fmla="*/ 0 w 22"/>
                  <a:gd name="T3" fmla="*/ 14 h 63"/>
                  <a:gd name="T4" fmla="*/ 0 w 22"/>
                  <a:gd name="T5" fmla="*/ 63 h 63"/>
                  <a:gd name="T6" fmla="*/ 22 w 22"/>
                  <a:gd name="T7" fmla="*/ 49 h 63"/>
                  <a:gd name="T8" fmla="*/ 22 w 22"/>
                  <a:gd name="T9" fmla="*/ 0 h 63"/>
                </a:gdLst>
                <a:ahLst/>
                <a:cxnLst>
                  <a:cxn ang="0">
                    <a:pos x="T0" y="T1"/>
                  </a:cxn>
                  <a:cxn ang="0">
                    <a:pos x="T2" y="T3"/>
                  </a:cxn>
                  <a:cxn ang="0">
                    <a:pos x="T4" y="T5"/>
                  </a:cxn>
                  <a:cxn ang="0">
                    <a:pos x="T6" y="T7"/>
                  </a:cxn>
                  <a:cxn ang="0">
                    <a:pos x="T8" y="T9"/>
                  </a:cxn>
                </a:cxnLst>
                <a:rect l="0" t="0" r="r" b="b"/>
                <a:pathLst>
                  <a:path w="22" h="63">
                    <a:moveTo>
                      <a:pt x="22" y="0"/>
                    </a:moveTo>
                    <a:lnTo>
                      <a:pt x="0" y="14"/>
                    </a:lnTo>
                    <a:lnTo>
                      <a:pt x="0" y="63"/>
                    </a:lnTo>
                    <a:lnTo>
                      <a:pt x="22" y="49"/>
                    </a:lnTo>
                    <a:lnTo>
                      <a:pt x="22" y="0"/>
                    </a:lnTo>
                    <a:close/>
                  </a:path>
                </a:pathLst>
              </a:custGeom>
              <a:solidFill>
                <a:srgbClr val="DAEEF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57" name="ïŝḻidé"/>
              <p:cNvSpPr/>
              <p:nvPr/>
            </p:nvSpPr>
            <p:spPr bwMode="auto">
              <a:xfrm>
                <a:off x="3975" y="2164"/>
                <a:ext cx="22" cy="63"/>
              </a:xfrm>
              <a:custGeom>
                <a:avLst/>
                <a:gdLst>
                  <a:gd name="T0" fmla="*/ 22 w 22"/>
                  <a:gd name="T1" fmla="*/ 0 h 63"/>
                  <a:gd name="T2" fmla="*/ 0 w 22"/>
                  <a:gd name="T3" fmla="*/ 14 h 63"/>
                  <a:gd name="T4" fmla="*/ 0 w 22"/>
                  <a:gd name="T5" fmla="*/ 63 h 63"/>
                  <a:gd name="T6" fmla="*/ 22 w 22"/>
                  <a:gd name="T7" fmla="*/ 49 h 63"/>
                  <a:gd name="T8" fmla="*/ 22 w 22"/>
                  <a:gd name="T9" fmla="*/ 0 h 63"/>
                </a:gdLst>
                <a:ahLst/>
                <a:cxnLst>
                  <a:cxn ang="0">
                    <a:pos x="T0" y="T1"/>
                  </a:cxn>
                  <a:cxn ang="0">
                    <a:pos x="T2" y="T3"/>
                  </a:cxn>
                  <a:cxn ang="0">
                    <a:pos x="T4" y="T5"/>
                  </a:cxn>
                  <a:cxn ang="0">
                    <a:pos x="T6" y="T7"/>
                  </a:cxn>
                  <a:cxn ang="0">
                    <a:pos x="T8" y="T9"/>
                  </a:cxn>
                </a:cxnLst>
                <a:rect l="0" t="0" r="r" b="b"/>
                <a:pathLst>
                  <a:path w="22" h="63">
                    <a:moveTo>
                      <a:pt x="22" y="0"/>
                    </a:moveTo>
                    <a:lnTo>
                      <a:pt x="0" y="14"/>
                    </a:lnTo>
                    <a:lnTo>
                      <a:pt x="0" y="63"/>
                    </a:lnTo>
                    <a:lnTo>
                      <a:pt x="22" y="49"/>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58" name="ïṡḷidê"/>
              <p:cNvSpPr/>
              <p:nvPr/>
            </p:nvSpPr>
            <p:spPr bwMode="auto">
              <a:xfrm>
                <a:off x="3975" y="2164"/>
                <a:ext cx="22" cy="63"/>
              </a:xfrm>
              <a:custGeom>
                <a:avLst/>
                <a:gdLst>
                  <a:gd name="T0" fmla="*/ 22 w 22"/>
                  <a:gd name="T1" fmla="*/ 0 h 63"/>
                  <a:gd name="T2" fmla="*/ 0 w 22"/>
                  <a:gd name="T3" fmla="*/ 14 h 63"/>
                  <a:gd name="T4" fmla="*/ 0 w 22"/>
                  <a:gd name="T5" fmla="*/ 63 h 63"/>
                  <a:gd name="T6" fmla="*/ 22 w 22"/>
                  <a:gd name="T7" fmla="*/ 49 h 63"/>
                  <a:gd name="T8" fmla="*/ 22 w 22"/>
                  <a:gd name="T9" fmla="*/ 0 h 63"/>
                </a:gdLst>
                <a:ahLst/>
                <a:cxnLst>
                  <a:cxn ang="0">
                    <a:pos x="T0" y="T1"/>
                  </a:cxn>
                  <a:cxn ang="0">
                    <a:pos x="T2" y="T3"/>
                  </a:cxn>
                  <a:cxn ang="0">
                    <a:pos x="T4" y="T5"/>
                  </a:cxn>
                  <a:cxn ang="0">
                    <a:pos x="T6" y="T7"/>
                  </a:cxn>
                  <a:cxn ang="0">
                    <a:pos x="T8" y="T9"/>
                  </a:cxn>
                </a:cxnLst>
                <a:rect l="0" t="0" r="r" b="b"/>
                <a:pathLst>
                  <a:path w="22" h="63">
                    <a:moveTo>
                      <a:pt x="22" y="0"/>
                    </a:moveTo>
                    <a:lnTo>
                      <a:pt x="0" y="14"/>
                    </a:lnTo>
                    <a:lnTo>
                      <a:pt x="0" y="63"/>
                    </a:lnTo>
                    <a:lnTo>
                      <a:pt x="22" y="49"/>
                    </a:lnTo>
                    <a:lnTo>
                      <a:pt x="22" y="0"/>
                    </a:lnTo>
                    <a:close/>
                  </a:path>
                </a:pathLst>
              </a:custGeom>
              <a:solidFill>
                <a:srgbClr val="75808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59" name="ïsḷiḋe"/>
              <p:cNvSpPr/>
              <p:nvPr/>
            </p:nvSpPr>
            <p:spPr bwMode="auto">
              <a:xfrm>
                <a:off x="3975" y="2164"/>
                <a:ext cx="22" cy="63"/>
              </a:xfrm>
              <a:custGeom>
                <a:avLst/>
                <a:gdLst>
                  <a:gd name="T0" fmla="*/ 22 w 22"/>
                  <a:gd name="T1" fmla="*/ 0 h 63"/>
                  <a:gd name="T2" fmla="*/ 0 w 22"/>
                  <a:gd name="T3" fmla="*/ 14 h 63"/>
                  <a:gd name="T4" fmla="*/ 0 w 22"/>
                  <a:gd name="T5" fmla="*/ 63 h 63"/>
                  <a:gd name="T6" fmla="*/ 22 w 22"/>
                  <a:gd name="T7" fmla="*/ 49 h 63"/>
                  <a:gd name="T8" fmla="*/ 22 w 22"/>
                  <a:gd name="T9" fmla="*/ 0 h 63"/>
                </a:gdLst>
                <a:ahLst/>
                <a:cxnLst>
                  <a:cxn ang="0">
                    <a:pos x="T0" y="T1"/>
                  </a:cxn>
                  <a:cxn ang="0">
                    <a:pos x="T2" y="T3"/>
                  </a:cxn>
                  <a:cxn ang="0">
                    <a:pos x="T4" y="T5"/>
                  </a:cxn>
                  <a:cxn ang="0">
                    <a:pos x="T6" y="T7"/>
                  </a:cxn>
                  <a:cxn ang="0">
                    <a:pos x="T8" y="T9"/>
                  </a:cxn>
                </a:cxnLst>
                <a:rect l="0" t="0" r="r" b="b"/>
                <a:pathLst>
                  <a:path w="22" h="63">
                    <a:moveTo>
                      <a:pt x="22" y="0"/>
                    </a:moveTo>
                    <a:lnTo>
                      <a:pt x="0" y="14"/>
                    </a:lnTo>
                    <a:lnTo>
                      <a:pt x="0" y="63"/>
                    </a:lnTo>
                    <a:lnTo>
                      <a:pt x="22" y="49"/>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60" name="îS1iḋê"/>
              <p:cNvSpPr/>
              <p:nvPr/>
            </p:nvSpPr>
            <p:spPr bwMode="auto">
              <a:xfrm>
                <a:off x="3510" y="1896"/>
                <a:ext cx="487" cy="282"/>
              </a:xfrm>
              <a:custGeom>
                <a:avLst/>
                <a:gdLst>
                  <a:gd name="T0" fmla="*/ 368 w 487"/>
                  <a:gd name="T1" fmla="*/ 199 h 282"/>
                  <a:gd name="T2" fmla="*/ 363 w 487"/>
                  <a:gd name="T3" fmla="*/ 222 h 282"/>
                  <a:gd name="T4" fmla="*/ 465 w 487"/>
                  <a:gd name="T5" fmla="*/ 282 h 282"/>
                  <a:gd name="T6" fmla="*/ 487 w 487"/>
                  <a:gd name="T7" fmla="*/ 268 h 282"/>
                  <a:gd name="T8" fmla="*/ 368 w 487"/>
                  <a:gd name="T9" fmla="*/ 199 h 282"/>
                  <a:gd name="T10" fmla="*/ 113 w 487"/>
                  <a:gd name="T11" fmla="*/ 53 h 282"/>
                  <a:gd name="T12" fmla="*/ 113 w 487"/>
                  <a:gd name="T13" fmla="*/ 60 h 282"/>
                  <a:gd name="T14" fmla="*/ 113 w 487"/>
                  <a:gd name="T15" fmla="*/ 60 h 282"/>
                  <a:gd name="T16" fmla="*/ 113 w 487"/>
                  <a:gd name="T17" fmla="*/ 60 h 282"/>
                  <a:gd name="T18" fmla="*/ 334 w 487"/>
                  <a:gd name="T19" fmla="*/ 187 h 282"/>
                  <a:gd name="T20" fmla="*/ 336 w 487"/>
                  <a:gd name="T21" fmla="*/ 180 h 282"/>
                  <a:gd name="T22" fmla="*/ 113 w 487"/>
                  <a:gd name="T23" fmla="*/ 53 h 282"/>
                  <a:gd name="T24" fmla="*/ 22 w 487"/>
                  <a:gd name="T25" fmla="*/ 0 h 282"/>
                  <a:gd name="T26" fmla="*/ 0 w 487"/>
                  <a:gd name="T27" fmla="*/ 14 h 282"/>
                  <a:gd name="T28" fmla="*/ 34 w 487"/>
                  <a:gd name="T29" fmla="*/ 32 h 282"/>
                  <a:gd name="T30" fmla="*/ 39 w 487"/>
                  <a:gd name="T31" fmla="*/ 10 h 282"/>
                  <a:gd name="T32" fmla="*/ 22 w 487"/>
                  <a:gd name="T33" fmla="*/ 0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7" h="282">
                    <a:moveTo>
                      <a:pt x="368" y="199"/>
                    </a:moveTo>
                    <a:lnTo>
                      <a:pt x="363" y="222"/>
                    </a:lnTo>
                    <a:lnTo>
                      <a:pt x="465" y="282"/>
                    </a:lnTo>
                    <a:lnTo>
                      <a:pt x="487" y="268"/>
                    </a:lnTo>
                    <a:lnTo>
                      <a:pt x="368" y="199"/>
                    </a:lnTo>
                    <a:close/>
                    <a:moveTo>
                      <a:pt x="113" y="53"/>
                    </a:moveTo>
                    <a:lnTo>
                      <a:pt x="113" y="60"/>
                    </a:lnTo>
                    <a:lnTo>
                      <a:pt x="113" y="60"/>
                    </a:lnTo>
                    <a:lnTo>
                      <a:pt x="113" y="60"/>
                    </a:lnTo>
                    <a:lnTo>
                      <a:pt x="334" y="187"/>
                    </a:lnTo>
                    <a:lnTo>
                      <a:pt x="336" y="180"/>
                    </a:lnTo>
                    <a:lnTo>
                      <a:pt x="113" y="53"/>
                    </a:lnTo>
                    <a:close/>
                    <a:moveTo>
                      <a:pt x="22" y="0"/>
                    </a:moveTo>
                    <a:lnTo>
                      <a:pt x="0" y="14"/>
                    </a:lnTo>
                    <a:lnTo>
                      <a:pt x="34" y="32"/>
                    </a:lnTo>
                    <a:lnTo>
                      <a:pt x="39" y="10"/>
                    </a:lnTo>
                    <a:lnTo>
                      <a:pt x="22" y="0"/>
                    </a:lnTo>
                    <a:close/>
                  </a:path>
                </a:pathLst>
              </a:custGeom>
              <a:solidFill>
                <a:srgbClr val="DAEEF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61" name="îṡlîḑê"/>
              <p:cNvSpPr/>
              <p:nvPr/>
            </p:nvSpPr>
            <p:spPr bwMode="auto">
              <a:xfrm>
                <a:off x="3510" y="1896"/>
                <a:ext cx="487" cy="282"/>
              </a:xfrm>
              <a:custGeom>
                <a:avLst/>
                <a:gdLst>
                  <a:gd name="T0" fmla="*/ 368 w 487"/>
                  <a:gd name="T1" fmla="*/ 199 h 282"/>
                  <a:gd name="T2" fmla="*/ 363 w 487"/>
                  <a:gd name="T3" fmla="*/ 222 h 282"/>
                  <a:gd name="T4" fmla="*/ 465 w 487"/>
                  <a:gd name="T5" fmla="*/ 282 h 282"/>
                  <a:gd name="T6" fmla="*/ 487 w 487"/>
                  <a:gd name="T7" fmla="*/ 268 h 282"/>
                  <a:gd name="T8" fmla="*/ 368 w 487"/>
                  <a:gd name="T9" fmla="*/ 199 h 282"/>
                  <a:gd name="T10" fmla="*/ 113 w 487"/>
                  <a:gd name="T11" fmla="*/ 53 h 282"/>
                  <a:gd name="T12" fmla="*/ 113 w 487"/>
                  <a:gd name="T13" fmla="*/ 60 h 282"/>
                  <a:gd name="T14" fmla="*/ 113 w 487"/>
                  <a:gd name="T15" fmla="*/ 60 h 282"/>
                  <a:gd name="T16" fmla="*/ 113 w 487"/>
                  <a:gd name="T17" fmla="*/ 60 h 282"/>
                  <a:gd name="T18" fmla="*/ 334 w 487"/>
                  <a:gd name="T19" fmla="*/ 187 h 282"/>
                  <a:gd name="T20" fmla="*/ 336 w 487"/>
                  <a:gd name="T21" fmla="*/ 180 h 282"/>
                  <a:gd name="T22" fmla="*/ 113 w 487"/>
                  <a:gd name="T23" fmla="*/ 53 h 282"/>
                  <a:gd name="T24" fmla="*/ 22 w 487"/>
                  <a:gd name="T25" fmla="*/ 0 h 282"/>
                  <a:gd name="T26" fmla="*/ 0 w 487"/>
                  <a:gd name="T27" fmla="*/ 14 h 282"/>
                  <a:gd name="T28" fmla="*/ 34 w 487"/>
                  <a:gd name="T29" fmla="*/ 32 h 282"/>
                  <a:gd name="T30" fmla="*/ 39 w 487"/>
                  <a:gd name="T31" fmla="*/ 10 h 282"/>
                  <a:gd name="T32" fmla="*/ 22 w 487"/>
                  <a:gd name="T33" fmla="*/ 0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7" h="282">
                    <a:moveTo>
                      <a:pt x="368" y="199"/>
                    </a:moveTo>
                    <a:lnTo>
                      <a:pt x="363" y="222"/>
                    </a:lnTo>
                    <a:lnTo>
                      <a:pt x="465" y="282"/>
                    </a:lnTo>
                    <a:lnTo>
                      <a:pt x="487" y="268"/>
                    </a:lnTo>
                    <a:lnTo>
                      <a:pt x="368" y="199"/>
                    </a:lnTo>
                    <a:moveTo>
                      <a:pt x="113" y="53"/>
                    </a:moveTo>
                    <a:lnTo>
                      <a:pt x="113" y="60"/>
                    </a:lnTo>
                    <a:lnTo>
                      <a:pt x="113" y="60"/>
                    </a:lnTo>
                    <a:lnTo>
                      <a:pt x="113" y="60"/>
                    </a:lnTo>
                    <a:lnTo>
                      <a:pt x="334" y="187"/>
                    </a:lnTo>
                    <a:lnTo>
                      <a:pt x="336" y="180"/>
                    </a:lnTo>
                    <a:lnTo>
                      <a:pt x="113" y="53"/>
                    </a:lnTo>
                    <a:moveTo>
                      <a:pt x="22" y="0"/>
                    </a:moveTo>
                    <a:lnTo>
                      <a:pt x="0" y="14"/>
                    </a:lnTo>
                    <a:lnTo>
                      <a:pt x="34" y="32"/>
                    </a:lnTo>
                    <a:lnTo>
                      <a:pt x="39" y="1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62" name="ïṡļíḋé"/>
              <p:cNvSpPr/>
              <p:nvPr/>
            </p:nvSpPr>
            <p:spPr bwMode="auto">
              <a:xfrm>
                <a:off x="3510" y="1896"/>
                <a:ext cx="487" cy="282"/>
              </a:xfrm>
              <a:custGeom>
                <a:avLst/>
                <a:gdLst>
                  <a:gd name="T0" fmla="*/ 368 w 487"/>
                  <a:gd name="T1" fmla="*/ 199 h 282"/>
                  <a:gd name="T2" fmla="*/ 363 w 487"/>
                  <a:gd name="T3" fmla="*/ 222 h 282"/>
                  <a:gd name="T4" fmla="*/ 465 w 487"/>
                  <a:gd name="T5" fmla="*/ 282 h 282"/>
                  <a:gd name="T6" fmla="*/ 487 w 487"/>
                  <a:gd name="T7" fmla="*/ 268 h 282"/>
                  <a:gd name="T8" fmla="*/ 368 w 487"/>
                  <a:gd name="T9" fmla="*/ 199 h 282"/>
                  <a:gd name="T10" fmla="*/ 113 w 487"/>
                  <a:gd name="T11" fmla="*/ 53 h 282"/>
                  <a:gd name="T12" fmla="*/ 113 w 487"/>
                  <a:gd name="T13" fmla="*/ 60 h 282"/>
                  <a:gd name="T14" fmla="*/ 113 w 487"/>
                  <a:gd name="T15" fmla="*/ 60 h 282"/>
                  <a:gd name="T16" fmla="*/ 113 w 487"/>
                  <a:gd name="T17" fmla="*/ 60 h 282"/>
                  <a:gd name="T18" fmla="*/ 334 w 487"/>
                  <a:gd name="T19" fmla="*/ 187 h 282"/>
                  <a:gd name="T20" fmla="*/ 336 w 487"/>
                  <a:gd name="T21" fmla="*/ 180 h 282"/>
                  <a:gd name="T22" fmla="*/ 113 w 487"/>
                  <a:gd name="T23" fmla="*/ 53 h 282"/>
                  <a:gd name="T24" fmla="*/ 22 w 487"/>
                  <a:gd name="T25" fmla="*/ 0 h 282"/>
                  <a:gd name="T26" fmla="*/ 0 w 487"/>
                  <a:gd name="T27" fmla="*/ 14 h 282"/>
                  <a:gd name="T28" fmla="*/ 34 w 487"/>
                  <a:gd name="T29" fmla="*/ 32 h 282"/>
                  <a:gd name="T30" fmla="*/ 39 w 487"/>
                  <a:gd name="T31" fmla="*/ 10 h 282"/>
                  <a:gd name="T32" fmla="*/ 22 w 487"/>
                  <a:gd name="T33" fmla="*/ 0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7" h="282">
                    <a:moveTo>
                      <a:pt x="368" y="199"/>
                    </a:moveTo>
                    <a:lnTo>
                      <a:pt x="363" y="222"/>
                    </a:lnTo>
                    <a:lnTo>
                      <a:pt x="465" y="282"/>
                    </a:lnTo>
                    <a:lnTo>
                      <a:pt x="487" y="268"/>
                    </a:lnTo>
                    <a:lnTo>
                      <a:pt x="368" y="199"/>
                    </a:lnTo>
                    <a:close/>
                    <a:moveTo>
                      <a:pt x="113" y="53"/>
                    </a:moveTo>
                    <a:lnTo>
                      <a:pt x="113" y="60"/>
                    </a:lnTo>
                    <a:lnTo>
                      <a:pt x="113" y="60"/>
                    </a:lnTo>
                    <a:lnTo>
                      <a:pt x="113" y="60"/>
                    </a:lnTo>
                    <a:lnTo>
                      <a:pt x="334" y="187"/>
                    </a:lnTo>
                    <a:lnTo>
                      <a:pt x="336" y="180"/>
                    </a:lnTo>
                    <a:lnTo>
                      <a:pt x="113" y="53"/>
                    </a:lnTo>
                    <a:close/>
                    <a:moveTo>
                      <a:pt x="22" y="0"/>
                    </a:moveTo>
                    <a:lnTo>
                      <a:pt x="0" y="14"/>
                    </a:lnTo>
                    <a:lnTo>
                      <a:pt x="34" y="32"/>
                    </a:lnTo>
                    <a:lnTo>
                      <a:pt x="39" y="10"/>
                    </a:lnTo>
                    <a:lnTo>
                      <a:pt x="22" y="0"/>
                    </a:lnTo>
                    <a:close/>
                  </a:path>
                </a:pathLst>
              </a:custGeom>
              <a:solidFill>
                <a:srgbClr val="ADB5B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63" name="ïsḷïďé"/>
              <p:cNvSpPr/>
              <p:nvPr/>
            </p:nvSpPr>
            <p:spPr bwMode="auto">
              <a:xfrm>
                <a:off x="3510" y="1896"/>
                <a:ext cx="487" cy="282"/>
              </a:xfrm>
              <a:custGeom>
                <a:avLst/>
                <a:gdLst>
                  <a:gd name="T0" fmla="*/ 368 w 487"/>
                  <a:gd name="T1" fmla="*/ 199 h 282"/>
                  <a:gd name="T2" fmla="*/ 363 w 487"/>
                  <a:gd name="T3" fmla="*/ 222 h 282"/>
                  <a:gd name="T4" fmla="*/ 465 w 487"/>
                  <a:gd name="T5" fmla="*/ 282 h 282"/>
                  <a:gd name="T6" fmla="*/ 487 w 487"/>
                  <a:gd name="T7" fmla="*/ 268 h 282"/>
                  <a:gd name="T8" fmla="*/ 368 w 487"/>
                  <a:gd name="T9" fmla="*/ 199 h 282"/>
                  <a:gd name="T10" fmla="*/ 113 w 487"/>
                  <a:gd name="T11" fmla="*/ 53 h 282"/>
                  <a:gd name="T12" fmla="*/ 113 w 487"/>
                  <a:gd name="T13" fmla="*/ 60 h 282"/>
                  <a:gd name="T14" fmla="*/ 113 w 487"/>
                  <a:gd name="T15" fmla="*/ 60 h 282"/>
                  <a:gd name="T16" fmla="*/ 113 w 487"/>
                  <a:gd name="T17" fmla="*/ 60 h 282"/>
                  <a:gd name="T18" fmla="*/ 334 w 487"/>
                  <a:gd name="T19" fmla="*/ 187 h 282"/>
                  <a:gd name="T20" fmla="*/ 336 w 487"/>
                  <a:gd name="T21" fmla="*/ 180 h 282"/>
                  <a:gd name="T22" fmla="*/ 113 w 487"/>
                  <a:gd name="T23" fmla="*/ 53 h 282"/>
                  <a:gd name="T24" fmla="*/ 22 w 487"/>
                  <a:gd name="T25" fmla="*/ 0 h 282"/>
                  <a:gd name="T26" fmla="*/ 0 w 487"/>
                  <a:gd name="T27" fmla="*/ 14 h 282"/>
                  <a:gd name="T28" fmla="*/ 34 w 487"/>
                  <a:gd name="T29" fmla="*/ 32 h 282"/>
                  <a:gd name="T30" fmla="*/ 39 w 487"/>
                  <a:gd name="T31" fmla="*/ 10 h 282"/>
                  <a:gd name="T32" fmla="*/ 22 w 487"/>
                  <a:gd name="T33" fmla="*/ 0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7" h="282">
                    <a:moveTo>
                      <a:pt x="368" y="199"/>
                    </a:moveTo>
                    <a:lnTo>
                      <a:pt x="363" y="222"/>
                    </a:lnTo>
                    <a:lnTo>
                      <a:pt x="465" y="282"/>
                    </a:lnTo>
                    <a:lnTo>
                      <a:pt x="487" y="268"/>
                    </a:lnTo>
                    <a:lnTo>
                      <a:pt x="368" y="199"/>
                    </a:lnTo>
                    <a:moveTo>
                      <a:pt x="113" y="53"/>
                    </a:moveTo>
                    <a:lnTo>
                      <a:pt x="113" y="60"/>
                    </a:lnTo>
                    <a:lnTo>
                      <a:pt x="113" y="60"/>
                    </a:lnTo>
                    <a:lnTo>
                      <a:pt x="113" y="60"/>
                    </a:lnTo>
                    <a:lnTo>
                      <a:pt x="334" y="187"/>
                    </a:lnTo>
                    <a:lnTo>
                      <a:pt x="336" y="180"/>
                    </a:lnTo>
                    <a:lnTo>
                      <a:pt x="113" y="53"/>
                    </a:lnTo>
                    <a:moveTo>
                      <a:pt x="22" y="0"/>
                    </a:moveTo>
                    <a:lnTo>
                      <a:pt x="0" y="14"/>
                    </a:lnTo>
                    <a:lnTo>
                      <a:pt x="34" y="32"/>
                    </a:lnTo>
                    <a:lnTo>
                      <a:pt x="39" y="1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64" name="íṡļiḑê"/>
              <p:cNvSpPr/>
              <p:nvPr/>
            </p:nvSpPr>
            <p:spPr bwMode="auto">
              <a:xfrm>
                <a:off x="3510" y="2007"/>
                <a:ext cx="465" cy="317"/>
              </a:xfrm>
              <a:custGeom>
                <a:avLst/>
                <a:gdLst>
                  <a:gd name="T0" fmla="*/ 343 w 465"/>
                  <a:gd name="T1" fmla="*/ 198 h 317"/>
                  <a:gd name="T2" fmla="*/ 334 w 465"/>
                  <a:gd name="T3" fmla="*/ 242 h 317"/>
                  <a:gd name="T4" fmla="*/ 465 w 465"/>
                  <a:gd name="T5" fmla="*/ 317 h 317"/>
                  <a:gd name="T6" fmla="*/ 465 w 465"/>
                  <a:gd name="T7" fmla="*/ 267 h 317"/>
                  <a:gd name="T8" fmla="*/ 343 w 465"/>
                  <a:gd name="T9" fmla="*/ 198 h 317"/>
                  <a:gd name="T10" fmla="*/ 90 w 465"/>
                  <a:gd name="T11" fmla="*/ 52 h 317"/>
                  <a:gd name="T12" fmla="*/ 79 w 465"/>
                  <a:gd name="T13" fmla="*/ 94 h 317"/>
                  <a:gd name="T14" fmla="*/ 302 w 465"/>
                  <a:gd name="T15" fmla="*/ 223 h 317"/>
                  <a:gd name="T16" fmla="*/ 310 w 465"/>
                  <a:gd name="T17" fmla="*/ 179 h 317"/>
                  <a:gd name="T18" fmla="*/ 90 w 465"/>
                  <a:gd name="T19" fmla="*/ 52 h 317"/>
                  <a:gd name="T20" fmla="*/ 0 w 465"/>
                  <a:gd name="T21" fmla="*/ 0 h 317"/>
                  <a:gd name="T22" fmla="*/ 0 w 465"/>
                  <a:gd name="T23" fmla="*/ 49 h 317"/>
                  <a:gd name="T24" fmla="*/ 5 w 465"/>
                  <a:gd name="T25" fmla="*/ 52 h 317"/>
                  <a:gd name="T26" fmla="*/ 15 w 465"/>
                  <a:gd name="T27" fmla="*/ 8 h 317"/>
                  <a:gd name="T28" fmla="*/ 0 w 465"/>
                  <a:gd name="T29" fmla="*/ 0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5" h="317">
                    <a:moveTo>
                      <a:pt x="343" y="198"/>
                    </a:moveTo>
                    <a:lnTo>
                      <a:pt x="334" y="242"/>
                    </a:lnTo>
                    <a:lnTo>
                      <a:pt x="465" y="317"/>
                    </a:lnTo>
                    <a:lnTo>
                      <a:pt x="465" y="267"/>
                    </a:lnTo>
                    <a:lnTo>
                      <a:pt x="343" y="198"/>
                    </a:lnTo>
                    <a:close/>
                    <a:moveTo>
                      <a:pt x="90" y="52"/>
                    </a:moveTo>
                    <a:lnTo>
                      <a:pt x="79" y="94"/>
                    </a:lnTo>
                    <a:lnTo>
                      <a:pt x="302" y="223"/>
                    </a:lnTo>
                    <a:lnTo>
                      <a:pt x="310" y="179"/>
                    </a:lnTo>
                    <a:lnTo>
                      <a:pt x="90" y="52"/>
                    </a:lnTo>
                    <a:close/>
                    <a:moveTo>
                      <a:pt x="0" y="0"/>
                    </a:moveTo>
                    <a:lnTo>
                      <a:pt x="0" y="49"/>
                    </a:lnTo>
                    <a:lnTo>
                      <a:pt x="5" y="52"/>
                    </a:lnTo>
                    <a:lnTo>
                      <a:pt x="15" y="8"/>
                    </a:lnTo>
                    <a:lnTo>
                      <a:pt x="0" y="0"/>
                    </a:lnTo>
                    <a:close/>
                  </a:path>
                </a:pathLst>
              </a:custGeom>
              <a:solidFill>
                <a:srgbClr val="DAEEF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65" name="iš1îďé"/>
              <p:cNvSpPr/>
              <p:nvPr/>
            </p:nvSpPr>
            <p:spPr bwMode="auto">
              <a:xfrm>
                <a:off x="3510" y="2007"/>
                <a:ext cx="465" cy="317"/>
              </a:xfrm>
              <a:custGeom>
                <a:avLst/>
                <a:gdLst>
                  <a:gd name="T0" fmla="*/ 343 w 465"/>
                  <a:gd name="T1" fmla="*/ 198 h 317"/>
                  <a:gd name="T2" fmla="*/ 334 w 465"/>
                  <a:gd name="T3" fmla="*/ 242 h 317"/>
                  <a:gd name="T4" fmla="*/ 465 w 465"/>
                  <a:gd name="T5" fmla="*/ 317 h 317"/>
                  <a:gd name="T6" fmla="*/ 465 w 465"/>
                  <a:gd name="T7" fmla="*/ 267 h 317"/>
                  <a:gd name="T8" fmla="*/ 343 w 465"/>
                  <a:gd name="T9" fmla="*/ 198 h 317"/>
                  <a:gd name="T10" fmla="*/ 90 w 465"/>
                  <a:gd name="T11" fmla="*/ 52 h 317"/>
                  <a:gd name="T12" fmla="*/ 79 w 465"/>
                  <a:gd name="T13" fmla="*/ 94 h 317"/>
                  <a:gd name="T14" fmla="*/ 302 w 465"/>
                  <a:gd name="T15" fmla="*/ 223 h 317"/>
                  <a:gd name="T16" fmla="*/ 310 w 465"/>
                  <a:gd name="T17" fmla="*/ 179 h 317"/>
                  <a:gd name="T18" fmla="*/ 90 w 465"/>
                  <a:gd name="T19" fmla="*/ 52 h 317"/>
                  <a:gd name="T20" fmla="*/ 0 w 465"/>
                  <a:gd name="T21" fmla="*/ 0 h 317"/>
                  <a:gd name="T22" fmla="*/ 0 w 465"/>
                  <a:gd name="T23" fmla="*/ 49 h 317"/>
                  <a:gd name="T24" fmla="*/ 5 w 465"/>
                  <a:gd name="T25" fmla="*/ 52 h 317"/>
                  <a:gd name="T26" fmla="*/ 15 w 465"/>
                  <a:gd name="T27" fmla="*/ 8 h 317"/>
                  <a:gd name="T28" fmla="*/ 0 w 465"/>
                  <a:gd name="T29" fmla="*/ 0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5" h="317">
                    <a:moveTo>
                      <a:pt x="343" y="198"/>
                    </a:moveTo>
                    <a:lnTo>
                      <a:pt x="334" y="242"/>
                    </a:lnTo>
                    <a:lnTo>
                      <a:pt x="465" y="317"/>
                    </a:lnTo>
                    <a:lnTo>
                      <a:pt x="465" y="267"/>
                    </a:lnTo>
                    <a:lnTo>
                      <a:pt x="343" y="198"/>
                    </a:lnTo>
                    <a:moveTo>
                      <a:pt x="90" y="52"/>
                    </a:moveTo>
                    <a:lnTo>
                      <a:pt x="79" y="94"/>
                    </a:lnTo>
                    <a:lnTo>
                      <a:pt x="302" y="223"/>
                    </a:lnTo>
                    <a:lnTo>
                      <a:pt x="310" y="179"/>
                    </a:lnTo>
                    <a:lnTo>
                      <a:pt x="90" y="52"/>
                    </a:lnTo>
                    <a:moveTo>
                      <a:pt x="0" y="0"/>
                    </a:moveTo>
                    <a:lnTo>
                      <a:pt x="0" y="49"/>
                    </a:lnTo>
                    <a:lnTo>
                      <a:pt x="5" y="52"/>
                    </a:lnTo>
                    <a:lnTo>
                      <a:pt x="15"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66" name="iṧļiḍé"/>
              <p:cNvSpPr/>
              <p:nvPr/>
            </p:nvSpPr>
            <p:spPr bwMode="auto">
              <a:xfrm>
                <a:off x="3510" y="2007"/>
                <a:ext cx="465" cy="317"/>
              </a:xfrm>
              <a:custGeom>
                <a:avLst/>
                <a:gdLst>
                  <a:gd name="T0" fmla="*/ 343 w 465"/>
                  <a:gd name="T1" fmla="*/ 198 h 317"/>
                  <a:gd name="T2" fmla="*/ 334 w 465"/>
                  <a:gd name="T3" fmla="*/ 242 h 317"/>
                  <a:gd name="T4" fmla="*/ 465 w 465"/>
                  <a:gd name="T5" fmla="*/ 317 h 317"/>
                  <a:gd name="T6" fmla="*/ 465 w 465"/>
                  <a:gd name="T7" fmla="*/ 267 h 317"/>
                  <a:gd name="T8" fmla="*/ 343 w 465"/>
                  <a:gd name="T9" fmla="*/ 198 h 317"/>
                  <a:gd name="T10" fmla="*/ 90 w 465"/>
                  <a:gd name="T11" fmla="*/ 52 h 317"/>
                  <a:gd name="T12" fmla="*/ 79 w 465"/>
                  <a:gd name="T13" fmla="*/ 94 h 317"/>
                  <a:gd name="T14" fmla="*/ 302 w 465"/>
                  <a:gd name="T15" fmla="*/ 223 h 317"/>
                  <a:gd name="T16" fmla="*/ 310 w 465"/>
                  <a:gd name="T17" fmla="*/ 179 h 317"/>
                  <a:gd name="T18" fmla="*/ 90 w 465"/>
                  <a:gd name="T19" fmla="*/ 52 h 317"/>
                  <a:gd name="T20" fmla="*/ 0 w 465"/>
                  <a:gd name="T21" fmla="*/ 0 h 317"/>
                  <a:gd name="T22" fmla="*/ 0 w 465"/>
                  <a:gd name="T23" fmla="*/ 49 h 317"/>
                  <a:gd name="T24" fmla="*/ 5 w 465"/>
                  <a:gd name="T25" fmla="*/ 52 h 317"/>
                  <a:gd name="T26" fmla="*/ 15 w 465"/>
                  <a:gd name="T27" fmla="*/ 8 h 317"/>
                  <a:gd name="T28" fmla="*/ 0 w 465"/>
                  <a:gd name="T29" fmla="*/ 0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5" h="317">
                    <a:moveTo>
                      <a:pt x="343" y="198"/>
                    </a:moveTo>
                    <a:lnTo>
                      <a:pt x="334" y="242"/>
                    </a:lnTo>
                    <a:lnTo>
                      <a:pt x="465" y="317"/>
                    </a:lnTo>
                    <a:lnTo>
                      <a:pt x="465" y="267"/>
                    </a:lnTo>
                    <a:lnTo>
                      <a:pt x="343" y="198"/>
                    </a:lnTo>
                    <a:close/>
                    <a:moveTo>
                      <a:pt x="90" y="52"/>
                    </a:moveTo>
                    <a:lnTo>
                      <a:pt x="79" y="94"/>
                    </a:lnTo>
                    <a:lnTo>
                      <a:pt x="302" y="223"/>
                    </a:lnTo>
                    <a:lnTo>
                      <a:pt x="310" y="179"/>
                    </a:lnTo>
                    <a:lnTo>
                      <a:pt x="90" y="52"/>
                    </a:lnTo>
                    <a:close/>
                    <a:moveTo>
                      <a:pt x="0" y="0"/>
                    </a:moveTo>
                    <a:lnTo>
                      <a:pt x="0" y="49"/>
                    </a:lnTo>
                    <a:lnTo>
                      <a:pt x="5" y="52"/>
                    </a:lnTo>
                    <a:lnTo>
                      <a:pt x="15" y="8"/>
                    </a:lnTo>
                    <a:lnTo>
                      <a:pt x="0" y="0"/>
                    </a:lnTo>
                    <a:close/>
                  </a:path>
                </a:pathLst>
              </a:custGeom>
              <a:solidFill>
                <a:srgbClr val="909193"/>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67" name="iśḷïḋé"/>
              <p:cNvSpPr/>
              <p:nvPr/>
            </p:nvSpPr>
            <p:spPr bwMode="auto">
              <a:xfrm>
                <a:off x="3510" y="2007"/>
                <a:ext cx="465" cy="317"/>
              </a:xfrm>
              <a:custGeom>
                <a:avLst/>
                <a:gdLst>
                  <a:gd name="T0" fmla="*/ 343 w 465"/>
                  <a:gd name="T1" fmla="*/ 198 h 317"/>
                  <a:gd name="T2" fmla="*/ 334 w 465"/>
                  <a:gd name="T3" fmla="*/ 242 h 317"/>
                  <a:gd name="T4" fmla="*/ 465 w 465"/>
                  <a:gd name="T5" fmla="*/ 317 h 317"/>
                  <a:gd name="T6" fmla="*/ 465 w 465"/>
                  <a:gd name="T7" fmla="*/ 267 h 317"/>
                  <a:gd name="T8" fmla="*/ 343 w 465"/>
                  <a:gd name="T9" fmla="*/ 198 h 317"/>
                  <a:gd name="T10" fmla="*/ 90 w 465"/>
                  <a:gd name="T11" fmla="*/ 52 h 317"/>
                  <a:gd name="T12" fmla="*/ 79 w 465"/>
                  <a:gd name="T13" fmla="*/ 94 h 317"/>
                  <a:gd name="T14" fmla="*/ 302 w 465"/>
                  <a:gd name="T15" fmla="*/ 223 h 317"/>
                  <a:gd name="T16" fmla="*/ 310 w 465"/>
                  <a:gd name="T17" fmla="*/ 179 h 317"/>
                  <a:gd name="T18" fmla="*/ 90 w 465"/>
                  <a:gd name="T19" fmla="*/ 52 h 317"/>
                  <a:gd name="T20" fmla="*/ 0 w 465"/>
                  <a:gd name="T21" fmla="*/ 0 h 317"/>
                  <a:gd name="T22" fmla="*/ 0 w 465"/>
                  <a:gd name="T23" fmla="*/ 49 h 317"/>
                  <a:gd name="T24" fmla="*/ 5 w 465"/>
                  <a:gd name="T25" fmla="*/ 52 h 317"/>
                  <a:gd name="T26" fmla="*/ 15 w 465"/>
                  <a:gd name="T27" fmla="*/ 8 h 317"/>
                  <a:gd name="T28" fmla="*/ 0 w 465"/>
                  <a:gd name="T29" fmla="*/ 0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5" h="317">
                    <a:moveTo>
                      <a:pt x="343" y="198"/>
                    </a:moveTo>
                    <a:lnTo>
                      <a:pt x="334" y="242"/>
                    </a:lnTo>
                    <a:lnTo>
                      <a:pt x="465" y="317"/>
                    </a:lnTo>
                    <a:lnTo>
                      <a:pt x="465" y="267"/>
                    </a:lnTo>
                    <a:lnTo>
                      <a:pt x="343" y="198"/>
                    </a:lnTo>
                    <a:moveTo>
                      <a:pt x="90" y="52"/>
                    </a:moveTo>
                    <a:lnTo>
                      <a:pt x="79" y="94"/>
                    </a:lnTo>
                    <a:lnTo>
                      <a:pt x="302" y="223"/>
                    </a:lnTo>
                    <a:lnTo>
                      <a:pt x="310" y="179"/>
                    </a:lnTo>
                    <a:lnTo>
                      <a:pt x="90" y="52"/>
                    </a:lnTo>
                    <a:moveTo>
                      <a:pt x="0" y="0"/>
                    </a:moveTo>
                    <a:lnTo>
                      <a:pt x="0" y="49"/>
                    </a:lnTo>
                    <a:lnTo>
                      <a:pt x="5" y="52"/>
                    </a:lnTo>
                    <a:lnTo>
                      <a:pt x="15"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68" name="iṥḻíḋe"/>
              <p:cNvSpPr/>
              <p:nvPr/>
            </p:nvSpPr>
            <p:spPr bwMode="auto">
              <a:xfrm>
                <a:off x="3975" y="2263"/>
                <a:ext cx="22" cy="61"/>
              </a:xfrm>
              <a:custGeom>
                <a:avLst/>
                <a:gdLst>
                  <a:gd name="T0" fmla="*/ 22 w 22"/>
                  <a:gd name="T1" fmla="*/ 0 h 61"/>
                  <a:gd name="T2" fmla="*/ 0 w 22"/>
                  <a:gd name="T3" fmla="*/ 11 h 61"/>
                  <a:gd name="T4" fmla="*/ 0 w 22"/>
                  <a:gd name="T5" fmla="*/ 61 h 61"/>
                  <a:gd name="T6" fmla="*/ 22 w 22"/>
                  <a:gd name="T7" fmla="*/ 47 h 61"/>
                  <a:gd name="T8" fmla="*/ 22 w 22"/>
                  <a:gd name="T9" fmla="*/ 0 h 61"/>
                </a:gdLst>
                <a:ahLst/>
                <a:cxnLst>
                  <a:cxn ang="0">
                    <a:pos x="T0" y="T1"/>
                  </a:cxn>
                  <a:cxn ang="0">
                    <a:pos x="T2" y="T3"/>
                  </a:cxn>
                  <a:cxn ang="0">
                    <a:pos x="T4" y="T5"/>
                  </a:cxn>
                  <a:cxn ang="0">
                    <a:pos x="T6" y="T7"/>
                  </a:cxn>
                  <a:cxn ang="0">
                    <a:pos x="T8" y="T9"/>
                  </a:cxn>
                </a:cxnLst>
                <a:rect l="0" t="0" r="r" b="b"/>
                <a:pathLst>
                  <a:path w="22" h="61">
                    <a:moveTo>
                      <a:pt x="22" y="0"/>
                    </a:moveTo>
                    <a:lnTo>
                      <a:pt x="0" y="11"/>
                    </a:lnTo>
                    <a:lnTo>
                      <a:pt x="0" y="61"/>
                    </a:lnTo>
                    <a:lnTo>
                      <a:pt x="22" y="47"/>
                    </a:lnTo>
                    <a:lnTo>
                      <a:pt x="22" y="0"/>
                    </a:lnTo>
                    <a:close/>
                  </a:path>
                </a:pathLst>
              </a:custGeom>
              <a:solidFill>
                <a:srgbClr val="DAEEF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69" name="íṧ1îḓê"/>
              <p:cNvSpPr/>
              <p:nvPr/>
            </p:nvSpPr>
            <p:spPr bwMode="auto">
              <a:xfrm>
                <a:off x="3975" y="2263"/>
                <a:ext cx="22" cy="61"/>
              </a:xfrm>
              <a:custGeom>
                <a:avLst/>
                <a:gdLst>
                  <a:gd name="T0" fmla="*/ 22 w 22"/>
                  <a:gd name="T1" fmla="*/ 0 h 61"/>
                  <a:gd name="T2" fmla="*/ 0 w 22"/>
                  <a:gd name="T3" fmla="*/ 11 h 61"/>
                  <a:gd name="T4" fmla="*/ 0 w 22"/>
                  <a:gd name="T5" fmla="*/ 61 h 61"/>
                  <a:gd name="T6" fmla="*/ 22 w 22"/>
                  <a:gd name="T7" fmla="*/ 47 h 61"/>
                  <a:gd name="T8" fmla="*/ 22 w 22"/>
                  <a:gd name="T9" fmla="*/ 0 h 61"/>
                </a:gdLst>
                <a:ahLst/>
                <a:cxnLst>
                  <a:cxn ang="0">
                    <a:pos x="T0" y="T1"/>
                  </a:cxn>
                  <a:cxn ang="0">
                    <a:pos x="T2" y="T3"/>
                  </a:cxn>
                  <a:cxn ang="0">
                    <a:pos x="T4" y="T5"/>
                  </a:cxn>
                  <a:cxn ang="0">
                    <a:pos x="T6" y="T7"/>
                  </a:cxn>
                  <a:cxn ang="0">
                    <a:pos x="T8" y="T9"/>
                  </a:cxn>
                </a:cxnLst>
                <a:rect l="0" t="0" r="r" b="b"/>
                <a:pathLst>
                  <a:path w="22" h="61">
                    <a:moveTo>
                      <a:pt x="22" y="0"/>
                    </a:moveTo>
                    <a:lnTo>
                      <a:pt x="0" y="11"/>
                    </a:lnTo>
                    <a:lnTo>
                      <a:pt x="0" y="61"/>
                    </a:lnTo>
                    <a:lnTo>
                      <a:pt x="22" y="47"/>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70" name="iṩḻîḍê"/>
              <p:cNvSpPr/>
              <p:nvPr/>
            </p:nvSpPr>
            <p:spPr bwMode="auto">
              <a:xfrm>
                <a:off x="3975" y="2263"/>
                <a:ext cx="22" cy="61"/>
              </a:xfrm>
              <a:custGeom>
                <a:avLst/>
                <a:gdLst>
                  <a:gd name="T0" fmla="*/ 22 w 22"/>
                  <a:gd name="T1" fmla="*/ 0 h 61"/>
                  <a:gd name="T2" fmla="*/ 0 w 22"/>
                  <a:gd name="T3" fmla="*/ 11 h 61"/>
                  <a:gd name="T4" fmla="*/ 0 w 22"/>
                  <a:gd name="T5" fmla="*/ 61 h 61"/>
                  <a:gd name="T6" fmla="*/ 22 w 22"/>
                  <a:gd name="T7" fmla="*/ 47 h 61"/>
                  <a:gd name="T8" fmla="*/ 22 w 22"/>
                  <a:gd name="T9" fmla="*/ 0 h 61"/>
                </a:gdLst>
                <a:ahLst/>
                <a:cxnLst>
                  <a:cxn ang="0">
                    <a:pos x="T0" y="T1"/>
                  </a:cxn>
                  <a:cxn ang="0">
                    <a:pos x="T2" y="T3"/>
                  </a:cxn>
                  <a:cxn ang="0">
                    <a:pos x="T4" y="T5"/>
                  </a:cxn>
                  <a:cxn ang="0">
                    <a:pos x="T6" y="T7"/>
                  </a:cxn>
                  <a:cxn ang="0">
                    <a:pos x="T8" y="T9"/>
                  </a:cxn>
                </a:cxnLst>
                <a:rect l="0" t="0" r="r" b="b"/>
                <a:pathLst>
                  <a:path w="22" h="61">
                    <a:moveTo>
                      <a:pt x="22" y="0"/>
                    </a:moveTo>
                    <a:lnTo>
                      <a:pt x="0" y="11"/>
                    </a:lnTo>
                    <a:lnTo>
                      <a:pt x="0" y="61"/>
                    </a:lnTo>
                    <a:lnTo>
                      <a:pt x="22" y="47"/>
                    </a:lnTo>
                    <a:lnTo>
                      <a:pt x="22" y="0"/>
                    </a:lnTo>
                    <a:close/>
                  </a:path>
                </a:pathLst>
              </a:custGeom>
              <a:solidFill>
                <a:srgbClr val="75808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71" name="ïsľidè"/>
              <p:cNvSpPr/>
              <p:nvPr/>
            </p:nvSpPr>
            <p:spPr bwMode="auto">
              <a:xfrm>
                <a:off x="3975" y="2263"/>
                <a:ext cx="22" cy="61"/>
              </a:xfrm>
              <a:custGeom>
                <a:avLst/>
                <a:gdLst>
                  <a:gd name="T0" fmla="*/ 22 w 22"/>
                  <a:gd name="T1" fmla="*/ 0 h 61"/>
                  <a:gd name="T2" fmla="*/ 0 w 22"/>
                  <a:gd name="T3" fmla="*/ 11 h 61"/>
                  <a:gd name="T4" fmla="*/ 0 w 22"/>
                  <a:gd name="T5" fmla="*/ 61 h 61"/>
                  <a:gd name="T6" fmla="*/ 22 w 22"/>
                  <a:gd name="T7" fmla="*/ 47 h 61"/>
                  <a:gd name="T8" fmla="*/ 22 w 22"/>
                  <a:gd name="T9" fmla="*/ 0 h 61"/>
                </a:gdLst>
                <a:ahLst/>
                <a:cxnLst>
                  <a:cxn ang="0">
                    <a:pos x="T0" y="T1"/>
                  </a:cxn>
                  <a:cxn ang="0">
                    <a:pos x="T2" y="T3"/>
                  </a:cxn>
                  <a:cxn ang="0">
                    <a:pos x="T4" y="T5"/>
                  </a:cxn>
                  <a:cxn ang="0">
                    <a:pos x="T6" y="T7"/>
                  </a:cxn>
                  <a:cxn ang="0">
                    <a:pos x="T8" y="T9"/>
                  </a:cxn>
                </a:cxnLst>
                <a:rect l="0" t="0" r="r" b="b"/>
                <a:pathLst>
                  <a:path w="22" h="61">
                    <a:moveTo>
                      <a:pt x="22" y="0"/>
                    </a:moveTo>
                    <a:lnTo>
                      <a:pt x="0" y="11"/>
                    </a:lnTo>
                    <a:lnTo>
                      <a:pt x="0" y="61"/>
                    </a:lnTo>
                    <a:lnTo>
                      <a:pt x="22" y="47"/>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72" name="ïṧļiḓé"/>
              <p:cNvSpPr/>
              <p:nvPr/>
            </p:nvSpPr>
            <p:spPr bwMode="auto">
              <a:xfrm>
                <a:off x="3510" y="1996"/>
                <a:ext cx="487" cy="278"/>
              </a:xfrm>
              <a:custGeom>
                <a:avLst/>
                <a:gdLst>
                  <a:gd name="T0" fmla="*/ 348 w 487"/>
                  <a:gd name="T1" fmla="*/ 185 h 278"/>
                  <a:gd name="T2" fmla="*/ 343 w 487"/>
                  <a:gd name="T3" fmla="*/ 209 h 278"/>
                  <a:gd name="T4" fmla="*/ 465 w 487"/>
                  <a:gd name="T5" fmla="*/ 278 h 278"/>
                  <a:gd name="T6" fmla="*/ 487 w 487"/>
                  <a:gd name="T7" fmla="*/ 267 h 278"/>
                  <a:gd name="T8" fmla="*/ 348 w 487"/>
                  <a:gd name="T9" fmla="*/ 185 h 278"/>
                  <a:gd name="T10" fmla="*/ 93 w 487"/>
                  <a:gd name="T11" fmla="*/ 46 h 278"/>
                  <a:gd name="T12" fmla="*/ 90 w 487"/>
                  <a:gd name="T13" fmla="*/ 63 h 278"/>
                  <a:gd name="T14" fmla="*/ 310 w 487"/>
                  <a:gd name="T15" fmla="*/ 190 h 278"/>
                  <a:gd name="T16" fmla="*/ 316 w 487"/>
                  <a:gd name="T17" fmla="*/ 167 h 278"/>
                  <a:gd name="T18" fmla="*/ 299 w 487"/>
                  <a:gd name="T19" fmla="*/ 156 h 278"/>
                  <a:gd name="T20" fmla="*/ 292 w 487"/>
                  <a:gd name="T21" fmla="*/ 160 h 278"/>
                  <a:gd name="T22" fmla="*/ 292 w 487"/>
                  <a:gd name="T23" fmla="*/ 153 h 278"/>
                  <a:gd name="T24" fmla="*/ 292 w 487"/>
                  <a:gd name="T25" fmla="*/ 160 h 278"/>
                  <a:gd name="T26" fmla="*/ 93 w 487"/>
                  <a:gd name="T27" fmla="*/ 46 h 278"/>
                  <a:gd name="T28" fmla="*/ 20 w 487"/>
                  <a:gd name="T29" fmla="*/ 0 h 278"/>
                  <a:gd name="T30" fmla="*/ 0 w 487"/>
                  <a:gd name="T31" fmla="*/ 11 h 278"/>
                  <a:gd name="T32" fmla="*/ 15 w 487"/>
                  <a:gd name="T33" fmla="*/ 19 h 278"/>
                  <a:gd name="T34" fmla="*/ 20 w 487"/>
                  <a:gd name="T35" fmla="*/ 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7" h="278">
                    <a:moveTo>
                      <a:pt x="348" y="185"/>
                    </a:moveTo>
                    <a:lnTo>
                      <a:pt x="343" y="209"/>
                    </a:lnTo>
                    <a:lnTo>
                      <a:pt x="465" y="278"/>
                    </a:lnTo>
                    <a:lnTo>
                      <a:pt x="487" y="267"/>
                    </a:lnTo>
                    <a:lnTo>
                      <a:pt x="348" y="185"/>
                    </a:lnTo>
                    <a:close/>
                    <a:moveTo>
                      <a:pt x="93" y="46"/>
                    </a:moveTo>
                    <a:lnTo>
                      <a:pt x="90" y="63"/>
                    </a:lnTo>
                    <a:lnTo>
                      <a:pt x="310" y="190"/>
                    </a:lnTo>
                    <a:lnTo>
                      <a:pt x="316" y="167"/>
                    </a:lnTo>
                    <a:lnTo>
                      <a:pt x="299" y="156"/>
                    </a:lnTo>
                    <a:lnTo>
                      <a:pt x="292" y="160"/>
                    </a:lnTo>
                    <a:lnTo>
                      <a:pt x="292" y="153"/>
                    </a:lnTo>
                    <a:lnTo>
                      <a:pt x="292" y="160"/>
                    </a:lnTo>
                    <a:lnTo>
                      <a:pt x="93" y="46"/>
                    </a:lnTo>
                    <a:close/>
                    <a:moveTo>
                      <a:pt x="20" y="0"/>
                    </a:moveTo>
                    <a:lnTo>
                      <a:pt x="0" y="11"/>
                    </a:lnTo>
                    <a:lnTo>
                      <a:pt x="15" y="19"/>
                    </a:lnTo>
                    <a:lnTo>
                      <a:pt x="20" y="0"/>
                    </a:lnTo>
                    <a:close/>
                  </a:path>
                </a:pathLst>
              </a:custGeom>
              <a:solidFill>
                <a:srgbClr val="DAEEF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73" name="ïṣ1ïďe"/>
              <p:cNvSpPr/>
              <p:nvPr/>
            </p:nvSpPr>
            <p:spPr bwMode="auto">
              <a:xfrm>
                <a:off x="3510" y="1996"/>
                <a:ext cx="487" cy="278"/>
              </a:xfrm>
              <a:custGeom>
                <a:avLst/>
                <a:gdLst>
                  <a:gd name="T0" fmla="*/ 348 w 487"/>
                  <a:gd name="T1" fmla="*/ 185 h 278"/>
                  <a:gd name="T2" fmla="*/ 343 w 487"/>
                  <a:gd name="T3" fmla="*/ 209 h 278"/>
                  <a:gd name="T4" fmla="*/ 465 w 487"/>
                  <a:gd name="T5" fmla="*/ 278 h 278"/>
                  <a:gd name="T6" fmla="*/ 487 w 487"/>
                  <a:gd name="T7" fmla="*/ 267 h 278"/>
                  <a:gd name="T8" fmla="*/ 348 w 487"/>
                  <a:gd name="T9" fmla="*/ 185 h 278"/>
                  <a:gd name="T10" fmla="*/ 93 w 487"/>
                  <a:gd name="T11" fmla="*/ 46 h 278"/>
                  <a:gd name="T12" fmla="*/ 90 w 487"/>
                  <a:gd name="T13" fmla="*/ 63 h 278"/>
                  <a:gd name="T14" fmla="*/ 310 w 487"/>
                  <a:gd name="T15" fmla="*/ 190 h 278"/>
                  <a:gd name="T16" fmla="*/ 316 w 487"/>
                  <a:gd name="T17" fmla="*/ 167 h 278"/>
                  <a:gd name="T18" fmla="*/ 299 w 487"/>
                  <a:gd name="T19" fmla="*/ 156 h 278"/>
                  <a:gd name="T20" fmla="*/ 292 w 487"/>
                  <a:gd name="T21" fmla="*/ 160 h 278"/>
                  <a:gd name="T22" fmla="*/ 292 w 487"/>
                  <a:gd name="T23" fmla="*/ 153 h 278"/>
                  <a:gd name="T24" fmla="*/ 292 w 487"/>
                  <a:gd name="T25" fmla="*/ 160 h 278"/>
                  <a:gd name="T26" fmla="*/ 93 w 487"/>
                  <a:gd name="T27" fmla="*/ 46 h 278"/>
                  <a:gd name="T28" fmla="*/ 20 w 487"/>
                  <a:gd name="T29" fmla="*/ 0 h 278"/>
                  <a:gd name="T30" fmla="*/ 0 w 487"/>
                  <a:gd name="T31" fmla="*/ 11 h 278"/>
                  <a:gd name="T32" fmla="*/ 15 w 487"/>
                  <a:gd name="T33" fmla="*/ 19 h 278"/>
                  <a:gd name="T34" fmla="*/ 20 w 487"/>
                  <a:gd name="T35" fmla="*/ 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7" h="278">
                    <a:moveTo>
                      <a:pt x="348" y="185"/>
                    </a:moveTo>
                    <a:lnTo>
                      <a:pt x="343" y="209"/>
                    </a:lnTo>
                    <a:lnTo>
                      <a:pt x="465" y="278"/>
                    </a:lnTo>
                    <a:lnTo>
                      <a:pt x="487" y="267"/>
                    </a:lnTo>
                    <a:lnTo>
                      <a:pt x="348" y="185"/>
                    </a:lnTo>
                    <a:moveTo>
                      <a:pt x="93" y="46"/>
                    </a:moveTo>
                    <a:lnTo>
                      <a:pt x="90" y="63"/>
                    </a:lnTo>
                    <a:lnTo>
                      <a:pt x="310" y="190"/>
                    </a:lnTo>
                    <a:lnTo>
                      <a:pt x="316" y="167"/>
                    </a:lnTo>
                    <a:lnTo>
                      <a:pt x="299" y="156"/>
                    </a:lnTo>
                    <a:lnTo>
                      <a:pt x="292" y="160"/>
                    </a:lnTo>
                    <a:lnTo>
                      <a:pt x="292" y="153"/>
                    </a:lnTo>
                    <a:lnTo>
                      <a:pt x="292" y="160"/>
                    </a:lnTo>
                    <a:lnTo>
                      <a:pt x="93" y="46"/>
                    </a:lnTo>
                    <a:moveTo>
                      <a:pt x="20" y="0"/>
                    </a:moveTo>
                    <a:lnTo>
                      <a:pt x="0" y="11"/>
                    </a:lnTo>
                    <a:lnTo>
                      <a:pt x="15" y="19"/>
                    </a:lnTo>
                    <a:lnTo>
                      <a:pt x="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74" name="ïšļïḍe"/>
              <p:cNvSpPr/>
              <p:nvPr/>
            </p:nvSpPr>
            <p:spPr bwMode="auto">
              <a:xfrm>
                <a:off x="3510" y="1996"/>
                <a:ext cx="487" cy="278"/>
              </a:xfrm>
              <a:custGeom>
                <a:avLst/>
                <a:gdLst>
                  <a:gd name="T0" fmla="*/ 348 w 487"/>
                  <a:gd name="T1" fmla="*/ 185 h 278"/>
                  <a:gd name="T2" fmla="*/ 343 w 487"/>
                  <a:gd name="T3" fmla="*/ 209 h 278"/>
                  <a:gd name="T4" fmla="*/ 465 w 487"/>
                  <a:gd name="T5" fmla="*/ 278 h 278"/>
                  <a:gd name="T6" fmla="*/ 487 w 487"/>
                  <a:gd name="T7" fmla="*/ 267 h 278"/>
                  <a:gd name="T8" fmla="*/ 348 w 487"/>
                  <a:gd name="T9" fmla="*/ 185 h 278"/>
                  <a:gd name="T10" fmla="*/ 93 w 487"/>
                  <a:gd name="T11" fmla="*/ 46 h 278"/>
                  <a:gd name="T12" fmla="*/ 90 w 487"/>
                  <a:gd name="T13" fmla="*/ 63 h 278"/>
                  <a:gd name="T14" fmla="*/ 310 w 487"/>
                  <a:gd name="T15" fmla="*/ 190 h 278"/>
                  <a:gd name="T16" fmla="*/ 316 w 487"/>
                  <a:gd name="T17" fmla="*/ 167 h 278"/>
                  <a:gd name="T18" fmla="*/ 299 w 487"/>
                  <a:gd name="T19" fmla="*/ 156 h 278"/>
                  <a:gd name="T20" fmla="*/ 292 w 487"/>
                  <a:gd name="T21" fmla="*/ 160 h 278"/>
                  <a:gd name="T22" fmla="*/ 292 w 487"/>
                  <a:gd name="T23" fmla="*/ 153 h 278"/>
                  <a:gd name="T24" fmla="*/ 292 w 487"/>
                  <a:gd name="T25" fmla="*/ 160 h 278"/>
                  <a:gd name="T26" fmla="*/ 93 w 487"/>
                  <a:gd name="T27" fmla="*/ 46 h 278"/>
                  <a:gd name="T28" fmla="*/ 20 w 487"/>
                  <a:gd name="T29" fmla="*/ 0 h 278"/>
                  <a:gd name="T30" fmla="*/ 0 w 487"/>
                  <a:gd name="T31" fmla="*/ 11 h 278"/>
                  <a:gd name="T32" fmla="*/ 15 w 487"/>
                  <a:gd name="T33" fmla="*/ 19 h 278"/>
                  <a:gd name="T34" fmla="*/ 20 w 487"/>
                  <a:gd name="T35" fmla="*/ 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7" h="278">
                    <a:moveTo>
                      <a:pt x="348" y="185"/>
                    </a:moveTo>
                    <a:lnTo>
                      <a:pt x="343" y="209"/>
                    </a:lnTo>
                    <a:lnTo>
                      <a:pt x="465" y="278"/>
                    </a:lnTo>
                    <a:lnTo>
                      <a:pt x="487" y="267"/>
                    </a:lnTo>
                    <a:lnTo>
                      <a:pt x="348" y="185"/>
                    </a:lnTo>
                    <a:close/>
                    <a:moveTo>
                      <a:pt x="93" y="46"/>
                    </a:moveTo>
                    <a:lnTo>
                      <a:pt x="90" y="63"/>
                    </a:lnTo>
                    <a:lnTo>
                      <a:pt x="310" y="190"/>
                    </a:lnTo>
                    <a:lnTo>
                      <a:pt x="316" y="167"/>
                    </a:lnTo>
                    <a:lnTo>
                      <a:pt x="299" y="156"/>
                    </a:lnTo>
                    <a:lnTo>
                      <a:pt x="292" y="160"/>
                    </a:lnTo>
                    <a:lnTo>
                      <a:pt x="292" y="153"/>
                    </a:lnTo>
                    <a:lnTo>
                      <a:pt x="292" y="160"/>
                    </a:lnTo>
                    <a:lnTo>
                      <a:pt x="93" y="46"/>
                    </a:lnTo>
                    <a:close/>
                    <a:moveTo>
                      <a:pt x="20" y="0"/>
                    </a:moveTo>
                    <a:lnTo>
                      <a:pt x="0" y="11"/>
                    </a:lnTo>
                    <a:lnTo>
                      <a:pt x="15" y="19"/>
                    </a:lnTo>
                    <a:lnTo>
                      <a:pt x="20" y="0"/>
                    </a:lnTo>
                    <a:close/>
                  </a:path>
                </a:pathLst>
              </a:custGeom>
              <a:solidFill>
                <a:srgbClr val="ADB5B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75" name="íṣḻîďê"/>
              <p:cNvSpPr/>
              <p:nvPr/>
            </p:nvSpPr>
            <p:spPr bwMode="auto">
              <a:xfrm>
                <a:off x="3510" y="1996"/>
                <a:ext cx="487" cy="278"/>
              </a:xfrm>
              <a:custGeom>
                <a:avLst/>
                <a:gdLst>
                  <a:gd name="T0" fmla="*/ 348 w 487"/>
                  <a:gd name="T1" fmla="*/ 185 h 278"/>
                  <a:gd name="T2" fmla="*/ 343 w 487"/>
                  <a:gd name="T3" fmla="*/ 209 h 278"/>
                  <a:gd name="T4" fmla="*/ 465 w 487"/>
                  <a:gd name="T5" fmla="*/ 278 h 278"/>
                  <a:gd name="T6" fmla="*/ 487 w 487"/>
                  <a:gd name="T7" fmla="*/ 267 h 278"/>
                  <a:gd name="T8" fmla="*/ 348 w 487"/>
                  <a:gd name="T9" fmla="*/ 185 h 278"/>
                  <a:gd name="T10" fmla="*/ 93 w 487"/>
                  <a:gd name="T11" fmla="*/ 46 h 278"/>
                  <a:gd name="T12" fmla="*/ 90 w 487"/>
                  <a:gd name="T13" fmla="*/ 63 h 278"/>
                  <a:gd name="T14" fmla="*/ 310 w 487"/>
                  <a:gd name="T15" fmla="*/ 190 h 278"/>
                  <a:gd name="T16" fmla="*/ 316 w 487"/>
                  <a:gd name="T17" fmla="*/ 167 h 278"/>
                  <a:gd name="T18" fmla="*/ 299 w 487"/>
                  <a:gd name="T19" fmla="*/ 156 h 278"/>
                  <a:gd name="T20" fmla="*/ 292 w 487"/>
                  <a:gd name="T21" fmla="*/ 160 h 278"/>
                  <a:gd name="T22" fmla="*/ 292 w 487"/>
                  <a:gd name="T23" fmla="*/ 153 h 278"/>
                  <a:gd name="T24" fmla="*/ 292 w 487"/>
                  <a:gd name="T25" fmla="*/ 160 h 278"/>
                  <a:gd name="T26" fmla="*/ 93 w 487"/>
                  <a:gd name="T27" fmla="*/ 46 h 278"/>
                  <a:gd name="T28" fmla="*/ 20 w 487"/>
                  <a:gd name="T29" fmla="*/ 0 h 278"/>
                  <a:gd name="T30" fmla="*/ 0 w 487"/>
                  <a:gd name="T31" fmla="*/ 11 h 278"/>
                  <a:gd name="T32" fmla="*/ 15 w 487"/>
                  <a:gd name="T33" fmla="*/ 19 h 278"/>
                  <a:gd name="T34" fmla="*/ 20 w 487"/>
                  <a:gd name="T35" fmla="*/ 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7" h="278">
                    <a:moveTo>
                      <a:pt x="348" y="185"/>
                    </a:moveTo>
                    <a:lnTo>
                      <a:pt x="343" y="209"/>
                    </a:lnTo>
                    <a:lnTo>
                      <a:pt x="465" y="278"/>
                    </a:lnTo>
                    <a:lnTo>
                      <a:pt x="487" y="267"/>
                    </a:lnTo>
                    <a:lnTo>
                      <a:pt x="348" y="185"/>
                    </a:lnTo>
                    <a:moveTo>
                      <a:pt x="93" y="46"/>
                    </a:moveTo>
                    <a:lnTo>
                      <a:pt x="90" y="63"/>
                    </a:lnTo>
                    <a:lnTo>
                      <a:pt x="310" y="190"/>
                    </a:lnTo>
                    <a:lnTo>
                      <a:pt x="316" y="167"/>
                    </a:lnTo>
                    <a:lnTo>
                      <a:pt x="299" y="156"/>
                    </a:lnTo>
                    <a:lnTo>
                      <a:pt x="292" y="160"/>
                    </a:lnTo>
                    <a:lnTo>
                      <a:pt x="292" y="153"/>
                    </a:lnTo>
                    <a:lnTo>
                      <a:pt x="292" y="160"/>
                    </a:lnTo>
                    <a:lnTo>
                      <a:pt x="93" y="46"/>
                    </a:lnTo>
                    <a:moveTo>
                      <a:pt x="20" y="0"/>
                    </a:moveTo>
                    <a:lnTo>
                      <a:pt x="0" y="11"/>
                    </a:lnTo>
                    <a:lnTo>
                      <a:pt x="15" y="19"/>
                    </a:lnTo>
                    <a:lnTo>
                      <a:pt x="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76" name="ïŝḻïďe"/>
              <p:cNvSpPr/>
              <p:nvPr/>
            </p:nvSpPr>
            <p:spPr bwMode="auto">
              <a:xfrm>
                <a:off x="4102" y="2056"/>
                <a:ext cx="464" cy="317"/>
              </a:xfrm>
              <a:custGeom>
                <a:avLst/>
                <a:gdLst>
                  <a:gd name="T0" fmla="*/ 0 w 464"/>
                  <a:gd name="T1" fmla="*/ 0 h 317"/>
                  <a:gd name="T2" fmla="*/ 0 w 464"/>
                  <a:gd name="T3" fmla="*/ 49 h 317"/>
                  <a:gd name="T4" fmla="*/ 464 w 464"/>
                  <a:gd name="T5" fmla="*/ 317 h 317"/>
                  <a:gd name="T6" fmla="*/ 464 w 464"/>
                  <a:gd name="T7" fmla="*/ 268 h 317"/>
                  <a:gd name="T8" fmla="*/ 0 w 464"/>
                  <a:gd name="T9" fmla="*/ 0 h 317"/>
                </a:gdLst>
                <a:ahLst/>
                <a:cxnLst>
                  <a:cxn ang="0">
                    <a:pos x="T0" y="T1"/>
                  </a:cxn>
                  <a:cxn ang="0">
                    <a:pos x="T2" y="T3"/>
                  </a:cxn>
                  <a:cxn ang="0">
                    <a:pos x="T4" y="T5"/>
                  </a:cxn>
                  <a:cxn ang="0">
                    <a:pos x="T6" y="T7"/>
                  </a:cxn>
                  <a:cxn ang="0">
                    <a:pos x="T8" y="T9"/>
                  </a:cxn>
                </a:cxnLst>
                <a:rect l="0" t="0" r="r" b="b"/>
                <a:pathLst>
                  <a:path w="464" h="317">
                    <a:moveTo>
                      <a:pt x="0" y="0"/>
                    </a:moveTo>
                    <a:lnTo>
                      <a:pt x="0" y="49"/>
                    </a:lnTo>
                    <a:lnTo>
                      <a:pt x="464" y="317"/>
                    </a:lnTo>
                    <a:lnTo>
                      <a:pt x="464" y="268"/>
                    </a:lnTo>
                    <a:lnTo>
                      <a:pt x="0" y="0"/>
                    </a:lnTo>
                    <a:close/>
                  </a:path>
                </a:pathLst>
              </a:custGeom>
              <a:solidFill>
                <a:srgbClr val="DAEEF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77" name="ísľîḋè"/>
              <p:cNvSpPr/>
              <p:nvPr/>
            </p:nvSpPr>
            <p:spPr bwMode="auto">
              <a:xfrm>
                <a:off x="4102" y="2056"/>
                <a:ext cx="464" cy="317"/>
              </a:xfrm>
              <a:custGeom>
                <a:avLst/>
                <a:gdLst>
                  <a:gd name="T0" fmla="*/ 0 w 464"/>
                  <a:gd name="T1" fmla="*/ 0 h 317"/>
                  <a:gd name="T2" fmla="*/ 0 w 464"/>
                  <a:gd name="T3" fmla="*/ 49 h 317"/>
                  <a:gd name="T4" fmla="*/ 464 w 464"/>
                  <a:gd name="T5" fmla="*/ 317 h 317"/>
                  <a:gd name="T6" fmla="*/ 464 w 464"/>
                  <a:gd name="T7" fmla="*/ 268 h 317"/>
                  <a:gd name="T8" fmla="*/ 0 w 464"/>
                  <a:gd name="T9" fmla="*/ 0 h 317"/>
                </a:gdLst>
                <a:ahLst/>
                <a:cxnLst>
                  <a:cxn ang="0">
                    <a:pos x="T0" y="T1"/>
                  </a:cxn>
                  <a:cxn ang="0">
                    <a:pos x="T2" y="T3"/>
                  </a:cxn>
                  <a:cxn ang="0">
                    <a:pos x="T4" y="T5"/>
                  </a:cxn>
                  <a:cxn ang="0">
                    <a:pos x="T6" y="T7"/>
                  </a:cxn>
                  <a:cxn ang="0">
                    <a:pos x="T8" y="T9"/>
                  </a:cxn>
                </a:cxnLst>
                <a:rect l="0" t="0" r="r" b="b"/>
                <a:pathLst>
                  <a:path w="464" h="317">
                    <a:moveTo>
                      <a:pt x="0" y="0"/>
                    </a:moveTo>
                    <a:lnTo>
                      <a:pt x="0" y="49"/>
                    </a:lnTo>
                    <a:lnTo>
                      <a:pt x="464" y="317"/>
                    </a:lnTo>
                    <a:lnTo>
                      <a:pt x="464" y="26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78" name="î$1íḑe"/>
              <p:cNvSpPr/>
              <p:nvPr/>
            </p:nvSpPr>
            <p:spPr bwMode="auto">
              <a:xfrm>
                <a:off x="4102" y="2056"/>
                <a:ext cx="464" cy="317"/>
              </a:xfrm>
              <a:custGeom>
                <a:avLst/>
                <a:gdLst>
                  <a:gd name="T0" fmla="*/ 0 w 464"/>
                  <a:gd name="T1" fmla="*/ 0 h 317"/>
                  <a:gd name="T2" fmla="*/ 0 w 464"/>
                  <a:gd name="T3" fmla="*/ 49 h 317"/>
                  <a:gd name="T4" fmla="*/ 464 w 464"/>
                  <a:gd name="T5" fmla="*/ 317 h 317"/>
                  <a:gd name="T6" fmla="*/ 464 w 464"/>
                  <a:gd name="T7" fmla="*/ 268 h 317"/>
                  <a:gd name="T8" fmla="*/ 0 w 464"/>
                  <a:gd name="T9" fmla="*/ 0 h 317"/>
                </a:gdLst>
                <a:ahLst/>
                <a:cxnLst>
                  <a:cxn ang="0">
                    <a:pos x="T0" y="T1"/>
                  </a:cxn>
                  <a:cxn ang="0">
                    <a:pos x="T2" y="T3"/>
                  </a:cxn>
                  <a:cxn ang="0">
                    <a:pos x="T4" y="T5"/>
                  </a:cxn>
                  <a:cxn ang="0">
                    <a:pos x="T6" y="T7"/>
                  </a:cxn>
                  <a:cxn ang="0">
                    <a:pos x="T8" y="T9"/>
                  </a:cxn>
                </a:cxnLst>
                <a:rect l="0" t="0" r="r" b="b"/>
                <a:pathLst>
                  <a:path w="464" h="317">
                    <a:moveTo>
                      <a:pt x="0" y="0"/>
                    </a:moveTo>
                    <a:lnTo>
                      <a:pt x="0" y="49"/>
                    </a:lnTo>
                    <a:lnTo>
                      <a:pt x="464" y="317"/>
                    </a:lnTo>
                    <a:lnTo>
                      <a:pt x="464" y="268"/>
                    </a:lnTo>
                    <a:lnTo>
                      <a:pt x="0" y="0"/>
                    </a:lnTo>
                    <a:close/>
                  </a:path>
                </a:pathLst>
              </a:custGeom>
              <a:solidFill>
                <a:srgbClr val="909193"/>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79" name="ïṩļïḓè"/>
              <p:cNvSpPr/>
              <p:nvPr/>
            </p:nvSpPr>
            <p:spPr bwMode="auto">
              <a:xfrm>
                <a:off x="4102" y="2056"/>
                <a:ext cx="464" cy="317"/>
              </a:xfrm>
              <a:custGeom>
                <a:avLst/>
                <a:gdLst>
                  <a:gd name="T0" fmla="*/ 0 w 464"/>
                  <a:gd name="T1" fmla="*/ 0 h 317"/>
                  <a:gd name="T2" fmla="*/ 0 w 464"/>
                  <a:gd name="T3" fmla="*/ 49 h 317"/>
                  <a:gd name="T4" fmla="*/ 464 w 464"/>
                  <a:gd name="T5" fmla="*/ 317 h 317"/>
                  <a:gd name="T6" fmla="*/ 464 w 464"/>
                  <a:gd name="T7" fmla="*/ 268 h 317"/>
                  <a:gd name="T8" fmla="*/ 0 w 464"/>
                  <a:gd name="T9" fmla="*/ 0 h 317"/>
                </a:gdLst>
                <a:ahLst/>
                <a:cxnLst>
                  <a:cxn ang="0">
                    <a:pos x="T0" y="T1"/>
                  </a:cxn>
                  <a:cxn ang="0">
                    <a:pos x="T2" y="T3"/>
                  </a:cxn>
                  <a:cxn ang="0">
                    <a:pos x="T4" y="T5"/>
                  </a:cxn>
                  <a:cxn ang="0">
                    <a:pos x="T6" y="T7"/>
                  </a:cxn>
                  <a:cxn ang="0">
                    <a:pos x="T8" y="T9"/>
                  </a:cxn>
                </a:cxnLst>
                <a:rect l="0" t="0" r="r" b="b"/>
                <a:pathLst>
                  <a:path w="464" h="317">
                    <a:moveTo>
                      <a:pt x="0" y="0"/>
                    </a:moveTo>
                    <a:lnTo>
                      <a:pt x="0" y="49"/>
                    </a:lnTo>
                    <a:lnTo>
                      <a:pt x="464" y="317"/>
                    </a:lnTo>
                    <a:lnTo>
                      <a:pt x="464" y="26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80" name="iSḷíḑè"/>
              <p:cNvSpPr/>
              <p:nvPr/>
            </p:nvSpPr>
            <p:spPr bwMode="auto">
              <a:xfrm>
                <a:off x="4566" y="2312"/>
                <a:ext cx="24" cy="61"/>
              </a:xfrm>
              <a:custGeom>
                <a:avLst/>
                <a:gdLst>
                  <a:gd name="T0" fmla="*/ 24 w 24"/>
                  <a:gd name="T1" fmla="*/ 0 h 61"/>
                  <a:gd name="T2" fmla="*/ 0 w 24"/>
                  <a:gd name="T3" fmla="*/ 12 h 61"/>
                  <a:gd name="T4" fmla="*/ 0 w 24"/>
                  <a:gd name="T5" fmla="*/ 61 h 61"/>
                  <a:gd name="T6" fmla="*/ 22 w 24"/>
                  <a:gd name="T7" fmla="*/ 47 h 61"/>
                  <a:gd name="T8" fmla="*/ 24 w 24"/>
                  <a:gd name="T9" fmla="*/ 0 h 61"/>
                </a:gdLst>
                <a:ahLst/>
                <a:cxnLst>
                  <a:cxn ang="0">
                    <a:pos x="T0" y="T1"/>
                  </a:cxn>
                  <a:cxn ang="0">
                    <a:pos x="T2" y="T3"/>
                  </a:cxn>
                  <a:cxn ang="0">
                    <a:pos x="T4" y="T5"/>
                  </a:cxn>
                  <a:cxn ang="0">
                    <a:pos x="T6" y="T7"/>
                  </a:cxn>
                  <a:cxn ang="0">
                    <a:pos x="T8" y="T9"/>
                  </a:cxn>
                </a:cxnLst>
                <a:rect l="0" t="0" r="r" b="b"/>
                <a:pathLst>
                  <a:path w="24" h="61">
                    <a:moveTo>
                      <a:pt x="24" y="0"/>
                    </a:moveTo>
                    <a:lnTo>
                      <a:pt x="0" y="12"/>
                    </a:lnTo>
                    <a:lnTo>
                      <a:pt x="0" y="61"/>
                    </a:lnTo>
                    <a:lnTo>
                      <a:pt x="22" y="47"/>
                    </a:lnTo>
                    <a:lnTo>
                      <a:pt x="24" y="0"/>
                    </a:lnTo>
                    <a:close/>
                  </a:path>
                </a:pathLst>
              </a:custGeom>
              <a:solidFill>
                <a:srgbClr val="DAEEF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81" name="íśḻîḋe"/>
              <p:cNvSpPr/>
              <p:nvPr/>
            </p:nvSpPr>
            <p:spPr bwMode="auto">
              <a:xfrm>
                <a:off x="4566" y="2312"/>
                <a:ext cx="24" cy="61"/>
              </a:xfrm>
              <a:custGeom>
                <a:avLst/>
                <a:gdLst>
                  <a:gd name="T0" fmla="*/ 24 w 24"/>
                  <a:gd name="T1" fmla="*/ 0 h 61"/>
                  <a:gd name="T2" fmla="*/ 0 w 24"/>
                  <a:gd name="T3" fmla="*/ 12 h 61"/>
                  <a:gd name="T4" fmla="*/ 0 w 24"/>
                  <a:gd name="T5" fmla="*/ 61 h 61"/>
                  <a:gd name="T6" fmla="*/ 22 w 24"/>
                  <a:gd name="T7" fmla="*/ 47 h 61"/>
                  <a:gd name="T8" fmla="*/ 24 w 24"/>
                  <a:gd name="T9" fmla="*/ 0 h 61"/>
                </a:gdLst>
                <a:ahLst/>
                <a:cxnLst>
                  <a:cxn ang="0">
                    <a:pos x="T0" y="T1"/>
                  </a:cxn>
                  <a:cxn ang="0">
                    <a:pos x="T2" y="T3"/>
                  </a:cxn>
                  <a:cxn ang="0">
                    <a:pos x="T4" y="T5"/>
                  </a:cxn>
                  <a:cxn ang="0">
                    <a:pos x="T6" y="T7"/>
                  </a:cxn>
                  <a:cxn ang="0">
                    <a:pos x="T8" y="T9"/>
                  </a:cxn>
                </a:cxnLst>
                <a:rect l="0" t="0" r="r" b="b"/>
                <a:pathLst>
                  <a:path w="24" h="61">
                    <a:moveTo>
                      <a:pt x="24" y="0"/>
                    </a:moveTo>
                    <a:lnTo>
                      <a:pt x="0" y="12"/>
                    </a:lnTo>
                    <a:lnTo>
                      <a:pt x="0" y="61"/>
                    </a:lnTo>
                    <a:lnTo>
                      <a:pt x="22" y="47"/>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82" name="îşḷïḑê"/>
              <p:cNvSpPr/>
              <p:nvPr/>
            </p:nvSpPr>
            <p:spPr bwMode="auto">
              <a:xfrm>
                <a:off x="4566" y="2312"/>
                <a:ext cx="24" cy="61"/>
              </a:xfrm>
              <a:custGeom>
                <a:avLst/>
                <a:gdLst>
                  <a:gd name="T0" fmla="*/ 24 w 24"/>
                  <a:gd name="T1" fmla="*/ 0 h 61"/>
                  <a:gd name="T2" fmla="*/ 0 w 24"/>
                  <a:gd name="T3" fmla="*/ 12 h 61"/>
                  <a:gd name="T4" fmla="*/ 0 w 24"/>
                  <a:gd name="T5" fmla="*/ 61 h 61"/>
                  <a:gd name="T6" fmla="*/ 22 w 24"/>
                  <a:gd name="T7" fmla="*/ 47 h 61"/>
                  <a:gd name="T8" fmla="*/ 24 w 24"/>
                  <a:gd name="T9" fmla="*/ 0 h 61"/>
                </a:gdLst>
                <a:ahLst/>
                <a:cxnLst>
                  <a:cxn ang="0">
                    <a:pos x="T0" y="T1"/>
                  </a:cxn>
                  <a:cxn ang="0">
                    <a:pos x="T2" y="T3"/>
                  </a:cxn>
                  <a:cxn ang="0">
                    <a:pos x="T4" y="T5"/>
                  </a:cxn>
                  <a:cxn ang="0">
                    <a:pos x="T6" y="T7"/>
                  </a:cxn>
                  <a:cxn ang="0">
                    <a:pos x="T8" y="T9"/>
                  </a:cxn>
                </a:cxnLst>
                <a:rect l="0" t="0" r="r" b="b"/>
                <a:pathLst>
                  <a:path w="24" h="61">
                    <a:moveTo>
                      <a:pt x="24" y="0"/>
                    </a:moveTo>
                    <a:lnTo>
                      <a:pt x="0" y="12"/>
                    </a:lnTo>
                    <a:lnTo>
                      <a:pt x="0" y="61"/>
                    </a:lnTo>
                    <a:lnTo>
                      <a:pt x="22" y="47"/>
                    </a:lnTo>
                    <a:lnTo>
                      <a:pt x="24" y="0"/>
                    </a:lnTo>
                    <a:close/>
                  </a:path>
                </a:pathLst>
              </a:custGeom>
              <a:solidFill>
                <a:srgbClr val="75808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83" name="î$ļiḋe"/>
              <p:cNvSpPr/>
              <p:nvPr/>
            </p:nvSpPr>
            <p:spPr bwMode="auto">
              <a:xfrm>
                <a:off x="4566" y="2312"/>
                <a:ext cx="24" cy="61"/>
              </a:xfrm>
              <a:custGeom>
                <a:avLst/>
                <a:gdLst>
                  <a:gd name="T0" fmla="*/ 24 w 24"/>
                  <a:gd name="T1" fmla="*/ 0 h 61"/>
                  <a:gd name="T2" fmla="*/ 0 w 24"/>
                  <a:gd name="T3" fmla="*/ 12 h 61"/>
                  <a:gd name="T4" fmla="*/ 0 w 24"/>
                  <a:gd name="T5" fmla="*/ 61 h 61"/>
                  <a:gd name="T6" fmla="*/ 22 w 24"/>
                  <a:gd name="T7" fmla="*/ 47 h 61"/>
                  <a:gd name="T8" fmla="*/ 24 w 24"/>
                  <a:gd name="T9" fmla="*/ 0 h 61"/>
                </a:gdLst>
                <a:ahLst/>
                <a:cxnLst>
                  <a:cxn ang="0">
                    <a:pos x="T0" y="T1"/>
                  </a:cxn>
                  <a:cxn ang="0">
                    <a:pos x="T2" y="T3"/>
                  </a:cxn>
                  <a:cxn ang="0">
                    <a:pos x="T4" y="T5"/>
                  </a:cxn>
                  <a:cxn ang="0">
                    <a:pos x="T6" y="T7"/>
                  </a:cxn>
                  <a:cxn ang="0">
                    <a:pos x="T8" y="T9"/>
                  </a:cxn>
                </a:cxnLst>
                <a:rect l="0" t="0" r="r" b="b"/>
                <a:pathLst>
                  <a:path w="24" h="61">
                    <a:moveTo>
                      <a:pt x="24" y="0"/>
                    </a:moveTo>
                    <a:lnTo>
                      <a:pt x="0" y="12"/>
                    </a:lnTo>
                    <a:lnTo>
                      <a:pt x="0" y="61"/>
                    </a:lnTo>
                    <a:lnTo>
                      <a:pt x="22" y="47"/>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84" name="iSḻïďè"/>
              <p:cNvSpPr/>
              <p:nvPr/>
            </p:nvSpPr>
            <p:spPr bwMode="auto">
              <a:xfrm>
                <a:off x="4102" y="2042"/>
                <a:ext cx="488" cy="282"/>
              </a:xfrm>
              <a:custGeom>
                <a:avLst/>
                <a:gdLst>
                  <a:gd name="T0" fmla="*/ 23 w 488"/>
                  <a:gd name="T1" fmla="*/ 0 h 282"/>
                  <a:gd name="T2" fmla="*/ 0 w 488"/>
                  <a:gd name="T3" fmla="*/ 14 h 282"/>
                  <a:gd name="T4" fmla="*/ 464 w 488"/>
                  <a:gd name="T5" fmla="*/ 282 h 282"/>
                  <a:gd name="T6" fmla="*/ 488 w 488"/>
                  <a:gd name="T7" fmla="*/ 270 h 282"/>
                  <a:gd name="T8" fmla="*/ 23 w 488"/>
                  <a:gd name="T9" fmla="*/ 0 h 282"/>
                </a:gdLst>
                <a:ahLst/>
                <a:cxnLst>
                  <a:cxn ang="0">
                    <a:pos x="T0" y="T1"/>
                  </a:cxn>
                  <a:cxn ang="0">
                    <a:pos x="T2" y="T3"/>
                  </a:cxn>
                  <a:cxn ang="0">
                    <a:pos x="T4" y="T5"/>
                  </a:cxn>
                  <a:cxn ang="0">
                    <a:pos x="T6" y="T7"/>
                  </a:cxn>
                  <a:cxn ang="0">
                    <a:pos x="T8" y="T9"/>
                  </a:cxn>
                </a:cxnLst>
                <a:rect l="0" t="0" r="r" b="b"/>
                <a:pathLst>
                  <a:path w="488" h="282">
                    <a:moveTo>
                      <a:pt x="23" y="0"/>
                    </a:moveTo>
                    <a:lnTo>
                      <a:pt x="0" y="14"/>
                    </a:lnTo>
                    <a:lnTo>
                      <a:pt x="464" y="282"/>
                    </a:lnTo>
                    <a:lnTo>
                      <a:pt x="488" y="270"/>
                    </a:lnTo>
                    <a:lnTo>
                      <a:pt x="23" y="0"/>
                    </a:lnTo>
                    <a:close/>
                  </a:path>
                </a:pathLst>
              </a:custGeom>
              <a:solidFill>
                <a:srgbClr val="DAEEF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85" name="íSḻíḓê"/>
              <p:cNvSpPr/>
              <p:nvPr/>
            </p:nvSpPr>
            <p:spPr bwMode="auto">
              <a:xfrm>
                <a:off x="4102" y="2042"/>
                <a:ext cx="488" cy="282"/>
              </a:xfrm>
              <a:custGeom>
                <a:avLst/>
                <a:gdLst>
                  <a:gd name="T0" fmla="*/ 23 w 488"/>
                  <a:gd name="T1" fmla="*/ 0 h 282"/>
                  <a:gd name="T2" fmla="*/ 0 w 488"/>
                  <a:gd name="T3" fmla="*/ 14 h 282"/>
                  <a:gd name="T4" fmla="*/ 464 w 488"/>
                  <a:gd name="T5" fmla="*/ 282 h 282"/>
                  <a:gd name="T6" fmla="*/ 488 w 488"/>
                  <a:gd name="T7" fmla="*/ 270 h 282"/>
                  <a:gd name="T8" fmla="*/ 23 w 488"/>
                  <a:gd name="T9" fmla="*/ 0 h 282"/>
                </a:gdLst>
                <a:ahLst/>
                <a:cxnLst>
                  <a:cxn ang="0">
                    <a:pos x="T0" y="T1"/>
                  </a:cxn>
                  <a:cxn ang="0">
                    <a:pos x="T2" y="T3"/>
                  </a:cxn>
                  <a:cxn ang="0">
                    <a:pos x="T4" y="T5"/>
                  </a:cxn>
                  <a:cxn ang="0">
                    <a:pos x="T6" y="T7"/>
                  </a:cxn>
                  <a:cxn ang="0">
                    <a:pos x="T8" y="T9"/>
                  </a:cxn>
                </a:cxnLst>
                <a:rect l="0" t="0" r="r" b="b"/>
                <a:pathLst>
                  <a:path w="488" h="282">
                    <a:moveTo>
                      <a:pt x="23" y="0"/>
                    </a:moveTo>
                    <a:lnTo>
                      <a:pt x="0" y="14"/>
                    </a:lnTo>
                    <a:lnTo>
                      <a:pt x="464" y="282"/>
                    </a:lnTo>
                    <a:lnTo>
                      <a:pt x="488" y="270"/>
                    </a:lnTo>
                    <a:lnTo>
                      <a:pt x="2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86" name="íSļïde"/>
              <p:cNvSpPr/>
              <p:nvPr/>
            </p:nvSpPr>
            <p:spPr bwMode="auto">
              <a:xfrm>
                <a:off x="4102" y="2042"/>
                <a:ext cx="488" cy="282"/>
              </a:xfrm>
              <a:custGeom>
                <a:avLst/>
                <a:gdLst>
                  <a:gd name="T0" fmla="*/ 23 w 488"/>
                  <a:gd name="T1" fmla="*/ 0 h 282"/>
                  <a:gd name="T2" fmla="*/ 0 w 488"/>
                  <a:gd name="T3" fmla="*/ 14 h 282"/>
                  <a:gd name="T4" fmla="*/ 464 w 488"/>
                  <a:gd name="T5" fmla="*/ 282 h 282"/>
                  <a:gd name="T6" fmla="*/ 488 w 488"/>
                  <a:gd name="T7" fmla="*/ 270 h 282"/>
                  <a:gd name="T8" fmla="*/ 23 w 488"/>
                  <a:gd name="T9" fmla="*/ 0 h 282"/>
                </a:gdLst>
                <a:ahLst/>
                <a:cxnLst>
                  <a:cxn ang="0">
                    <a:pos x="T0" y="T1"/>
                  </a:cxn>
                  <a:cxn ang="0">
                    <a:pos x="T2" y="T3"/>
                  </a:cxn>
                  <a:cxn ang="0">
                    <a:pos x="T4" y="T5"/>
                  </a:cxn>
                  <a:cxn ang="0">
                    <a:pos x="T6" y="T7"/>
                  </a:cxn>
                  <a:cxn ang="0">
                    <a:pos x="T8" y="T9"/>
                  </a:cxn>
                </a:cxnLst>
                <a:rect l="0" t="0" r="r" b="b"/>
                <a:pathLst>
                  <a:path w="488" h="282">
                    <a:moveTo>
                      <a:pt x="23" y="0"/>
                    </a:moveTo>
                    <a:lnTo>
                      <a:pt x="0" y="14"/>
                    </a:lnTo>
                    <a:lnTo>
                      <a:pt x="464" y="282"/>
                    </a:lnTo>
                    <a:lnTo>
                      <a:pt x="488" y="270"/>
                    </a:lnTo>
                    <a:lnTo>
                      <a:pt x="23" y="0"/>
                    </a:lnTo>
                    <a:close/>
                  </a:path>
                </a:pathLst>
              </a:custGeom>
              <a:solidFill>
                <a:srgbClr val="ADB5B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87" name="îš1ïḓé"/>
              <p:cNvSpPr/>
              <p:nvPr/>
            </p:nvSpPr>
            <p:spPr bwMode="auto">
              <a:xfrm>
                <a:off x="4102" y="2042"/>
                <a:ext cx="488" cy="282"/>
              </a:xfrm>
              <a:custGeom>
                <a:avLst/>
                <a:gdLst>
                  <a:gd name="T0" fmla="*/ 23 w 488"/>
                  <a:gd name="T1" fmla="*/ 0 h 282"/>
                  <a:gd name="T2" fmla="*/ 0 w 488"/>
                  <a:gd name="T3" fmla="*/ 14 h 282"/>
                  <a:gd name="T4" fmla="*/ 464 w 488"/>
                  <a:gd name="T5" fmla="*/ 282 h 282"/>
                  <a:gd name="T6" fmla="*/ 488 w 488"/>
                  <a:gd name="T7" fmla="*/ 270 h 282"/>
                  <a:gd name="T8" fmla="*/ 23 w 488"/>
                  <a:gd name="T9" fmla="*/ 0 h 282"/>
                </a:gdLst>
                <a:ahLst/>
                <a:cxnLst>
                  <a:cxn ang="0">
                    <a:pos x="T0" y="T1"/>
                  </a:cxn>
                  <a:cxn ang="0">
                    <a:pos x="T2" y="T3"/>
                  </a:cxn>
                  <a:cxn ang="0">
                    <a:pos x="T4" y="T5"/>
                  </a:cxn>
                  <a:cxn ang="0">
                    <a:pos x="T6" y="T7"/>
                  </a:cxn>
                  <a:cxn ang="0">
                    <a:pos x="T8" y="T9"/>
                  </a:cxn>
                </a:cxnLst>
                <a:rect l="0" t="0" r="r" b="b"/>
                <a:pathLst>
                  <a:path w="488" h="282">
                    <a:moveTo>
                      <a:pt x="23" y="0"/>
                    </a:moveTo>
                    <a:lnTo>
                      <a:pt x="0" y="14"/>
                    </a:lnTo>
                    <a:lnTo>
                      <a:pt x="464" y="282"/>
                    </a:lnTo>
                    <a:lnTo>
                      <a:pt x="488" y="270"/>
                    </a:lnTo>
                    <a:lnTo>
                      <a:pt x="2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88" name="íşḻïḋé"/>
              <p:cNvSpPr/>
              <p:nvPr/>
            </p:nvSpPr>
            <p:spPr bwMode="auto">
              <a:xfrm>
                <a:off x="4102" y="2154"/>
                <a:ext cx="464" cy="317"/>
              </a:xfrm>
              <a:custGeom>
                <a:avLst/>
                <a:gdLst>
                  <a:gd name="T0" fmla="*/ 0 w 464"/>
                  <a:gd name="T1" fmla="*/ 0 h 317"/>
                  <a:gd name="T2" fmla="*/ 0 w 464"/>
                  <a:gd name="T3" fmla="*/ 48 h 317"/>
                  <a:gd name="T4" fmla="*/ 464 w 464"/>
                  <a:gd name="T5" fmla="*/ 317 h 317"/>
                  <a:gd name="T6" fmla="*/ 464 w 464"/>
                  <a:gd name="T7" fmla="*/ 268 h 317"/>
                  <a:gd name="T8" fmla="*/ 0 w 464"/>
                  <a:gd name="T9" fmla="*/ 0 h 317"/>
                </a:gdLst>
                <a:ahLst/>
                <a:cxnLst>
                  <a:cxn ang="0">
                    <a:pos x="T0" y="T1"/>
                  </a:cxn>
                  <a:cxn ang="0">
                    <a:pos x="T2" y="T3"/>
                  </a:cxn>
                  <a:cxn ang="0">
                    <a:pos x="T4" y="T5"/>
                  </a:cxn>
                  <a:cxn ang="0">
                    <a:pos x="T6" y="T7"/>
                  </a:cxn>
                  <a:cxn ang="0">
                    <a:pos x="T8" y="T9"/>
                  </a:cxn>
                </a:cxnLst>
                <a:rect l="0" t="0" r="r" b="b"/>
                <a:pathLst>
                  <a:path w="464" h="317">
                    <a:moveTo>
                      <a:pt x="0" y="0"/>
                    </a:moveTo>
                    <a:lnTo>
                      <a:pt x="0" y="48"/>
                    </a:lnTo>
                    <a:lnTo>
                      <a:pt x="464" y="317"/>
                    </a:lnTo>
                    <a:lnTo>
                      <a:pt x="464" y="268"/>
                    </a:lnTo>
                    <a:lnTo>
                      <a:pt x="0" y="0"/>
                    </a:lnTo>
                    <a:close/>
                  </a:path>
                </a:pathLst>
              </a:custGeom>
              <a:solidFill>
                <a:srgbClr val="DAEEF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89" name="ïsḷîdé"/>
              <p:cNvSpPr/>
              <p:nvPr/>
            </p:nvSpPr>
            <p:spPr bwMode="auto">
              <a:xfrm>
                <a:off x="4102" y="2154"/>
                <a:ext cx="464" cy="317"/>
              </a:xfrm>
              <a:custGeom>
                <a:avLst/>
                <a:gdLst>
                  <a:gd name="T0" fmla="*/ 0 w 464"/>
                  <a:gd name="T1" fmla="*/ 0 h 317"/>
                  <a:gd name="T2" fmla="*/ 0 w 464"/>
                  <a:gd name="T3" fmla="*/ 48 h 317"/>
                  <a:gd name="T4" fmla="*/ 464 w 464"/>
                  <a:gd name="T5" fmla="*/ 317 h 317"/>
                  <a:gd name="T6" fmla="*/ 464 w 464"/>
                  <a:gd name="T7" fmla="*/ 268 h 317"/>
                  <a:gd name="T8" fmla="*/ 0 w 464"/>
                  <a:gd name="T9" fmla="*/ 0 h 317"/>
                </a:gdLst>
                <a:ahLst/>
                <a:cxnLst>
                  <a:cxn ang="0">
                    <a:pos x="T0" y="T1"/>
                  </a:cxn>
                  <a:cxn ang="0">
                    <a:pos x="T2" y="T3"/>
                  </a:cxn>
                  <a:cxn ang="0">
                    <a:pos x="T4" y="T5"/>
                  </a:cxn>
                  <a:cxn ang="0">
                    <a:pos x="T6" y="T7"/>
                  </a:cxn>
                  <a:cxn ang="0">
                    <a:pos x="T8" y="T9"/>
                  </a:cxn>
                </a:cxnLst>
                <a:rect l="0" t="0" r="r" b="b"/>
                <a:pathLst>
                  <a:path w="464" h="317">
                    <a:moveTo>
                      <a:pt x="0" y="0"/>
                    </a:moveTo>
                    <a:lnTo>
                      <a:pt x="0" y="48"/>
                    </a:lnTo>
                    <a:lnTo>
                      <a:pt x="464" y="317"/>
                    </a:lnTo>
                    <a:lnTo>
                      <a:pt x="464" y="26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90" name="íṣľíḋe"/>
              <p:cNvSpPr/>
              <p:nvPr/>
            </p:nvSpPr>
            <p:spPr bwMode="auto">
              <a:xfrm>
                <a:off x="4102" y="2154"/>
                <a:ext cx="464" cy="317"/>
              </a:xfrm>
              <a:custGeom>
                <a:avLst/>
                <a:gdLst>
                  <a:gd name="T0" fmla="*/ 0 w 464"/>
                  <a:gd name="T1" fmla="*/ 0 h 317"/>
                  <a:gd name="T2" fmla="*/ 0 w 464"/>
                  <a:gd name="T3" fmla="*/ 48 h 317"/>
                  <a:gd name="T4" fmla="*/ 464 w 464"/>
                  <a:gd name="T5" fmla="*/ 317 h 317"/>
                  <a:gd name="T6" fmla="*/ 464 w 464"/>
                  <a:gd name="T7" fmla="*/ 268 h 317"/>
                  <a:gd name="T8" fmla="*/ 0 w 464"/>
                  <a:gd name="T9" fmla="*/ 0 h 317"/>
                </a:gdLst>
                <a:ahLst/>
                <a:cxnLst>
                  <a:cxn ang="0">
                    <a:pos x="T0" y="T1"/>
                  </a:cxn>
                  <a:cxn ang="0">
                    <a:pos x="T2" y="T3"/>
                  </a:cxn>
                  <a:cxn ang="0">
                    <a:pos x="T4" y="T5"/>
                  </a:cxn>
                  <a:cxn ang="0">
                    <a:pos x="T6" y="T7"/>
                  </a:cxn>
                  <a:cxn ang="0">
                    <a:pos x="T8" y="T9"/>
                  </a:cxn>
                </a:cxnLst>
                <a:rect l="0" t="0" r="r" b="b"/>
                <a:pathLst>
                  <a:path w="464" h="317">
                    <a:moveTo>
                      <a:pt x="0" y="0"/>
                    </a:moveTo>
                    <a:lnTo>
                      <a:pt x="0" y="48"/>
                    </a:lnTo>
                    <a:lnTo>
                      <a:pt x="464" y="317"/>
                    </a:lnTo>
                    <a:lnTo>
                      <a:pt x="464" y="268"/>
                    </a:lnTo>
                    <a:lnTo>
                      <a:pt x="0" y="0"/>
                    </a:lnTo>
                    <a:close/>
                  </a:path>
                </a:pathLst>
              </a:custGeom>
              <a:solidFill>
                <a:srgbClr val="909193"/>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91" name="iślïḍè"/>
              <p:cNvSpPr/>
              <p:nvPr/>
            </p:nvSpPr>
            <p:spPr bwMode="auto">
              <a:xfrm>
                <a:off x="4102" y="2154"/>
                <a:ext cx="464" cy="317"/>
              </a:xfrm>
              <a:custGeom>
                <a:avLst/>
                <a:gdLst>
                  <a:gd name="T0" fmla="*/ 0 w 464"/>
                  <a:gd name="T1" fmla="*/ 0 h 317"/>
                  <a:gd name="T2" fmla="*/ 0 w 464"/>
                  <a:gd name="T3" fmla="*/ 48 h 317"/>
                  <a:gd name="T4" fmla="*/ 464 w 464"/>
                  <a:gd name="T5" fmla="*/ 317 h 317"/>
                  <a:gd name="T6" fmla="*/ 464 w 464"/>
                  <a:gd name="T7" fmla="*/ 268 h 317"/>
                  <a:gd name="T8" fmla="*/ 0 w 464"/>
                  <a:gd name="T9" fmla="*/ 0 h 317"/>
                </a:gdLst>
                <a:ahLst/>
                <a:cxnLst>
                  <a:cxn ang="0">
                    <a:pos x="T0" y="T1"/>
                  </a:cxn>
                  <a:cxn ang="0">
                    <a:pos x="T2" y="T3"/>
                  </a:cxn>
                  <a:cxn ang="0">
                    <a:pos x="T4" y="T5"/>
                  </a:cxn>
                  <a:cxn ang="0">
                    <a:pos x="T6" y="T7"/>
                  </a:cxn>
                  <a:cxn ang="0">
                    <a:pos x="T8" y="T9"/>
                  </a:cxn>
                </a:cxnLst>
                <a:rect l="0" t="0" r="r" b="b"/>
                <a:pathLst>
                  <a:path w="464" h="317">
                    <a:moveTo>
                      <a:pt x="0" y="0"/>
                    </a:moveTo>
                    <a:lnTo>
                      <a:pt x="0" y="48"/>
                    </a:lnTo>
                    <a:lnTo>
                      <a:pt x="464" y="317"/>
                    </a:lnTo>
                    <a:lnTo>
                      <a:pt x="464" y="26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92" name="iŝ1îḑè"/>
              <p:cNvSpPr/>
              <p:nvPr/>
            </p:nvSpPr>
            <p:spPr bwMode="auto">
              <a:xfrm>
                <a:off x="4566" y="2408"/>
                <a:ext cx="24" cy="63"/>
              </a:xfrm>
              <a:custGeom>
                <a:avLst/>
                <a:gdLst>
                  <a:gd name="T0" fmla="*/ 24 w 24"/>
                  <a:gd name="T1" fmla="*/ 0 h 63"/>
                  <a:gd name="T2" fmla="*/ 0 w 24"/>
                  <a:gd name="T3" fmla="*/ 14 h 63"/>
                  <a:gd name="T4" fmla="*/ 0 w 24"/>
                  <a:gd name="T5" fmla="*/ 63 h 63"/>
                  <a:gd name="T6" fmla="*/ 22 w 24"/>
                  <a:gd name="T7" fmla="*/ 50 h 63"/>
                  <a:gd name="T8" fmla="*/ 24 w 24"/>
                  <a:gd name="T9" fmla="*/ 0 h 63"/>
                </a:gdLst>
                <a:ahLst/>
                <a:cxnLst>
                  <a:cxn ang="0">
                    <a:pos x="T0" y="T1"/>
                  </a:cxn>
                  <a:cxn ang="0">
                    <a:pos x="T2" y="T3"/>
                  </a:cxn>
                  <a:cxn ang="0">
                    <a:pos x="T4" y="T5"/>
                  </a:cxn>
                  <a:cxn ang="0">
                    <a:pos x="T6" y="T7"/>
                  </a:cxn>
                  <a:cxn ang="0">
                    <a:pos x="T8" y="T9"/>
                  </a:cxn>
                </a:cxnLst>
                <a:rect l="0" t="0" r="r" b="b"/>
                <a:pathLst>
                  <a:path w="24" h="63">
                    <a:moveTo>
                      <a:pt x="24" y="0"/>
                    </a:moveTo>
                    <a:lnTo>
                      <a:pt x="0" y="14"/>
                    </a:lnTo>
                    <a:lnTo>
                      <a:pt x="0" y="63"/>
                    </a:lnTo>
                    <a:lnTo>
                      <a:pt x="22" y="50"/>
                    </a:lnTo>
                    <a:lnTo>
                      <a:pt x="24" y="0"/>
                    </a:lnTo>
                    <a:close/>
                  </a:path>
                </a:pathLst>
              </a:custGeom>
              <a:solidFill>
                <a:srgbClr val="DAEEF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93" name="isľíḍê"/>
              <p:cNvSpPr/>
              <p:nvPr/>
            </p:nvSpPr>
            <p:spPr bwMode="auto">
              <a:xfrm>
                <a:off x="4566" y="2408"/>
                <a:ext cx="24" cy="63"/>
              </a:xfrm>
              <a:custGeom>
                <a:avLst/>
                <a:gdLst>
                  <a:gd name="T0" fmla="*/ 24 w 24"/>
                  <a:gd name="T1" fmla="*/ 0 h 63"/>
                  <a:gd name="T2" fmla="*/ 0 w 24"/>
                  <a:gd name="T3" fmla="*/ 14 h 63"/>
                  <a:gd name="T4" fmla="*/ 0 w 24"/>
                  <a:gd name="T5" fmla="*/ 63 h 63"/>
                  <a:gd name="T6" fmla="*/ 22 w 24"/>
                  <a:gd name="T7" fmla="*/ 50 h 63"/>
                  <a:gd name="T8" fmla="*/ 24 w 24"/>
                  <a:gd name="T9" fmla="*/ 0 h 63"/>
                </a:gdLst>
                <a:ahLst/>
                <a:cxnLst>
                  <a:cxn ang="0">
                    <a:pos x="T0" y="T1"/>
                  </a:cxn>
                  <a:cxn ang="0">
                    <a:pos x="T2" y="T3"/>
                  </a:cxn>
                  <a:cxn ang="0">
                    <a:pos x="T4" y="T5"/>
                  </a:cxn>
                  <a:cxn ang="0">
                    <a:pos x="T6" y="T7"/>
                  </a:cxn>
                  <a:cxn ang="0">
                    <a:pos x="T8" y="T9"/>
                  </a:cxn>
                </a:cxnLst>
                <a:rect l="0" t="0" r="r" b="b"/>
                <a:pathLst>
                  <a:path w="24" h="63">
                    <a:moveTo>
                      <a:pt x="24" y="0"/>
                    </a:moveTo>
                    <a:lnTo>
                      <a:pt x="0" y="14"/>
                    </a:lnTo>
                    <a:lnTo>
                      <a:pt x="0" y="63"/>
                    </a:lnTo>
                    <a:lnTo>
                      <a:pt x="22" y="50"/>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94" name="îṣḻíḑé"/>
              <p:cNvSpPr/>
              <p:nvPr/>
            </p:nvSpPr>
            <p:spPr bwMode="auto">
              <a:xfrm>
                <a:off x="4566" y="2408"/>
                <a:ext cx="24" cy="63"/>
              </a:xfrm>
              <a:custGeom>
                <a:avLst/>
                <a:gdLst>
                  <a:gd name="T0" fmla="*/ 24 w 24"/>
                  <a:gd name="T1" fmla="*/ 0 h 63"/>
                  <a:gd name="T2" fmla="*/ 0 w 24"/>
                  <a:gd name="T3" fmla="*/ 14 h 63"/>
                  <a:gd name="T4" fmla="*/ 0 w 24"/>
                  <a:gd name="T5" fmla="*/ 63 h 63"/>
                  <a:gd name="T6" fmla="*/ 22 w 24"/>
                  <a:gd name="T7" fmla="*/ 50 h 63"/>
                  <a:gd name="T8" fmla="*/ 24 w 24"/>
                  <a:gd name="T9" fmla="*/ 0 h 63"/>
                </a:gdLst>
                <a:ahLst/>
                <a:cxnLst>
                  <a:cxn ang="0">
                    <a:pos x="T0" y="T1"/>
                  </a:cxn>
                  <a:cxn ang="0">
                    <a:pos x="T2" y="T3"/>
                  </a:cxn>
                  <a:cxn ang="0">
                    <a:pos x="T4" y="T5"/>
                  </a:cxn>
                  <a:cxn ang="0">
                    <a:pos x="T6" y="T7"/>
                  </a:cxn>
                  <a:cxn ang="0">
                    <a:pos x="T8" y="T9"/>
                  </a:cxn>
                </a:cxnLst>
                <a:rect l="0" t="0" r="r" b="b"/>
                <a:pathLst>
                  <a:path w="24" h="63">
                    <a:moveTo>
                      <a:pt x="24" y="0"/>
                    </a:moveTo>
                    <a:lnTo>
                      <a:pt x="0" y="14"/>
                    </a:lnTo>
                    <a:lnTo>
                      <a:pt x="0" y="63"/>
                    </a:lnTo>
                    <a:lnTo>
                      <a:pt x="22" y="50"/>
                    </a:lnTo>
                    <a:lnTo>
                      <a:pt x="24" y="0"/>
                    </a:lnTo>
                    <a:close/>
                  </a:path>
                </a:pathLst>
              </a:custGeom>
              <a:solidFill>
                <a:srgbClr val="75808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95" name="iṧḻïḍè"/>
              <p:cNvSpPr/>
              <p:nvPr/>
            </p:nvSpPr>
            <p:spPr bwMode="auto">
              <a:xfrm>
                <a:off x="4566" y="2408"/>
                <a:ext cx="24" cy="63"/>
              </a:xfrm>
              <a:custGeom>
                <a:avLst/>
                <a:gdLst>
                  <a:gd name="T0" fmla="*/ 24 w 24"/>
                  <a:gd name="T1" fmla="*/ 0 h 63"/>
                  <a:gd name="T2" fmla="*/ 0 w 24"/>
                  <a:gd name="T3" fmla="*/ 14 h 63"/>
                  <a:gd name="T4" fmla="*/ 0 w 24"/>
                  <a:gd name="T5" fmla="*/ 63 h 63"/>
                  <a:gd name="T6" fmla="*/ 22 w 24"/>
                  <a:gd name="T7" fmla="*/ 50 h 63"/>
                  <a:gd name="T8" fmla="*/ 24 w 24"/>
                  <a:gd name="T9" fmla="*/ 0 h 63"/>
                </a:gdLst>
                <a:ahLst/>
                <a:cxnLst>
                  <a:cxn ang="0">
                    <a:pos x="T0" y="T1"/>
                  </a:cxn>
                  <a:cxn ang="0">
                    <a:pos x="T2" y="T3"/>
                  </a:cxn>
                  <a:cxn ang="0">
                    <a:pos x="T4" y="T5"/>
                  </a:cxn>
                  <a:cxn ang="0">
                    <a:pos x="T6" y="T7"/>
                  </a:cxn>
                  <a:cxn ang="0">
                    <a:pos x="T8" y="T9"/>
                  </a:cxn>
                </a:cxnLst>
                <a:rect l="0" t="0" r="r" b="b"/>
                <a:pathLst>
                  <a:path w="24" h="63">
                    <a:moveTo>
                      <a:pt x="24" y="0"/>
                    </a:moveTo>
                    <a:lnTo>
                      <a:pt x="0" y="14"/>
                    </a:lnTo>
                    <a:lnTo>
                      <a:pt x="0" y="63"/>
                    </a:lnTo>
                    <a:lnTo>
                      <a:pt x="22" y="50"/>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96" name="îsḷïďè"/>
              <p:cNvSpPr/>
              <p:nvPr/>
            </p:nvSpPr>
            <p:spPr bwMode="auto">
              <a:xfrm>
                <a:off x="4102" y="2141"/>
                <a:ext cx="488" cy="281"/>
              </a:xfrm>
              <a:custGeom>
                <a:avLst/>
                <a:gdLst>
                  <a:gd name="T0" fmla="*/ 23 w 488"/>
                  <a:gd name="T1" fmla="*/ 0 h 281"/>
                  <a:gd name="T2" fmla="*/ 0 w 488"/>
                  <a:gd name="T3" fmla="*/ 13 h 281"/>
                  <a:gd name="T4" fmla="*/ 464 w 488"/>
                  <a:gd name="T5" fmla="*/ 281 h 281"/>
                  <a:gd name="T6" fmla="*/ 488 w 488"/>
                  <a:gd name="T7" fmla="*/ 267 h 281"/>
                  <a:gd name="T8" fmla="*/ 23 w 488"/>
                  <a:gd name="T9" fmla="*/ 0 h 281"/>
                </a:gdLst>
                <a:ahLst/>
                <a:cxnLst>
                  <a:cxn ang="0">
                    <a:pos x="T0" y="T1"/>
                  </a:cxn>
                  <a:cxn ang="0">
                    <a:pos x="T2" y="T3"/>
                  </a:cxn>
                  <a:cxn ang="0">
                    <a:pos x="T4" y="T5"/>
                  </a:cxn>
                  <a:cxn ang="0">
                    <a:pos x="T6" y="T7"/>
                  </a:cxn>
                  <a:cxn ang="0">
                    <a:pos x="T8" y="T9"/>
                  </a:cxn>
                </a:cxnLst>
                <a:rect l="0" t="0" r="r" b="b"/>
                <a:pathLst>
                  <a:path w="488" h="281">
                    <a:moveTo>
                      <a:pt x="23" y="0"/>
                    </a:moveTo>
                    <a:lnTo>
                      <a:pt x="0" y="13"/>
                    </a:lnTo>
                    <a:lnTo>
                      <a:pt x="464" y="281"/>
                    </a:lnTo>
                    <a:lnTo>
                      <a:pt x="488" y="267"/>
                    </a:lnTo>
                    <a:lnTo>
                      <a:pt x="23" y="0"/>
                    </a:lnTo>
                    <a:close/>
                  </a:path>
                </a:pathLst>
              </a:custGeom>
              <a:solidFill>
                <a:srgbClr val="DAEEF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97" name="íṩľíḑè"/>
              <p:cNvSpPr/>
              <p:nvPr/>
            </p:nvSpPr>
            <p:spPr bwMode="auto">
              <a:xfrm>
                <a:off x="4102" y="2141"/>
                <a:ext cx="488" cy="281"/>
              </a:xfrm>
              <a:custGeom>
                <a:avLst/>
                <a:gdLst>
                  <a:gd name="T0" fmla="*/ 23 w 488"/>
                  <a:gd name="T1" fmla="*/ 0 h 281"/>
                  <a:gd name="T2" fmla="*/ 0 w 488"/>
                  <a:gd name="T3" fmla="*/ 13 h 281"/>
                  <a:gd name="T4" fmla="*/ 464 w 488"/>
                  <a:gd name="T5" fmla="*/ 281 h 281"/>
                  <a:gd name="T6" fmla="*/ 488 w 488"/>
                  <a:gd name="T7" fmla="*/ 267 h 281"/>
                  <a:gd name="T8" fmla="*/ 23 w 488"/>
                  <a:gd name="T9" fmla="*/ 0 h 281"/>
                </a:gdLst>
                <a:ahLst/>
                <a:cxnLst>
                  <a:cxn ang="0">
                    <a:pos x="T0" y="T1"/>
                  </a:cxn>
                  <a:cxn ang="0">
                    <a:pos x="T2" y="T3"/>
                  </a:cxn>
                  <a:cxn ang="0">
                    <a:pos x="T4" y="T5"/>
                  </a:cxn>
                  <a:cxn ang="0">
                    <a:pos x="T6" y="T7"/>
                  </a:cxn>
                  <a:cxn ang="0">
                    <a:pos x="T8" y="T9"/>
                  </a:cxn>
                </a:cxnLst>
                <a:rect l="0" t="0" r="r" b="b"/>
                <a:pathLst>
                  <a:path w="488" h="281">
                    <a:moveTo>
                      <a:pt x="23" y="0"/>
                    </a:moveTo>
                    <a:lnTo>
                      <a:pt x="0" y="13"/>
                    </a:lnTo>
                    <a:lnTo>
                      <a:pt x="464" y="281"/>
                    </a:lnTo>
                    <a:lnTo>
                      <a:pt x="488" y="267"/>
                    </a:lnTo>
                    <a:lnTo>
                      <a:pt x="2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98" name="íṡļíḍê"/>
              <p:cNvSpPr/>
              <p:nvPr/>
            </p:nvSpPr>
            <p:spPr bwMode="auto">
              <a:xfrm>
                <a:off x="4102" y="2141"/>
                <a:ext cx="488" cy="281"/>
              </a:xfrm>
              <a:custGeom>
                <a:avLst/>
                <a:gdLst>
                  <a:gd name="T0" fmla="*/ 23 w 488"/>
                  <a:gd name="T1" fmla="*/ 0 h 281"/>
                  <a:gd name="T2" fmla="*/ 0 w 488"/>
                  <a:gd name="T3" fmla="*/ 13 h 281"/>
                  <a:gd name="T4" fmla="*/ 464 w 488"/>
                  <a:gd name="T5" fmla="*/ 281 h 281"/>
                  <a:gd name="T6" fmla="*/ 488 w 488"/>
                  <a:gd name="T7" fmla="*/ 267 h 281"/>
                  <a:gd name="T8" fmla="*/ 23 w 488"/>
                  <a:gd name="T9" fmla="*/ 0 h 281"/>
                </a:gdLst>
                <a:ahLst/>
                <a:cxnLst>
                  <a:cxn ang="0">
                    <a:pos x="T0" y="T1"/>
                  </a:cxn>
                  <a:cxn ang="0">
                    <a:pos x="T2" y="T3"/>
                  </a:cxn>
                  <a:cxn ang="0">
                    <a:pos x="T4" y="T5"/>
                  </a:cxn>
                  <a:cxn ang="0">
                    <a:pos x="T6" y="T7"/>
                  </a:cxn>
                  <a:cxn ang="0">
                    <a:pos x="T8" y="T9"/>
                  </a:cxn>
                </a:cxnLst>
                <a:rect l="0" t="0" r="r" b="b"/>
                <a:pathLst>
                  <a:path w="488" h="281">
                    <a:moveTo>
                      <a:pt x="23" y="0"/>
                    </a:moveTo>
                    <a:lnTo>
                      <a:pt x="0" y="13"/>
                    </a:lnTo>
                    <a:lnTo>
                      <a:pt x="464" y="281"/>
                    </a:lnTo>
                    <a:lnTo>
                      <a:pt x="488" y="267"/>
                    </a:lnTo>
                    <a:lnTo>
                      <a:pt x="23" y="0"/>
                    </a:lnTo>
                    <a:close/>
                  </a:path>
                </a:pathLst>
              </a:custGeom>
              <a:solidFill>
                <a:srgbClr val="ADB5B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99" name="i$líďé"/>
              <p:cNvSpPr/>
              <p:nvPr/>
            </p:nvSpPr>
            <p:spPr bwMode="auto">
              <a:xfrm>
                <a:off x="4102" y="2141"/>
                <a:ext cx="488" cy="281"/>
              </a:xfrm>
              <a:custGeom>
                <a:avLst/>
                <a:gdLst>
                  <a:gd name="T0" fmla="*/ 23 w 488"/>
                  <a:gd name="T1" fmla="*/ 0 h 281"/>
                  <a:gd name="T2" fmla="*/ 0 w 488"/>
                  <a:gd name="T3" fmla="*/ 13 h 281"/>
                  <a:gd name="T4" fmla="*/ 464 w 488"/>
                  <a:gd name="T5" fmla="*/ 281 h 281"/>
                  <a:gd name="T6" fmla="*/ 488 w 488"/>
                  <a:gd name="T7" fmla="*/ 267 h 281"/>
                  <a:gd name="T8" fmla="*/ 23 w 488"/>
                  <a:gd name="T9" fmla="*/ 0 h 281"/>
                </a:gdLst>
                <a:ahLst/>
                <a:cxnLst>
                  <a:cxn ang="0">
                    <a:pos x="T0" y="T1"/>
                  </a:cxn>
                  <a:cxn ang="0">
                    <a:pos x="T2" y="T3"/>
                  </a:cxn>
                  <a:cxn ang="0">
                    <a:pos x="T4" y="T5"/>
                  </a:cxn>
                  <a:cxn ang="0">
                    <a:pos x="T6" y="T7"/>
                  </a:cxn>
                  <a:cxn ang="0">
                    <a:pos x="T8" y="T9"/>
                  </a:cxn>
                </a:cxnLst>
                <a:rect l="0" t="0" r="r" b="b"/>
                <a:pathLst>
                  <a:path w="488" h="281">
                    <a:moveTo>
                      <a:pt x="23" y="0"/>
                    </a:moveTo>
                    <a:lnTo>
                      <a:pt x="0" y="13"/>
                    </a:lnTo>
                    <a:lnTo>
                      <a:pt x="464" y="281"/>
                    </a:lnTo>
                    <a:lnTo>
                      <a:pt x="488" y="267"/>
                    </a:lnTo>
                    <a:lnTo>
                      <a:pt x="2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000" name="iṧḷîḓé"/>
              <p:cNvSpPr/>
              <p:nvPr/>
            </p:nvSpPr>
            <p:spPr bwMode="auto">
              <a:xfrm>
                <a:off x="4102" y="2251"/>
                <a:ext cx="464" cy="317"/>
              </a:xfrm>
              <a:custGeom>
                <a:avLst/>
                <a:gdLst>
                  <a:gd name="T0" fmla="*/ 0 w 464"/>
                  <a:gd name="T1" fmla="*/ 0 h 317"/>
                  <a:gd name="T2" fmla="*/ 0 w 464"/>
                  <a:gd name="T3" fmla="*/ 49 h 317"/>
                  <a:gd name="T4" fmla="*/ 464 w 464"/>
                  <a:gd name="T5" fmla="*/ 317 h 317"/>
                  <a:gd name="T6" fmla="*/ 464 w 464"/>
                  <a:gd name="T7" fmla="*/ 268 h 317"/>
                  <a:gd name="T8" fmla="*/ 0 w 464"/>
                  <a:gd name="T9" fmla="*/ 0 h 317"/>
                </a:gdLst>
                <a:ahLst/>
                <a:cxnLst>
                  <a:cxn ang="0">
                    <a:pos x="T0" y="T1"/>
                  </a:cxn>
                  <a:cxn ang="0">
                    <a:pos x="T2" y="T3"/>
                  </a:cxn>
                  <a:cxn ang="0">
                    <a:pos x="T4" y="T5"/>
                  </a:cxn>
                  <a:cxn ang="0">
                    <a:pos x="T6" y="T7"/>
                  </a:cxn>
                  <a:cxn ang="0">
                    <a:pos x="T8" y="T9"/>
                  </a:cxn>
                </a:cxnLst>
                <a:rect l="0" t="0" r="r" b="b"/>
                <a:pathLst>
                  <a:path w="464" h="317">
                    <a:moveTo>
                      <a:pt x="0" y="0"/>
                    </a:moveTo>
                    <a:lnTo>
                      <a:pt x="0" y="49"/>
                    </a:lnTo>
                    <a:lnTo>
                      <a:pt x="464" y="317"/>
                    </a:lnTo>
                    <a:lnTo>
                      <a:pt x="464" y="268"/>
                    </a:lnTo>
                    <a:lnTo>
                      <a:pt x="0" y="0"/>
                    </a:lnTo>
                    <a:close/>
                  </a:path>
                </a:pathLst>
              </a:custGeom>
              <a:solidFill>
                <a:srgbClr val="DAEEF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grpSp>
        <p:grpSp>
          <p:nvGrpSpPr>
            <p:cNvPr id="40" name="ïṣlîḑé"/>
            <p:cNvGrpSpPr/>
            <p:nvPr/>
          </p:nvGrpSpPr>
          <p:grpSpPr bwMode="auto">
            <a:xfrm>
              <a:off x="3535133" y="3053582"/>
              <a:ext cx="4324749" cy="3095300"/>
              <a:chOff x="1654" y="1616"/>
              <a:chExt cx="3690" cy="2641"/>
            </a:xfrm>
          </p:grpSpPr>
          <p:sp>
            <p:nvSpPr>
              <p:cNvPr id="601" name="îślîďè"/>
              <p:cNvSpPr/>
              <p:nvPr/>
            </p:nvSpPr>
            <p:spPr bwMode="auto">
              <a:xfrm>
                <a:off x="4102" y="2251"/>
                <a:ext cx="464" cy="317"/>
              </a:xfrm>
              <a:custGeom>
                <a:avLst/>
                <a:gdLst>
                  <a:gd name="T0" fmla="*/ 0 w 464"/>
                  <a:gd name="T1" fmla="*/ 0 h 317"/>
                  <a:gd name="T2" fmla="*/ 0 w 464"/>
                  <a:gd name="T3" fmla="*/ 49 h 317"/>
                  <a:gd name="T4" fmla="*/ 464 w 464"/>
                  <a:gd name="T5" fmla="*/ 317 h 317"/>
                  <a:gd name="T6" fmla="*/ 464 w 464"/>
                  <a:gd name="T7" fmla="*/ 268 h 317"/>
                  <a:gd name="T8" fmla="*/ 0 w 464"/>
                  <a:gd name="T9" fmla="*/ 0 h 317"/>
                </a:gdLst>
                <a:ahLst/>
                <a:cxnLst>
                  <a:cxn ang="0">
                    <a:pos x="T0" y="T1"/>
                  </a:cxn>
                  <a:cxn ang="0">
                    <a:pos x="T2" y="T3"/>
                  </a:cxn>
                  <a:cxn ang="0">
                    <a:pos x="T4" y="T5"/>
                  </a:cxn>
                  <a:cxn ang="0">
                    <a:pos x="T6" y="T7"/>
                  </a:cxn>
                  <a:cxn ang="0">
                    <a:pos x="T8" y="T9"/>
                  </a:cxn>
                </a:cxnLst>
                <a:rect l="0" t="0" r="r" b="b"/>
                <a:pathLst>
                  <a:path w="464" h="317">
                    <a:moveTo>
                      <a:pt x="0" y="0"/>
                    </a:moveTo>
                    <a:lnTo>
                      <a:pt x="0" y="49"/>
                    </a:lnTo>
                    <a:lnTo>
                      <a:pt x="464" y="317"/>
                    </a:lnTo>
                    <a:lnTo>
                      <a:pt x="464" y="26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02" name="î$lïḓê"/>
              <p:cNvSpPr/>
              <p:nvPr/>
            </p:nvSpPr>
            <p:spPr bwMode="auto">
              <a:xfrm>
                <a:off x="4102" y="2251"/>
                <a:ext cx="464" cy="317"/>
              </a:xfrm>
              <a:custGeom>
                <a:avLst/>
                <a:gdLst>
                  <a:gd name="T0" fmla="*/ 0 w 464"/>
                  <a:gd name="T1" fmla="*/ 0 h 317"/>
                  <a:gd name="T2" fmla="*/ 0 w 464"/>
                  <a:gd name="T3" fmla="*/ 49 h 317"/>
                  <a:gd name="T4" fmla="*/ 464 w 464"/>
                  <a:gd name="T5" fmla="*/ 317 h 317"/>
                  <a:gd name="T6" fmla="*/ 464 w 464"/>
                  <a:gd name="T7" fmla="*/ 268 h 317"/>
                  <a:gd name="T8" fmla="*/ 0 w 464"/>
                  <a:gd name="T9" fmla="*/ 0 h 317"/>
                </a:gdLst>
                <a:ahLst/>
                <a:cxnLst>
                  <a:cxn ang="0">
                    <a:pos x="T0" y="T1"/>
                  </a:cxn>
                  <a:cxn ang="0">
                    <a:pos x="T2" y="T3"/>
                  </a:cxn>
                  <a:cxn ang="0">
                    <a:pos x="T4" y="T5"/>
                  </a:cxn>
                  <a:cxn ang="0">
                    <a:pos x="T6" y="T7"/>
                  </a:cxn>
                  <a:cxn ang="0">
                    <a:pos x="T8" y="T9"/>
                  </a:cxn>
                </a:cxnLst>
                <a:rect l="0" t="0" r="r" b="b"/>
                <a:pathLst>
                  <a:path w="464" h="317">
                    <a:moveTo>
                      <a:pt x="0" y="0"/>
                    </a:moveTo>
                    <a:lnTo>
                      <a:pt x="0" y="49"/>
                    </a:lnTo>
                    <a:lnTo>
                      <a:pt x="464" y="317"/>
                    </a:lnTo>
                    <a:lnTo>
                      <a:pt x="464" y="268"/>
                    </a:lnTo>
                    <a:lnTo>
                      <a:pt x="0" y="0"/>
                    </a:lnTo>
                    <a:close/>
                  </a:path>
                </a:pathLst>
              </a:custGeom>
              <a:solidFill>
                <a:srgbClr val="909193"/>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03" name="ís1íďe"/>
              <p:cNvSpPr/>
              <p:nvPr/>
            </p:nvSpPr>
            <p:spPr bwMode="auto">
              <a:xfrm>
                <a:off x="4102" y="2251"/>
                <a:ext cx="464" cy="317"/>
              </a:xfrm>
              <a:custGeom>
                <a:avLst/>
                <a:gdLst>
                  <a:gd name="T0" fmla="*/ 0 w 464"/>
                  <a:gd name="T1" fmla="*/ 0 h 317"/>
                  <a:gd name="T2" fmla="*/ 0 w 464"/>
                  <a:gd name="T3" fmla="*/ 49 h 317"/>
                  <a:gd name="T4" fmla="*/ 464 w 464"/>
                  <a:gd name="T5" fmla="*/ 317 h 317"/>
                  <a:gd name="T6" fmla="*/ 464 w 464"/>
                  <a:gd name="T7" fmla="*/ 268 h 317"/>
                  <a:gd name="T8" fmla="*/ 0 w 464"/>
                  <a:gd name="T9" fmla="*/ 0 h 317"/>
                </a:gdLst>
                <a:ahLst/>
                <a:cxnLst>
                  <a:cxn ang="0">
                    <a:pos x="T0" y="T1"/>
                  </a:cxn>
                  <a:cxn ang="0">
                    <a:pos x="T2" y="T3"/>
                  </a:cxn>
                  <a:cxn ang="0">
                    <a:pos x="T4" y="T5"/>
                  </a:cxn>
                  <a:cxn ang="0">
                    <a:pos x="T6" y="T7"/>
                  </a:cxn>
                  <a:cxn ang="0">
                    <a:pos x="T8" y="T9"/>
                  </a:cxn>
                </a:cxnLst>
                <a:rect l="0" t="0" r="r" b="b"/>
                <a:pathLst>
                  <a:path w="464" h="317">
                    <a:moveTo>
                      <a:pt x="0" y="0"/>
                    </a:moveTo>
                    <a:lnTo>
                      <a:pt x="0" y="49"/>
                    </a:lnTo>
                    <a:lnTo>
                      <a:pt x="464" y="317"/>
                    </a:lnTo>
                    <a:lnTo>
                      <a:pt x="464" y="26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04" name="ïšliḓe"/>
              <p:cNvSpPr/>
              <p:nvPr/>
            </p:nvSpPr>
            <p:spPr bwMode="auto">
              <a:xfrm>
                <a:off x="4566" y="2507"/>
                <a:ext cx="24" cy="61"/>
              </a:xfrm>
              <a:custGeom>
                <a:avLst/>
                <a:gdLst>
                  <a:gd name="T0" fmla="*/ 24 w 24"/>
                  <a:gd name="T1" fmla="*/ 0 h 61"/>
                  <a:gd name="T2" fmla="*/ 0 w 24"/>
                  <a:gd name="T3" fmla="*/ 12 h 61"/>
                  <a:gd name="T4" fmla="*/ 0 w 24"/>
                  <a:gd name="T5" fmla="*/ 61 h 61"/>
                  <a:gd name="T6" fmla="*/ 22 w 24"/>
                  <a:gd name="T7" fmla="*/ 47 h 61"/>
                  <a:gd name="T8" fmla="*/ 24 w 24"/>
                  <a:gd name="T9" fmla="*/ 0 h 61"/>
                </a:gdLst>
                <a:ahLst/>
                <a:cxnLst>
                  <a:cxn ang="0">
                    <a:pos x="T0" y="T1"/>
                  </a:cxn>
                  <a:cxn ang="0">
                    <a:pos x="T2" y="T3"/>
                  </a:cxn>
                  <a:cxn ang="0">
                    <a:pos x="T4" y="T5"/>
                  </a:cxn>
                  <a:cxn ang="0">
                    <a:pos x="T6" y="T7"/>
                  </a:cxn>
                  <a:cxn ang="0">
                    <a:pos x="T8" y="T9"/>
                  </a:cxn>
                </a:cxnLst>
                <a:rect l="0" t="0" r="r" b="b"/>
                <a:pathLst>
                  <a:path w="24" h="61">
                    <a:moveTo>
                      <a:pt x="24" y="0"/>
                    </a:moveTo>
                    <a:lnTo>
                      <a:pt x="0" y="12"/>
                    </a:lnTo>
                    <a:lnTo>
                      <a:pt x="0" y="61"/>
                    </a:lnTo>
                    <a:lnTo>
                      <a:pt x="22" y="47"/>
                    </a:lnTo>
                    <a:lnTo>
                      <a:pt x="24" y="0"/>
                    </a:lnTo>
                    <a:close/>
                  </a:path>
                </a:pathLst>
              </a:custGeom>
              <a:solidFill>
                <a:srgbClr val="DAEEF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05" name="iś1iḓe"/>
              <p:cNvSpPr/>
              <p:nvPr/>
            </p:nvSpPr>
            <p:spPr bwMode="auto">
              <a:xfrm>
                <a:off x="4566" y="2507"/>
                <a:ext cx="24" cy="61"/>
              </a:xfrm>
              <a:custGeom>
                <a:avLst/>
                <a:gdLst>
                  <a:gd name="T0" fmla="*/ 24 w 24"/>
                  <a:gd name="T1" fmla="*/ 0 h 61"/>
                  <a:gd name="T2" fmla="*/ 0 w 24"/>
                  <a:gd name="T3" fmla="*/ 12 h 61"/>
                  <a:gd name="T4" fmla="*/ 0 w 24"/>
                  <a:gd name="T5" fmla="*/ 61 h 61"/>
                  <a:gd name="T6" fmla="*/ 22 w 24"/>
                  <a:gd name="T7" fmla="*/ 47 h 61"/>
                  <a:gd name="T8" fmla="*/ 24 w 24"/>
                  <a:gd name="T9" fmla="*/ 0 h 61"/>
                </a:gdLst>
                <a:ahLst/>
                <a:cxnLst>
                  <a:cxn ang="0">
                    <a:pos x="T0" y="T1"/>
                  </a:cxn>
                  <a:cxn ang="0">
                    <a:pos x="T2" y="T3"/>
                  </a:cxn>
                  <a:cxn ang="0">
                    <a:pos x="T4" y="T5"/>
                  </a:cxn>
                  <a:cxn ang="0">
                    <a:pos x="T6" y="T7"/>
                  </a:cxn>
                  <a:cxn ang="0">
                    <a:pos x="T8" y="T9"/>
                  </a:cxn>
                </a:cxnLst>
                <a:rect l="0" t="0" r="r" b="b"/>
                <a:pathLst>
                  <a:path w="24" h="61">
                    <a:moveTo>
                      <a:pt x="24" y="0"/>
                    </a:moveTo>
                    <a:lnTo>
                      <a:pt x="0" y="12"/>
                    </a:lnTo>
                    <a:lnTo>
                      <a:pt x="0" y="61"/>
                    </a:lnTo>
                    <a:lnTo>
                      <a:pt x="22" y="47"/>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06" name="îṧḷïďe"/>
              <p:cNvSpPr/>
              <p:nvPr/>
            </p:nvSpPr>
            <p:spPr bwMode="auto">
              <a:xfrm>
                <a:off x="4566" y="2507"/>
                <a:ext cx="24" cy="61"/>
              </a:xfrm>
              <a:custGeom>
                <a:avLst/>
                <a:gdLst>
                  <a:gd name="T0" fmla="*/ 24 w 24"/>
                  <a:gd name="T1" fmla="*/ 0 h 61"/>
                  <a:gd name="T2" fmla="*/ 0 w 24"/>
                  <a:gd name="T3" fmla="*/ 12 h 61"/>
                  <a:gd name="T4" fmla="*/ 0 w 24"/>
                  <a:gd name="T5" fmla="*/ 61 h 61"/>
                  <a:gd name="T6" fmla="*/ 22 w 24"/>
                  <a:gd name="T7" fmla="*/ 47 h 61"/>
                  <a:gd name="T8" fmla="*/ 24 w 24"/>
                  <a:gd name="T9" fmla="*/ 0 h 61"/>
                </a:gdLst>
                <a:ahLst/>
                <a:cxnLst>
                  <a:cxn ang="0">
                    <a:pos x="T0" y="T1"/>
                  </a:cxn>
                  <a:cxn ang="0">
                    <a:pos x="T2" y="T3"/>
                  </a:cxn>
                  <a:cxn ang="0">
                    <a:pos x="T4" y="T5"/>
                  </a:cxn>
                  <a:cxn ang="0">
                    <a:pos x="T6" y="T7"/>
                  </a:cxn>
                  <a:cxn ang="0">
                    <a:pos x="T8" y="T9"/>
                  </a:cxn>
                </a:cxnLst>
                <a:rect l="0" t="0" r="r" b="b"/>
                <a:pathLst>
                  <a:path w="24" h="61">
                    <a:moveTo>
                      <a:pt x="24" y="0"/>
                    </a:moveTo>
                    <a:lnTo>
                      <a:pt x="0" y="12"/>
                    </a:lnTo>
                    <a:lnTo>
                      <a:pt x="0" y="61"/>
                    </a:lnTo>
                    <a:lnTo>
                      <a:pt x="22" y="47"/>
                    </a:lnTo>
                    <a:lnTo>
                      <a:pt x="24" y="0"/>
                    </a:lnTo>
                    <a:close/>
                  </a:path>
                </a:pathLst>
              </a:custGeom>
              <a:solidFill>
                <a:srgbClr val="75808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07" name="iṧļiḑè"/>
              <p:cNvSpPr/>
              <p:nvPr/>
            </p:nvSpPr>
            <p:spPr bwMode="auto">
              <a:xfrm>
                <a:off x="4566" y="2507"/>
                <a:ext cx="24" cy="61"/>
              </a:xfrm>
              <a:custGeom>
                <a:avLst/>
                <a:gdLst>
                  <a:gd name="T0" fmla="*/ 24 w 24"/>
                  <a:gd name="T1" fmla="*/ 0 h 61"/>
                  <a:gd name="T2" fmla="*/ 0 w 24"/>
                  <a:gd name="T3" fmla="*/ 12 h 61"/>
                  <a:gd name="T4" fmla="*/ 0 w 24"/>
                  <a:gd name="T5" fmla="*/ 61 h 61"/>
                  <a:gd name="T6" fmla="*/ 22 w 24"/>
                  <a:gd name="T7" fmla="*/ 47 h 61"/>
                  <a:gd name="T8" fmla="*/ 24 w 24"/>
                  <a:gd name="T9" fmla="*/ 0 h 61"/>
                </a:gdLst>
                <a:ahLst/>
                <a:cxnLst>
                  <a:cxn ang="0">
                    <a:pos x="T0" y="T1"/>
                  </a:cxn>
                  <a:cxn ang="0">
                    <a:pos x="T2" y="T3"/>
                  </a:cxn>
                  <a:cxn ang="0">
                    <a:pos x="T4" y="T5"/>
                  </a:cxn>
                  <a:cxn ang="0">
                    <a:pos x="T6" y="T7"/>
                  </a:cxn>
                  <a:cxn ang="0">
                    <a:pos x="T8" y="T9"/>
                  </a:cxn>
                </a:cxnLst>
                <a:rect l="0" t="0" r="r" b="b"/>
                <a:pathLst>
                  <a:path w="24" h="61">
                    <a:moveTo>
                      <a:pt x="24" y="0"/>
                    </a:moveTo>
                    <a:lnTo>
                      <a:pt x="0" y="12"/>
                    </a:lnTo>
                    <a:lnTo>
                      <a:pt x="0" y="61"/>
                    </a:lnTo>
                    <a:lnTo>
                      <a:pt x="22" y="47"/>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08" name="îśľiďê"/>
              <p:cNvSpPr/>
              <p:nvPr/>
            </p:nvSpPr>
            <p:spPr bwMode="auto">
              <a:xfrm>
                <a:off x="4102" y="2237"/>
                <a:ext cx="488" cy="282"/>
              </a:xfrm>
              <a:custGeom>
                <a:avLst/>
                <a:gdLst>
                  <a:gd name="T0" fmla="*/ 23 w 488"/>
                  <a:gd name="T1" fmla="*/ 0 h 282"/>
                  <a:gd name="T2" fmla="*/ 0 w 488"/>
                  <a:gd name="T3" fmla="*/ 14 h 282"/>
                  <a:gd name="T4" fmla="*/ 464 w 488"/>
                  <a:gd name="T5" fmla="*/ 282 h 282"/>
                  <a:gd name="T6" fmla="*/ 488 w 488"/>
                  <a:gd name="T7" fmla="*/ 270 h 282"/>
                  <a:gd name="T8" fmla="*/ 23 w 488"/>
                  <a:gd name="T9" fmla="*/ 0 h 282"/>
                </a:gdLst>
                <a:ahLst/>
                <a:cxnLst>
                  <a:cxn ang="0">
                    <a:pos x="T0" y="T1"/>
                  </a:cxn>
                  <a:cxn ang="0">
                    <a:pos x="T2" y="T3"/>
                  </a:cxn>
                  <a:cxn ang="0">
                    <a:pos x="T4" y="T5"/>
                  </a:cxn>
                  <a:cxn ang="0">
                    <a:pos x="T6" y="T7"/>
                  </a:cxn>
                  <a:cxn ang="0">
                    <a:pos x="T8" y="T9"/>
                  </a:cxn>
                </a:cxnLst>
                <a:rect l="0" t="0" r="r" b="b"/>
                <a:pathLst>
                  <a:path w="488" h="282">
                    <a:moveTo>
                      <a:pt x="23" y="0"/>
                    </a:moveTo>
                    <a:lnTo>
                      <a:pt x="0" y="14"/>
                    </a:lnTo>
                    <a:lnTo>
                      <a:pt x="464" y="282"/>
                    </a:lnTo>
                    <a:lnTo>
                      <a:pt x="488" y="270"/>
                    </a:lnTo>
                    <a:lnTo>
                      <a:pt x="23" y="0"/>
                    </a:lnTo>
                    <a:close/>
                  </a:path>
                </a:pathLst>
              </a:custGeom>
              <a:solidFill>
                <a:srgbClr val="DAEEF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09" name="íṧḻîḓê"/>
              <p:cNvSpPr/>
              <p:nvPr/>
            </p:nvSpPr>
            <p:spPr bwMode="auto">
              <a:xfrm>
                <a:off x="4102" y="2237"/>
                <a:ext cx="488" cy="282"/>
              </a:xfrm>
              <a:custGeom>
                <a:avLst/>
                <a:gdLst>
                  <a:gd name="T0" fmla="*/ 23 w 488"/>
                  <a:gd name="T1" fmla="*/ 0 h 282"/>
                  <a:gd name="T2" fmla="*/ 0 w 488"/>
                  <a:gd name="T3" fmla="*/ 14 h 282"/>
                  <a:gd name="T4" fmla="*/ 464 w 488"/>
                  <a:gd name="T5" fmla="*/ 282 h 282"/>
                  <a:gd name="T6" fmla="*/ 488 w 488"/>
                  <a:gd name="T7" fmla="*/ 270 h 282"/>
                  <a:gd name="T8" fmla="*/ 23 w 488"/>
                  <a:gd name="T9" fmla="*/ 0 h 282"/>
                </a:gdLst>
                <a:ahLst/>
                <a:cxnLst>
                  <a:cxn ang="0">
                    <a:pos x="T0" y="T1"/>
                  </a:cxn>
                  <a:cxn ang="0">
                    <a:pos x="T2" y="T3"/>
                  </a:cxn>
                  <a:cxn ang="0">
                    <a:pos x="T4" y="T5"/>
                  </a:cxn>
                  <a:cxn ang="0">
                    <a:pos x="T6" y="T7"/>
                  </a:cxn>
                  <a:cxn ang="0">
                    <a:pos x="T8" y="T9"/>
                  </a:cxn>
                </a:cxnLst>
                <a:rect l="0" t="0" r="r" b="b"/>
                <a:pathLst>
                  <a:path w="488" h="282">
                    <a:moveTo>
                      <a:pt x="23" y="0"/>
                    </a:moveTo>
                    <a:lnTo>
                      <a:pt x="0" y="14"/>
                    </a:lnTo>
                    <a:lnTo>
                      <a:pt x="464" y="282"/>
                    </a:lnTo>
                    <a:lnTo>
                      <a:pt x="488" y="270"/>
                    </a:lnTo>
                    <a:lnTo>
                      <a:pt x="2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10" name="íṥļiḍé"/>
              <p:cNvSpPr/>
              <p:nvPr/>
            </p:nvSpPr>
            <p:spPr bwMode="auto">
              <a:xfrm>
                <a:off x="4102" y="2237"/>
                <a:ext cx="488" cy="282"/>
              </a:xfrm>
              <a:custGeom>
                <a:avLst/>
                <a:gdLst>
                  <a:gd name="T0" fmla="*/ 23 w 488"/>
                  <a:gd name="T1" fmla="*/ 0 h 282"/>
                  <a:gd name="T2" fmla="*/ 0 w 488"/>
                  <a:gd name="T3" fmla="*/ 14 h 282"/>
                  <a:gd name="T4" fmla="*/ 464 w 488"/>
                  <a:gd name="T5" fmla="*/ 282 h 282"/>
                  <a:gd name="T6" fmla="*/ 488 w 488"/>
                  <a:gd name="T7" fmla="*/ 270 h 282"/>
                  <a:gd name="T8" fmla="*/ 23 w 488"/>
                  <a:gd name="T9" fmla="*/ 0 h 282"/>
                </a:gdLst>
                <a:ahLst/>
                <a:cxnLst>
                  <a:cxn ang="0">
                    <a:pos x="T0" y="T1"/>
                  </a:cxn>
                  <a:cxn ang="0">
                    <a:pos x="T2" y="T3"/>
                  </a:cxn>
                  <a:cxn ang="0">
                    <a:pos x="T4" y="T5"/>
                  </a:cxn>
                  <a:cxn ang="0">
                    <a:pos x="T6" y="T7"/>
                  </a:cxn>
                  <a:cxn ang="0">
                    <a:pos x="T8" y="T9"/>
                  </a:cxn>
                </a:cxnLst>
                <a:rect l="0" t="0" r="r" b="b"/>
                <a:pathLst>
                  <a:path w="488" h="282">
                    <a:moveTo>
                      <a:pt x="23" y="0"/>
                    </a:moveTo>
                    <a:lnTo>
                      <a:pt x="0" y="14"/>
                    </a:lnTo>
                    <a:lnTo>
                      <a:pt x="464" y="282"/>
                    </a:lnTo>
                    <a:lnTo>
                      <a:pt x="488" y="270"/>
                    </a:lnTo>
                    <a:lnTo>
                      <a:pt x="23" y="0"/>
                    </a:lnTo>
                    <a:close/>
                  </a:path>
                </a:pathLst>
              </a:custGeom>
              <a:solidFill>
                <a:srgbClr val="ADB5B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11" name="iṥľíḋe"/>
              <p:cNvSpPr/>
              <p:nvPr/>
            </p:nvSpPr>
            <p:spPr bwMode="auto">
              <a:xfrm>
                <a:off x="4102" y="2237"/>
                <a:ext cx="488" cy="282"/>
              </a:xfrm>
              <a:custGeom>
                <a:avLst/>
                <a:gdLst>
                  <a:gd name="T0" fmla="*/ 23 w 488"/>
                  <a:gd name="T1" fmla="*/ 0 h 282"/>
                  <a:gd name="T2" fmla="*/ 0 w 488"/>
                  <a:gd name="T3" fmla="*/ 14 h 282"/>
                  <a:gd name="T4" fmla="*/ 464 w 488"/>
                  <a:gd name="T5" fmla="*/ 282 h 282"/>
                  <a:gd name="T6" fmla="*/ 488 w 488"/>
                  <a:gd name="T7" fmla="*/ 270 h 282"/>
                  <a:gd name="T8" fmla="*/ 23 w 488"/>
                  <a:gd name="T9" fmla="*/ 0 h 282"/>
                </a:gdLst>
                <a:ahLst/>
                <a:cxnLst>
                  <a:cxn ang="0">
                    <a:pos x="T0" y="T1"/>
                  </a:cxn>
                  <a:cxn ang="0">
                    <a:pos x="T2" y="T3"/>
                  </a:cxn>
                  <a:cxn ang="0">
                    <a:pos x="T4" y="T5"/>
                  </a:cxn>
                  <a:cxn ang="0">
                    <a:pos x="T6" y="T7"/>
                  </a:cxn>
                  <a:cxn ang="0">
                    <a:pos x="T8" y="T9"/>
                  </a:cxn>
                </a:cxnLst>
                <a:rect l="0" t="0" r="r" b="b"/>
                <a:pathLst>
                  <a:path w="488" h="282">
                    <a:moveTo>
                      <a:pt x="23" y="0"/>
                    </a:moveTo>
                    <a:lnTo>
                      <a:pt x="0" y="14"/>
                    </a:lnTo>
                    <a:lnTo>
                      <a:pt x="464" y="282"/>
                    </a:lnTo>
                    <a:lnTo>
                      <a:pt x="488" y="270"/>
                    </a:lnTo>
                    <a:lnTo>
                      <a:pt x="2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12" name="íŝlïḋe"/>
              <p:cNvSpPr/>
              <p:nvPr/>
            </p:nvSpPr>
            <p:spPr bwMode="auto">
              <a:xfrm>
                <a:off x="4102" y="2349"/>
                <a:ext cx="464" cy="316"/>
              </a:xfrm>
              <a:custGeom>
                <a:avLst/>
                <a:gdLst>
                  <a:gd name="T0" fmla="*/ 0 w 464"/>
                  <a:gd name="T1" fmla="*/ 0 h 316"/>
                  <a:gd name="T2" fmla="*/ 0 w 464"/>
                  <a:gd name="T3" fmla="*/ 48 h 316"/>
                  <a:gd name="T4" fmla="*/ 464 w 464"/>
                  <a:gd name="T5" fmla="*/ 316 h 316"/>
                  <a:gd name="T6" fmla="*/ 464 w 464"/>
                  <a:gd name="T7" fmla="*/ 268 h 316"/>
                  <a:gd name="T8" fmla="*/ 0 w 464"/>
                  <a:gd name="T9" fmla="*/ 0 h 316"/>
                </a:gdLst>
                <a:ahLst/>
                <a:cxnLst>
                  <a:cxn ang="0">
                    <a:pos x="T0" y="T1"/>
                  </a:cxn>
                  <a:cxn ang="0">
                    <a:pos x="T2" y="T3"/>
                  </a:cxn>
                  <a:cxn ang="0">
                    <a:pos x="T4" y="T5"/>
                  </a:cxn>
                  <a:cxn ang="0">
                    <a:pos x="T6" y="T7"/>
                  </a:cxn>
                  <a:cxn ang="0">
                    <a:pos x="T8" y="T9"/>
                  </a:cxn>
                </a:cxnLst>
                <a:rect l="0" t="0" r="r" b="b"/>
                <a:pathLst>
                  <a:path w="464" h="316">
                    <a:moveTo>
                      <a:pt x="0" y="0"/>
                    </a:moveTo>
                    <a:lnTo>
                      <a:pt x="0" y="48"/>
                    </a:lnTo>
                    <a:lnTo>
                      <a:pt x="464" y="316"/>
                    </a:lnTo>
                    <a:lnTo>
                      <a:pt x="464" y="268"/>
                    </a:lnTo>
                    <a:lnTo>
                      <a:pt x="0" y="0"/>
                    </a:lnTo>
                    <a:close/>
                  </a:path>
                </a:pathLst>
              </a:custGeom>
              <a:solidFill>
                <a:srgbClr val="DAEEF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13" name="îŝľiḍè"/>
              <p:cNvSpPr/>
              <p:nvPr/>
            </p:nvSpPr>
            <p:spPr bwMode="auto">
              <a:xfrm>
                <a:off x="4102" y="2349"/>
                <a:ext cx="464" cy="316"/>
              </a:xfrm>
              <a:custGeom>
                <a:avLst/>
                <a:gdLst>
                  <a:gd name="T0" fmla="*/ 0 w 464"/>
                  <a:gd name="T1" fmla="*/ 0 h 316"/>
                  <a:gd name="T2" fmla="*/ 0 w 464"/>
                  <a:gd name="T3" fmla="*/ 48 h 316"/>
                  <a:gd name="T4" fmla="*/ 464 w 464"/>
                  <a:gd name="T5" fmla="*/ 316 h 316"/>
                  <a:gd name="T6" fmla="*/ 464 w 464"/>
                  <a:gd name="T7" fmla="*/ 268 h 316"/>
                  <a:gd name="T8" fmla="*/ 0 w 464"/>
                  <a:gd name="T9" fmla="*/ 0 h 316"/>
                </a:gdLst>
                <a:ahLst/>
                <a:cxnLst>
                  <a:cxn ang="0">
                    <a:pos x="T0" y="T1"/>
                  </a:cxn>
                  <a:cxn ang="0">
                    <a:pos x="T2" y="T3"/>
                  </a:cxn>
                  <a:cxn ang="0">
                    <a:pos x="T4" y="T5"/>
                  </a:cxn>
                  <a:cxn ang="0">
                    <a:pos x="T6" y="T7"/>
                  </a:cxn>
                  <a:cxn ang="0">
                    <a:pos x="T8" y="T9"/>
                  </a:cxn>
                </a:cxnLst>
                <a:rect l="0" t="0" r="r" b="b"/>
                <a:pathLst>
                  <a:path w="464" h="316">
                    <a:moveTo>
                      <a:pt x="0" y="0"/>
                    </a:moveTo>
                    <a:lnTo>
                      <a:pt x="0" y="48"/>
                    </a:lnTo>
                    <a:lnTo>
                      <a:pt x="464" y="316"/>
                    </a:lnTo>
                    <a:lnTo>
                      <a:pt x="464" y="26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14" name="ïşľíḓê"/>
              <p:cNvSpPr/>
              <p:nvPr/>
            </p:nvSpPr>
            <p:spPr bwMode="auto">
              <a:xfrm>
                <a:off x="4102" y="2349"/>
                <a:ext cx="464" cy="316"/>
              </a:xfrm>
              <a:custGeom>
                <a:avLst/>
                <a:gdLst>
                  <a:gd name="T0" fmla="*/ 0 w 464"/>
                  <a:gd name="T1" fmla="*/ 0 h 316"/>
                  <a:gd name="T2" fmla="*/ 0 w 464"/>
                  <a:gd name="T3" fmla="*/ 48 h 316"/>
                  <a:gd name="T4" fmla="*/ 464 w 464"/>
                  <a:gd name="T5" fmla="*/ 316 h 316"/>
                  <a:gd name="T6" fmla="*/ 464 w 464"/>
                  <a:gd name="T7" fmla="*/ 268 h 316"/>
                  <a:gd name="T8" fmla="*/ 0 w 464"/>
                  <a:gd name="T9" fmla="*/ 0 h 316"/>
                </a:gdLst>
                <a:ahLst/>
                <a:cxnLst>
                  <a:cxn ang="0">
                    <a:pos x="T0" y="T1"/>
                  </a:cxn>
                  <a:cxn ang="0">
                    <a:pos x="T2" y="T3"/>
                  </a:cxn>
                  <a:cxn ang="0">
                    <a:pos x="T4" y="T5"/>
                  </a:cxn>
                  <a:cxn ang="0">
                    <a:pos x="T6" y="T7"/>
                  </a:cxn>
                  <a:cxn ang="0">
                    <a:pos x="T8" y="T9"/>
                  </a:cxn>
                </a:cxnLst>
                <a:rect l="0" t="0" r="r" b="b"/>
                <a:pathLst>
                  <a:path w="464" h="316">
                    <a:moveTo>
                      <a:pt x="0" y="0"/>
                    </a:moveTo>
                    <a:lnTo>
                      <a:pt x="0" y="48"/>
                    </a:lnTo>
                    <a:lnTo>
                      <a:pt x="464" y="316"/>
                    </a:lnTo>
                    <a:lnTo>
                      <a:pt x="464" y="268"/>
                    </a:lnTo>
                    <a:lnTo>
                      <a:pt x="0" y="0"/>
                    </a:lnTo>
                    <a:close/>
                  </a:path>
                </a:pathLst>
              </a:custGeom>
              <a:solidFill>
                <a:srgbClr val="909193"/>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15" name="is1ïḍè"/>
              <p:cNvSpPr/>
              <p:nvPr/>
            </p:nvSpPr>
            <p:spPr bwMode="auto">
              <a:xfrm>
                <a:off x="4102" y="2349"/>
                <a:ext cx="464" cy="316"/>
              </a:xfrm>
              <a:custGeom>
                <a:avLst/>
                <a:gdLst>
                  <a:gd name="T0" fmla="*/ 0 w 464"/>
                  <a:gd name="T1" fmla="*/ 0 h 316"/>
                  <a:gd name="T2" fmla="*/ 0 w 464"/>
                  <a:gd name="T3" fmla="*/ 48 h 316"/>
                  <a:gd name="T4" fmla="*/ 464 w 464"/>
                  <a:gd name="T5" fmla="*/ 316 h 316"/>
                  <a:gd name="T6" fmla="*/ 464 w 464"/>
                  <a:gd name="T7" fmla="*/ 268 h 316"/>
                  <a:gd name="T8" fmla="*/ 0 w 464"/>
                  <a:gd name="T9" fmla="*/ 0 h 316"/>
                </a:gdLst>
                <a:ahLst/>
                <a:cxnLst>
                  <a:cxn ang="0">
                    <a:pos x="T0" y="T1"/>
                  </a:cxn>
                  <a:cxn ang="0">
                    <a:pos x="T2" y="T3"/>
                  </a:cxn>
                  <a:cxn ang="0">
                    <a:pos x="T4" y="T5"/>
                  </a:cxn>
                  <a:cxn ang="0">
                    <a:pos x="T6" y="T7"/>
                  </a:cxn>
                  <a:cxn ang="0">
                    <a:pos x="T8" y="T9"/>
                  </a:cxn>
                </a:cxnLst>
                <a:rect l="0" t="0" r="r" b="b"/>
                <a:pathLst>
                  <a:path w="464" h="316">
                    <a:moveTo>
                      <a:pt x="0" y="0"/>
                    </a:moveTo>
                    <a:lnTo>
                      <a:pt x="0" y="48"/>
                    </a:lnTo>
                    <a:lnTo>
                      <a:pt x="464" y="316"/>
                    </a:lnTo>
                    <a:lnTo>
                      <a:pt x="464" y="26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16" name="î$lïďê"/>
              <p:cNvSpPr/>
              <p:nvPr/>
            </p:nvSpPr>
            <p:spPr bwMode="auto">
              <a:xfrm>
                <a:off x="4566" y="2604"/>
                <a:ext cx="24" cy="61"/>
              </a:xfrm>
              <a:custGeom>
                <a:avLst/>
                <a:gdLst>
                  <a:gd name="T0" fmla="*/ 24 w 24"/>
                  <a:gd name="T1" fmla="*/ 0 h 61"/>
                  <a:gd name="T2" fmla="*/ 0 w 24"/>
                  <a:gd name="T3" fmla="*/ 13 h 61"/>
                  <a:gd name="T4" fmla="*/ 0 w 24"/>
                  <a:gd name="T5" fmla="*/ 61 h 61"/>
                  <a:gd name="T6" fmla="*/ 22 w 24"/>
                  <a:gd name="T7" fmla="*/ 49 h 61"/>
                  <a:gd name="T8" fmla="*/ 24 w 24"/>
                  <a:gd name="T9" fmla="*/ 0 h 61"/>
                </a:gdLst>
                <a:ahLst/>
                <a:cxnLst>
                  <a:cxn ang="0">
                    <a:pos x="T0" y="T1"/>
                  </a:cxn>
                  <a:cxn ang="0">
                    <a:pos x="T2" y="T3"/>
                  </a:cxn>
                  <a:cxn ang="0">
                    <a:pos x="T4" y="T5"/>
                  </a:cxn>
                  <a:cxn ang="0">
                    <a:pos x="T6" y="T7"/>
                  </a:cxn>
                  <a:cxn ang="0">
                    <a:pos x="T8" y="T9"/>
                  </a:cxn>
                </a:cxnLst>
                <a:rect l="0" t="0" r="r" b="b"/>
                <a:pathLst>
                  <a:path w="24" h="61">
                    <a:moveTo>
                      <a:pt x="24" y="0"/>
                    </a:moveTo>
                    <a:lnTo>
                      <a:pt x="0" y="13"/>
                    </a:lnTo>
                    <a:lnTo>
                      <a:pt x="0" y="61"/>
                    </a:lnTo>
                    <a:lnTo>
                      <a:pt x="22" y="49"/>
                    </a:lnTo>
                    <a:lnTo>
                      <a:pt x="24" y="0"/>
                    </a:lnTo>
                    <a:close/>
                  </a:path>
                </a:pathLst>
              </a:custGeom>
              <a:solidFill>
                <a:srgbClr val="DAEEF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17" name="ïś1íďe"/>
              <p:cNvSpPr/>
              <p:nvPr/>
            </p:nvSpPr>
            <p:spPr bwMode="auto">
              <a:xfrm>
                <a:off x="4566" y="2604"/>
                <a:ext cx="24" cy="61"/>
              </a:xfrm>
              <a:custGeom>
                <a:avLst/>
                <a:gdLst>
                  <a:gd name="T0" fmla="*/ 24 w 24"/>
                  <a:gd name="T1" fmla="*/ 0 h 61"/>
                  <a:gd name="T2" fmla="*/ 0 w 24"/>
                  <a:gd name="T3" fmla="*/ 13 h 61"/>
                  <a:gd name="T4" fmla="*/ 0 w 24"/>
                  <a:gd name="T5" fmla="*/ 61 h 61"/>
                  <a:gd name="T6" fmla="*/ 22 w 24"/>
                  <a:gd name="T7" fmla="*/ 49 h 61"/>
                  <a:gd name="T8" fmla="*/ 24 w 24"/>
                  <a:gd name="T9" fmla="*/ 0 h 61"/>
                </a:gdLst>
                <a:ahLst/>
                <a:cxnLst>
                  <a:cxn ang="0">
                    <a:pos x="T0" y="T1"/>
                  </a:cxn>
                  <a:cxn ang="0">
                    <a:pos x="T2" y="T3"/>
                  </a:cxn>
                  <a:cxn ang="0">
                    <a:pos x="T4" y="T5"/>
                  </a:cxn>
                  <a:cxn ang="0">
                    <a:pos x="T6" y="T7"/>
                  </a:cxn>
                  <a:cxn ang="0">
                    <a:pos x="T8" y="T9"/>
                  </a:cxn>
                </a:cxnLst>
                <a:rect l="0" t="0" r="r" b="b"/>
                <a:pathLst>
                  <a:path w="24" h="61">
                    <a:moveTo>
                      <a:pt x="24" y="0"/>
                    </a:moveTo>
                    <a:lnTo>
                      <a:pt x="0" y="13"/>
                    </a:lnTo>
                    <a:lnTo>
                      <a:pt x="0" y="61"/>
                    </a:lnTo>
                    <a:lnTo>
                      <a:pt x="22" y="49"/>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18" name="îṥļïďê"/>
              <p:cNvSpPr/>
              <p:nvPr/>
            </p:nvSpPr>
            <p:spPr bwMode="auto">
              <a:xfrm>
                <a:off x="4566" y="2604"/>
                <a:ext cx="24" cy="61"/>
              </a:xfrm>
              <a:custGeom>
                <a:avLst/>
                <a:gdLst>
                  <a:gd name="T0" fmla="*/ 24 w 24"/>
                  <a:gd name="T1" fmla="*/ 0 h 61"/>
                  <a:gd name="T2" fmla="*/ 0 w 24"/>
                  <a:gd name="T3" fmla="*/ 13 h 61"/>
                  <a:gd name="T4" fmla="*/ 0 w 24"/>
                  <a:gd name="T5" fmla="*/ 61 h 61"/>
                  <a:gd name="T6" fmla="*/ 22 w 24"/>
                  <a:gd name="T7" fmla="*/ 49 h 61"/>
                  <a:gd name="T8" fmla="*/ 24 w 24"/>
                  <a:gd name="T9" fmla="*/ 0 h 61"/>
                </a:gdLst>
                <a:ahLst/>
                <a:cxnLst>
                  <a:cxn ang="0">
                    <a:pos x="T0" y="T1"/>
                  </a:cxn>
                  <a:cxn ang="0">
                    <a:pos x="T2" y="T3"/>
                  </a:cxn>
                  <a:cxn ang="0">
                    <a:pos x="T4" y="T5"/>
                  </a:cxn>
                  <a:cxn ang="0">
                    <a:pos x="T6" y="T7"/>
                  </a:cxn>
                  <a:cxn ang="0">
                    <a:pos x="T8" y="T9"/>
                  </a:cxn>
                </a:cxnLst>
                <a:rect l="0" t="0" r="r" b="b"/>
                <a:pathLst>
                  <a:path w="24" h="61">
                    <a:moveTo>
                      <a:pt x="24" y="0"/>
                    </a:moveTo>
                    <a:lnTo>
                      <a:pt x="0" y="13"/>
                    </a:lnTo>
                    <a:lnTo>
                      <a:pt x="0" y="61"/>
                    </a:lnTo>
                    <a:lnTo>
                      <a:pt x="22" y="49"/>
                    </a:lnTo>
                    <a:lnTo>
                      <a:pt x="24" y="0"/>
                    </a:lnTo>
                    <a:close/>
                  </a:path>
                </a:pathLst>
              </a:custGeom>
              <a:solidFill>
                <a:srgbClr val="75808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19" name="îś1iḋè"/>
              <p:cNvSpPr/>
              <p:nvPr/>
            </p:nvSpPr>
            <p:spPr bwMode="auto">
              <a:xfrm>
                <a:off x="4566" y="2604"/>
                <a:ext cx="24" cy="61"/>
              </a:xfrm>
              <a:custGeom>
                <a:avLst/>
                <a:gdLst>
                  <a:gd name="T0" fmla="*/ 24 w 24"/>
                  <a:gd name="T1" fmla="*/ 0 h 61"/>
                  <a:gd name="T2" fmla="*/ 0 w 24"/>
                  <a:gd name="T3" fmla="*/ 13 h 61"/>
                  <a:gd name="T4" fmla="*/ 0 w 24"/>
                  <a:gd name="T5" fmla="*/ 61 h 61"/>
                  <a:gd name="T6" fmla="*/ 22 w 24"/>
                  <a:gd name="T7" fmla="*/ 49 h 61"/>
                  <a:gd name="T8" fmla="*/ 24 w 24"/>
                  <a:gd name="T9" fmla="*/ 0 h 61"/>
                </a:gdLst>
                <a:ahLst/>
                <a:cxnLst>
                  <a:cxn ang="0">
                    <a:pos x="T0" y="T1"/>
                  </a:cxn>
                  <a:cxn ang="0">
                    <a:pos x="T2" y="T3"/>
                  </a:cxn>
                  <a:cxn ang="0">
                    <a:pos x="T4" y="T5"/>
                  </a:cxn>
                  <a:cxn ang="0">
                    <a:pos x="T6" y="T7"/>
                  </a:cxn>
                  <a:cxn ang="0">
                    <a:pos x="T8" y="T9"/>
                  </a:cxn>
                </a:cxnLst>
                <a:rect l="0" t="0" r="r" b="b"/>
                <a:pathLst>
                  <a:path w="24" h="61">
                    <a:moveTo>
                      <a:pt x="24" y="0"/>
                    </a:moveTo>
                    <a:lnTo>
                      <a:pt x="0" y="13"/>
                    </a:lnTo>
                    <a:lnTo>
                      <a:pt x="0" y="61"/>
                    </a:lnTo>
                    <a:lnTo>
                      <a:pt x="22" y="49"/>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20" name="işḷîḋe"/>
              <p:cNvSpPr/>
              <p:nvPr/>
            </p:nvSpPr>
            <p:spPr bwMode="auto">
              <a:xfrm>
                <a:off x="4102" y="2336"/>
                <a:ext cx="488" cy="281"/>
              </a:xfrm>
              <a:custGeom>
                <a:avLst/>
                <a:gdLst>
                  <a:gd name="T0" fmla="*/ 23 w 488"/>
                  <a:gd name="T1" fmla="*/ 0 h 281"/>
                  <a:gd name="T2" fmla="*/ 0 w 488"/>
                  <a:gd name="T3" fmla="*/ 13 h 281"/>
                  <a:gd name="T4" fmla="*/ 464 w 488"/>
                  <a:gd name="T5" fmla="*/ 281 h 281"/>
                  <a:gd name="T6" fmla="*/ 488 w 488"/>
                  <a:gd name="T7" fmla="*/ 268 h 281"/>
                  <a:gd name="T8" fmla="*/ 23 w 488"/>
                  <a:gd name="T9" fmla="*/ 0 h 281"/>
                </a:gdLst>
                <a:ahLst/>
                <a:cxnLst>
                  <a:cxn ang="0">
                    <a:pos x="T0" y="T1"/>
                  </a:cxn>
                  <a:cxn ang="0">
                    <a:pos x="T2" y="T3"/>
                  </a:cxn>
                  <a:cxn ang="0">
                    <a:pos x="T4" y="T5"/>
                  </a:cxn>
                  <a:cxn ang="0">
                    <a:pos x="T6" y="T7"/>
                  </a:cxn>
                  <a:cxn ang="0">
                    <a:pos x="T8" y="T9"/>
                  </a:cxn>
                </a:cxnLst>
                <a:rect l="0" t="0" r="r" b="b"/>
                <a:pathLst>
                  <a:path w="488" h="281">
                    <a:moveTo>
                      <a:pt x="23" y="0"/>
                    </a:moveTo>
                    <a:lnTo>
                      <a:pt x="0" y="13"/>
                    </a:lnTo>
                    <a:lnTo>
                      <a:pt x="464" y="281"/>
                    </a:lnTo>
                    <a:lnTo>
                      <a:pt x="488" y="268"/>
                    </a:lnTo>
                    <a:lnTo>
                      <a:pt x="23" y="0"/>
                    </a:lnTo>
                    <a:close/>
                  </a:path>
                </a:pathLst>
              </a:custGeom>
              <a:solidFill>
                <a:srgbClr val="DAEEF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21" name="ïṥlïḋê"/>
              <p:cNvSpPr/>
              <p:nvPr/>
            </p:nvSpPr>
            <p:spPr bwMode="auto">
              <a:xfrm>
                <a:off x="4102" y="2336"/>
                <a:ext cx="488" cy="281"/>
              </a:xfrm>
              <a:custGeom>
                <a:avLst/>
                <a:gdLst>
                  <a:gd name="T0" fmla="*/ 23 w 488"/>
                  <a:gd name="T1" fmla="*/ 0 h 281"/>
                  <a:gd name="T2" fmla="*/ 0 w 488"/>
                  <a:gd name="T3" fmla="*/ 13 h 281"/>
                  <a:gd name="T4" fmla="*/ 464 w 488"/>
                  <a:gd name="T5" fmla="*/ 281 h 281"/>
                  <a:gd name="T6" fmla="*/ 488 w 488"/>
                  <a:gd name="T7" fmla="*/ 268 h 281"/>
                  <a:gd name="T8" fmla="*/ 23 w 488"/>
                  <a:gd name="T9" fmla="*/ 0 h 281"/>
                </a:gdLst>
                <a:ahLst/>
                <a:cxnLst>
                  <a:cxn ang="0">
                    <a:pos x="T0" y="T1"/>
                  </a:cxn>
                  <a:cxn ang="0">
                    <a:pos x="T2" y="T3"/>
                  </a:cxn>
                  <a:cxn ang="0">
                    <a:pos x="T4" y="T5"/>
                  </a:cxn>
                  <a:cxn ang="0">
                    <a:pos x="T6" y="T7"/>
                  </a:cxn>
                  <a:cxn ang="0">
                    <a:pos x="T8" y="T9"/>
                  </a:cxn>
                </a:cxnLst>
                <a:rect l="0" t="0" r="r" b="b"/>
                <a:pathLst>
                  <a:path w="488" h="281">
                    <a:moveTo>
                      <a:pt x="23" y="0"/>
                    </a:moveTo>
                    <a:lnTo>
                      <a:pt x="0" y="13"/>
                    </a:lnTo>
                    <a:lnTo>
                      <a:pt x="464" y="281"/>
                    </a:lnTo>
                    <a:lnTo>
                      <a:pt x="488" y="268"/>
                    </a:lnTo>
                    <a:lnTo>
                      <a:pt x="2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22" name="ïŝḷíḋe"/>
              <p:cNvSpPr/>
              <p:nvPr/>
            </p:nvSpPr>
            <p:spPr bwMode="auto">
              <a:xfrm>
                <a:off x="4102" y="2336"/>
                <a:ext cx="488" cy="281"/>
              </a:xfrm>
              <a:custGeom>
                <a:avLst/>
                <a:gdLst>
                  <a:gd name="T0" fmla="*/ 23 w 488"/>
                  <a:gd name="T1" fmla="*/ 0 h 281"/>
                  <a:gd name="T2" fmla="*/ 0 w 488"/>
                  <a:gd name="T3" fmla="*/ 13 h 281"/>
                  <a:gd name="T4" fmla="*/ 464 w 488"/>
                  <a:gd name="T5" fmla="*/ 281 h 281"/>
                  <a:gd name="T6" fmla="*/ 488 w 488"/>
                  <a:gd name="T7" fmla="*/ 268 h 281"/>
                  <a:gd name="T8" fmla="*/ 23 w 488"/>
                  <a:gd name="T9" fmla="*/ 0 h 281"/>
                </a:gdLst>
                <a:ahLst/>
                <a:cxnLst>
                  <a:cxn ang="0">
                    <a:pos x="T0" y="T1"/>
                  </a:cxn>
                  <a:cxn ang="0">
                    <a:pos x="T2" y="T3"/>
                  </a:cxn>
                  <a:cxn ang="0">
                    <a:pos x="T4" y="T5"/>
                  </a:cxn>
                  <a:cxn ang="0">
                    <a:pos x="T6" y="T7"/>
                  </a:cxn>
                  <a:cxn ang="0">
                    <a:pos x="T8" y="T9"/>
                  </a:cxn>
                </a:cxnLst>
                <a:rect l="0" t="0" r="r" b="b"/>
                <a:pathLst>
                  <a:path w="488" h="281">
                    <a:moveTo>
                      <a:pt x="23" y="0"/>
                    </a:moveTo>
                    <a:lnTo>
                      <a:pt x="0" y="13"/>
                    </a:lnTo>
                    <a:lnTo>
                      <a:pt x="464" y="281"/>
                    </a:lnTo>
                    <a:lnTo>
                      <a:pt x="488" y="268"/>
                    </a:lnTo>
                    <a:lnTo>
                      <a:pt x="23" y="0"/>
                    </a:lnTo>
                    <a:close/>
                  </a:path>
                </a:pathLst>
              </a:custGeom>
              <a:solidFill>
                <a:srgbClr val="ADB5B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23" name="íṡ1iḑè"/>
              <p:cNvSpPr/>
              <p:nvPr/>
            </p:nvSpPr>
            <p:spPr bwMode="auto">
              <a:xfrm>
                <a:off x="4102" y="2336"/>
                <a:ext cx="488" cy="281"/>
              </a:xfrm>
              <a:custGeom>
                <a:avLst/>
                <a:gdLst>
                  <a:gd name="T0" fmla="*/ 23 w 488"/>
                  <a:gd name="T1" fmla="*/ 0 h 281"/>
                  <a:gd name="T2" fmla="*/ 0 w 488"/>
                  <a:gd name="T3" fmla="*/ 13 h 281"/>
                  <a:gd name="T4" fmla="*/ 464 w 488"/>
                  <a:gd name="T5" fmla="*/ 281 h 281"/>
                  <a:gd name="T6" fmla="*/ 488 w 488"/>
                  <a:gd name="T7" fmla="*/ 268 h 281"/>
                  <a:gd name="T8" fmla="*/ 23 w 488"/>
                  <a:gd name="T9" fmla="*/ 0 h 281"/>
                </a:gdLst>
                <a:ahLst/>
                <a:cxnLst>
                  <a:cxn ang="0">
                    <a:pos x="T0" y="T1"/>
                  </a:cxn>
                  <a:cxn ang="0">
                    <a:pos x="T2" y="T3"/>
                  </a:cxn>
                  <a:cxn ang="0">
                    <a:pos x="T4" y="T5"/>
                  </a:cxn>
                  <a:cxn ang="0">
                    <a:pos x="T6" y="T7"/>
                  </a:cxn>
                  <a:cxn ang="0">
                    <a:pos x="T8" y="T9"/>
                  </a:cxn>
                </a:cxnLst>
                <a:rect l="0" t="0" r="r" b="b"/>
                <a:pathLst>
                  <a:path w="488" h="281">
                    <a:moveTo>
                      <a:pt x="23" y="0"/>
                    </a:moveTo>
                    <a:lnTo>
                      <a:pt x="0" y="13"/>
                    </a:lnTo>
                    <a:lnTo>
                      <a:pt x="464" y="281"/>
                    </a:lnTo>
                    <a:lnTo>
                      <a:pt x="488" y="268"/>
                    </a:lnTo>
                    <a:lnTo>
                      <a:pt x="2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24" name="íśliḋe"/>
              <p:cNvSpPr/>
              <p:nvPr/>
            </p:nvSpPr>
            <p:spPr bwMode="auto">
              <a:xfrm>
                <a:off x="3464" y="2468"/>
                <a:ext cx="846" cy="828"/>
              </a:xfrm>
              <a:custGeom>
                <a:avLst/>
                <a:gdLst>
                  <a:gd name="T0" fmla="*/ 149 w 498"/>
                  <a:gd name="T1" fmla="*/ 0 h 488"/>
                  <a:gd name="T2" fmla="*/ 149 w 498"/>
                  <a:gd name="T3" fmla="*/ 155 h 488"/>
                  <a:gd name="T4" fmla="*/ 109 w 498"/>
                  <a:gd name="T5" fmla="*/ 224 h 488"/>
                  <a:gd name="T6" fmla="*/ 0 w 498"/>
                  <a:gd name="T7" fmla="*/ 287 h 488"/>
                  <a:gd name="T8" fmla="*/ 348 w 498"/>
                  <a:gd name="T9" fmla="*/ 488 h 488"/>
                  <a:gd name="T10" fmla="*/ 458 w 498"/>
                  <a:gd name="T11" fmla="*/ 425 h 488"/>
                  <a:gd name="T12" fmla="*/ 498 w 498"/>
                  <a:gd name="T13" fmla="*/ 356 h 488"/>
                  <a:gd name="T14" fmla="*/ 498 w 498"/>
                  <a:gd name="T15" fmla="*/ 201 h 488"/>
                  <a:gd name="T16" fmla="*/ 149 w 498"/>
                  <a:gd name="T17" fmla="*/ 0 h 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8" h="488">
                    <a:moveTo>
                      <a:pt x="149" y="0"/>
                    </a:moveTo>
                    <a:cubicBezTo>
                      <a:pt x="149" y="155"/>
                      <a:pt x="149" y="155"/>
                      <a:pt x="149" y="155"/>
                    </a:cubicBezTo>
                    <a:cubicBezTo>
                      <a:pt x="149" y="183"/>
                      <a:pt x="134" y="210"/>
                      <a:pt x="109" y="224"/>
                    </a:cubicBezTo>
                    <a:cubicBezTo>
                      <a:pt x="0" y="287"/>
                      <a:pt x="0" y="287"/>
                      <a:pt x="0" y="287"/>
                    </a:cubicBezTo>
                    <a:cubicBezTo>
                      <a:pt x="348" y="488"/>
                      <a:pt x="348" y="488"/>
                      <a:pt x="348" y="488"/>
                    </a:cubicBezTo>
                    <a:cubicBezTo>
                      <a:pt x="458" y="425"/>
                      <a:pt x="458" y="425"/>
                      <a:pt x="458" y="425"/>
                    </a:cubicBezTo>
                    <a:cubicBezTo>
                      <a:pt x="483" y="411"/>
                      <a:pt x="498" y="385"/>
                      <a:pt x="498" y="356"/>
                    </a:cubicBezTo>
                    <a:cubicBezTo>
                      <a:pt x="498" y="201"/>
                      <a:pt x="498" y="201"/>
                      <a:pt x="498" y="201"/>
                    </a:cubicBezTo>
                    <a:cubicBezTo>
                      <a:pt x="149" y="0"/>
                      <a:pt x="149" y="0"/>
                      <a:pt x="149" y="0"/>
                    </a:cubicBezTo>
                  </a:path>
                </a:pathLst>
              </a:custGeom>
              <a:solidFill>
                <a:srgbClr val="CACACC"/>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25" name="iṥḻïḓê"/>
              <p:cNvSpPr/>
              <p:nvPr/>
            </p:nvSpPr>
            <p:spPr bwMode="auto">
              <a:xfrm>
                <a:off x="3464" y="2955"/>
                <a:ext cx="42" cy="49"/>
              </a:xfrm>
              <a:custGeom>
                <a:avLst/>
                <a:gdLst>
                  <a:gd name="T0" fmla="*/ 0 w 42"/>
                  <a:gd name="T1" fmla="*/ 0 h 49"/>
                  <a:gd name="T2" fmla="*/ 0 w 42"/>
                  <a:gd name="T3" fmla="*/ 49 h 49"/>
                  <a:gd name="T4" fmla="*/ 42 w 42"/>
                  <a:gd name="T5" fmla="*/ 25 h 49"/>
                  <a:gd name="T6" fmla="*/ 0 w 42"/>
                  <a:gd name="T7" fmla="*/ 0 h 49"/>
                </a:gdLst>
                <a:ahLst/>
                <a:cxnLst>
                  <a:cxn ang="0">
                    <a:pos x="T0" y="T1"/>
                  </a:cxn>
                  <a:cxn ang="0">
                    <a:pos x="T2" y="T3"/>
                  </a:cxn>
                  <a:cxn ang="0">
                    <a:pos x="T4" y="T5"/>
                  </a:cxn>
                  <a:cxn ang="0">
                    <a:pos x="T6" y="T7"/>
                  </a:cxn>
                </a:cxnLst>
                <a:rect l="0" t="0" r="r" b="b"/>
                <a:pathLst>
                  <a:path w="42" h="49">
                    <a:moveTo>
                      <a:pt x="0" y="0"/>
                    </a:moveTo>
                    <a:lnTo>
                      <a:pt x="0" y="49"/>
                    </a:lnTo>
                    <a:lnTo>
                      <a:pt x="42" y="25"/>
                    </a:lnTo>
                    <a:lnTo>
                      <a:pt x="0" y="0"/>
                    </a:lnTo>
                    <a:close/>
                  </a:path>
                </a:pathLst>
              </a:custGeom>
              <a:solidFill>
                <a:srgbClr val="A0A7AD"/>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26" name="i$1ïḑè"/>
              <p:cNvSpPr/>
              <p:nvPr/>
            </p:nvSpPr>
            <p:spPr bwMode="auto">
              <a:xfrm>
                <a:off x="3464" y="2955"/>
                <a:ext cx="42" cy="49"/>
              </a:xfrm>
              <a:custGeom>
                <a:avLst/>
                <a:gdLst>
                  <a:gd name="T0" fmla="*/ 0 w 42"/>
                  <a:gd name="T1" fmla="*/ 0 h 49"/>
                  <a:gd name="T2" fmla="*/ 0 w 42"/>
                  <a:gd name="T3" fmla="*/ 49 h 49"/>
                  <a:gd name="T4" fmla="*/ 42 w 42"/>
                  <a:gd name="T5" fmla="*/ 25 h 49"/>
                  <a:gd name="T6" fmla="*/ 0 w 42"/>
                  <a:gd name="T7" fmla="*/ 0 h 49"/>
                </a:gdLst>
                <a:ahLst/>
                <a:cxnLst>
                  <a:cxn ang="0">
                    <a:pos x="T0" y="T1"/>
                  </a:cxn>
                  <a:cxn ang="0">
                    <a:pos x="T2" y="T3"/>
                  </a:cxn>
                  <a:cxn ang="0">
                    <a:pos x="T4" y="T5"/>
                  </a:cxn>
                  <a:cxn ang="0">
                    <a:pos x="T6" y="T7"/>
                  </a:cxn>
                </a:cxnLst>
                <a:rect l="0" t="0" r="r" b="b"/>
                <a:pathLst>
                  <a:path w="42" h="49">
                    <a:moveTo>
                      <a:pt x="0" y="0"/>
                    </a:moveTo>
                    <a:lnTo>
                      <a:pt x="0" y="49"/>
                    </a:lnTo>
                    <a:lnTo>
                      <a:pt x="42" y="2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27" name="iṧlîďe"/>
              <p:cNvSpPr/>
              <p:nvPr/>
            </p:nvSpPr>
            <p:spPr bwMode="auto">
              <a:xfrm>
                <a:off x="3717" y="2495"/>
                <a:ext cx="1" cy="20"/>
              </a:xfrm>
              <a:prstGeom prst="rect">
                <a:avLst/>
              </a:prstGeom>
              <a:solidFill>
                <a:srgbClr val="E4E4E5"/>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p>
            </p:txBody>
          </p:sp>
          <p:sp>
            <p:nvSpPr>
              <p:cNvPr id="628" name="i$ḻiḑê"/>
              <p:cNvSpPr/>
              <p:nvPr/>
            </p:nvSpPr>
            <p:spPr bwMode="auto">
              <a:xfrm>
                <a:off x="3717" y="2495"/>
                <a:ext cx="1" cy="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p>
            </p:txBody>
          </p:sp>
          <p:sp>
            <p:nvSpPr>
              <p:cNvPr id="629" name="íşľîḋê"/>
              <p:cNvSpPr/>
              <p:nvPr/>
            </p:nvSpPr>
            <p:spPr bwMode="auto">
              <a:xfrm>
                <a:off x="3717" y="2475"/>
                <a:ext cx="593" cy="383"/>
              </a:xfrm>
              <a:custGeom>
                <a:avLst/>
                <a:gdLst>
                  <a:gd name="T0" fmla="*/ 69 w 593"/>
                  <a:gd name="T1" fmla="*/ 34 h 383"/>
                  <a:gd name="T2" fmla="*/ 63 w 593"/>
                  <a:gd name="T3" fmla="*/ 59 h 383"/>
                  <a:gd name="T4" fmla="*/ 47 w 593"/>
                  <a:gd name="T5" fmla="*/ 69 h 383"/>
                  <a:gd name="T6" fmla="*/ 593 w 593"/>
                  <a:gd name="T7" fmla="*/ 383 h 383"/>
                  <a:gd name="T8" fmla="*/ 593 w 593"/>
                  <a:gd name="T9" fmla="*/ 334 h 383"/>
                  <a:gd name="T10" fmla="*/ 69 w 593"/>
                  <a:gd name="T11" fmla="*/ 34 h 383"/>
                  <a:gd name="T12" fmla="*/ 8 w 593"/>
                  <a:gd name="T13" fmla="*/ 0 h 383"/>
                  <a:gd name="T14" fmla="*/ 8 w 593"/>
                  <a:gd name="T15" fmla="*/ 25 h 383"/>
                  <a:gd name="T16" fmla="*/ 0 w 593"/>
                  <a:gd name="T17" fmla="*/ 20 h 383"/>
                  <a:gd name="T18" fmla="*/ 0 w 593"/>
                  <a:gd name="T19" fmla="*/ 40 h 383"/>
                  <a:gd name="T20" fmla="*/ 27 w 593"/>
                  <a:gd name="T21" fmla="*/ 57 h 383"/>
                  <a:gd name="T22" fmla="*/ 36 w 593"/>
                  <a:gd name="T23" fmla="*/ 15 h 383"/>
                  <a:gd name="T24" fmla="*/ 32 w 593"/>
                  <a:gd name="T25" fmla="*/ 12 h 383"/>
                  <a:gd name="T26" fmla="*/ 8 w 593"/>
                  <a:gd name="T27" fmla="*/ 25 h 383"/>
                  <a:gd name="T28" fmla="*/ 8 w 593"/>
                  <a:gd name="T29"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3" h="383">
                    <a:moveTo>
                      <a:pt x="69" y="34"/>
                    </a:moveTo>
                    <a:lnTo>
                      <a:pt x="63" y="59"/>
                    </a:lnTo>
                    <a:lnTo>
                      <a:pt x="47" y="69"/>
                    </a:lnTo>
                    <a:lnTo>
                      <a:pt x="593" y="383"/>
                    </a:lnTo>
                    <a:lnTo>
                      <a:pt x="593" y="334"/>
                    </a:lnTo>
                    <a:lnTo>
                      <a:pt x="69" y="34"/>
                    </a:lnTo>
                    <a:close/>
                    <a:moveTo>
                      <a:pt x="8" y="0"/>
                    </a:moveTo>
                    <a:lnTo>
                      <a:pt x="8" y="25"/>
                    </a:lnTo>
                    <a:lnTo>
                      <a:pt x="0" y="20"/>
                    </a:lnTo>
                    <a:lnTo>
                      <a:pt x="0" y="40"/>
                    </a:lnTo>
                    <a:lnTo>
                      <a:pt x="27" y="57"/>
                    </a:lnTo>
                    <a:lnTo>
                      <a:pt x="36" y="15"/>
                    </a:lnTo>
                    <a:lnTo>
                      <a:pt x="32" y="12"/>
                    </a:lnTo>
                    <a:lnTo>
                      <a:pt x="8" y="25"/>
                    </a:lnTo>
                    <a:lnTo>
                      <a:pt x="8" y="0"/>
                    </a:lnTo>
                    <a:close/>
                  </a:path>
                </a:pathLst>
              </a:custGeom>
              <a:solidFill>
                <a:srgbClr val="B5B5B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30" name="ïṧlïḓé"/>
              <p:cNvSpPr/>
              <p:nvPr/>
            </p:nvSpPr>
            <p:spPr bwMode="auto">
              <a:xfrm>
                <a:off x="3717" y="2475"/>
                <a:ext cx="593" cy="383"/>
              </a:xfrm>
              <a:custGeom>
                <a:avLst/>
                <a:gdLst>
                  <a:gd name="T0" fmla="*/ 69 w 593"/>
                  <a:gd name="T1" fmla="*/ 34 h 383"/>
                  <a:gd name="T2" fmla="*/ 63 w 593"/>
                  <a:gd name="T3" fmla="*/ 59 h 383"/>
                  <a:gd name="T4" fmla="*/ 47 w 593"/>
                  <a:gd name="T5" fmla="*/ 69 h 383"/>
                  <a:gd name="T6" fmla="*/ 593 w 593"/>
                  <a:gd name="T7" fmla="*/ 383 h 383"/>
                  <a:gd name="T8" fmla="*/ 593 w 593"/>
                  <a:gd name="T9" fmla="*/ 334 h 383"/>
                  <a:gd name="T10" fmla="*/ 69 w 593"/>
                  <a:gd name="T11" fmla="*/ 34 h 383"/>
                  <a:gd name="T12" fmla="*/ 8 w 593"/>
                  <a:gd name="T13" fmla="*/ 0 h 383"/>
                  <a:gd name="T14" fmla="*/ 8 w 593"/>
                  <a:gd name="T15" fmla="*/ 25 h 383"/>
                  <a:gd name="T16" fmla="*/ 0 w 593"/>
                  <a:gd name="T17" fmla="*/ 20 h 383"/>
                  <a:gd name="T18" fmla="*/ 0 w 593"/>
                  <a:gd name="T19" fmla="*/ 40 h 383"/>
                  <a:gd name="T20" fmla="*/ 27 w 593"/>
                  <a:gd name="T21" fmla="*/ 57 h 383"/>
                  <a:gd name="T22" fmla="*/ 36 w 593"/>
                  <a:gd name="T23" fmla="*/ 15 h 383"/>
                  <a:gd name="T24" fmla="*/ 32 w 593"/>
                  <a:gd name="T25" fmla="*/ 12 h 383"/>
                  <a:gd name="T26" fmla="*/ 8 w 593"/>
                  <a:gd name="T27" fmla="*/ 25 h 383"/>
                  <a:gd name="T28" fmla="*/ 8 w 593"/>
                  <a:gd name="T29"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3" h="383">
                    <a:moveTo>
                      <a:pt x="69" y="34"/>
                    </a:moveTo>
                    <a:lnTo>
                      <a:pt x="63" y="59"/>
                    </a:lnTo>
                    <a:lnTo>
                      <a:pt x="47" y="69"/>
                    </a:lnTo>
                    <a:lnTo>
                      <a:pt x="593" y="383"/>
                    </a:lnTo>
                    <a:lnTo>
                      <a:pt x="593" y="334"/>
                    </a:lnTo>
                    <a:lnTo>
                      <a:pt x="69" y="34"/>
                    </a:lnTo>
                    <a:moveTo>
                      <a:pt x="8" y="0"/>
                    </a:moveTo>
                    <a:lnTo>
                      <a:pt x="8" y="25"/>
                    </a:lnTo>
                    <a:lnTo>
                      <a:pt x="0" y="20"/>
                    </a:lnTo>
                    <a:lnTo>
                      <a:pt x="0" y="40"/>
                    </a:lnTo>
                    <a:lnTo>
                      <a:pt x="27" y="57"/>
                    </a:lnTo>
                    <a:lnTo>
                      <a:pt x="36" y="15"/>
                    </a:lnTo>
                    <a:lnTo>
                      <a:pt x="32" y="12"/>
                    </a:lnTo>
                    <a:lnTo>
                      <a:pt x="8" y="25"/>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31" name="ïsḻïde"/>
              <p:cNvSpPr/>
              <p:nvPr/>
            </p:nvSpPr>
            <p:spPr bwMode="auto">
              <a:xfrm>
                <a:off x="1654" y="2317"/>
                <a:ext cx="1033" cy="789"/>
              </a:xfrm>
              <a:custGeom>
                <a:avLst/>
                <a:gdLst>
                  <a:gd name="T0" fmla="*/ 1033 w 1033"/>
                  <a:gd name="T1" fmla="*/ 789 h 789"/>
                  <a:gd name="T2" fmla="*/ 0 w 1033"/>
                  <a:gd name="T3" fmla="*/ 195 h 789"/>
                  <a:gd name="T4" fmla="*/ 0 w 1033"/>
                  <a:gd name="T5" fmla="*/ 0 h 789"/>
                  <a:gd name="T6" fmla="*/ 1033 w 1033"/>
                  <a:gd name="T7" fmla="*/ 594 h 789"/>
                  <a:gd name="T8" fmla="*/ 1033 w 1033"/>
                  <a:gd name="T9" fmla="*/ 789 h 789"/>
                </a:gdLst>
                <a:ahLst/>
                <a:cxnLst>
                  <a:cxn ang="0">
                    <a:pos x="T0" y="T1"/>
                  </a:cxn>
                  <a:cxn ang="0">
                    <a:pos x="T2" y="T3"/>
                  </a:cxn>
                  <a:cxn ang="0">
                    <a:pos x="T4" y="T5"/>
                  </a:cxn>
                  <a:cxn ang="0">
                    <a:pos x="T6" y="T7"/>
                  </a:cxn>
                  <a:cxn ang="0">
                    <a:pos x="T8" y="T9"/>
                  </a:cxn>
                </a:cxnLst>
                <a:rect l="0" t="0" r="r" b="b"/>
                <a:pathLst>
                  <a:path w="1033" h="789">
                    <a:moveTo>
                      <a:pt x="1033" y="789"/>
                    </a:moveTo>
                    <a:lnTo>
                      <a:pt x="0" y="195"/>
                    </a:lnTo>
                    <a:lnTo>
                      <a:pt x="0" y="0"/>
                    </a:lnTo>
                    <a:lnTo>
                      <a:pt x="1033" y="594"/>
                    </a:lnTo>
                    <a:lnTo>
                      <a:pt x="1033" y="789"/>
                    </a:lnTo>
                    <a:close/>
                  </a:path>
                </a:pathLst>
              </a:custGeom>
              <a:solidFill>
                <a:srgbClr val="EB451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32" name="iṥḻîḋê"/>
              <p:cNvSpPr/>
              <p:nvPr/>
            </p:nvSpPr>
            <p:spPr bwMode="auto">
              <a:xfrm>
                <a:off x="1654" y="2317"/>
                <a:ext cx="1033" cy="789"/>
              </a:xfrm>
              <a:custGeom>
                <a:avLst/>
                <a:gdLst>
                  <a:gd name="T0" fmla="*/ 1033 w 1033"/>
                  <a:gd name="T1" fmla="*/ 789 h 789"/>
                  <a:gd name="T2" fmla="*/ 0 w 1033"/>
                  <a:gd name="T3" fmla="*/ 195 h 789"/>
                  <a:gd name="T4" fmla="*/ 0 w 1033"/>
                  <a:gd name="T5" fmla="*/ 0 h 789"/>
                  <a:gd name="T6" fmla="*/ 1033 w 1033"/>
                  <a:gd name="T7" fmla="*/ 594 h 789"/>
                  <a:gd name="T8" fmla="*/ 1033 w 1033"/>
                  <a:gd name="T9" fmla="*/ 789 h 789"/>
                </a:gdLst>
                <a:ahLst/>
                <a:cxnLst>
                  <a:cxn ang="0">
                    <a:pos x="T0" y="T1"/>
                  </a:cxn>
                  <a:cxn ang="0">
                    <a:pos x="T2" y="T3"/>
                  </a:cxn>
                  <a:cxn ang="0">
                    <a:pos x="T4" y="T5"/>
                  </a:cxn>
                  <a:cxn ang="0">
                    <a:pos x="T6" y="T7"/>
                  </a:cxn>
                  <a:cxn ang="0">
                    <a:pos x="T8" y="T9"/>
                  </a:cxn>
                </a:cxnLst>
                <a:rect l="0" t="0" r="r" b="b"/>
                <a:pathLst>
                  <a:path w="1033" h="789">
                    <a:moveTo>
                      <a:pt x="1033" y="789"/>
                    </a:moveTo>
                    <a:lnTo>
                      <a:pt x="0" y="195"/>
                    </a:lnTo>
                    <a:lnTo>
                      <a:pt x="0" y="0"/>
                    </a:lnTo>
                    <a:lnTo>
                      <a:pt x="1033" y="594"/>
                    </a:lnTo>
                    <a:lnTo>
                      <a:pt x="1033" y="78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33" name="ïŝlïďe"/>
              <p:cNvSpPr/>
              <p:nvPr/>
            </p:nvSpPr>
            <p:spPr bwMode="auto">
              <a:xfrm>
                <a:off x="1654" y="2317"/>
                <a:ext cx="1033" cy="789"/>
              </a:xfrm>
              <a:custGeom>
                <a:avLst/>
                <a:gdLst>
                  <a:gd name="T0" fmla="*/ 1033 w 1033"/>
                  <a:gd name="T1" fmla="*/ 789 h 789"/>
                  <a:gd name="T2" fmla="*/ 0 w 1033"/>
                  <a:gd name="T3" fmla="*/ 195 h 789"/>
                  <a:gd name="T4" fmla="*/ 0 w 1033"/>
                  <a:gd name="T5" fmla="*/ 0 h 789"/>
                  <a:gd name="T6" fmla="*/ 1033 w 1033"/>
                  <a:gd name="T7" fmla="*/ 594 h 789"/>
                  <a:gd name="T8" fmla="*/ 1033 w 1033"/>
                  <a:gd name="T9" fmla="*/ 789 h 789"/>
                </a:gdLst>
                <a:ahLst/>
                <a:cxnLst>
                  <a:cxn ang="0">
                    <a:pos x="T0" y="T1"/>
                  </a:cxn>
                  <a:cxn ang="0">
                    <a:pos x="T2" y="T3"/>
                  </a:cxn>
                  <a:cxn ang="0">
                    <a:pos x="T4" y="T5"/>
                  </a:cxn>
                  <a:cxn ang="0">
                    <a:pos x="T6" y="T7"/>
                  </a:cxn>
                  <a:cxn ang="0">
                    <a:pos x="T8" y="T9"/>
                  </a:cxn>
                </a:cxnLst>
                <a:rect l="0" t="0" r="r" b="b"/>
                <a:pathLst>
                  <a:path w="1033" h="789">
                    <a:moveTo>
                      <a:pt x="1033" y="789"/>
                    </a:moveTo>
                    <a:lnTo>
                      <a:pt x="0" y="195"/>
                    </a:lnTo>
                    <a:lnTo>
                      <a:pt x="0" y="0"/>
                    </a:lnTo>
                    <a:lnTo>
                      <a:pt x="1033" y="594"/>
                    </a:lnTo>
                    <a:lnTo>
                      <a:pt x="1033" y="789"/>
                    </a:lnTo>
                    <a:close/>
                  </a:path>
                </a:pathLst>
              </a:custGeom>
              <a:solidFill>
                <a:srgbClr val="F37C5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34" name="isḻiḍê"/>
              <p:cNvSpPr/>
              <p:nvPr/>
            </p:nvSpPr>
            <p:spPr bwMode="auto">
              <a:xfrm>
                <a:off x="1654" y="2317"/>
                <a:ext cx="1033" cy="789"/>
              </a:xfrm>
              <a:custGeom>
                <a:avLst/>
                <a:gdLst>
                  <a:gd name="T0" fmla="*/ 1033 w 1033"/>
                  <a:gd name="T1" fmla="*/ 789 h 789"/>
                  <a:gd name="T2" fmla="*/ 0 w 1033"/>
                  <a:gd name="T3" fmla="*/ 195 h 789"/>
                  <a:gd name="T4" fmla="*/ 0 w 1033"/>
                  <a:gd name="T5" fmla="*/ 0 h 789"/>
                  <a:gd name="T6" fmla="*/ 1033 w 1033"/>
                  <a:gd name="T7" fmla="*/ 594 h 789"/>
                  <a:gd name="T8" fmla="*/ 1033 w 1033"/>
                  <a:gd name="T9" fmla="*/ 789 h 789"/>
                </a:gdLst>
                <a:ahLst/>
                <a:cxnLst>
                  <a:cxn ang="0">
                    <a:pos x="T0" y="T1"/>
                  </a:cxn>
                  <a:cxn ang="0">
                    <a:pos x="T2" y="T3"/>
                  </a:cxn>
                  <a:cxn ang="0">
                    <a:pos x="T4" y="T5"/>
                  </a:cxn>
                  <a:cxn ang="0">
                    <a:pos x="T6" y="T7"/>
                  </a:cxn>
                  <a:cxn ang="0">
                    <a:pos x="T8" y="T9"/>
                  </a:cxn>
                </a:cxnLst>
                <a:rect l="0" t="0" r="r" b="b"/>
                <a:pathLst>
                  <a:path w="1033" h="789">
                    <a:moveTo>
                      <a:pt x="1033" y="789"/>
                    </a:moveTo>
                    <a:lnTo>
                      <a:pt x="0" y="195"/>
                    </a:lnTo>
                    <a:lnTo>
                      <a:pt x="0" y="0"/>
                    </a:lnTo>
                    <a:lnTo>
                      <a:pt x="1033" y="594"/>
                    </a:lnTo>
                    <a:lnTo>
                      <a:pt x="1033" y="78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35" name="îṣ1idê"/>
              <p:cNvSpPr/>
              <p:nvPr/>
            </p:nvSpPr>
            <p:spPr bwMode="auto">
              <a:xfrm>
                <a:off x="1670" y="2325"/>
                <a:ext cx="10" cy="75"/>
              </a:xfrm>
              <a:custGeom>
                <a:avLst/>
                <a:gdLst>
                  <a:gd name="T0" fmla="*/ 10 w 10"/>
                  <a:gd name="T1" fmla="*/ 75 h 75"/>
                  <a:gd name="T2" fmla="*/ 0 w 10"/>
                  <a:gd name="T3" fmla="*/ 68 h 75"/>
                  <a:gd name="T4" fmla="*/ 0 w 10"/>
                  <a:gd name="T5" fmla="*/ 0 h 75"/>
                  <a:gd name="T6" fmla="*/ 10 w 10"/>
                  <a:gd name="T7" fmla="*/ 5 h 75"/>
                  <a:gd name="T8" fmla="*/ 10 w 10"/>
                  <a:gd name="T9" fmla="*/ 75 h 75"/>
                </a:gdLst>
                <a:ahLst/>
                <a:cxnLst>
                  <a:cxn ang="0">
                    <a:pos x="T0" y="T1"/>
                  </a:cxn>
                  <a:cxn ang="0">
                    <a:pos x="T2" y="T3"/>
                  </a:cxn>
                  <a:cxn ang="0">
                    <a:pos x="T4" y="T5"/>
                  </a:cxn>
                  <a:cxn ang="0">
                    <a:pos x="T6" y="T7"/>
                  </a:cxn>
                  <a:cxn ang="0">
                    <a:pos x="T8" y="T9"/>
                  </a:cxn>
                </a:cxnLst>
                <a:rect l="0" t="0" r="r" b="b"/>
                <a:pathLst>
                  <a:path w="10" h="75">
                    <a:moveTo>
                      <a:pt x="10" y="75"/>
                    </a:moveTo>
                    <a:lnTo>
                      <a:pt x="0" y="68"/>
                    </a:lnTo>
                    <a:lnTo>
                      <a:pt x="0" y="0"/>
                    </a:lnTo>
                    <a:lnTo>
                      <a:pt x="10" y="5"/>
                    </a:lnTo>
                    <a:lnTo>
                      <a:pt x="10" y="75"/>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36" name="iS1îḑê"/>
              <p:cNvSpPr/>
              <p:nvPr/>
            </p:nvSpPr>
            <p:spPr bwMode="auto">
              <a:xfrm>
                <a:off x="1670" y="2325"/>
                <a:ext cx="10" cy="75"/>
              </a:xfrm>
              <a:custGeom>
                <a:avLst/>
                <a:gdLst>
                  <a:gd name="T0" fmla="*/ 10 w 10"/>
                  <a:gd name="T1" fmla="*/ 75 h 75"/>
                  <a:gd name="T2" fmla="*/ 0 w 10"/>
                  <a:gd name="T3" fmla="*/ 68 h 75"/>
                  <a:gd name="T4" fmla="*/ 0 w 10"/>
                  <a:gd name="T5" fmla="*/ 0 h 75"/>
                  <a:gd name="T6" fmla="*/ 10 w 10"/>
                  <a:gd name="T7" fmla="*/ 5 h 75"/>
                  <a:gd name="T8" fmla="*/ 10 w 10"/>
                  <a:gd name="T9" fmla="*/ 75 h 75"/>
                </a:gdLst>
                <a:ahLst/>
                <a:cxnLst>
                  <a:cxn ang="0">
                    <a:pos x="T0" y="T1"/>
                  </a:cxn>
                  <a:cxn ang="0">
                    <a:pos x="T2" y="T3"/>
                  </a:cxn>
                  <a:cxn ang="0">
                    <a:pos x="T4" y="T5"/>
                  </a:cxn>
                  <a:cxn ang="0">
                    <a:pos x="T6" y="T7"/>
                  </a:cxn>
                  <a:cxn ang="0">
                    <a:pos x="T8" y="T9"/>
                  </a:cxn>
                </a:cxnLst>
                <a:rect l="0" t="0" r="r" b="b"/>
                <a:pathLst>
                  <a:path w="10" h="75">
                    <a:moveTo>
                      <a:pt x="10" y="75"/>
                    </a:moveTo>
                    <a:lnTo>
                      <a:pt x="0" y="68"/>
                    </a:lnTo>
                    <a:lnTo>
                      <a:pt x="0" y="0"/>
                    </a:lnTo>
                    <a:lnTo>
                      <a:pt x="10" y="5"/>
                    </a:lnTo>
                    <a:lnTo>
                      <a:pt x="10" y="7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37" name="íṡ1ïde"/>
              <p:cNvSpPr/>
              <p:nvPr/>
            </p:nvSpPr>
            <p:spPr bwMode="auto">
              <a:xfrm>
                <a:off x="1695" y="2341"/>
                <a:ext cx="10" cy="74"/>
              </a:xfrm>
              <a:custGeom>
                <a:avLst/>
                <a:gdLst>
                  <a:gd name="T0" fmla="*/ 10 w 10"/>
                  <a:gd name="T1" fmla="*/ 74 h 74"/>
                  <a:gd name="T2" fmla="*/ 0 w 10"/>
                  <a:gd name="T3" fmla="*/ 67 h 74"/>
                  <a:gd name="T4" fmla="*/ 0 w 10"/>
                  <a:gd name="T5" fmla="*/ 0 h 74"/>
                  <a:gd name="T6" fmla="*/ 10 w 10"/>
                  <a:gd name="T7" fmla="*/ 5 h 74"/>
                  <a:gd name="T8" fmla="*/ 10 w 10"/>
                  <a:gd name="T9" fmla="*/ 74 h 74"/>
                </a:gdLst>
                <a:ahLst/>
                <a:cxnLst>
                  <a:cxn ang="0">
                    <a:pos x="T0" y="T1"/>
                  </a:cxn>
                  <a:cxn ang="0">
                    <a:pos x="T2" y="T3"/>
                  </a:cxn>
                  <a:cxn ang="0">
                    <a:pos x="T4" y="T5"/>
                  </a:cxn>
                  <a:cxn ang="0">
                    <a:pos x="T6" y="T7"/>
                  </a:cxn>
                  <a:cxn ang="0">
                    <a:pos x="T8" y="T9"/>
                  </a:cxn>
                </a:cxnLst>
                <a:rect l="0" t="0" r="r" b="b"/>
                <a:pathLst>
                  <a:path w="10" h="74">
                    <a:moveTo>
                      <a:pt x="10" y="74"/>
                    </a:moveTo>
                    <a:lnTo>
                      <a:pt x="0" y="67"/>
                    </a:lnTo>
                    <a:lnTo>
                      <a:pt x="0" y="0"/>
                    </a:lnTo>
                    <a:lnTo>
                      <a:pt x="10" y="5"/>
                    </a:lnTo>
                    <a:lnTo>
                      <a:pt x="10" y="74"/>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38" name="ïṧḷîḑé"/>
              <p:cNvSpPr/>
              <p:nvPr/>
            </p:nvSpPr>
            <p:spPr bwMode="auto">
              <a:xfrm>
                <a:off x="1695" y="2341"/>
                <a:ext cx="10" cy="74"/>
              </a:xfrm>
              <a:custGeom>
                <a:avLst/>
                <a:gdLst>
                  <a:gd name="T0" fmla="*/ 10 w 10"/>
                  <a:gd name="T1" fmla="*/ 74 h 74"/>
                  <a:gd name="T2" fmla="*/ 0 w 10"/>
                  <a:gd name="T3" fmla="*/ 67 h 74"/>
                  <a:gd name="T4" fmla="*/ 0 w 10"/>
                  <a:gd name="T5" fmla="*/ 0 h 74"/>
                  <a:gd name="T6" fmla="*/ 10 w 10"/>
                  <a:gd name="T7" fmla="*/ 5 h 74"/>
                  <a:gd name="T8" fmla="*/ 10 w 10"/>
                  <a:gd name="T9" fmla="*/ 74 h 74"/>
                </a:gdLst>
                <a:ahLst/>
                <a:cxnLst>
                  <a:cxn ang="0">
                    <a:pos x="T0" y="T1"/>
                  </a:cxn>
                  <a:cxn ang="0">
                    <a:pos x="T2" y="T3"/>
                  </a:cxn>
                  <a:cxn ang="0">
                    <a:pos x="T4" y="T5"/>
                  </a:cxn>
                  <a:cxn ang="0">
                    <a:pos x="T6" y="T7"/>
                  </a:cxn>
                  <a:cxn ang="0">
                    <a:pos x="T8" y="T9"/>
                  </a:cxn>
                </a:cxnLst>
                <a:rect l="0" t="0" r="r" b="b"/>
                <a:pathLst>
                  <a:path w="10" h="74">
                    <a:moveTo>
                      <a:pt x="10" y="74"/>
                    </a:moveTo>
                    <a:lnTo>
                      <a:pt x="0" y="67"/>
                    </a:lnTo>
                    <a:lnTo>
                      <a:pt x="0" y="0"/>
                    </a:lnTo>
                    <a:lnTo>
                      <a:pt x="10" y="5"/>
                    </a:lnTo>
                    <a:lnTo>
                      <a:pt x="10" y="7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39" name="îşḷíḓé"/>
              <p:cNvSpPr/>
              <p:nvPr/>
            </p:nvSpPr>
            <p:spPr bwMode="auto">
              <a:xfrm>
                <a:off x="1721" y="2354"/>
                <a:ext cx="10" cy="75"/>
              </a:xfrm>
              <a:custGeom>
                <a:avLst/>
                <a:gdLst>
                  <a:gd name="T0" fmla="*/ 10 w 10"/>
                  <a:gd name="T1" fmla="*/ 75 h 75"/>
                  <a:gd name="T2" fmla="*/ 0 w 10"/>
                  <a:gd name="T3" fmla="*/ 70 h 75"/>
                  <a:gd name="T4" fmla="*/ 0 w 10"/>
                  <a:gd name="T5" fmla="*/ 0 h 75"/>
                  <a:gd name="T6" fmla="*/ 10 w 10"/>
                  <a:gd name="T7" fmla="*/ 7 h 75"/>
                  <a:gd name="T8" fmla="*/ 10 w 10"/>
                  <a:gd name="T9" fmla="*/ 75 h 75"/>
                </a:gdLst>
                <a:ahLst/>
                <a:cxnLst>
                  <a:cxn ang="0">
                    <a:pos x="T0" y="T1"/>
                  </a:cxn>
                  <a:cxn ang="0">
                    <a:pos x="T2" y="T3"/>
                  </a:cxn>
                  <a:cxn ang="0">
                    <a:pos x="T4" y="T5"/>
                  </a:cxn>
                  <a:cxn ang="0">
                    <a:pos x="T6" y="T7"/>
                  </a:cxn>
                  <a:cxn ang="0">
                    <a:pos x="T8" y="T9"/>
                  </a:cxn>
                </a:cxnLst>
                <a:rect l="0" t="0" r="r" b="b"/>
                <a:pathLst>
                  <a:path w="10" h="75">
                    <a:moveTo>
                      <a:pt x="10" y="75"/>
                    </a:moveTo>
                    <a:lnTo>
                      <a:pt x="0" y="70"/>
                    </a:lnTo>
                    <a:lnTo>
                      <a:pt x="0" y="0"/>
                    </a:lnTo>
                    <a:lnTo>
                      <a:pt x="10" y="7"/>
                    </a:lnTo>
                    <a:lnTo>
                      <a:pt x="10" y="75"/>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40" name="ïṧḷiḋé"/>
              <p:cNvSpPr/>
              <p:nvPr/>
            </p:nvSpPr>
            <p:spPr bwMode="auto">
              <a:xfrm>
                <a:off x="1721" y="2354"/>
                <a:ext cx="10" cy="75"/>
              </a:xfrm>
              <a:custGeom>
                <a:avLst/>
                <a:gdLst>
                  <a:gd name="T0" fmla="*/ 10 w 10"/>
                  <a:gd name="T1" fmla="*/ 75 h 75"/>
                  <a:gd name="T2" fmla="*/ 0 w 10"/>
                  <a:gd name="T3" fmla="*/ 70 h 75"/>
                  <a:gd name="T4" fmla="*/ 0 w 10"/>
                  <a:gd name="T5" fmla="*/ 0 h 75"/>
                  <a:gd name="T6" fmla="*/ 10 w 10"/>
                  <a:gd name="T7" fmla="*/ 7 h 75"/>
                  <a:gd name="T8" fmla="*/ 10 w 10"/>
                  <a:gd name="T9" fmla="*/ 75 h 75"/>
                </a:gdLst>
                <a:ahLst/>
                <a:cxnLst>
                  <a:cxn ang="0">
                    <a:pos x="T0" y="T1"/>
                  </a:cxn>
                  <a:cxn ang="0">
                    <a:pos x="T2" y="T3"/>
                  </a:cxn>
                  <a:cxn ang="0">
                    <a:pos x="T4" y="T5"/>
                  </a:cxn>
                  <a:cxn ang="0">
                    <a:pos x="T6" y="T7"/>
                  </a:cxn>
                  <a:cxn ang="0">
                    <a:pos x="T8" y="T9"/>
                  </a:cxn>
                </a:cxnLst>
                <a:rect l="0" t="0" r="r" b="b"/>
                <a:pathLst>
                  <a:path w="10" h="75">
                    <a:moveTo>
                      <a:pt x="10" y="75"/>
                    </a:moveTo>
                    <a:lnTo>
                      <a:pt x="0" y="70"/>
                    </a:lnTo>
                    <a:lnTo>
                      <a:pt x="0" y="0"/>
                    </a:lnTo>
                    <a:lnTo>
                      <a:pt x="10" y="7"/>
                    </a:lnTo>
                    <a:lnTo>
                      <a:pt x="10" y="7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41" name="išľiḑe"/>
              <p:cNvSpPr/>
              <p:nvPr/>
            </p:nvSpPr>
            <p:spPr bwMode="auto">
              <a:xfrm>
                <a:off x="1746" y="2369"/>
                <a:ext cx="10" cy="75"/>
              </a:xfrm>
              <a:custGeom>
                <a:avLst/>
                <a:gdLst>
                  <a:gd name="T0" fmla="*/ 10 w 10"/>
                  <a:gd name="T1" fmla="*/ 75 h 75"/>
                  <a:gd name="T2" fmla="*/ 0 w 10"/>
                  <a:gd name="T3" fmla="*/ 68 h 75"/>
                  <a:gd name="T4" fmla="*/ 0 w 10"/>
                  <a:gd name="T5" fmla="*/ 0 h 75"/>
                  <a:gd name="T6" fmla="*/ 10 w 10"/>
                  <a:gd name="T7" fmla="*/ 6 h 75"/>
                  <a:gd name="T8" fmla="*/ 10 w 10"/>
                  <a:gd name="T9" fmla="*/ 75 h 75"/>
                </a:gdLst>
                <a:ahLst/>
                <a:cxnLst>
                  <a:cxn ang="0">
                    <a:pos x="T0" y="T1"/>
                  </a:cxn>
                  <a:cxn ang="0">
                    <a:pos x="T2" y="T3"/>
                  </a:cxn>
                  <a:cxn ang="0">
                    <a:pos x="T4" y="T5"/>
                  </a:cxn>
                  <a:cxn ang="0">
                    <a:pos x="T6" y="T7"/>
                  </a:cxn>
                  <a:cxn ang="0">
                    <a:pos x="T8" y="T9"/>
                  </a:cxn>
                </a:cxnLst>
                <a:rect l="0" t="0" r="r" b="b"/>
                <a:pathLst>
                  <a:path w="10" h="75">
                    <a:moveTo>
                      <a:pt x="10" y="75"/>
                    </a:moveTo>
                    <a:lnTo>
                      <a:pt x="0" y="68"/>
                    </a:lnTo>
                    <a:lnTo>
                      <a:pt x="0" y="0"/>
                    </a:lnTo>
                    <a:lnTo>
                      <a:pt x="10" y="6"/>
                    </a:lnTo>
                    <a:lnTo>
                      <a:pt x="10" y="75"/>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42" name="ïṡ1íḑé"/>
              <p:cNvSpPr/>
              <p:nvPr/>
            </p:nvSpPr>
            <p:spPr bwMode="auto">
              <a:xfrm>
                <a:off x="1746" y="2369"/>
                <a:ext cx="10" cy="75"/>
              </a:xfrm>
              <a:custGeom>
                <a:avLst/>
                <a:gdLst>
                  <a:gd name="T0" fmla="*/ 10 w 10"/>
                  <a:gd name="T1" fmla="*/ 75 h 75"/>
                  <a:gd name="T2" fmla="*/ 0 w 10"/>
                  <a:gd name="T3" fmla="*/ 68 h 75"/>
                  <a:gd name="T4" fmla="*/ 0 w 10"/>
                  <a:gd name="T5" fmla="*/ 0 h 75"/>
                  <a:gd name="T6" fmla="*/ 10 w 10"/>
                  <a:gd name="T7" fmla="*/ 6 h 75"/>
                  <a:gd name="T8" fmla="*/ 10 w 10"/>
                  <a:gd name="T9" fmla="*/ 75 h 75"/>
                </a:gdLst>
                <a:ahLst/>
                <a:cxnLst>
                  <a:cxn ang="0">
                    <a:pos x="T0" y="T1"/>
                  </a:cxn>
                  <a:cxn ang="0">
                    <a:pos x="T2" y="T3"/>
                  </a:cxn>
                  <a:cxn ang="0">
                    <a:pos x="T4" y="T5"/>
                  </a:cxn>
                  <a:cxn ang="0">
                    <a:pos x="T6" y="T7"/>
                  </a:cxn>
                  <a:cxn ang="0">
                    <a:pos x="T8" y="T9"/>
                  </a:cxn>
                </a:cxnLst>
                <a:rect l="0" t="0" r="r" b="b"/>
                <a:pathLst>
                  <a:path w="10" h="75">
                    <a:moveTo>
                      <a:pt x="10" y="75"/>
                    </a:moveTo>
                    <a:lnTo>
                      <a:pt x="0" y="68"/>
                    </a:lnTo>
                    <a:lnTo>
                      <a:pt x="0" y="0"/>
                    </a:lnTo>
                    <a:lnTo>
                      <a:pt x="10" y="6"/>
                    </a:lnTo>
                    <a:lnTo>
                      <a:pt x="10" y="7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43" name="ïś1îḋé"/>
              <p:cNvSpPr/>
              <p:nvPr/>
            </p:nvSpPr>
            <p:spPr bwMode="auto">
              <a:xfrm>
                <a:off x="1797" y="2398"/>
                <a:ext cx="10" cy="75"/>
              </a:xfrm>
              <a:custGeom>
                <a:avLst/>
                <a:gdLst>
                  <a:gd name="T0" fmla="*/ 10 w 10"/>
                  <a:gd name="T1" fmla="*/ 75 h 75"/>
                  <a:gd name="T2" fmla="*/ 0 w 10"/>
                  <a:gd name="T3" fmla="*/ 70 h 75"/>
                  <a:gd name="T4" fmla="*/ 0 w 10"/>
                  <a:gd name="T5" fmla="*/ 0 h 75"/>
                  <a:gd name="T6" fmla="*/ 10 w 10"/>
                  <a:gd name="T7" fmla="*/ 7 h 75"/>
                  <a:gd name="T8" fmla="*/ 10 w 10"/>
                  <a:gd name="T9" fmla="*/ 75 h 75"/>
                </a:gdLst>
                <a:ahLst/>
                <a:cxnLst>
                  <a:cxn ang="0">
                    <a:pos x="T0" y="T1"/>
                  </a:cxn>
                  <a:cxn ang="0">
                    <a:pos x="T2" y="T3"/>
                  </a:cxn>
                  <a:cxn ang="0">
                    <a:pos x="T4" y="T5"/>
                  </a:cxn>
                  <a:cxn ang="0">
                    <a:pos x="T6" y="T7"/>
                  </a:cxn>
                  <a:cxn ang="0">
                    <a:pos x="T8" y="T9"/>
                  </a:cxn>
                </a:cxnLst>
                <a:rect l="0" t="0" r="r" b="b"/>
                <a:pathLst>
                  <a:path w="10" h="75">
                    <a:moveTo>
                      <a:pt x="10" y="75"/>
                    </a:moveTo>
                    <a:lnTo>
                      <a:pt x="0" y="70"/>
                    </a:lnTo>
                    <a:lnTo>
                      <a:pt x="0" y="0"/>
                    </a:lnTo>
                    <a:lnTo>
                      <a:pt x="10" y="7"/>
                    </a:lnTo>
                    <a:lnTo>
                      <a:pt x="10" y="75"/>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44" name="iS1îḑe"/>
              <p:cNvSpPr/>
              <p:nvPr/>
            </p:nvSpPr>
            <p:spPr bwMode="auto">
              <a:xfrm>
                <a:off x="1797" y="2398"/>
                <a:ext cx="10" cy="75"/>
              </a:xfrm>
              <a:custGeom>
                <a:avLst/>
                <a:gdLst>
                  <a:gd name="T0" fmla="*/ 10 w 10"/>
                  <a:gd name="T1" fmla="*/ 75 h 75"/>
                  <a:gd name="T2" fmla="*/ 0 w 10"/>
                  <a:gd name="T3" fmla="*/ 70 h 75"/>
                  <a:gd name="T4" fmla="*/ 0 w 10"/>
                  <a:gd name="T5" fmla="*/ 0 h 75"/>
                  <a:gd name="T6" fmla="*/ 10 w 10"/>
                  <a:gd name="T7" fmla="*/ 7 h 75"/>
                  <a:gd name="T8" fmla="*/ 10 w 10"/>
                  <a:gd name="T9" fmla="*/ 75 h 75"/>
                </a:gdLst>
                <a:ahLst/>
                <a:cxnLst>
                  <a:cxn ang="0">
                    <a:pos x="T0" y="T1"/>
                  </a:cxn>
                  <a:cxn ang="0">
                    <a:pos x="T2" y="T3"/>
                  </a:cxn>
                  <a:cxn ang="0">
                    <a:pos x="T4" y="T5"/>
                  </a:cxn>
                  <a:cxn ang="0">
                    <a:pos x="T6" y="T7"/>
                  </a:cxn>
                  <a:cxn ang="0">
                    <a:pos x="T8" y="T9"/>
                  </a:cxn>
                </a:cxnLst>
                <a:rect l="0" t="0" r="r" b="b"/>
                <a:pathLst>
                  <a:path w="10" h="75">
                    <a:moveTo>
                      <a:pt x="10" y="75"/>
                    </a:moveTo>
                    <a:lnTo>
                      <a:pt x="0" y="70"/>
                    </a:lnTo>
                    <a:lnTo>
                      <a:pt x="0" y="0"/>
                    </a:lnTo>
                    <a:lnTo>
                      <a:pt x="10" y="7"/>
                    </a:lnTo>
                    <a:lnTo>
                      <a:pt x="10" y="7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45" name="ïṧlíďê"/>
              <p:cNvSpPr/>
              <p:nvPr/>
            </p:nvSpPr>
            <p:spPr bwMode="auto">
              <a:xfrm>
                <a:off x="1822" y="2414"/>
                <a:ext cx="11" cy="74"/>
              </a:xfrm>
              <a:custGeom>
                <a:avLst/>
                <a:gdLst>
                  <a:gd name="T0" fmla="*/ 11 w 11"/>
                  <a:gd name="T1" fmla="*/ 74 h 74"/>
                  <a:gd name="T2" fmla="*/ 0 w 11"/>
                  <a:gd name="T3" fmla="*/ 67 h 74"/>
                  <a:gd name="T4" fmla="*/ 0 w 11"/>
                  <a:gd name="T5" fmla="*/ 0 h 74"/>
                  <a:gd name="T6" fmla="*/ 11 w 11"/>
                  <a:gd name="T7" fmla="*/ 5 h 74"/>
                  <a:gd name="T8" fmla="*/ 11 w 11"/>
                  <a:gd name="T9" fmla="*/ 74 h 74"/>
                </a:gdLst>
                <a:ahLst/>
                <a:cxnLst>
                  <a:cxn ang="0">
                    <a:pos x="T0" y="T1"/>
                  </a:cxn>
                  <a:cxn ang="0">
                    <a:pos x="T2" y="T3"/>
                  </a:cxn>
                  <a:cxn ang="0">
                    <a:pos x="T4" y="T5"/>
                  </a:cxn>
                  <a:cxn ang="0">
                    <a:pos x="T6" y="T7"/>
                  </a:cxn>
                  <a:cxn ang="0">
                    <a:pos x="T8" y="T9"/>
                  </a:cxn>
                </a:cxnLst>
                <a:rect l="0" t="0" r="r" b="b"/>
                <a:pathLst>
                  <a:path w="11" h="74">
                    <a:moveTo>
                      <a:pt x="11" y="74"/>
                    </a:moveTo>
                    <a:lnTo>
                      <a:pt x="0" y="67"/>
                    </a:lnTo>
                    <a:lnTo>
                      <a:pt x="0" y="0"/>
                    </a:lnTo>
                    <a:lnTo>
                      <a:pt x="11" y="5"/>
                    </a:lnTo>
                    <a:lnTo>
                      <a:pt x="11" y="74"/>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46" name="i$lîďe"/>
              <p:cNvSpPr/>
              <p:nvPr/>
            </p:nvSpPr>
            <p:spPr bwMode="auto">
              <a:xfrm>
                <a:off x="1822" y="2414"/>
                <a:ext cx="11" cy="74"/>
              </a:xfrm>
              <a:custGeom>
                <a:avLst/>
                <a:gdLst>
                  <a:gd name="T0" fmla="*/ 11 w 11"/>
                  <a:gd name="T1" fmla="*/ 74 h 74"/>
                  <a:gd name="T2" fmla="*/ 0 w 11"/>
                  <a:gd name="T3" fmla="*/ 67 h 74"/>
                  <a:gd name="T4" fmla="*/ 0 w 11"/>
                  <a:gd name="T5" fmla="*/ 0 h 74"/>
                  <a:gd name="T6" fmla="*/ 11 w 11"/>
                  <a:gd name="T7" fmla="*/ 5 h 74"/>
                  <a:gd name="T8" fmla="*/ 11 w 11"/>
                  <a:gd name="T9" fmla="*/ 74 h 74"/>
                </a:gdLst>
                <a:ahLst/>
                <a:cxnLst>
                  <a:cxn ang="0">
                    <a:pos x="T0" y="T1"/>
                  </a:cxn>
                  <a:cxn ang="0">
                    <a:pos x="T2" y="T3"/>
                  </a:cxn>
                  <a:cxn ang="0">
                    <a:pos x="T4" y="T5"/>
                  </a:cxn>
                  <a:cxn ang="0">
                    <a:pos x="T6" y="T7"/>
                  </a:cxn>
                  <a:cxn ang="0">
                    <a:pos x="T8" y="T9"/>
                  </a:cxn>
                </a:cxnLst>
                <a:rect l="0" t="0" r="r" b="b"/>
                <a:pathLst>
                  <a:path w="11" h="74">
                    <a:moveTo>
                      <a:pt x="11" y="74"/>
                    </a:moveTo>
                    <a:lnTo>
                      <a:pt x="0" y="67"/>
                    </a:lnTo>
                    <a:lnTo>
                      <a:pt x="0" y="0"/>
                    </a:lnTo>
                    <a:lnTo>
                      <a:pt x="11" y="5"/>
                    </a:lnTo>
                    <a:lnTo>
                      <a:pt x="11" y="7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47" name="îṧlîḓe"/>
              <p:cNvSpPr/>
              <p:nvPr/>
            </p:nvSpPr>
            <p:spPr bwMode="auto">
              <a:xfrm>
                <a:off x="1848" y="2427"/>
                <a:ext cx="10" cy="75"/>
              </a:xfrm>
              <a:custGeom>
                <a:avLst/>
                <a:gdLst>
                  <a:gd name="T0" fmla="*/ 10 w 10"/>
                  <a:gd name="T1" fmla="*/ 75 h 75"/>
                  <a:gd name="T2" fmla="*/ 0 w 10"/>
                  <a:gd name="T3" fmla="*/ 70 h 75"/>
                  <a:gd name="T4" fmla="*/ 0 w 10"/>
                  <a:gd name="T5" fmla="*/ 0 h 75"/>
                  <a:gd name="T6" fmla="*/ 10 w 10"/>
                  <a:gd name="T7" fmla="*/ 7 h 75"/>
                  <a:gd name="T8" fmla="*/ 10 w 10"/>
                  <a:gd name="T9" fmla="*/ 75 h 75"/>
                </a:gdLst>
                <a:ahLst/>
                <a:cxnLst>
                  <a:cxn ang="0">
                    <a:pos x="T0" y="T1"/>
                  </a:cxn>
                  <a:cxn ang="0">
                    <a:pos x="T2" y="T3"/>
                  </a:cxn>
                  <a:cxn ang="0">
                    <a:pos x="T4" y="T5"/>
                  </a:cxn>
                  <a:cxn ang="0">
                    <a:pos x="T6" y="T7"/>
                  </a:cxn>
                  <a:cxn ang="0">
                    <a:pos x="T8" y="T9"/>
                  </a:cxn>
                </a:cxnLst>
                <a:rect l="0" t="0" r="r" b="b"/>
                <a:pathLst>
                  <a:path w="10" h="75">
                    <a:moveTo>
                      <a:pt x="10" y="75"/>
                    </a:moveTo>
                    <a:lnTo>
                      <a:pt x="0" y="70"/>
                    </a:lnTo>
                    <a:lnTo>
                      <a:pt x="0" y="0"/>
                    </a:lnTo>
                    <a:lnTo>
                      <a:pt x="10" y="7"/>
                    </a:lnTo>
                    <a:lnTo>
                      <a:pt x="10" y="75"/>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48" name="ísliḋè"/>
              <p:cNvSpPr/>
              <p:nvPr/>
            </p:nvSpPr>
            <p:spPr bwMode="auto">
              <a:xfrm>
                <a:off x="1848" y="2427"/>
                <a:ext cx="10" cy="75"/>
              </a:xfrm>
              <a:custGeom>
                <a:avLst/>
                <a:gdLst>
                  <a:gd name="T0" fmla="*/ 10 w 10"/>
                  <a:gd name="T1" fmla="*/ 75 h 75"/>
                  <a:gd name="T2" fmla="*/ 0 w 10"/>
                  <a:gd name="T3" fmla="*/ 70 h 75"/>
                  <a:gd name="T4" fmla="*/ 0 w 10"/>
                  <a:gd name="T5" fmla="*/ 0 h 75"/>
                  <a:gd name="T6" fmla="*/ 10 w 10"/>
                  <a:gd name="T7" fmla="*/ 7 h 75"/>
                  <a:gd name="T8" fmla="*/ 10 w 10"/>
                  <a:gd name="T9" fmla="*/ 75 h 75"/>
                </a:gdLst>
                <a:ahLst/>
                <a:cxnLst>
                  <a:cxn ang="0">
                    <a:pos x="T0" y="T1"/>
                  </a:cxn>
                  <a:cxn ang="0">
                    <a:pos x="T2" y="T3"/>
                  </a:cxn>
                  <a:cxn ang="0">
                    <a:pos x="T4" y="T5"/>
                  </a:cxn>
                  <a:cxn ang="0">
                    <a:pos x="T6" y="T7"/>
                  </a:cxn>
                  <a:cxn ang="0">
                    <a:pos x="T8" y="T9"/>
                  </a:cxn>
                </a:cxnLst>
                <a:rect l="0" t="0" r="r" b="b"/>
                <a:pathLst>
                  <a:path w="10" h="75">
                    <a:moveTo>
                      <a:pt x="10" y="75"/>
                    </a:moveTo>
                    <a:lnTo>
                      <a:pt x="0" y="70"/>
                    </a:lnTo>
                    <a:lnTo>
                      <a:pt x="0" y="0"/>
                    </a:lnTo>
                    <a:lnTo>
                      <a:pt x="10" y="7"/>
                    </a:lnTo>
                    <a:lnTo>
                      <a:pt x="10" y="7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49" name="îSļide"/>
              <p:cNvSpPr/>
              <p:nvPr/>
            </p:nvSpPr>
            <p:spPr bwMode="auto">
              <a:xfrm>
                <a:off x="1873" y="2442"/>
                <a:ext cx="11" cy="75"/>
              </a:xfrm>
              <a:custGeom>
                <a:avLst/>
                <a:gdLst>
                  <a:gd name="T0" fmla="*/ 11 w 11"/>
                  <a:gd name="T1" fmla="*/ 75 h 75"/>
                  <a:gd name="T2" fmla="*/ 0 w 11"/>
                  <a:gd name="T3" fmla="*/ 68 h 75"/>
                  <a:gd name="T4" fmla="*/ 0 w 11"/>
                  <a:gd name="T5" fmla="*/ 0 h 75"/>
                  <a:gd name="T6" fmla="*/ 11 w 11"/>
                  <a:gd name="T7" fmla="*/ 6 h 75"/>
                  <a:gd name="T8" fmla="*/ 11 w 11"/>
                  <a:gd name="T9" fmla="*/ 75 h 75"/>
                </a:gdLst>
                <a:ahLst/>
                <a:cxnLst>
                  <a:cxn ang="0">
                    <a:pos x="T0" y="T1"/>
                  </a:cxn>
                  <a:cxn ang="0">
                    <a:pos x="T2" y="T3"/>
                  </a:cxn>
                  <a:cxn ang="0">
                    <a:pos x="T4" y="T5"/>
                  </a:cxn>
                  <a:cxn ang="0">
                    <a:pos x="T6" y="T7"/>
                  </a:cxn>
                  <a:cxn ang="0">
                    <a:pos x="T8" y="T9"/>
                  </a:cxn>
                </a:cxnLst>
                <a:rect l="0" t="0" r="r" b="b"/>
                <a:pathLst>
                  <a:path w="11" h="75">
                    <a:moveTo>
                      <a:pt x="11" y="75"/>
                    </a:moveTo>
                    <a:lnTo>
                      <a:pt x="0" y="68"/>
                    </a:lnTo>
                    <a:lnTo>
                      <a:pt x="0" y="0"/>
                    </a:lnTo>
                    <a:lnTo>
                      <a:pt x="11" y="6"/>
                    </a:lnTo>
                    <a:lnTo>
                      <a:pt x="11" y="75"/>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50" name="íṩľídê"/>
              <p:cNvSpPr/>
              <p:nvPr/>
            </p:nvSpPr>
            <p:spPr bwMode="auto">
              <a:xfrm>
                <a:off x="1873" y="2442"/>
                <a:ext cx="11" cy="75"/>
              </a:xfrm>
              <a:custGeom>
                <a:avLst/>
                <a:gdLst>
                  <a:gd name="T0" fmla="*/ 11 w 11"/>
                  <a:gd name="T1" fmla="*/ 75 h 75"/>
                  <a:gd name="T2" fmla="*/ 0 w 11"/>
                  <a:gd name="T3" fmla="*/ 68 h 75"/>
                  <a:gd name="T4" fmla="*/ 0 w 11"/>
                  <a:gd name="T5" fmla="*/ 0 h 75"/>
                  <a:gd name="T6" fmla="*/ 11 w 11"/>
                  <a:gd name="T7" fmla="*/ 6 h 75"/>
                  <a:gd name="T8" fmla="*/ 11 w 11"/>
                  <a:gd name="T9" fmla="*/ 75 h 75"/>
                </a:gdLst>
                <a:ahLst/>
                <a:cxnLst>
                  <a:cxn ang="0">
                    <a:pos x="T0" y="T1"/>
                  </a:cxn>
                  <a:cxn ang="0">
                    <a:pos x="T2" y="T3"/>
                  </a:cxn>
                  <a:cxn ang="0">
                    <a:pos x="T4" y="T5"/>
                  </a:cxn>
                  <a:cxn ang="0">
                    <a:pos x="T6" y="T7"/>
                  </a:cxn>
                  <a:cxn ang="0">
                    <a:pos x="T8" y="T9"/>
                  </a:cxn>
                </a:cxnLst>
                <a:rect l="0" t="0" r="r" b="b"/>
                <a:pathLst>
                  <a:path w="11" h="75">
                    <a:moveTo>
                      <a:pt x="11" y="75"/>
                    </a:moveTo>
                    <a:lnTo>
                      <a:pt x="0" y="68"/>
                    </a:lnTo>
                    <a:lnTo>
                      <a:pt x="0" y="0"/>
                    </a:lnTo>
                    <a:lnTo>
                      <a:pt x="11" y="6"/>
                    </a:lnTo>
                    <a:lnTo>
                      <a:pt x="11" y="7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51" name="ïṩľíḍè"/>
              <p:cNvSpPr/>
              <p:nvPr/>
            </p:nvSpPr>
            <p:spPr bwMode="auto">
              <a:xfrm>
                <a:off x="1924" y="2471"/>
                <a:ext cx="11" cy="75"/>
              </a:xfrm>
              <a:custGeom>
                <a:avLst/>
                <a:gdLst>
                  <a:gd name="T0" fmla="*/ 11 w 11"/>
                  <a:gd name="T1" fmla="*/ 75 h 75"/>
                  <a:gd name="T2" fmla="*/ 0 w 11"/>
                  <a:gd name="T3" fmla="*/ 70 h 75"/>
                  <a:gd name="T4" fmla="*/ 0 w 11"/>
                  <a:gd name="T5" fmla="*/ 0 h 75"/>
                  <a:gd name="T6" fmla="*/ 11 w 11"/>
                  <a:gd name="T7" fmla="*/ 7 h 75"/>
                  <a:gd name="T8" fmla="*/ 11 w 11"/>
                  <a:gd name="T9" fmla="*/ 75 h 75"/>
                </a:gdLst>
                <a:ahLst/>
                <a:cxnLst>
                  <a:cxn ang="0">
                    <a:pos x="T0" y="T1"/>
                  </a:cxn>
                  <a:cxn ang="0">
                    <a:pos x="T2" y="T3"/>
                  </a:cxn>
                  <a:cxn ang="0">
                    <a:pos x="T4" y="T5"/>
                  </a:cxn>
                  <a:cxn ang="0">
                    <a:pos x="T6" y="T7"/>
                  </a:cxn>
                  <a:cxn ang="0">
                    <a:pos x="T8" y="T9"/>
                  </a:cxn>
                </a:cxnLst>
                <a:rect l="0" t="0" r="r" b="b"/>
                <a:pathLst>
                  <a:path w="11" h="75">
                    <a:moveTo>
                      <a:pt x="11" y="75"/>
                    </a:moveTo>
                    <a:lnTo>
                      <a:pt x="0" y="70"/>
                    </a:lnTo>
                    <a:lnTo>
                      <a:pt x="0" y="0"/>
                    </a:lnTo>
                    <a:lnTo>
                      <a:pt x="11" y="7"/>
                    </a:lnTo>
                    <a:lnTo>
                      <a:pt x="11" y="75"/>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52" name="íṩľïdè"/>
              <p:cNvSpPr/>
              <p:nvPr/>
            </p:nvSpPr>
            <p:spPr bwMode="auto">
              <a:xfrm>
                <a:off x="1924" y="2471"/>
                <a:ext cx="11" cy="75"/>
              </a:xfrm>
              <a:custGeom>
                <a:avLst/>
                <a:gdLst>
                  <a:gd name="T0" fmla="*/ 11 w 11"/>
                  <a:gd name="T1" fmla="*/ 75 h 75"/>
                  <a:gd name="T2" fmla="*/ 0 w 11"/>
                  <a:gd name="T3" fmla="*/ 70 h 75"/>
                  <a:gd name="T4" fmla="*/ 0 w 11"/>
                  <a:gd name="T5" fmla="*/ 0 h 75"/>
                  <a:gd name="T6" fmla="*/ 11 w 11"/>
                  <a:gd name="T7" fmla="*/ 7 h 75"/>
                  <a:gd name="T8" fmla="*/ 11 w 11"/>
                  <a:gd name="T9" fmla="*/ 75 h 75"/>
                </a:gdLst>
                <a:ahLst/>
                <a:cxnLst>
                  <a:cxn ang="0">
                    <a:pos x="T0" y="T1"/>
                  </a:cxn>
                  <a:cxn ang="0">
                    <a:pos x="T2" y="T3"/>
                  </a:cxn>
                  <a:cxn ang="0">
                    <a:pos x="T4" y="T5"/>
                  </a:cxn>
                  <a:cxn ang="0">
                    <a:pos x="T6" y="T7"/>
                  </a:cxn>
                  <a:cxn ang="0">
                    <a:pos x="T8" y="T9"/>
                  </a:cxn>
                </a:cxnLst>
                <a:rect l="0" t="0" r="r" b="b"/>
                <a:pathLst>
                  <a:path w="11" h="75">
                    <a:moveTo>
                      <a:pt x="11" y="75"/>
                    </a:moveTo>
                    <a:lnTo>
                      <a:pt x="0" y="70"/>
                    </a:lnTo>
                    <a:lnTo>
                      <a:pt x="0" y="0"/>
                    </a:lnTo>
                    <a:lnTo>
                      <a:pt x="11" y="7"/>
                    </a:lnTo>
                    <a:lnTo>
                      <a:pt x="11" y="7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53" name="íṩľïdè"/>
              <p:cNvSpPr/>
              <p:nvPr/>
            </p:nvSpPr>
            <p:spPr bwMode="auto">
              <a:xfrm>
                <a:off x="1950" y="2487"/>
                <a:ext cx="10" cy="74"/>
              </a:xfrm>
              <a:custGeom>
                <a:avLst/>
                <a:gdLst>
                  <a:gd name="T0" fmla="*/ 10 w 10"/>
                  <a:gd name="T1" fmla="*/ 74 h 74"/>
                  <a:gd name="T2" fmla="*/ 0 w 10"/>
                  <a:gd name="T3" fmla="*/ 67 h 74"/>
                  <a:gd name="T4" fmla="*/ 0 w 10"/>
                  <a:gd name="T5" fmla="*/ 0 h 74"/>
                  <a:gd name="T6" fmla="*/ 10 w 10"/>
                  <a:gd name="T7" fmla="*/ 5 h 74"/>
                  <a:gd name="T8" fmla="*/ 10 w 10"/>
                  <a:gd name="T9" fmla="*/ 74 h 74"/>
                </a:gdLst>
                <a:ahLst/>
                <a:cxnLst>
                  <a:cxn ang="0">
                    <a:pos x="T0" y="T1"/>
                  </a:cxn>
                  <a:cxn ang="0">
                    <a:pos x="T2" y="T3"/>
                  </a:cxn>
                  <a:cxn ang="0">
                    <a:pos x="T4" y="T5"/>
                  </a:cxn>
                  <a:cxn ang="0">
                    <a:pos x="T6" y="T7"/>
                  </a:cxn>
                  <a:cxn ang="0">
                    <a:pos x="T8" y="T9"/>
                  </a:cxn>
                </a:cxnLst>
                <a:rect l="0" t="0" r="r" b="b"/>
                <a:pathLst>
                  <a:path w="10" h="74">
                    <a:moveTo>
                      <a:pt x="10" y="74"/>
                    </a:moveTo>
                    <a:lnTo>
                      <a:pt x="0" y="67"/>
                    </a:lnTo>
                    <a:lnTo>
                      <a:pt x="0" y="0"/>
                    </a:lnTo>
                    <a:lnTo>
                      <a:pt x="10" y="5"/>
                    </a:lnTo>
                    <a:lnTo>
                      <a:pt x="10" y="74"/>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54" name="ïṧľïďê"/>
              <p:cNvSpPr/>
              <p:nvPr/>
            </p:nvSpPr>
            <p:spPr bwMode="auto">
              <a:xfrm>
                <a:off x="1950" y="2487"/>
                <a:ext cx="10" cy="74"/>
              </a:xfrm>
              <a:custGeom>
                <a:avLst/>
                <a:gdLst>
                  <a:gd name="T0" fmla="*/ 10 w 10"/>
                  <a:gd name="T1" fmla="*/ 74 h 74"/>
                  <a:gd name="T2" fmla="*/ 0 w 10"/>
                  <a:gd name="T3" fmla="*/ 67 h 74"/>
                  <a:gd name="T4" fmla="*/ 0 w 10"/>
                  <a:gd name="T5" fmla="*/ 0 h 74"/>
                  <a:gd name="T6" fmla="*/ 10 w 10"/>
                  <a:gd name="T7" fmla="*/ 5 h 74"/>
                  <a:gd name="T8" fmla="*/ 10 w 10"/>
                  <a:gd name="T9" fmla="*/ 74 h 74"/>
                </a:gdLst>
                <a:ahLst/>
                <a:cxnLst>
                  <a:cxn ang="0">
                    <a:pos x="T0" y="T1"/>
                  </a:cxn>
                  <a:cxn ang="0">
                    <a:pos x="T2" y="T3"/>
                  </a:cxn>
                  <a:cxn ang="0">
                    <a:pos x="T4" y="T5"/>
                  </a:cxn>
                  <a:cxn ang="0">
                    <a:pos x="T6" y="T7"/>
                  </a:cxn>
                  <a:cxn ang="0">
                    <a:pos x="T8" y="T9"/>
                  </a:cxn>
                </a:cxnLst>
                <a:rect l="0" t="0" r="r" b="b"/>
                <a:pathLst>
                  <a:path w="10" h="74">
                    <a:moveTo>
                      <a:pt x="10" y="74"/>
                    </a:moveTo>
                    <a:lnTo>
                      <a:pt x="0" y="67"/>
                    </a:lnTo>
                    <a:lnTo>
                      <a:pt x="0" y="0"/>
                    </a:lnTo>
                    <a:lnTo>
                      <a:pt x="10" y="5"/>
                    </a:lnTo>
                    <a:lnTo>
                      <a:pt x="10" y="7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55" name="iş1idè"/>
              <p:cNvSpPr/>
              <p:nvPr/>
            </p:nvSpPr>
            <p:spPr bwMode="auto">
              <a:xfrm>
                <a:off x="1975" y="2502"/>
                <a:ext cx="11" cy="73"/>
              </a:xfrm>
              <a:custGeom>
                <a:avLst/>
                <a:gdLst>
                  <a:gd name="T0" fmla="*/ 11 w 11"/>
                  <a:gd name="T1" fmla="*/ 73 h 73"/>
                  <a:gd name="T2" fmla="*/ 0 w 11"/>
                  <a:gd name="T3" fmla="*/ 68 h 73"/>
                  <a:gd name="T4" fmla="*/ 0 w 11"/>
                  <a:gd name="T5" fmla="*/ 0 h 73"/>
                  <a:gd name="T6" fmla="*/ 11 w 11"/>
                  <a:gd name="T7" fmla="*/ 5 h 73"/>
                  <a:gd name="T8" fmla="*/ 11 w 11"/>
                  <a:gd name="T9" fmla="*/ 73 h 73"/>
                </a:gdLst>
                <a:ahLst/>
                <a:cxnLst>
                  <a:cxn ang="0">
                    <a:pos x="T0" y="T1"/>
                  </a:cxn>
                  <a:cxn ang="0">
                    <a:pos x="T2" y="T3"/>
                  </a:cxn>
                  <a:cxn ang="0">
                    <a:pos x="T4" y="T5"/>
                  </a:cxn>
                  <a:cxn ang="0">
                    <a:pos x="T6" y="T7"/>
                  </a:cxn>
                  <a:cxn ang="0">
                    <a:pos x="T8" y="T9"/>
                  </a:cxn>
                </a:cxnLst>
                <a:rect l="0" t="0" r="r" b="b"/>
                <a:pathLst>
                  <a:path w="11" h="73">
                    <a:moveTo>
                      <a:pt x="11" y="73"/>
                    </a:moveTo>
                    <a:lnTo>
                      <a:pt x="0" y="68"/>
                    </a:lnTo>
                    <a:lnTo>
                      <a:pt x="0" y="0"/>
                    </a:lnTo>
                    <a:lnTo>
                      <a:pt x="11" y="5"/>
                    </a:lnTo>
                    <a:lnTo>
                      <a:pt x="11" y="73"/>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56" name="ï$ḷíḓè"/>
              <p:cNvSpPr/>
              <p:nvPr/>
            </p:nvSpPr>
            <p:spPr bwMode="auto">
              <a:xfrm>
                <a:off x="1975" y="2502"/>
                <a:ext cx="11" cy="73"/>
              </a:xfrm>
              <a:custGeom>
                <a:avLst/>
                <a:gdLst>
                  <a:gd name="T0" fmla="*/ 11 w 11"/>
                  <a:gd name="T1" fmla="*/ 73 h 73"/>
                  <a:gd name="T2" fmla="*/ 0 w 11"/>
                  <a:gd name="T3" fmla="*/ 68 h 73"/>
                  <a:gd name="T4" fmla="*/ 0 w 11"/>
                  <a:gd name="T5" fmla="*/ 0 h 73"/>
                  <a:gd name="T6" fmla="*/ 11 w 11"/>
                  <a:gd name="T7" fmla="*/ 5 h 73"/>
                  <a:gd name="T8" fmla="*/ 11 w 11"/>
                  <a:gd name="T9" fmla="*/ 73 h 73"/>
                </a:gdLst>
                <a:ahLst/>
                <a:cxnLst>
                  <a:cxn ang="0">
                    <a:pos x="T0" y="T1"/>
                  </a:cxn>
                  <a:cxn ang="0">
                    <a:pos x="T2" y="T3"/>
                  </a:cxn>
                  <a:cxn ang="0">
                    <a:pos x="T4" y="T5"/>
                  </a:cxn>
                  <a:cxn ang="0">
                    <a:pos x="T6" y="T7"/>
                  </a:cxn>
                  <a:cxn ang="0">
                    <a:pos x="T8" y="T9"/>
                  </a:cxn>
                </a:cxnLst>
                <a:rect l="0" t="0" r="r" b="b"/>
                <a:pathLst>
                  <a:path w="11" h="73">
                    <a:moveTo>
                      <a:pt x="11" y="73"/>
                    </a:moveTo>
                    <a:lnTo>
                      <a:pt x="0" y="68"/>
                    </a:lnTo>
                    <a:lnTo>
                      <a:pt x="0" y="0"/>
                    </a:lnTo>
                    <a:lnTo>
                      <a:pt x="11" y="5"/>
                    </a:lnTo>
                    <a:lnTo>
                      <a:pt x="11" y="7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57" name="ïsḷïḓê"/>
              <p:cNvSpPr/>
              <p:nvPr/>
            </p:nvSpPr>
            <p:spPr bwMode="auto">
              <a:xfrm>
                <a:off x="2001" y="2515"/>
                <a:ext cx="10" cy="75"/>
              </a:xfrm>
              <a:custGeom>
                <a:avLst/>
                <a:gdLst>
                  <a:gd name="T0" fmla="*/ 10 w 10"/>
                  <a:gd name="T1" fmla="*/ 75 h 75"/>
                  <a:gd name="T2" fmla="*/ 0 w 10"/>
                  <a:gd name="T3" fmla="*/ 70 h 75"/>
                  <a:gd name="T4" fmla="*/ 0 w 10"/>
                  <a:gd name="T5" fmla="*/ 0 h 75"/>
                  <a:gd name="T6" fmla="*/ 10 w 10"/>
                  <a:gd name="T7" fmla="*/ 7 h 75"/>
                  <a:gd name="T8" fmla="*/ 10 w 10"/>
                  <a:gd name="T9" fmla="*/ 75 h 75"/>
                </a:gdLst>
                <a:ahLst/>
                <a:cxnLst>
                  <a:cxn ang="0">
                    <a:pos x="T0" y="T1"/>
                  </a:cxn>
                  <a:cxn ang="0">
                    <a:pos x="T2" y="T3"/>
                  </a:cxn>
                  <a:cxn ang="0">
                    <a:pos x="T4" y="T5"/>
                  </a:cxn>
                  <a:cxn ang="0">
                    <a:pos x="T6" y="T7"/>
                  </a:cxn>
                  <a:cxn ang="0">
                    <a:pos x="T8" y="T9"/>
                  </a:cxn>
                </a:cxnLst>
                <a:rect l="0" t="0" r="r" b="b"/>
                <a:pathLst>
                  <a:path w="10" h="75">
                    <a:moveTo>
                      <a:pt x="10" y="75"/>
                    </a:moveTo>
                    <a:lnTo>
                      <a:pt x="0" y="70"/>
                    </a:lnTo>
                    <a:lnTo>
                      <a:pt x="0" y="0"/>
                    </a:lnTo>
                    <a:lnTo>
                      <a:pt x="10" y="7"/>
                    </a:lnTo>
                    <a:lnTo>
                      <a:pt x="10" y="75"/>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58" name="iŝḻiḓé"/>
              <p:cNvSpPr/>
              <p:nvPr/>
            </p:nvSpPr>
            <p:spPr bwMode="auto">
              <a:xfrm>
                <a:off x="2001" y="2515"/>
                <a:ext cx="10" cy="75"/>
              </a:xfrm>
              <a:custGeom>
                <a:avLst/>
                <a:gdLst>
                  <a:gd name="T0" fmla="*/ 10 w 10"/>
                  <a:gd name="T1" fmla="*/ 75 h 75"/>
                  <a:gd name="T2" fmla="*/ 0 w 10"/>
                  <a:gd name="T3" fmla="*/ 70 h 75"/>
                  <a:gd name="T4" fmla="*/ 0 w 10"/>
                  <a:gd name="T5" fmla="*/ 0 h 75"/>
                  <a:gd name="T6" fmla="*/ 10 w 10"/>
                  <a:gd name="T7" fmla="*/ 7 h 75"/>
                  <a:gd name="T8" fmla="*/ 10 w 10"/>
                  <a:gd name="T9" fmla="*/ 75 h 75"/>
                </a:gdLst>
                <a:ahLst/>
                <a:cxnLst>
                  <a:cxn ang="0">
                    <a:pos x="T0" y="T1"/>
                  </a:cxn>
                  <a:cxn ang="0">
                    <a:pos x="T2" y="T3"/>
                  </a:cxn>
                  <a:cxn ang="0">
                    <a:pos x="T4" y="T5"/>
                  </a:cxn>
                  <a:cxn ang="0">
                    <a:pos x="T6" y="T7"/>
                  </a:cxn>
                  <a:cxn ang="0">
                    <a:pos x="T8" y="T9"/>
                  </a:cxn>
                </a:cxnLst>
                <a:rect l="0" t="0" r="r" b="b"/>
                <a:pathLst>
                  <a:path w="10" h="75">
                    <a:moveTo>
                      <a:pt x="10" y="75"/>
                    </a:moveTo>
                    <a:lnTo>
                      <a:pt x="0" y="70"/>
                    </a:lnTo>
                    <a:lnTo>
                      <a:pt x="0" y="0"/>
                    </a:lnTo>
                    <a:lnTo>
                      <a:pt x="10" y="7"/>
                    </a:lnTo>
                    <a:lnTo>
                      <a:pt x="10" y="7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59" name="ïṥľïḓè"/>
              <p:cNvSpPr/>
              <p:nvPr/>
            </p:nvSpPr>
            <p:spPr bwMode="auto">
              <a:xfrm>
                <a:off x="2052" y="2544"/>
                <a:ext cx="10" cy="75"/>
              </a:xfrm>
              <a:custGeom>
                <a:avLst/>
                <a:gdLst>
                  <a:gd name="T0" fmla="*/ 10 w 10"/>
                  <a:gd name="T1" fmla="*/ 75 h 75"/>
                  <a:gd name="T2" fmla="*/ 0 w 10"/>
                  <a:gd name="T3" fmla="*/ 70 h 75"/>
                  <a:gd name="T4" fmla="*/ 0 w 10"/>
                  <a:gd name="T5" fmla="*/ 0 h 75"/>
                  <a:gd name="T6" fmla="*/ 10 w 10"/>
                  <a:gd name="T7" fmla="*/ 7 h 75"/>
                  <a:gd name="T8" fmla="*/ 10 w 10"/>
                  <a:gd name="T9" fmla="*/ 75 h 75"/>
                </a:gdLst>
                <a:ahLst/>
                <a:cxnLst>
                  <a:cxn ang="0">
                    <a:pos x="T0" y="T1"/>
                  </a:cxn>
                  <a:cxn ang="0">
                    <a:pos x="T2" y="T3"/>
                  </a:cxn>
                  <a:cxn ang="0">
                    <a:pos x="T4" y="T5"/>
                  </a:cxn>
                  <a:cxn ang="0">
                    <a:pos x="T6" y="T7"/>
                  </a:cxn>
                  <a:cxn ang="0">
                    <a:pos x="T8" y="T9"/>
                  </a:cxn>
                </a:cxnLst>
                <a:rect l="0" t="0" r="r" b="b"/>
                <a:pathLst>
                  <a:path w="10" h="75">
                    <a:moveTo>
                      <a:pt x="10" y="75"/>
                    </a:moveTo>
                    <a:lnTo>
                      <a:pt x="0" y="70"/>
                    </a:lnTo>
                    <a:lnTo>
                      <a:pt x="0" y="0"/>
                    </a:lnTo>
                    <a:lnTo>
                      <a:pt x="10" y="7"/>
                    </a:lnTo>
                    <a:lnTo>
                      <a:pt x="10" y="75"/>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60" name="ísļîdè"/>
              <p:cNvSpPr/>
              <p:nvPr/>
            </p:nvSpPr>
            <p:spPr bwMode="auto">
              <a:xfrm>
                <a:off x="2052" y="2544"/>
                <a:ext cx="10" cy="75"/>
              </a:xfrm>
              <a:custGeom>
                <a:avLst/>
                <a:gdLst>
                  <a:gd name="T0" fmla="*/ 10 w 10"/>
                  <a:gd name="T1" fmla="*/ 75 h 75"/>
                  <a:gd name="T2" fmla="*/ 0 w 10"/>
                  <a:gd name="T3" fmla="*/ 70 h 75"/>
                  <a:gd name="T4" fmla="*/ 0 w 10"/>
                  <a:gd name="T5" fmla="*/ 0 h 75"/>
                  <a:gd name="T6" fmla="*/ 10 w 10"/>
                  <a:gd name="T7" fmla="*/ 7 h 75"/>
                  <a:gd name="T8" fmla="*/ 10 w 10"/>
                  <a:gd name="T9" fmla="*/ 75 h 75"/>
                </a:gdLst>
                <a:ahLst/>
                <a:cxnLst>
                  <a:cxn ang="0">
                    <a:pos x="T0" y="T1"/>
                  </a:cxn>
                  <a:cxn ang="0">
                    <a:pos x="T2" y="T3"/>
                  </a:cxn>
                  <a:cxn ang="0">
                    <a:pos x="T4" y="T5"/>
                  </a:cxn>
                  <a:cxn ang="0">
                    <a:pos x="T6" y="T7"/>
                  </a:cxn>
                  <a:cxn ang="0">
                    <a:pos x="T8" y="T9"/>
                  </a:cxn>
                </a:cxnLst>
                <a:rect l="0" t="0" r="r" b="b"/>
                <a:pathLst>
                  <a:path w="10" h="75">
                    <a:moveTo>
                      <a:pt x="10" y="75"/>
                    </a:moveTo>
                    <a:lnTo>
                      <a:pt x="0" y="70"/>
                    </a:lnTo>
                    <a:lnTo>
                      <a:pt x="0" y="0"/>
                    </a:lnTo>
                    <a:lnTo>
                      <a:pt x="10" y="7"/>
                    </a:lnTo>
                    <a:lnTo>
                      <a:pt x="10" y="7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61" name="íṡlidê"/>
              <p:cNvSpPr/>
              <p:nvPr/>
            </p:nvSpPr>
            <p:spPr bwMode="auto">
              <a:xfrm>
                <a:off x="2077" y="2559"/>
                <a:ext cx="11" cy="75"/>
              </a:xfrm>
              <a:custGeom>
                <a:avLst/>
                <a:gdLst>
                  <a:gd name="T0" fmla="*/ 11 w 11"/>
                  <a:gd name="T1" fmla="*/ 75 h 75"/>
                  <a:gd name="T2" fmla="*/ 0 w 11"/>
                  <a:gd name="T3" fmla="*/ 68 h 75"/>
                  <a:gd name="T4" fmla="*/ 0 w 11"/>
                  <a:gd name="T5" fmla="*/ 0 h 75"/>
                  <a:gd name="T6" fmla="*/ 11 w 11"/>
                  <a:gd name="T7" fmla="*/ 6 h 75"/>
                  <a:gd name="T8" fmla="*/ 11 w 11"/>
                  <a:gd name="T9" fmla="*/ 75 h 75"/>
                </a:gdLst>
                <a:ahLst/>
                <a:cxnLst>
                  <a:cxn ang="0">
                    <a:pos x="T0" y="T1"/>
                  </a:cxn>
                  <a:cxn ang="0">
                    <a:pos x="T2" y="T3"/>
                  </a:cxn>
                  <a:cxn ang="0">
                    <a:pos x="T4" y="T5"/>
                  </a:cxn>
                  <a:cxn ang="0">
                    <a:pos x="T6" y="T7"/>
                  </a:cxn>
                  <a:cxn ang="0">
                    <a:pos x="T8" y="T9"/>
                  </a:cxn>
                </a:cxnLst>
                <a:rect l="0" t="0" r="r" b="b"/>
                <a:pathLst>
                  <a:path w="11" h="75">
                    <a:moveTo>
                      <a:pt x="11" y="75"/>
                    </a:moveTo>
                    <a:lnTo>
                      <a:pt x="0" y="68"/>
                    </a:lnTo>
                    <a:lnTo>
                      <a:pt x="0" y="0"/>
                    </a:lnTo>
                    <a:lnTo>
                      <a:pt x="11" y="6"/>
                    </a:lnTo>
                    <a:lnTo>
                      <a:pt x="11" y="75"/>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62" name="îşḷidê"/>
              <p:cNvSpPr/>
              <p:nvPr/>
            </p:nvSpPr>
            <p:spPr bwMode="auto">
              <a:xfrm>
                <a:off x="2077" y="2559"/>
                <a:ext cx="11" cy="75"/>
              </a:xfrm>
              <a:custGeom>
                <a:avLst/>
                <a:gdLst>
                  <a:gd name="T0" fmla="*/ 11 w 11"/>
                  <a:gd name="T1" fmla="*/ 75 h 75"/>
                  <a:gd name="T2" fmla="*/ 0 w 11"/>
                  <a:gd name="T3" fmla="*/ 68 h 75"/>
                  <a:gd name="T4" fmla="*/ 0 w 11"/>
                  <a:gd name="T5" fmla="*/ 0 h 75"/>
                  <a:gd name="T6" fmla="*/ 11 w 11"/>
                  <a:gd name="T7" fmla="*/ 6 h 75"/>
                  <a:gd name="T8" fmla="*/ 11 w 11"/>
                  <a:gd name="T9" fmla="*/ 75 h 75"/>
                </a:gdLst>
                <a:ahLst/>
                <a:cxnLst>
                  <a:cxn ang="0">
                    <a:pos x="T0" y="T1"/>
                  </a:cxn>
                  <a:cxn ang="0">
                    <a:pos x="T2" y="T3"/>
                  </a:cxn>
                  <a:cxn ang="0">
                    <a:pos x="T4" y="T5"/>
                  </a:cxn>
                  <a:cxn ang="0">
                    <a:pos x="T6" y="T7"/>
                  </a:cxn>
                  <a:cxn ang="0">
                    <a:pos x="T8" y="T9"/>
                  </a:cxn>
                </a:cxnLst>
                <a:rect l="0" t="0" r="r" b="b"/>
                <a:pathLst>
                  <a:path w="11" h="75">
                    <a:moveTo>
                      <a:pt x="11" y="75"/>
                    </a:moveTo>
                    <a:lnTo>
                      <a:pt x="0" y="68"/>
                    </a:lnTo>
                    <a:lnTo>
                      <a:pt x="0" y="0"/>
                    </a:lnTo>
                    <a:lnTo>
                      <a:pt x="11" y="6"/>
                    </a:lnTo>
                    <a:lnTo>
                      <a:pt x="11" y="7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63" name="îş1îḓe"/>
              <p:cNvSpPr/>
              <p:nvPr/>
            </p:nvSpPr>
            <p:spPr bwMode="auto">
              <a:xfrm>
                <a:off x="2103" y="2575"/>
                <a:ext cx="10" cy="74"/>
              </a:xfrm>
              <a:custGeom>
                <a:avLst/>
                <a:gdLst>
                  <a:gd name="T0" fmla="*/ 10 w 10"/>
                  <a:gd name="T1" fmla="*/ 74 h 74"/>
                  <a:gd name="T2" fmla="*/ 0 w 10"/>
                  <a:gd name="T3" fmla="*/ 68 h 74"/>
                  <a:gd name="T4" fmla="*/ 0 w 10"/>
                  <a:gd name="T5" fmla="*/ 0 h 74"/>
                  <a:gd name="T6" fmla="*/ 10 w 10"/>
                  <a:gd name="T7" fmla="*/ 5 h 74"/>
                  <a:gd name="T8" fmla="*/ 10 w 10"/>
                  <a:gd name="T9" fmla="*/ 74 h 74"/>
                </a:gdLst>
                <a:ahLst/>
                <a:cxnLst>
                  <a:cxn ang="0">
                    <a:pos x="T0" y="T1"/>
                  </a:cxn>
                  <a:cxn ang="0">
                    <a:pos x="T2" y="T3"/>
                  </a:cxn>
                  <a:cxn ang="0">
                    <a:pos x="T4" y="T5"/>
                  </a:cxn>
                  <a:cxn ang="0">
                    <a:pos x="T6" y="T7"/>
                  </a:cxn>
                  <a:cxn ang="0">
                    <a:pos x="T8" y="T9"/>
                  </a:cxn>
                </a:cxnLst>
                <a:rect l="0" t="0" r="r" b="b"/>
                <a:pathLst>
                  <a:path w="10" h="74">
                    <a:moveTo>
                      <a:pt x="10" y="74"/>
                    </a:moveTo>
                    <a:lnTo>
                      <a:pt x="0" y="68"/>
                    </a:lnTo>
                    <a:lnTo>
                      <a:pt x="0" y="0"/>
                    </a:lnTo>
                    <a:lnTo>
                      <a:pt x="10" y="5"/>
                    </a:lnTo>
                    <a:lnTo>
                      <a:pt x="10" y="74"/>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64" name="ïS1íḋé"/>
              <p:cNvSpPr/>
              <p:nvPr/>
            </p:nvSpPr>
            <p:spPr bwMode="auto">
              <a:xfrm>
                <a:off x="2103" y="2575"/>
                <a:ext cx="10" cy="74"/>
              </a:xfrm>
              <a:custGeom>
                <a:avLst/>
                <a:gdLst>
                  <a:gd name="T0" fmla="*/ 10 w 10"/>
                  <a:gd name="T1" fmla="*/ 74 h 74"/>
                  <a:gd name="T2" fmla="*/ 0 w 10"/>
                  <a:gd name="T3" fmla="*/ 68 h 74"/>
                  <a:gd name="T4" fmla="*/ 0 w 10"/>
                  <a:gd name="T5" fmla="*/ 0 h 74"/>
                  <a:gd name="T6" fmla="*/ 10 w 10"/>
                  <a:gd name="T7" fmla="*/ 5 h 74"/>
                  <a:gd name="T8" fmla="*/ 10 w 10"/>
                  <a:gd name="T9" fmla="*/ 74 h 74"/>
                </a:gdLst>
                <a:ahLst/>
                <a:cxnLst>
                  <a:cxn ang="0">
                    <a:pos x="T0" y="T1"/>
                  </a:cxn>
                  <a:cxn ang="0">
                    <a:pos x="T2" y="T3"/>
                  </a:cxn>
                  <a:cxn ang="0">
                    <a:pos x="T4" y="T5"/>
                  </a:cxn>
                  <a:cxn ang="0">
                    <a:pos x="T6" y="T7"/>
                  </a:cxn>
                  <a:cxn ang="0">
                    <a:pos x="T8" y="T9"/>
                  </a:cxn>
                </a:cxnLst>
                <a:rect l="0" t="0" r="r" b="b"/>
                <a:pathLst>
                  <a:path w="10" h="74">
                    <a:moveTo>
                      <a:pt x="10" y="74"/>
                    </a:moveTo>
                    <a:lnTo>
                      <a:pt x="0" y="68"/>
                    </a:lnTo>
                    <a:lnTo>
                      <a:pt x="0" y="0"/>
                    </a:lnTo>
                    <a:lnTo>
                      <a:pt x="10" y="5"/>
                    </a:lnTo>
                    <a:lnTo>
                      <a:pt x="10" y="7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65" name="išļídé"/>
              <p:cNvSpPr/>
              <p:nvPr/>
            </p:nvSpPr>
            <p:spPr bwMode="auto">
              <a:xfrm>
                <a:off x="2128" y="2588"/>
                <a:ext cx="10" cy="75"/>
              </a:xfrm>
              <a:custGeom>
                <a:avLst/>
                <a:gdLst>
                  <a:gd name="T0" fmla="*/ 10 w 10"/>
                  <a:gd name="T1" fmla="*/ 75 h 75"/>
                  <a:gd name="T2" fmla="*/ 0 w 10"/>
                  <a:gd name="T3" fmla="*/ 70 h 75"/>
                  <a:gd name="T4" fmla="*/ 0 w 10"/>
                  <a:gd name="T5" fmla="*/ 0 h 75"/>
                  <a:gd name="T6" fmla="*/ 10 w 10"/>
                  <a:gd name="T7" fmla="*/ 7 h 75"/>
                  <a:gd name="T8" fmla="*/ 10 w 10"/>
                  <a:gd name="T9" fmla="*/ 75 h 75"/>
                </a:gdLst>
                <a:ahLst/>
                <a:cxnLst>
                  <a:cxn ang="0">
                    <a:pos x="T0" y="T1"/>
                  </a:cxn>
                  <a:cxn ang="0">
                    <a:pos x="T2" y="T3"/>
                  </a:cxn>
                  <a:cxn ang="0">
                    <a:pos x="T4" y="T5"/>
                  </a:cxn>
                  <a:cxn ang="0">
                    <a:pos x="T6" y="T7"/>
                  </a:cxn>
                  <a:cxn ang="0">
                    <a:pos x="T8" y="T9"/>
                  </a:cxn>
                </a:cxnLst>
                <a:rect l="0" t="0" r="r" b="b"/>
                <a:pathLst>
                  <a:path w="10" h="75">
                    <a:moveTo>
                      <a:pt x="10" y="75"/>
                    </a:moveTo>
                    <a:lnTo>
                      <a:pt x="0" y="70"/>
                    </a:lnTo>
                    <a:lnTo>
                      <a:pt x="0" y="0"/>
                    </a:lnTo>
                    <a:lnTo>
                      <a:pt x="10" y="7"/>
                    </a:lnTo>
                    <a:lnTo>
                      <a:pt x="10" y="75"/>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66" name="î$1íḍè"/>
              <p:cNvSpPr/>
              <p:nvPr/>
            </p:nvSpPr>
            <p:spPr bwMode="auto">
              <a:xfrm>
                <a:off x="2128" y="2588"/>
                <a:ext cx="10" cy="75"/>
              </a:xfrm>
              <a:custGeom>
                <a:avLst/>
                <a:gdLst>
                  <a:gd name="T0" fmla="*/ 10 w 10"/>
                  <a:gd name="T1" fmla="*/ 75 h 75"/>
                  <a:gd name="T2" fmla="*/ 0 w 10"/>
                  <a:gd name="T3" fmla="*/ 70 h 75"/>
                  <a:gd name="T4" fmla="*/ 0 w 10"/>
                  <a:gd name="T5" fmla="*/ 0 h 75"/>
                  <a:gd name="T6" fmla="*/ 10 w 10"/>
                  <a:gd name="T7" fmla="*/ 7 h 75"/>
                  <a:gd name="T8" fmla="*/ 10 w 10"/>
                  <a:gd name="T9" fmla="*/ 75 h 75"/>
                </a:gdLst>
                <a:ahLst/>
                <a:cxnLst>
                  <a:cxn ang="0">
                    <a:pos x="T0" y="T1"/>
                  </a:cxn>
                  <a:cxn ang="0">
                    <a:pos x="T2" y="T3"/>
                  </a:cxn>
                  <a:cxn ang="0">
                    <a:pos x="T4" y="T5"/>
                  </a:cxn>
                  <a:cxn ang="0">
                    <a:pos x="T6" y="T7"/>
                  </a:cxn>
                  <a:cxn ang="0">
                    <a:pos x="T8" y="T9"/>
                  </a:cxn>
                </a:cxnLst>
                <a:rect l="0" t="0" r="r" b="b"/>
                <a:pathLst>
                  <a:path w="10" h="75">
                    <a:moveTo>
                      <a:pt x="10" y="75"/>
                    </a:moveTo>
                    <a:lnTo>
                      <a:pt x="0" y="70"/>
                    </a:lnTo>
                    <a:lnTo>
                      <a:pt x="0" y="0"/>
                    </a:lnTo>
                    <a:lnTo>
                      <a:pt x="10" y="7"/>
                    </a:lnTo>
                    <a:lnTo>
                      <a:pt x="10" y="7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67" name="îşļiḍê"/>
              <p:cNvSpPr/>
              <p:nvPr/>
            </p:nvSpPr>
            <p:spPr bwMode="auto">
              <a:xfrm>
                <a:off x="2179" y="2619"/>
                <a:ext cx="9" cy="73"/>
              </a:xfrm>
              <a:custGeom>
                <a:avLst/>
                <a:gdLst>
                  <a:gd name="T0" fmla="*/ 9 w 9"/>
                  <a:gd name="T1" fmla="*/ 73 h 73"/>
                  <a:gd name="T2" fmla="*/ 0 w 9"/>
                  <a:gd name="T3" fmla="*/ 68 h 73"/>
                  <a:gd name="T4" fmla="*/ 0 w 9"/>
                  <a:gd name="T5" fmla="*/ 0 h 73"/>
                  <a:gd name="T6" fmla="*/ 9 w 9"/>
                  <a:gd name="T7" fmla="*/ 5 h 73"/>
                  <a:gd name="T8" fmla="*/ 9 w 9"/>
                  <a:gd name="T9" fmla="*/ 73 h 73"/>
                </a:gdLst>
                <a:ahLst/>
                <a:cxnLst>
                  <a:cxn ang="0">
                    <a:pos x="T0" y="T1"/>
                  </a:cxn>
                  <a:cxn ang="0">
                    <a:pos x="T2" y="T3"/>
                  </a:cxn>
                  <a:cxn ang="0">
                    <a:pos x="T4" y="T5"/>
                  </a:cxn>
                  <a:cxn ang="0">
                    <a:pos x="T6" y="T7"/>
                  </a:cxn>
                  <a:cxn ang="0">
                    <a:pos x="T8" y="T9"/>
                  </a:cxn>
                </a:cxnLst>
                <a:rect l="0" t="0" r="r" b="b"/>
                <a:pathLst>
                  <a:path w="9" h="73">
                    <a:moveTo>
                      <a:pt x="9" y="73"/>
                    </a:moveTo>
                    <a:lnTo>
                      <a:pt x="0" y="68"/>
                    </a:lnTo>
                    <a:lnTo>
                      <a:pt x="0" y="0"/>
                    </a:lnTo>
                    <a:lnTo>
                      <a:pt x="9" y="5"/>
                    </a:lnTo>
                    <a:lnTo>
                      <a:pt x="9" y="73"/>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68" name="ïṧľíḋé"/>
              <p:cNvSpPr/>
              <p:nvPr/>
            </p:nvSpPr>
            <p:spPr bwMode="auto">
              <a:xfrm>
                <a:off x="2179" y="2619"/>
                <a:ext cx="9" cy="73"/>
              </a:xfrm>
              <a:custGeom>
                <a:avLst/>
                <a:gdLst>
                  <a:gd name="T0" fmla="*/ 9 w 9"/>
                  <a:gd name="T1" fmla="*/ 73 h 73"/>
                  <a:gd name="T2" fmla="*/ 0 w 9"/>
                  <a:gd name="T3" fmla="*/ 68 h 73"/>
                  <a:gd name="T4" fmla="*/ 0 w 9"/>
                  <a:gd name="T5" fmla="*/ 0 h 73"/>
                  <a:gd name="T6" fmla="*/ 9 w 9"/>
                  <a:gd name="T7" fmla="*/ 5 h 73"/>
                  <a:gd name="T8" fmla="*/ 9 w 9"/>
                  <a:gd name="T9" fmla="*/ 73 h 73"/>
                </a:gdLst>
                <a:ahLst/>
                <a:cxnLst>
                  <a:cxn ang="0">
                    <a:pos x="T0" y="T1"/>
                  </a:cxn>
                  <a:cxn ang="0">
                    <a:pos x="T2" y="T3"/>
                  </a:cxn>
                  <a:cxn ang="0">
                    <a:pos x="T4" y="T5"/>
                  </a:cxn>
                  <a:cxn ang="0">
                    <a:pos x="T6" y="T7"/>
                  </a:cxn>
                  <a:cxn ang="0">
                    <a:pos x="T8" y="T9"/>
                  </a:cxn>
                </a:cxnLst>
                <a:rect l="0" t="0" r="r" b="b"/>
                <a:pathLst>
                  <a:path w="9" h="73">
                    <a:moveTo>
                      <a:pt x="9" y="73"/>
                    </a:moveTo>
                    <a:lnTo>
                      <a:pt x="0" y="68"/>
                    </a:lnTo>
                    <a:lnTo>
                      <a:pt x="0" y="0"/>
                    </a:lnTo>
                    <a:lnTo>
                      <a:pt x="9" y="5"/>
                    </a:lnTo>
                    <a:lnTo>
                      <a:pt x="9" y="7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69" name="íŝlíḑe"/>
              <p:cNvSpPr/>
              <p:nvPr/>
            </p:nvSpPr>
            <p:spPr bwMode="auto">
              <a:xfrm>
                <a:off x="2203" y="2632"/>
                <a:ext cx="10" cy="75"/>
              </a:xfrm>
              <a:custGeom>
                <a:avLst/>
                <a:gdLst>
                  <a:gd name="T0" fmla="*/ 10 w 10"/>
                  <a:gd name="T1" fmla="*/ 75 h 75"/>
                  <a:gd name="T2" fmla="*/ 0 w 10"/>
                  <a:gd name="T3" fmla="*/ 70 h 75"/>
                  <a:gd name="T4" fmla="*/ 0 w 10"/>
                  <a:gd name="T5" fmla="*/ 0 h 75"/>
                  <a:gd name="T6" fmla="*/ 10 w 10"/>
                  <a:gd name="T7" fmla="*/ 7 h 75"/>
                  <a:gd name="T8" fmla="*/ 10 w 10"/>
                  <a:gd name="T9" fmla="*/ 75 h 75"/>
                </a:gdLst>
                <a:ahLst/>
                <a:cxnLst>
                  <a:cxn ang="0">
                    <a:pos x="T0" y="T1"/>
                  </a:cxn>
                  <a:cxn ang="0">
                    <a:pos x="T2" y="T3"/>
                  </a:cxn>
                  <a:cxn ang="0">
                    <a:pos x="T4" y="T5"/>
                  </a:cxn>
                  <a:cxn ang="0">
                    <a:pos x="T6" y="T7"/>
                  </a:cxn>
                  <a:cxn ang="0">
                    <a:pos x="T8" y="T9"/>
                  </a:cxn>
                </a:cxnLst>
                <a:rect l="0" t="0" r="r" b="b"/>
                <a:pathLst>
                  <a:path w="10" h="75">
                    <a:moveTo>
                      <a:pt x="10" y="75"/>
                    </a:moveTo>
                    <a:lnTo>
                      <a:pt x="0" y="70"/>
                    </a:lnTo>
                    <a:lnTo>
                      <a:pt x="0" y="0"/>
                    </a:lnTo>
                    <a:lnTo>
                      <a:pt x="10" y="7"/>
                    </a:lnTo>
                    <a:lnTo>
                      <a:pt x="10" y="75"/>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70" name="íş1îde"/>
              <p:cNvSpPr/>
              <p:nvPr/>
            </p:nvSpPr>
            <p:spPr bwMode="auto">
              <a:xfrm>
                <a:off x="2203" y="2632"/>
                <a:ext cx="10" cy="75"/>
              </a:xfrm>
              <a:custGeom>
                <a:avLst/>
                <a:gdLst>
                  <a:gd name="T0" fmla="*/ 10 w 10"/>
                  <a:gd name="T1" fmla="*/ 75 h 75"/>
                  <a:gd name="T2" fmla="*/ 0 w 10"/>
                  <a:gd name="T3" fmla="*/ 70 h 75"/>
                  <a:gd name="T4" fmla="*/ 0 w 10"/>
                  <a:gd name="T5" fmla="*/ 0 h 75"/>
                  <a:gd name="T6" fmla="*/ 10 w 10"/>
                  <a:gd name="T7" fmla="*/ 7 h 75"/>
                  <a:gd name="T8" fmla="*/ 10 w 10"/>
                  <a:gd name="T9" fmla="*/ 75 h 75"/>
                </a:gdLst>
                <a:ahLst/>
                <a:cxnLst>
                  <a:cxn ang="0">
                    <a:pos x="T0" y="T1"/>
                  </a:cxn>
                  <a:cxn ang="0">
                    <a:pos x="T2" y="T3"/>
                  </a:cxn>
                  <a:cxn ang="0">
                    <a:pos x="T4" y="T5"/>
                  </a:cxn>
                  <a:cxn ang="0">
                    <a:pos x="T6" y="T7"/>
                  </a:cxn>
                  <a:cxn ang="0">
                    <a:pos x="T8" y="T9"/>
                  </a:cxn>
                </a:cxnLst>
                <a:rect l="0" t="0" r="r" b="b"/>
                <a:pathLst>
                  <a:path w="10" h="75">
                    <a:moveTo>
                      <a:pt x="10" y="75"/>
                    </a:moveTo>
                    <a:lnTo>
                      <a:pt x="0" y="70"/>
                    </a:lnTo>
                    <a:lnTo>
                      <a:pt x="0" y="0"/>
                    </a:lnTo>
                    <a:lnTo>
                      <a:pt x="10" y="7"/>
                    </a:lnTo>
                    <a:lnTo>
                      <a:pt x="10" y="7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71" name="íṡḷiḍê"/>
              <p:cNvSpPr/>
              <p:nvPr/>
            </p:nvSpPr>
            <p:spPr bwMode="auto">
              <a:xfrm>
                <a:off x="2229" y="2648"/>
                <a:ext cx="10" cy="74"/>
              </a:xfrm>
              <a:custGeom>
                <a:avLst/>
                <a:gdLst>
                  <a:gd name="T0" fmla="*/ 10 w 10"/>
                  <a:gd name="T1" fmla="*/ 74 h 74"/>
                  <a:gd name="T2" fmla="*/ 0 w 10"/>
                  <a:gd name="T3" fmla="*/ 67 h 74"/>
                  <a:gd name="T4" fmla="*/ 0 w 10"/>
                  <a:gd name="T5" fmla="*/ 0 h 74"/>
                  <a:gd name="T6" fmla="*/ 10 w 10"/>
                  <a:gd name="T7" fmla="*/ 5 h 74"/>
                  <a:gd name="T8" fmla="*/ 10 w 10"/>
                  <a:gd name="T9" fmla="*/ 74 h 74"/>
                </a:gdLst>
                <a:ahLst/>
                <a:cxnLst>
                  <a:cxn ang="0">
                    <a:pos x="T0" y="T1"/>
                  </a:cxn>
                  <a:cxn ang="0">
                    <a:pos x="T2" y="T3"/>
                  </a:cxn>
                  <a:cxn ang="0">
                    <a:pos x="T4" y="T5"/>
                  </a:cxn>
                  <a:cxn ang="0">
                    <a:pos x="T6" y="T7"/>
                  </a:cxn>
                  <a:cxn ang="0">
                    <a:pos x="T8" y="T9"/>
                  </a:cxn>
                </a:cxnLst>
                <a:rect l="0" t="0" r="r" b="b"/>
                <a:pathLst>
                  <a:path w="10" h="74">
                    <a:moveTo>
                      <a:pt x="10" y="74"/>
                    </a:moveTo>
                    <a:lnTo>
                      <a:pt x="0" y="67"/>
                    </a:lnTo>
                    <a:lnTo>
                      <a:pt x="0" y="0"/>
                    </a:lnTo>
                    <a:lnTo>
                      <a:pt x="10" y="5"/>
                    </a:lnTo>
                    <a:lnTo>
                      <a:pt x="10" y="74"/>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72" name="ïśľîďê"/>
              <p:cNvSpPr/>
              <p:nvPr/>
            </p:nvSpPr>
            <p:spPr bwMode="auto">
              <a:xfrm>
                <a:off x="2229" y="2648"/>
                <a:ext cx="10" cy="74"/>
              </a:xfrm>
              <a:custGeom>
                <a:avLst/>
                <a:gdLst>
                  <a:gd name="T0" fmla="*/ 10 w 10"/>
                  <a:gd name="T1" fmla="*/ 74 h 74"/>
                  <a:gd name="T2" fmla="*/ 0 w 10"/>
                  <a:gd name="T3" fmla="*/ 67 h 74"/>
                  <a:gd name="T4" fmla="*/ 0 w 10"/>
                  <a:gd name="T5" fmla="*/ 0 h 74"/>
                  <a:gd name="T6" fmla="*/ 10 w 10"/>
                  <a:gd name="T7" fmla="*/ 5 h 74"/>
                  <a:gd name="T8" fmla="*/ 10 w 10"/>
                  <a:gd name="T9" fmla="*/ 74 h 74"/>
                </a:gdLst>
                <a:ahLst/>
                <a:cxnLst>
                  <a:cxn ang="0">
                    <a:pos x="T0" y="T1"/>
                  </a:cxn>
                  <a:cxn ang="0">
                    <a:pos x="T2" y="T3"/>
                  </a:cxn>
                  <a:cxn ang="0">
                    <a:pos x="T4" y="T5"/>
                  </a:cxn>
                  <a:cxn ang="0">
                    <a:pos x="T6" y="T7"/>
                  </a:cxn>
                  <a:cxn ang="0">
                    <a:pos x="T8" y="T9"/>
                  </a:cxn>
                </a:cxnLst>
                <a:rect l="0" t="0" r="r" b="b"/>
                <a:pathLst>
                  <a:path w="10" h="74">
                    <a:moveTo>
                      <a:pt x="10" y="74"/>
                    </a:moveTo>
                    <a:lnTo>
                      <a:pt x="0" y="67"/>
                    </a:lnTo>
                    <a:lnTo>
                      <a:pt x="0" y="0"/>
                    </a:lnTo>
                    <a:lnTo>
                      <a:pt x="10" y="5"/>
                    </a:lnTo>
                    <a:lnTo>
                      <a:pt x="10" y="7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73" name="íšļiḑè"/>
              <p:cNvSpPr/>
              <p:nvPr/>
            </p:nvSpPr>
            <p:spPr bwMode="auto">
              <a:xfrm>
                <a:off x="2254" y="2661"/>
                <a:ext cx="10" cy="75"/>
              </a:xfrm>
              <a:custGeom>
                <a:avLst/>
                <a:gdLst>
                  <a:gd name="T0" fmla="*/ 10 w 10"/>
                  <a:gd name="T1" fmla="*/ 75 h 75"/>
                  <a:gd name="T2" fmla="*/ 0 w 10"/>
                  <a:gd name="T3" fmla="*/ 70 h 75"/>
                  <a:gd name="T4" fmla="*/ 0 w 10"/>
                  <a:gd name="T5" fmla="*/ 0 h 75"/>
                  <a:gd name="T6" fmla="*/ 10 w 10"/>
                  <a:gd name="T7" fmla="*/ 7 h 75"/>
                  <a:gd name="T8" fmla="*/ 10 w 10"/>
                  <a:gd name="T9" fmla="*/ 75 h 75"/>
                </a:gdLst>
                <a:ahLst/>
                <a:cxnLst>
                  <a:cxn ang="0">
                    <a:pos x="T0" y="T1"/>
                  </a:cxn>
                  <a:cxn ang="0">
                    <a:pos x="T2" y="T3"/>
                  </a:cxn>
                  <a:cxn ang="0">
                    <a:pos x="T4" y="T5"/>
                  </a:cxn>
                  <a:cxn ang="0">
                    <a:pos x="T6" y="T7"/>
                  </a:cxn>
                  <a:cxn ang="0">
                    <a:pos x="T8" y="T9"/>
                  </a:cxn>
                </a:cxnLst>
                <a:rect l="0" t="0" r="r" b="b"/>
                <a:pathLst>
                  <a:path w="10" h="75">
                    <a:moveTo>
                      <a:pt x="10" y="75"/>
                    </a:moveTo>
                    <a:lnTo>
                      <a:pt x="0" y="70"/>
                    </a:lnTo>
                    <a:lnTo>
                      <a:pt x="0" y="0"/>
                    </a:lnTo>
                    <a:lnTo>
                      <a:pt x="10" y="7"/>
                    </a:lnTo>
                    <a:lnTo>
                      <a:pt x="10" y="75"/>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74" name="iṥļïdè"/>
              <p:cNvSpPr/>
              <p:nvPr/>
            </p:nvSpPr>
            <p:spPr bwMode="auto">
              <a:xfrm>
                <a:off x="2254" y="2661"/>
                <a:ext cx="10" cy="75"/>
              </a:xfrm>
              <a:custGeom>
                <a:avLst/>
                <a:gdLst>
                  <a:gd name="T0" fmla="*/ 10 w 10"/>
                  <a:gd name="T1" fmla="*/ 75 h 75"/>
                  <a:gd name="T2" fmla="*/ 0 w 10"/>
                  <a:gd name="T3" fmla="*/ 70 h 75"/>
                  <a:gd name="T4" fmla="*/ 0 w 10"/>
                  <a:gd name="T5" fmla="*/ 0 h 75"/>
                  <a:gd name="T6" fmla="*/ 10 w 10"/>
                  <a:gd name="T7" fmla="*/ 7 h 75"/>
                  <a:gd name="T8" fmla="*/ 10 w 10"/>
                  <a:gd name="T9" fmla="*/ 75 h 75"/>
                </a:gdLst>
                <a:ahLst/>
                <a:cxnLst>
                  <a:cxn ang="0">
                    <a:pos x="T0" y="T1"/>
                  </a:cxn>
                  <a:cxn ang="0">
                    <a:pos x="T2" y="T3"/>
                  </a:cxn>
                  <a:cxn ang="0">
                    <a:pos x="T4" y="T5"/>
                  </a:cxn>
                  <a:cxn ang="0">
                    <a:pos x="T6" y="T7"/>
                  </a:cxn>
                  <a:cxn ang="0">
                    <a:pos x="T8" y="T9"/>
                  </a:cxn>
                </a:cxnLst>
                <a:rect l="0" t="0" r="r" b="b"/>
                <a:pathLst>
                  <a:path w="10" h="75">
                    <a:moveTo>
                      <a:pt x="10" y="75"/>
                    </a:moveTo>
                    <a:lnTo>
                      <a:pt x="0" y="70"/>
                    </a:lnTo>
                    <a:lnTo>
                      <a:pt x="0" y="0"/>
                    </a:lnTo>
                    <a:lnTo>
                      <a:pt x="10" y="7"/>
                    </a:lnTo>
                    <a:lnTo>
                      <a:pt x="10" y="7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75" name="íśļïďé"/>
              <p:cNvSpPr/>
              <p:nvPr/>
            </p:nvSpPr>
            <p:spPr bwMode="auto">
              <a:xfrm>
                <a:off x="2305" y="2692"/>
                <a:ext cx="10" cy="74"/>
              </a:xfrm>
              <a:custGeom>
                <a:avLst/>
                <a:gdLst>
                  <a:gd name="T0" fmla="*/ 10 w 10"/>
                  <a:gd name="T1" fmla="*/ 74 h 74"/>
                  <a:gd name="T2" fmla="*/ 0 w 10"/>
                  <a:gd name="T3" fmla="*/ 68 h 74"/>
                  <a:gd name="T4" fmla="*/ 0 w 10"/>
                  <a:gd name="T5" fmla="*/ 0 h 74"/>
                  <a:gd name="T6" fmla="*/ 10 w 10"/>
                  <a:gd name="T7" fmla="*/ 5 h 74"/>
                  <a:gd name="T8" fmla="*/ 10 w 10"/>
                  <a:gd name="T9" fmla="*/ 74 h 74"/>
                </a:gdLst>
                <a:ahLst/>
                <a:cxnLst>
                  <a:cxn ang="0">
                    <a:pos x="T0" y="T1"/>
                  </a:cxn>
                  <a:cxn ang="0">
                    <a:pos x="T2" y="T3"/>
                  </a:cxn>
                  <a:cxn ang="0">
                    <a:pos x="T4" y="T5"/>
                  </a:cxn>
                  <a:cxn ang="0">
                    <a:pos x="T6" y="T7"/>
                  </a:cxn>
                  <a:cxn ang="0">
                    <a:pos x="T8" y="T9"/>
                  </a:cxn>
                </a:cxnLst>
                <a:rect l="0" t="0" r="r" b="b"/>
                <a:pathLst>
                  <a:path w="10" h="74">
                    <a:moveTo>
                      <a:pt x="10" y="74"/>
                    </a:moveTo>
                    <a:lnTo>
                      <a:pt x="0" y="68"/>
                    </a:lnTo>
                    <a:lnTo>
                      <a:pt x="0" y="0"/>
                    </a:lnTo>
                    <a:lnTo>
                      <a:pt x="10" y="5"/>
                    </a:lnTo>
                    <a:lnTo>
                      <a:pt x="10" y="74"/>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76" name="íšḻîḓe"/>
              <p:cNvSpPr/>
              <p:nvPr/>
            </p:nvSpPr>
            <p:spPr bwMode="auto">
              <a:xfrm>
                <a:off x="2305" y="2692"/>
                <a:ext cx="10" cy="74"/>
              </a:xfrm>
              <a:custGeom>
                <a:avLst/>
                <a:gdLst>
                  <a:gd name="T0" fmla="*/ 10 w 10"/>
                  <a:gd name="T1" fmla="*/ 74 h 74"/>
                  <a:gd name="T2" fmla="*/ 0 w 10"/>
                  <a:gd name="T3" fmla="*/ 68 h 74"/>
                  <a:gd name="T4" fmla="*/ 0 w 10"/>
                  <a:gd name="T5" fmla="*/ 0 h 74"/>
                  <a:gd name="T6" fmla="*/ 10 w 10"/>
                  <a:gd name="T7" fmla="*/ 5 h 74"/>
                  <a:gd name="T8" fmla="*/ 10 w 10"/>
                  <a:gd name="T9" fmla="*/ 74 h 74"/>
                </a:gdLst>
                <a:ahLst/>
                <a:cxnLst>
                  <a:cxn ang="0">
                    <a:pos x="T0" y="T1"/>
                  </a:cxn>
                  <a:cxn ang="0">
                    <a:pos x="T2" y="T3"/>
                  </a:cxn>
                  <a:cxn ang="0">
                    <a:pos x="T4" y="T5"/>
                  </a:cxn>
                  <a:cxn ang="0">
                    <a:pos x="T6" y="T7"/>
                  </a:cxn>
                  <a:cxn ang="0">
                    <a:pos x="T8" y="T9"/>
                  </a:cxn>
                </a:cxnLst>
                <a:rect l="0" t="0" r="r" b="b"/>
                <a:pathLst>
                  <a:path w="10" h="74">
                    <a:moveTo>
                      <a:pt x="10" y="74"/>
                    </a:moveTo>
                    <a:lnTo>
                      <a:pt x="0" y="68"/>
                    </a:lnTo>
                    <a:lnTo>
                      <a:pt x="0" y="0"/>
                    </a:lnTo>
                    <a:lnTo>
                      <a:pt x="10" y="5"/>
                    </a:lnTo>
                    <a:lnTo>
                      <a:pt x="10" y="7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77" name="iṧľîḑe"/>
              <p:cNvSpPr/>
              <p:nvPr/>
            </p:nvSpPr>
            <p:spPr bwMode="auto">
              <a:xfrm>
                <a:off x="2330" y="2705"/>
                <a:ext cx="11" cy="75"/>
              </a:xfrm>
              <a:custGeom>
                <a:avLst/>
                <a:gdLst>
                  <a:gd name="T0" fmla="*/ 11 w 11"/>
                  <a:gd name="T1" fmla="*/ 75 h 75"/>
                  <a:gd name="T2" fmla="*/ 0 w 11"/>
                  <a:gd name="T3" fmla="*/ 70 h 75"/>
                  <a:gd name="T4" fmla="*/ 0 w 11"/>
                  <a:gd name="T5" fmla="*/ 0 h 75"/>
                  <a:gd name="T6" fmla="*/ 11 w 11"/>
                  <a:gd name="T7" fmla="*/ 7 h 75"/>
                  <a:gd name="T8" fmla="*/ 11 w 11"/>
                  <a:gd name="T9" fmla="*/ 75 h 75"/>
                </a:gdLst>
                <a:ahLst/>
                <a:cxnLst>
                  <a:cxn ang="0">
                    <a:pos x="T0" y="T1"/>
                  </a:cxn>
                  <a:cxn ang="0">
                    <a:pos x="T2" y="T3"/>
                  </a:cxn>
                  <a:cxn ang="0">
                    <a:pos x="T4" y="T5"/>
                  </a:cxn>
                  <a:cxn ang="0">
                    <a:pos x="T6" y="T7"/>
                  </a:cxn>
                  <a:cxn ang="0">
                    <a:pos x="T8" y="T9"/>
                  </a:cxn>
                </a:cxnLst>
                <a:rect l="0" t="0" r="r" b="b"/>
                <a:pathLst>
                  <a:path w="11" h="75">
                    <a:moveTo>
                      <a:pt x="11" y="75"/>
                    </a:moveTo>
                    <a:lnTo>
                      <a:pt x="0" y="70"/>
                    </a:lnTo>
                    <a:lnTo>
                      <a:pt x="0" y="0"/>
                    </a:lnTo>
                    <a:lnTo>
                      <a:pt x="11" y="7"/>
                    </a:lnTo>
                    <a:lnTo>
                      <a:pt x="11" y="75"/>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78" name="íṣḷíďê"/>
              <p:cNvSpPr/>
              <p:nvPr/>
            </p:nvSpPr>
            <p:spPr bwMode="auto">
              <a:xfrm>
                <a:off x="2330" y="2705"/>
                <a:ext cx="11" cy="75"/>
              </a:xfrm>
              <a:custGeom>
                <a:avLst/>
                <a:gdLst>
                  <a:gd name="T0" fmla="*/ 11 w 11"/>
                  <a:gd name="T1" fmla="*/ 75 h 75"/>
                  <a:gd name="T2" fmla="*/ 0 w 11"/>
                  <a:gd name="T3" fmla="*/ 70 h 75"/>
                  <a:gd name="T4" fmla="*/ 0 w 11"/>
                  <a:gd name="T5" fmla="*/ 0 h 75"/>
                  <a:gd name="T6" fmla="*/ 11 w 11"/>
                  <a:gd name="T7" fmla="*/ 7 h 75"/>
                  <a:gd name="T8" fmla="*/ 11 w 11"/>
                  <a:gd name="T9" fmla="*/ 75 h 75"/>
                </a:gdLst>
                <a:ahLst/>
                <a:cxnLst>
                  <a:cxn ang="0">
                    <a:pos x="T0" y="T1"/>
                  </a:cxn>
                  <a:cxn ang="0">
                    <a:pos x="T2" y="T3"/>
                  </a:cxn>
                  <a:cxn ang="0">
                    <a:pos x="T4" y="T5"/>
                  </a:cxn>
                  <a:cxn ang="0">
                    <a:pos x="T6" y="T7"/>
                  </a:cxn>
                  <a:cxn ang="0">
                    <a:pos x="T8" y="T9"/>
                  </a:cxn>
                </a:cxnLst>
                <a:rect l="0" t="0" r="r" b="b"/>
                <a:pathLst>
                  <a:path w="11" h="75">
                    <a:moveTo>
                      <a:pt x="11" y="75"/>
                    </a:moveTo>
                    <a:lnTo>
                      <a:pt x="0" y="70"/>
                    </a:lnTo>
                    <a:lnTo>
                      <a:pt x="0" y="0"/>
                    </a:lnTo>
                    <a:lnTo>
                      <a:pt x="11" y="7"/>
                    </a:lnTo>
                    <a:lnTo>
                      <a:pt x="11" y="7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79" name="îsľîḑè"/>
              <p:cNvSpPr/>
              <p:nvPr/>
            </p:nvSpPr>
            <p:spPr bwMode="auto">
              <a:xfrm>
                <a:off x="2356" y="2721"/>
                <a:ext cx="10" cy="74"/>
              </a:xfrm>
              <a:custGeom>
                <a:avLst/>
                <a:gdLst>
                  <a:gd name="T0" fmla="*/ 10 w 10"/>
                  <a:gd name="T1" fmla="*/ 74 h 74"/>
                  <a:gd name="T2" fmla="*/ 0 w 10"/>
                  <a:gd name="T3" fmla="*/ 67 h 74"/>
                  <a:gd name="T4" fmla="*/ 0 w 10"/>
                  <a:gd name="T5" fmla="*/ 0 h 74"/>
                  <a:gd name="T6" fmla="*/ 10 w 10"/>
                  <a:gd name="T7" fmla="*/ 5 h 74"/>
                  <a:gd name="T8" fmla="*/ 10 w 10"/>
                  <a:gd name="T9" fmla="*/ 74 h 74"/>
                </a:gdLst>
                <a:ahLst/>
                <a:cxnLst>
                  <a:cxn ang="0">
                    <a:pos x="T0" y="T1"/>
                  </a:cxn>
                  <a:cxn ang="0">
                    <a:pos x="T2" y="T3"/>
                  </a:cxn>
                  <a:cxn ang="0">
                    <a:pos x="T4" y="T5"/>
                  </a:cxn>
                  <a:cxn ang="0">
                    <a:pos x="T6" y="T7"/>
                  </a:cxn>
                  <a:cxn ang="0">
                    <a:pos x="T8" y="T9"/>
                  </a:cxn>
                </a:cxnLst>
                <a:rect l="0" t="0" r="r" b="b"/>
                <a:pathLst>
                  <a:path w="10" h="74">
                    <a:moveTo>
                      <a:pt x="10" y="74"/>
                    </a:moveTo>
                    <a:lnTo>
                      <a:pt x="0" y="67"/>
                    </a:lnTo>
                    <a:lnTo>
                      <a:pt x="0" y="0"/>
                    </a:lnTo>
                    <a:lnTo>
                      <a:pt x="10" y="5"/>
                    </a:lnTo>
                    <a:lnTo>
                      <a:pt x="10" y="74"/>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80" name="îṩlíḓe"/>
              <p:cNvSpPr/>
              <p:nvPr/>
            </p:nvSpPr>
            <p:spPr bwMode="auto">
              <a:xfrm>
                <a:off x="2356" y="2721"/>
                <a:ext cx="10" cy="74"/>
              </a:xfrm>
              <a:custGeom>
                <a:avLst/>
                <a:gdLst>
                  <a:gd name="T0" fmla="*/ 10 w 10"/>
                  <a:gd name="T1" fmla="*/ 74 h 74"/>
                  <a:gd name="T2" fmla="*/ 0 w 10"/>
                  <a:gd name="T3" fmla="*/ 67 h 74"/>
                  <a:gd name="T4" fmla="*/ 0 w 10"/>
                  <a:gd name="T5" fmla="*/ 0 h 74"/>
                  <a:gd name="T6" fmla="*/ 10 w 10"/>
                  <a:gd name="T7" fmla="*/ 5 h 74"/>
                  <a:gd name="T8" fmla="*/ 10 w 10"/>
                  <a:gd name="T9" fmla="*/ 74 h 74"/>
                </a:gdLst>
                <a:ahLst/>
                <a:cxnLst>
                  <a:cxn ang="0">
                    <a:pos x="T0" y="T1"/>
                  </a:cxn>
                  <a:cxn ang="0">
                    <a:pos x="T2" y="T3"/>
                  </a:cxn>
                  <a:cxn ang="0">
                    <a:pos x="T4" y="T5"/>
                  </a:cxn>
                  <a:cxn ang="0">
                    <a:pos x="T6" y="T7"/>
                  </a:cxn>
                  <a:cxn ang="0">
                    <a:pos x="T8" y="T9"/>
                  </a:cxn>
                </a:cxnLst>
                <a:rect l="0" t="0" r="r" b="b"/>
                <a:pathLst>
                  <a:path w="10" h="74">
                    <a:moveTo>
                      <a:pt x="10" y="74"/>
                    </a:moveTo>
                    <a:lnTo>
                      <a:pt x="0" y="67"/>
                    </a:lnTo>
                    <a:lnTo>
                      <a:pt x="0" y="0"/>
                    </a:lnTo>
                    <a:lnTo>
                      <a:pt x="10" y="5"/>
                    </a:lnTo>
                    <a:lnTo>
                      <a:pt x="10" y="7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81" name="íšľïḍe"/>
              <p:cNvSpPr/>
              <p:nvPr/>
            </p:nvSpPr>
            <p:spPr bwMode="auto">
              <a:xfrm>
                <a:off x="2381" y="2736"/>
                <a:ext cx="11" cy="73"/>
              </a:xfrm>
              <a:custGeom>
                <a:avLst/>
                <a:gdLst>
                  <a:gd name="T0" fmla="*/ 11 w 11"/>
                  <a:gd name="T1" fmla="*/ 73 h 73"/>
                  <a:gd name="T2" fmla="*/ 0 w 11"/>
                  <a:gd name="T3" fmla="*/ 68 h 73"/>
                  <a:gd name="T4" fmla="*/ 0 w 11"/>
                  <a:gd name="T5" fmla="*/ 0 h 73"/>
                  <a:gd name="T6" fmla="*/ 11 w 11"/>
                  <a:gd name="T7" fmla="*/ 5 h 73"/>
                  <a:gd name="T8" fmla="*/ 11 w 11"/>
                  <a:gd name="T9" fmla="*/ 73 h 73"/>
                </a:gdLst>
                <a:ahLst/>
                <a:cxnLst>
                  <a:cxn ang="0">
                    <a:pos x="T0" y="T1"/>
                  </a:cxn>
                  <a:cxn ang="0">
                    <a:pos x="T2" y="T3"/>
                  </a:cxn>
                  <a:cxn ang="0">
                    <a:pos x="T4" y="T5"/>
                  </a:cxn>
                  <a:cxn ang="0">
                    <a:pos x="T6" y="T7"/>
                  </a:cxn>
                  <a:cxn ang="0">
                    <a:pos x="T8" y="T9"/>
                  </a:cxn>
                </a:cxnLst>
                <a:rect l="0" t="0" r="r" b="b"/>
                <a:pathLst>
                  <a:path w="11" h="73">
                    <a:moveTo>
                      <a:pt x="11" y="73"/>
                    </a:moveTo>
                    <a:lnTo>
                      <a:pt x="0" y="68"/>
                    </a:lnTo>
                    <a:lnTo>
                      <a:pt x="0" y="0"/>
                    </a:lnTo>
                    <a:lnTo>
                      <a:pt x="11" y="5"/>
                    </a:lnTo>
                    <a:lnTo>
                      <a:pt x="11" y="73"/>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82" name="ïş1ídé"/>
              <p:cNvSpPr/>
              <p:nvPr/>
            </p:nvSpPr>
            <p:spPr bwMode="auto">
              <a:xfrm>
                <a:off x="2381" y="2736"/>
                <a:ext cx="11" cy="73"/>
              </a:xfrm>
              <a:custGeom>
                <a:avLst/>
                <a:gdLst>
                  <a:gd name="T0" fmla="*/ 11 w 11"/>
                  <a:gd name="T1" fmla="*/ 73 h 73"/>
                  <a:gd name="T2" fmla="*/ 0 w 11"/>
                  <a:gd name="T3" fmla="*/ 68 h 73"/>
                  <a:gd name="T4" fmla="*/ 0 w 11"/>
                  <a:gd name="T5" fmla="*/ 0 h 73"/>
                  <a:gd name="T6" fmla="*/ 11 w 11"/>
                  <a:gd name="T7" fmla="*/ 5 h 73"/>
                  <a:gd name="T8" fmla="*/ 11 w 11"/>
                  <a:gd name="T9" fmla="*/ 73 h 73"/>
                </a:gdLst>
                <a:ahLst/>
                <a:cxnLst>
                  <a:cxn ang="0">
                    <a:pos x="T0" y="T1"/>
                  </a:cxn>
                  <a:cxn ang="0">
                    <a:pos x="T2" y="T3"/>
                  </a:cxn>
                  <a:cxn ang="0">
                    <a:pos x="T4" y="T5"/>
                  </a:cxn>
                  <a:cxn ang="0">
                    <a:pos x="T6" y="T7"/>
                  </a:cxn>
                  <a:cxn ang="0">
                    <a:pos x="T8" y="T9"/>
                  </a:cxn>
                </a:cxnLst>
                <a:rect l="0" t="0" r="r" b="b"/>
                <a:pathLst>
                  <a:path w="11" h="73">
                    <a:moveTo>
                      <a:pt x="11" y="73"/>
                    </a:moveTo>
                    <a:lnTo>
                      <a:pt x="0" y="68"/>
                    </a:lnTo>
                    <a:lnTo>
                      <a:pt x="0" y="0"/>
                    </a:lnTo>
                    <a:lnTo>
                      <a:pt x="11" y="5"/>
                    </a:lnTo>
                    <a:lnTo>
                      <a:pt x="11" y="7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83" name="iṩḻîḑè"/>
              <p:cNvSpPr/>
              <p:nvPr/>
            </p:nvSpPr>
            <p:spPr bwMode="auto">
              <a:xfrm>
                <a:off x="2432" y="2765"/>
                <a:ext cx="11" cy="74"/>
              </a:xfrm>
              <a:custGeom>
                <a:avLst/>
                <a:gdLst>
                  <a:gd name="T0" fmla="*/ 11 w 11"/>
                  <a:gd name="T1" fmla="*/ 74 h 74"/>
                  <a:gd name="T2" fmla="*/ 0 w 11"/>
                  <a:gd name="T3" fmla="*/ 68 h 74"/>
                  <a:gd name="T4" fmla="*/ 0 w 11"/>
                  <a:gd name="T5" fmla="*/ 0 h 74"/>
                  <a:gd name="T6" fmla="*/ 11 w 11"/>
                  <a:gd name="T7" fmla="*/ 5 h 74"/>
                  <a:gd name="T8" fmla="*/ 11 w 11"/>
                  <a:gd name="T9" fmla="*/ 74 h 74"/>
                </a:gdLst>
                <a:ahLst/>
                <a:cxnLst>
                  <a:cxn ang="0">
                    <a:pos x="T0" y="T1"/>
                  </a:cxn>
                  <a:cxn ang="0">
                    <a:pos x="T2" y="T3"/>
                  </a:cxn>
                  <a:cxn ang="0">
                    <a:pos x="T4" y="T5"/>
                  </a:cxn>
                  <a:cxn ang="0">
                    <a:pos x="T6" y="T7"/>
                  </a:cxn>
                  <a:cxn ang="0">
                    <a:pos x="T8" y="T9"/>
                  </a:cxn>
                </a:cxnLst>
                <a:rect l="0" t="0" r="r" b="b"/>
                <a:pathLst>
                  <a:path w="11" h="74">
                    <a:moveTo>
                      <a:pt x="11" y="74"/>
                    </a:moveTo>
                    <a:lnTo>
                      <a:pt x="0" y="68"/>
                    </a:lnTo>
                    <a:lnTo>
                      <a:pt x="0" y="0"/>
                    </a:lnTo>
                    <a:lnTo>
                      <a:pt x="11" y="5"/>
                    </a:lnTo>
                    <a:lnTo>
                      <a:pt x="11" y="74"/>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84" name="îšlïḍê"/>
              <p:cNvSpPr/>
              <p:nvPr/>
            </p:nvSpPr>
            <p:spPr bwMode="auto">
              <a:xfrm>
                <a:off x="2432" y="2765"/>
                <a:ext cx="11" cy="74"/>
              </a:xfrm>
              <a:custGeom>
                <a:avLst/>
                <a:gdLst>
                  <a:gd name="T0" fmla="*/ 11 w 11"/>
                  <a:gd name="T1" fmla="*/ 74 h 74"/>
                  <a:gd name="T2" fmla="*/ 0 w 11"/>
                  <a:gd name="T3" fmla="*/ 68 h 74"/>
                  <a:gd name="T4" fmla="*/ 0 w 11"/>
                  <a:gd name="T5" fmla="*/ 0 h 74"/>
                  <a:gd name="T6" fmla="*/ 11 w 11"/>
                  <a:gd name="T7" fmla="*/ 5 h 74"/>
                  <a:gd name="T8" fmla="*/ 11 w 11"/>
                  <a:gd name="T9" fmla="*/ 74 h 74"/>
                </a:gdLst>
                <a:ahLst/>
                <a:cxnLst>
                  <a:cxn ang="0">
                    <a:pos x="T0" y="T1"/>
                  </a:cxn>
                  <a:cxn ang="0">
                    <a:pos x="T2" y="T3"/>
                  </a:cxn>
                  <a:cxn ang="0">
                    <a:pos x="T4" y="T5"/>
                  </a:cxn>
                  <a:cxn ang="0">
                    <a:pos x="T6" y="T7"/>
                  </a:cxn>
                  <a:cxn ang="0">
                    <a:pos x="T8" y="T9"/>
                  </a:cxn>
                </a:cxnLst>
                <a:rect l="0" t="0" r="r" b="b"/>
                <a:pathLst>
                  <a:path w="11" h="74">
                    <a:moveTo>
                      <a:pt x="11" y="74"/>
                    </a:moveTo>
                    <a:lnTo>
                      <a:pt x="0" y="68"/>
                    </a:lnTo>
                    <a:lnTo>
                      <a:pt x="0" y="0"/>
                    </a:lnTo>
                    <a:lnTo>
                      <a:pt x="11" y="5"/>
                    </a:lnTo>
                    <a:lnTo>
                      <a:pt x="11" y="7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85" name="iṣlîďè"/>
              <p:cNvSpPr/>
              <p:nvPr/>
            </p:nvSpPr>
            <p:spPr bwMode="auto">
              <a:xfrm>
                <a:off x="2458" y="2778"/>
                <a:ext cx="10" cy="75"/>
              </a:xfrm>
              <a:custGeom>
                <a:avLst/>
                <a:gdLst>
                  <a:gd name="T0" fmla="*/ 10 w 10"/>
                  <a:gd name="T1" fmla="*/ 75 h 75"/>
                  <a:gd name="T2" fmla="*/ 0 w 10"/>
                  <a:gd name="T3" fmla="*/ 70 h 75"/>
                  <a:gd name="T4" fmla="*/ 0 w 10"/>
                  <a:gd name="T5" fmla="*/ 0 h 75"/>
                  <a:gd name="T6" fmla="*/ 10 w 10"/>
                  <a:gd name="T7" fmla="*/ 7 h 75"/>
                  <a:gd name="T8" fmla="*/ 10 w 10"/>
                  <a:gd name="T9" fmla="*/ 75 h 75"/>
                </a:gdLst>
                <a:ahLst/>
                <a:cxnLst>
                  <a:cxn ang="0">
                    <a:pos x="T0" y="T1"/>
                  </a:cxn>
                  <a:cxn ang="0">
                    <a:pos x="T2" y="T3"/>
                  </a:cxn>
                  <a:cxn ang="0">
                    <a:pos x="T4" y="T5"/>
                  </a:cxn>
                  <a:cxn ang="0">
                    <a:pos x="T6" y="T7"/>
                  </a:cxn>
                  <a:cxn ang="0">
                    <a:pos x="T8" y="T9"/>
                  </a:cxn>
                </a:cxnLst>
                <a:rect l="0" t="0" r="r" b="b"/>
                <a:pathLst>
                  <a:path w="10" h="75">
                    <a:moveTo>
                      <a:pt x="10" y="75"/>
                    </a:moveTo>
                    <a:lnTo>
                      <a:pt x="0" y="70"/>
                    </a:lnTo>
                    <a:lnTo>
                      <a:pt x="0" y="0"/>
                    </a:lnTo>
                    <a:lnTo>
                      <a:pt x="10" y="7"/>
                    </a:lnTo>
                    <a:lnTo>
                      <a:pt x="10" y="75"/>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86" name="ïŝḻíḋé"/>
              <p:cNvSpPr/>
              <p:nvPr/>
            </p:nvSpPr>
            <p:spPr bwMode="auto">
              <a:xfrm>
                <a:off x="2458" y="2778"/>
                <a:ext cx="10" cy="75"/>
              </a:xfrm>
              <a:custGeom>
                <a:avLst/>
                <a:gdLst>
                  <a:gd name="T0" fmla="*/ 10 w 10"/>
                  <a:gd name="T1" fmla="*/ 75 h 75"/>
                  <a:gd name="T2" fmla="*/ 0 w 10"/>
                  <a:gd name="T3" fmla="*/ 70 h 75"/>
                  <a:gd name="T4" fmla="*/ 0 w 10"/>
                  <a:gd name="T5" fmla="*/ 0 h 75"/>
                  <a:gd name="T6" fmla="*/ 10 w 10"/>
                  <a:gd name="T7" fmla="*/ 7 h 75"/>
                  <a:gd name="T8" fmla="*/ 10 w 10"/>
                  <a:gd name="T9" fmla="*/ 75 h 75"/>
                </a:gdLst>
                <a:ahLst/>
                <a:cxnLst>
                  <a:cxn ang="0">
                    <a:pos x="T0" y="T1"/>
                  </a:cxn>
                  <a:cxn ang="0">
                    <a:pos x="T2" y="T3"/>
                  </a:cxn>
                  <a:cxn ang="0">
                    <a:pos x="T4" y="T5"/>
                  </a:cxn>
                  <a:cxn ang="0">
                    <a:pos x="T6" y="T7"/>
                  </a:cxn>
                  <a:cxn ang="0">
                    <a:pos x="T8" y="T9"/>
                  </a:cxn>
                </a:cxnLst>
                <a:rect l="0" t="0" r="r" b="b"/>
                <a:pathLst>
                  <a:path w="10" h="75">
                    <a:moveTo>
                      <a:pt x="10" y="75"/>
                    </a:moveTo>
                    <a:lnTo>
                      <a:pt x="0" y="70"/>
                    </a:lnTo>
                    <a:lnTo>
                      <a:pt x="0" y="0"/>
                    </a:lnTo>
                    <a:lnTo>
                      <a:pt x="10" y="7"/>
                    </a:lnTo>
                    <a:lnTo>
                      <a:pt x="10" y="7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87" name="îślîḑê"/>
              <p:cNvSpPr/>
              <p:nvPr/>
            </p:nvSpPr>
            <p:spPr bwMode="auto">
              <a:xfrm>
                <a:off x="2483" y="2794"/>
                <a:ext cx="11" cy="74"/>
              </a:xfrm>
              <a:custGeom>
                <a:avLst/>
                <a:gdLst>
                  <a:gd name="T0" fmla="*/ 11 w 11"/>
                  <a:gd name="T1" fmla="*/ 74 h 74"/>
                  <a:gd name="T2" fmla="*/ 0 w 11"/>
                  <a:gd name="T3" fmla="*/ 69 h 74"/>
                  <a:gd name="T4" fmla="*/ 0 w 11"/>
                  <a:gd name="T5" fmla="*/ 0 h 74"/>
                  <a:gd name="T6" fmla="*/ 11 w 11"/>
                  <a:gd name="T7" fmla="*/ 5 h 74"/>
                  <a:gd name="T8" fmla="*/ 11 w 11"/>
                  <a:gd name="T9" fmla="*/ 74 h 74"/>
                </a:gdLst>
                <a:ahLst/>
                <a:cxnLst>
                  <a:cxn ang="0">
                    <a:pos x="T0" y="T1"/>
                  </a:cxn>
                  <a:cxn ang="0">
                    <a:pos x="T2" y="T3"/>
                  </a:cxn>
                  <a:cxn ang="0">
                    <a:pos x="T4" y="T5"/>
                  </a:cxn>
                  <a:cxn ang="0">
                    <a:pos x="T6" y="T7"/>
                  </a:cxn>
                  <a:cxn ang="0">
                    <a:pos x="T8" y="T9"/>
                  </a:cxn>
                </a:cxnLst>
                <a:rect l="0" t="0" r="r" b="b"/>
                <a:pathLst>
                  <a:path w="11" h="74">
                    <a:moveTo>
                      <a:pt x="11" y="74"/>
                    </a:moveTo>
                    <a:lnTo>
                      <a:pt x="0" y="69"/>
                    </a:lnTo>
                    <a:lnTo>
                      <a:pt x="0" y="0"/>
                    </a:lnTo>
                    <a:lnTo>
                      <a:pt x="11" y="5"/>
                    </a:lnTo>
                    <a:lnTo>
                      <a:pt x="11" y="74"/>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88" name="îsḻîḑe"/>
              <p:cNvSpPr/>
              <p:nvPr/>
            </p:nvSpPr>
            <p:spPr bwMode="auto">
              <a:xfrm>
                <a:off x="2483" y="2794"/>
                <a:ext cx="11" cy="74"/>
              </a:xfrm>
              <a:custGeom>
                <a:avLst/>
                <a:gdLst>
                  <a:gd name="T0" fmla="*/ 11 w 11"/>
                  <a:gd name="T1" fmla="*/ 74 h 74"/>
                  <a:gd name="T2" fmla="*/ 0 w 11"/>
                  <a:gd name="T3" fmla="*/ 69 h 74"/>
                  <a:gd name="T4" fmla="*/ 0 w 11"/>
                  <a:gd name="T5" fmla="*/ 0 h 74"/>
                  <a:gd name="T6" fmla="*/ 11 w 11"/>
                  <a:gd name="T7" fmla="*/ 5 h 74"/>
                  <a:gd name="T8" fmla="*/ 11 w 11"/>
                  <a:gd name="T9" fmla="*/ 74 h 74"/>
                </a:gdLst>
                <a:ahLst/>
                <a:cxnLst>
                  <a:cxn ang="0">
                    <a:pos x="T0" y="T1"/>
                  </a:cxn>
                  <a:cxn ang="0">
                    <a:pos x="T2" y="T3"/>
                  </a:cxn>
                  <a:cxn ang="0">
                    <a:pos x="T4" y="T5"/>
                  </a:cxn>
                  <a:cxn ang="0">
                    <a:pos x="T6" y="T7"/>
                  </a:cxn>
                  <a:cxn ang="0">
                    <a:pos x="T8" y="T9"/>
                  </a:cxn>
                </a:cxnLst>
                <a:rect l="0" t="0" r="r" b="b"/>
                <a:pathLst>
                  <a:path w="11" h="74">
                    <a:moveTo>
                      <a:pt x="11" y="74"/>
                    </a:moveTo>
                    <a:lnTo>
                      <a:pt x="0" y="69"/>
                    </a:lnTo>
                    <a:lnTo>
                      <a:pt x="0" y="0"/>
                    </a:lnTo>
                    <a:lnTo>
                      <a:pt x="11" y="5"/>
                    </a:lnTo>
                    <a:lnTo>
                      <a:pt x="11" y="7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89" name="îşḻïḓê"/>
              <p:cNvSpPr/>
              <p:nvPr/>
            </p:nvSpPr>
            <p:spPr bwMode="auto">
              <a:xfrm>
                <a:off x="2509" y="2809"/>
                <a:ext cx="10" cy="74"/>
              </a:xfrm>
              <a:custGeom>
                <a:avLst/>
                <a:gdLst>
                  <a:gd name="T0" fmla="*/ 10 w 10"/>
                  <a:gd name="T1" fmla="*/ 74 h 74"/>
                  <a:gd name="T2" fmla="*/ 0 w 10"/>
                  <a:gd name="T3" fmla="*/ 68 h 74"/>
                  <a:gd name="T4" fmla="*/ 0 w 10"/>
                  <a:gd name="T5" fmla="*/ 0 h 74"/>
                  <a:gd name="T6" fmla="*/ 10 w 10"/>
                  <a:gd name="T7" fmla="*/ 5 h 74"/>
                  <a:gd name="T8" fmla="*/ 10 w 10"/>
                  <a:gd name="T9" fmla="*/ 74 h 74"/>
                </a:gdLst>
                <a:ahLst/>
                <a:cxnLst>
                  <a:cxn ang="0">
                    <a:pos x="T0" y="T1"/>
                  </a:cxn>
                  <a:cxn ang="0">
                    <a:pos x="T2" y="T3"/>
                  </a:cxn>
                  <a:cxn ang="0">
                    <a:pos x="T4" y="T5"/>
                  </a:cxn>
                  <a:cxn ang="0">
                    <a:pos x="T6" y="T7"/>
                  </a:cxn>
                  <a:cxn ang="0">
                    <a:pos x="T8" y="T9"/>
                  </a:cxn>
                </a:cxnLst>
                <a:rect l="0" t="0" r="r" b="b"/>
                <a:pathLst>
                  <a:path w="10" h="74">
                    <a:moveTo>
                      <a:pt x="10" y="74"/>
                    </a:moveTo>
                    <a:lnTo>
                      <a:pt x="0" y="68"/>
                    </a:lnTo>
                    <a:lnTo>
                      <a:pt x="0" y="0"/>
                    </a:lnTo>
                    <a:lnTo>
                      <a:pt x="10" y="5"/>
                    </a:lnTo>
                    <a:lnTo>
                      <a:pt x="10" y="74"/>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90" name="ïṥľîḓé"/>
              <p:cNvSpPr/>
              <p:nvPr/>
            </p:nvSpPr>
            <p:spPr bwMode="auto">
              <a:xfrm>
                <a:off x="2509" y="2809"/>
                <a:ext cx="10" cy="74"/>
              </a:xfrm>
              <a:custGeom>
                <a:avLst/>
                <a:gdLst>
                  <a:gd name="T0" fmla="*/ 10 w 10"/>
                  <a:gd name="T1" fmla="*/ 74 h 74"/>
                  <a:gd name="T2" fmla="*/ 0 w 10"/>
                  <a:gd name="T3" fmla="*/ 68 h 74"/>
                  <a:gd name="T4" fmla="*/ 0 w 10"/>
                  <a:gd name="T5" fmla="*/ 0 h 74"/>
                  <a:gd name="T6" fmla="*/ 10 w 10"/>
                  <a:gd name="T7" fmla="*/ 5 h 74"/>
                  <a:gd name="T8" fmla="*/ 10 w 10"/>
                  <a:gd name="T9" fmla="*/ 74 h 74"/>
                </a:gdLst>
                <a:ahLst/>
                <a:cxnLst>
                  <a:cxn ang="0">
                    <a:pos x="T0" y="T1"/>
                  </a:cxn>
                  <a:cxn ang="0">
                    <a:pos x="T2" y="T3"/>
                  </a:cxn>
                  <a:cxn ang="0">
                    <a:pos x="T4" y="T5"/>
                  </a:cxn>
                  <a:cxn ang="0">
                    <a:pos x="T6" y="T7"/>
                  </a:cxn>
                  <a:cxn ang="0">
                    <a:pos x="T8" y="T9"/>
                  </a:cxn>
                </a:cxnLst>
                <a:rect l="0" t="0" r="r" b="b"/>
                <a:pathLst>
                  <a:path w="10" h="74">
                    <a:moveTo>
                      <a:pt x="10" y="74"/>
                    </a:moveTo>
                    <a:lnTo>
                      <a:pt x="0" y="68"/>
                    </a:lnTo>
                    <a:lnTo>
                      <a:pt x="0" y="0"/>
                    </a:lnTo>
                    <a:lnTo>
                      <a:pt x="10" y="5"/>
                    </a:lnTo>
                    <a:lnTo>
                      <a:pt x="10" y="7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91" name="ïṡ1îḑè"/>
              <p:cNvSpPr/>
              <p:nvPr/>
            </p:nvSpPr>
            <p:spPr bwMode="auto">
              <a:xfrm>
                <a:off x="2560" y="2838"/>
                <a:ext cx="10" cy="74"/>
              </a:xfrm>
              <a:custGeom>
                <a:avLst/>
                <a:gdLst>
                  <a:gd name="T0" fmla="*/ 10 w 10"/>
                  <a:gd name="T1" fmla="*/ 74 h 74"/>
                  <a:gd name="T2" fmla="*/ 0 w 10"/>
                  <a:gd name="T3" fmla="*/ 67 h 74"/>
                  <a:gd name="T4" fmla="*/ 0 w 10"/>
                  <a:gd name="T5" fmla="*/ 0 h 74"/>
                  <a:gd name="T6" fmla="*/ 10 w 10"/>
                  <a:gd name="T7" fmla="*/ 5 h 74"/>
                  <a:gd name="T8" fmla="*/ 10 w 10"/>
                  <a:gd name="T9" fmla="*/ 74 h 74"/>
                </a:gdLst>
                <a:ahLst/>
                <a:cxnLst>
                  <a:cxn ang="0">
                    <a:pos x="T0" y="T1"/>
                  </a:cxn>
                  <a:cxn ang="0">
                    <a:pos x="T2" y="T3"/>
                  </a:cxn>
                  <a:cxn ang="0">
                    <a:pos x="T4" y="T5"/>
                  </a:cxn>
                  <a:cxn ang="0">
                    <a:pos x="T6" y="T7"/>
                  </a:cxn>
                  <a:cxn ang="0">
                    <a:pos x="T8" y="T9"/>
                  </a:cxn>
                </a:cxnLst>
                <a:rect l="0" t="0" r="r" b="b"/>
                <a:pathLst>
                  <a:path w="10" h="74">
                    <a:moveTo>
                      <a:pt x="10" y="74"/>
                    </a:moveTo>
                    <a:lnTo>
                      <a:pt x="0" y="67"/>
                    </a:lnTo>
                    <a:lnTo>
                      <a:pt x="0" y="0"/>
                    </a:lnTo>
                    <a:lnTo>
                      <a:pt x="10" y="5"/>
                    </a:lnTo>
                    <a:lnTo>
                      <a:pt x="10" y="74"/>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92" name="ïŝliďè"/>
              <p:cNvSpPr/>
              <p:nvPr/>
            </p:nvSpPr>
            <p:spPr bwMode="auto">
              <a:xfrm>
                <a:off x="2560" y="2838"/>
                <a:ext cx="10" cy="74"/>
              </a:xfrm>
              <a:custGeom>
                <a:avLst/>
                <a:gdLst>
                  <a:gd name="T0" fmla="*/ 10 w 10"/>
                  <a:gd name="T1" fmla="*/ 74 h 74"/>
                  <a:gd name="T2" fmla="*/ 0 w 10"/>
                  <a:gd name="T3" fmla="*/ 67 h 74"/>
                  <a:gd name="T4" fmla="*/ 0 w 10"/>
                  <a:gd name="T5" fmla="*/ 0 h 74"/>
                  <a:gd name="T6" fmla="*/ 10 w 10"/>
                  <a:gd name="T7" fmla="*/ 5 h 74"/>
                  <a:gd name="T8" fmla="*/ 10 w 10"/>
                  <a:gd name="T9" fmla="*/ 74 h 74"/>
                </a:gdLst>
                <a:ahLst/>
                <a:cxnLst>
                  <a:cxn ang="0">
                    <a:pos x="T0" y="T1"/>
                  </a:cxn>
                  <a:cxn ang="0">
                    <a:pos x="T2" y="T3"/>
                  </a:cxn>
                  <a:cxn ang="0">
                    <a:pos x="T4" y="T5"/>
                  </a:cxn>
                  <a:cxn ang="0">
                    <a:pos x="T6" y="T7"/>
                  </a:cxn>
                  <a:cxn ang="0">
                    <a:pos x="T8" y="T9"/>
                  </a:cxn>
                </a:cxnLst>
                <a:rect l="0" t="0" r="r" b="b"/>
                <a:pathLst>
                  <a:path w="10" h="74">
                    <a:moveTo>
                      <a:pt x="10" y="74"/>
                    </a:moveTo>
                    <a:lnTo>
                      <a:pt x="0" y="67"/>
                    </a:lnTo>
                    <a:lnTo>
                      <a:pt x="0" y="0"/>
                    </a:lnTo>
                    <a:lnTo>
                      <a:pt x="10" y="5"/>
                    </a:lnTo>
                    <a:lnTo>
                      <a:pt x="10" y="7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93" name="islídè"/>
              <p:cNvSpPr/>
              <p:nvPr/>
            </p:nvSpPr>
            <p:spPr bwMode="auto">
              <a:xfrm>
                <a:off x="2585" y="2853"/>
                <a:ext cx="11" cy="73"/>
              </a:xfrm>
              <a:custGeom>
                <a:avLst/>
                <a:gdLst>
                  <a:gd name="T0" fmla="*/ 11 w 11"/>
                  <a:gd name="T1" fmla="*/ 73 h 73"/>
                  <a:gd name="T2" fmla="*/ 0 w 11"/>
                  <a:gd name="T3" fmla="*/ 68 h 73"/>
                  <a:gd name="T4" fmla="*/ 0 w 11"/>
                  <a:gd name="T5" fmla="*/ 0 h 73"/>
                  <a:gd name="T6" fmla="*/ 11 w 11"/>
                  <a:gd name="T7" fmla="*/ 5 h 73"/>
                  <a:gd name="T8" fmla="*/ 11 w 11"/>
                  <a:gd name="T9" fmla="*/ 73 h 73"/>
                </a:gdLst>
                <a:ahLst/>
                <a:cxnLst>
                  <a:cxn ang="0">
                    <a:pos x="T0" y="T1"/>
                  </a:cxn>
                  <a:cxn ang="0">
                    <a:pos x="T2" y="T3"/>
                  </a:cxn>
                  <a:cxn ang="0">
                    <a:pos x="T4" y="T5"/>
                  </a:cxn>
                  <a:cxn ang="0">
                    <a:pos x="T6" y="T7"/>
                  </a:cxn>
                  <a:cxn ang="0">
                    <a:pos x="T8" y="T9"/>
                  </a:cxn>
                </a:cxnLst>
                <a:rect l="0" t="0" r="r" b="b"/>
                <a:pathLst>
                  <a:path w="11" h="73">
                    <a:moveTo>
                      <a:pt x="11" y="73"/>
                    </a:moveTo>
                    <a:lnTo>
                      <a:pt x="0" y="68"/>
                    </a:lnTo>
                    <a:lnTo>
                      <a:pt x="0" y="0"/>
                    </a:lnTo>
                    <a:lnTo>
                      <a:pt x="11" y="5"/>
                    </a:lnTo>
                    <a:lnTo>
                      <a:pt x="11" y="73"/>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94" name="ïṩ1iďê"/>
              <p:cNvSpPr/>
              <p:nvPr/>
            </p:nvSpPr>
            <p:spPr bwMode="auto">
              <a:xfrm>
                <a:off x="2585" y="2853"/>
                <a:ext cx="11" cy="73"/>
              </a:xfrm>
              <a:custGeom>
                <a:avLst/>
                <a:gdLst>
                  <a:gd name="T0" fmla="*/ 11 w 11"/>
                  <a:gd name="T1" fmla="*/ 73 h 73"/>
                  <a:gd name="T2" fmla="*/ 0 w 11"/>
                  <a:gd name="T3" fmla="*/ 68 h 73"/>
                  <a:gd name="T4" fmla="*/ 0 w 11"/>
                  <a:gd name="T5" fmla="*/ 0 h 73"/>
                  <a:gd name="T6" fmla="*/ 11 w 11"/>
                  <a:gd name="T7" fmla="*/ 5 h 73"/>
                  <a:gd name="T8" fmla="*/ 11 w 11"/>
                  <a:gd name="T9" fmla="*/ 73 h 73"/>
                </a:gdLst>
                <a:ahLst/>
                <a:cxnLst>
                  <a:cxn ang="0">
                    <a:pos x="T0" y="T1"/>
                  </a:cxn>
                  <a:cxn ang="0">
                    <a:pos x="T2" y="T3"/>
                  </a:cxn>
                  <a:cxn ang="0">
                    <a:pos x="T4" y="T5"/>
                  </a:cxn>
                  <a:cxn ang="0">
                    <a:pos x="T6" y="T7"/>
                  </a:cxn>
                  <a:cxn ang="0">
                    <a:pos x="T8" y="T9"/>
                  </a:cxn>
                </a:cxnLst>
                <a:rect l="0" t="0" r="r" b="b"/>
                <a:pathLst>
                  <a:path w="11" h="73">
                    <a:moveTo>
                      <a:pt x="11" y="73"/>
                    </a:moveTo>
                    <a:lnTo>
                      <a:pt x="0" y="68"/>
                    </a:lnTo>
                    <a:lnTo>
                      <a:pt x="0" y="0"/>
                    </a:lnTo>
                    <a:lnTo>
                      <a:pt x="11" y="5"/>
                    </a:lnTo>
                    <a:lnTo>
                      <a:pt x="11" y="7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95" name="íS1iḑê"/>
              <p:cNvSpPr/>
              <p:nvPr/>
            </p:nvSpPr>
            <p:spPr bwMode="auto">
              <a:xfrm>
                <a:off x="2611" y="2866"/>
                <a:ext cx="10" cy="75"/>
              </a:xfrm>
              <a:custGeom>
                <a:avLst/>
                <a:gdLst>
                  <a:gd name="T0" fmla="*/ 10 w 10"/>
                  <a:gd name="T1" fmla="*/ 75 h 75"/>
                  <a:gd name="T2" fmla="*/ 0 w 10"/>
                  <a:gd name="T3" fmla="*/ 70 h 75"/>
                  <a:gd name="T4" fmla="*/ 0 w 10"/>
                  <a:gd name="T5" fmla="*/ 0 h 75"/>
                  <a:gd name="T6" fmla="*/ 10 w 10"/>
                  <a:gd name="T7" fmla="*/ 7 h 75"/>
                  <a:gd name="T8" fmla="*/ 10 w 10"/>
                  <a:gd name="T9" fmla="*/ 75 h 75"/>
                </a:gdLst>
                <a:ahLst/>
                <a:cxnLst>
                  <a:cxn ang="0">
                    <a:pos x="T0" y="T1"/>
                  </a:cxn>
                  <a:cxn ang="0">
                    <a:pos x="T2" y="T3"/>
                  </a:cxn>
                  <a:cxn ang="0">
                    <a:pos x="T4" y="T5"/>
                  </a:cxn>
                  <a:cxn ang="0">
                    <a:pos x="T6" y="T7"/>
                  </a:cxn>
                  <a:cxn ang="0">
                    <a:pos x="T8" y="T9"/>
                  </a:cxn>
                </a:cxnLst>
                <a:rect l="0" t="0" r="r" b="b"/>
                <a:pathLst>
                  <a:path w="10" h="75">
                    <a:moveTo>
                      <a:pt x="10" y="75"/>
                    </a:moveTo>
                    <a:lnTo>
                      <a:pt x="0" y="70"/>
                    </a:lnTo>
                    <a:lnTo>
                      <a:pt x="0" y="0"/>
                    </a:lnTo>
                    <a:lnTo>
                      <a:pt x="10" y="7"/>
                    </a:lnTo>
                    <a:lnTo>
                      <a:pt x="10" y="75"/>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96" name="ísľîḓè"/>
              <p:cNvSpPr/>
              <p:nvPr/>
            </p:nvSpPr>
            <p:spPr bwMode="auto">
              <a:xfrm>
                <a:off x="2611" y="2866"/>
                <a:ext cx="10" cy="75"/>
              </a:xfrm>
              <a:custGeom>
                <a:avLst/>
                <a:gdLst>
                  <a:gd name="T0" fmla="*/ 10 w 10"/>
                  <a:gd name="T1" fmla="*/ 75 h 75"/>
                  <a:gd name="T2" fmla="*/ 0 w 10"/>
                  <a:gd name="T3" fmla="*/ 70 h 75"/>
                  <a:gd name="T4" fmla="*/ 0 w 10"/>
                  <a:gd name="T5" fmla="*/ 0 h 75"/>
                  <a:gd name="T6" fmla="*/ 10 w 10"/>
                  <a:gd name="T7" fmla="*/ 7 h 75"/>
                  <a:gd name="T8" fmla="*/ 10 w 10"/>
                  <a:gd name="T9" fmla="*/ 75 h 75"/>
                </a:gdLst>
                <a:ahLst/>
                <a:cxnLst>
                  <a:cxn ang="0">
                    <a:pos x="T0" y="T1"/>
                  </a:cxn>
                  <a:cxn ang="0">
                    <a:pos x="T2" y="T3"/>
                  </a:cxn>
                  <a:cxn ang="0">
                    <a:pos x="T4" y="T5"/>
                  </a:cxn>
                  <a:cxn ang="0">
                    <a:pos x="T6" y="T7"/>
                  </a:cxn>
                  <a:cxn ang="0">
                    <a:pos x="T8" y="T9"/>
                  </a:cxn>
                </a:cxnLst>
                <a:rect l="0" t="0" r="r" b="b"/>
                <a:pathLst>
                  <a:path w="10" h="75">
                    <a:moveTo>
                      <a:pt x="10" y="75"/>
                    </a:moveTo>
                    <a:lnTo>
                      <a:pt x="0" y="70"/>
                    </a:lnTo>
                    <a:lnTo>
                      <a:pt x="0" y="0"/>
                    </a:lnTo>
                    <a:lnTo>
                      <a:pt x="10" y="7"/>
                    </a:lnTo>
                    <a:lnTo>
                      <a:pt x="10" y="7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97" name="ïSľíďê"/>
              <p:cNvSpPr/>
              <p:nvPr/>
            </p:nvSpPr>
            <p:spPr bwMode="auto">
              <a:xfrm>
                <a:off x="2636" y="2882"/>
                <a:ext cx="10" cy="74"/>
              </a:xfrm>
              <a:custGeom>
                <a:avLst/>
                <a:gdLst>
                  <a:gd name="T0" fmla="*/ 10 w 10"/>
                  <a:gd name="T1" fmla="*/ 74 h 74"/>
                  <a:gd name="T2" fmla="*/ 0 w 10"/>
                  <a:gd name="T3" fmla="*/ 68 h 74"/>
                  <a:gd name="T4" fmla="*/ 0 w 10"/>
                  <a:gd name="T5" fmla="*/ 0 h 74"/>
                  <a:gd name="T6" fmla="*/ 10 w 10"/>
                  <a:gd name="T7" fmla="*/ 5 h 74"/>
                  <a:gd name="T8" fmla="*/ 10 w 10"/>
                  <a:gd name="T9" fmla="*/ 74 h 74"/>
                </a:gdLst>
                <a:ahLst/>
                <a:cxnLst>
                  <a:cxn ang="0">
                    <a:pos x="T0" y="T1"/>
                  </a:cxn>
                  <a:cxn ang="0">
                    <a:pos x="T2" y="T3"/>
                  </a:cxn>
                  <a:cxn ang="0">
                    <a:pos x="T4" y="T5"/>
                  </a:cxn>
                  <a:cxn ang="0">
                    <a:pos x="T6" y="T7"/>
                  </a:cxn>
                  <a:cxn ang="0">
                    <a:pos x="T8" y="T9"/>
                  </a:cxn>
                </a:cxnLst>
                <a:rect l="0" t="0" r="r" b="b"/>
                <a:pathLst>
                  <a:path w="10" h="74">
                    <a:moveTo>
                      <a:pt x="10" y="74"/>
                    </a:moveTo>
                    <a:lnTo>
                      <a:pt x="0" y="68"/>
                    </a:lnTo>
                    <a:lnTo>
                      <a:pt x="0" y="0"/>
                    </a:lnTo>
                    <a:lnTo>
                      <a:pt x="10" y="5"/>
                    </a:lnTo>
                    <a:lnTo>
                      <a:pt x="10" y="74"/>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98" name="ïś1îḑé"/>
              <p:cNvSpPr/>
              <p:nvPr/>
            </p:nvSpPr>
            <p:spPr bwMode="auto">
              <a:xfrm>
                <a:off x="2636" y="2882"/>
                <a:ext cx="10" cy="74"/>
              </a:xfrm>
              <a:custGeom>
                <a:avLst/>
                <a:gdLst>
                  <a:gd name="T0" fmla="*/ 10 w 10"/>
                  <a:gd name="T1" fmla="*/ 74 h 74"/>
                  <a:gd name="T2" fmla="*/ 0 w 10"/>
                  <a:gd name="T3" fmla="*/ 68 h 74"/>
                  <a:gd name="T4" fmla="*/ 0 w 10"/>
                  <a:gd name="T5" fmla="*/ 0 h 74"/>
                  <a:gd name="T6" fmla="*/ 10 w 10"/>
                  <a:gd name="T7" fmla="*/ 5 h 74"/>
                  <a:gd name="T8" fmla="*/ 10 w 10"/>
                  <a:gd name="T9" fmla="*/ 74 h 74"/>
                </a:gdLst>
                <a:ahLst/>
                <a:cxnLst>
                  <a:cxn ang="0">
                    <a:pos x="T0" y="T1"/>
                  </a:cxn>
                  <a:cxn ang="0">
                    <a:pos x="T2" y="T3"/>
                  </a:cxn>
                  <a:cxn ang="0">
                    <a:pos x="T4" y="T5"/>
                  </a:cxn>
                  <a:cxn ang="0">
                    <a:pos x="T6" y="T7"/>
                  </a:cxn>
                  <a:cxn ang="0">
                    <a:pos x="T8" y="T9"/>
                  </a:cxn>
                </a:cxnLst>
                <a:rect l="0" t="0" r="r" b="b"/>
                <a:pathLst>
                  <a:path w="10" h="74">
                    <a:moveTo>
                      <a:pt x="10" y="74"/>
                    </a:moveTo>
                    <a:lnTo>
                      <a:pt x="0" y="68"/>
                    </a:lnTo>
                    <a:lnTo>
                      <a:pt x="0" y="0"/>
                    </a:lnTo>
                    <a:lnTo>
                      <a:pt x="10" y="5"/>
                    </a:lnTo>
                    <a:lnTo>
                      <a:pt x="10" y="7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99" name="îṩľiḑè"/>
              <p:cNvSpPr/>
              <p:nvPr/>
            </p:nvSpPr>
            <p:spPr bwMode="auto">
              <a:xfrm>
                <a:off x="1772" y="2385"/>
                <a:ext cx="10" cy="103"/>
              </a:xfrm>
              <a:custGeom>
                <a:avLst/>
                <a:gdLst>
                  <a:gd name="T0" fmla="*/ 10 w 10"/>
                  <a:gd name="T1" fmla="*/ 103 h 103"/>
                  <a:gd name="T2" fmla="*/ 0 w 10"/>
                  <a:gd name="T3" fmla="*/ 96 h 103"/>
                  <a:gd name="T4" fmla="*/ 0 w 10"/>
                  <a:gd name="T5" fmla="*/ 0 h 103"/>
                  <a:gd name="T6" fmla="*/ 10 w 10"/>
                  <a:gd name="T7" fmla="*/ 5 h 103"/>
                  <a:gd name="T8" fmla="*/ 10 w 10"/>
                  <a:gd name="T9" fmla="*/ 103 h 103"/>
                </a:gdLst>
                <a:ahLst/>
                <a:cxnLst>
                  <a:cxn ang="0">
                    <a:pos x="T0" y="T1"/>
                  </a:cxn>
                  <a:cxn ang="0">
                    <a:pos x="T2" y="T3"/>
                  </a:cxn>
                  <a:cxn ang="0">
                    <a:pos x="T4" y="T5"/>
                  </a:cxn>
                  <a:cxn ang="0">
                    <a:pos x="T6" y="T7"/>
                  </a:cxn>
                  <a:cxn ang="0">
                    <a:pos x="T8" y="T9"/>
                  </a:cxn>
                </a:cxnLst>
                <a:rect l="0" t="0" r="r" b="b"/>
                <a:pathLst>
                  <a:path w="10" h="103">
                    <a:moveTo>
                      <a:pt x="10" y="103"/>
                    </a:moveTo>
                    <a:lnTo>
                      <a:pt x="0" y="96"/>
                    </a:lnTo>
                    <a:lnTo>
                      <a:pt x="0" y="0"/>
                    </a:lnTo>
                    <a:lnTo>
                      <a:pt x="10" y="5"/>
                    </a:lnTo>
                    <a:lnTo>
                      <a:pt x="10" y="103"/>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00" name="îŝľiḋé"/>
              <p:cNvSpPr/>
              <p:nvPr/>
            </p:nvSpPr>
            <p:spPr bwMode="auto">
              <a:xfrm>
                <a:off x="1772" y="2385"/>
                <a:ext cx="10" cy="103"/>
              </a:xfrm>
              <a:custGeom>
                <a:avLst/>
                <a:gdLst>
                  <a:gd name="T0" fmla="*/ 10 w 10"/>
                  <a:gd name="T1" fmla="*/ 103 h 103"/>
                  <a:gd name="T2" fmla="*/ 0 w 10"/>
                  <a:gd name="T3" fmla="*/ 96 h 103"/>
                  <a:gd name="T4" fmla="*/ 0 w 10"/>
                  <a:gd name="T5" fmla="*/ 0 h 103"/>
                  <a:gd name="T6" fmla="*/ 10 w 10"/>
                  <a:gd name="T7" fmla="*/ 5 h 103"/>
                  <a:gd name="T8" fmla="*/ 10 w 10"/>
                  <a:gd name="T9" fmla="*/ 103 h 103"/>
                </a:gdLst>
                <a:ahLst/>
                <a:cxnLst>
                  <a:cxn ang="0">
                    <a:pos x="T0" y="T1"/>
                  </a:cxn>
                  <a:cxn ang="0">
                    <a:pos x="T2" y="T3"/>
                  </a:cxn>
                  <a:cxn ang="0">
                    <a:pos x="T4" y="T5"/>
                  </a:cxn>
                  <a:cxn ang="0">
                    <a:pos x="T6" y="T7"/>
                  </a:cxn>
                  <a:cxn ang="0">
                    <a:pos x="T8" y="T9"/>
                  </a:cxn>
                </a:cxnLst>
                <a:rect l="0" t="0" r="r" b="b"/>
                <a:pathLst>
                  <a:path w="10" h="103">
                    <a:moveTo>
                      <a:pt x="10" y="103"/>
                    </a:moveTo>
                    <a:lnTo>
                      <a:pt x="0" y="96"/>
                    </a:lnTo>
                    <a:lnTo>
                      <a:pt x="0" y="0"/>
                    </a:lnTo>
                    <a:lnTo>
                      <a:pt x="10" y="5"/>
                    </a:lnTo>
                    <a:lnTo>
                      <a:pt x="10" y="10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01" name="íŝlíďê"/>
              <p:cNvSpPr/>
              <p:nvPr/>
            </p:nvSpPr>
            <p:spPr bwMode="auto">
              <a:xfrm>
                <a:off x="1899" y="2458"/>
                <a:ext cx="10" cy="103"/>
              </a:xfrm>
              <a:custGeom>
                <a:avLst/>
                <a:gdLst>
                  <a:gd name="T0" fmla="*/ 10 w 10"/>
                  <a:gd name="T1" fmla="*/ 103 h 103"/>
                  <a:gd name="T2" fmla="*/ 0 w 10"/>
                  <a:gd name="T3" fmla="*/ 96 h 103"/>
                  <a:gd name="T4" fmla="*/ 0 w 10"/>
                  <a:gd name="T5" fmla="*/ 0 h 103"/>
                  <a:gd name="T6" fmla="*/ 10 w 10"/>
                  <a:gd name="T7" fmla="*/ 5 h 103"/>
                  <a:gd name="T8" fmla="*/ 10 w 10"/>
                  <a:gd name="T9" fmla="*/ 103 h 103"/>
                </a:gdLst>
                <a:ahLst/>
                <a:cxnLst>
                  <a:cxn ang="0">
                    <a:pos x="T0" y="T1"/>
                  </a:cxn>
                  <a:cxn ang="0">
                    <a:pos x="T2" y="T3"/>
                  </a:cxn>
                  <a:cxn ang="0">
                    <a:pos x="T4" y="T5"/>
                  </a:cxn>
                  <a:cxn ang="0">
                    <a:pos x="T6" y="T7"/>
                  </a:cxn>
                  <a:cxn ang="0">
                    <a:pos x="T8" y="T9"/>
                  </a:cxn>
                </a:cxnLst>
                <a:rect l="0" t="0" r="r" b="b"/>
                <a:pathLst>
                  <a:path w="10" h="103">
                    <a:moveTo>
                      <a:pt x="10" y="103"/>
                    </a:moveTo>
                    <a:lnTo>
                      <a:pt x="0" y="96"/>
                    </a:lnTo>
                    <a:lnTo>
                      <a:pt x="0" y="0"/>
                    </a:lnTo>
                    <a:lnTo>
                      <a:pt x="10" y="5"/>
                    </a:lnTo>
                    <a:lnTo>
                      <a:pt x="10" y="103"/>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02" name="ïṣlïḍe"/>
              <p:cNvSpPr/>
              <p:nvPr/>
            </p:nvSpPr>
            <p:spPr bwMode="auto">
              <a:xfrm>
                <a:off x="1899" y="2458"/>
                <a:ext cx="10" cy="103"/>
              </a:xfrm>
              <a:custGeom>
                <a:avLst/>
                <a:gdLst>
                  <a:gd name="T0" fmla="*/ 10 w 10"/>
                  <a:gd name="T1" fmla="*/ 103 h 103"/>
                  <a:gd name="T2" fmla="*/ 0 w 10"/>
                  <a:gd name="T3" fmla="*/ 96 h 103"/>
                  <a:gd name="T4" fmla="*/ 0 w 10"/>
                  <a:gd name="T5" fmla="*/ 0 h 103"/>
                  <a:gd name="T6" fmla="*/ 10 w 10"/>
                  <a:gd name="T7" fmla="*/ 5 h 103"/>
                  <a:gd name="T8" fmla="*/ 10 w 10"/>
                  <a:gd name="T9" fmla="*/ 103 h 103"/>
                </a:gdLst>
                <a:ahLst/>
                <a:cxnLst>
                  <a:cxn ang="0">
                    <a:pos x="T0" y="T1"/>
                  </a:cxn>
                  <a:cxn ang="0">
                    <a:pos x="T2" y="T3"/>
                  </a:cxn>
                  <a:cxn ang="0">
                    <a:pos x="T4" y="T5"/>
                  </a:cxn>
                  <a:cxn ang="0">
                    <a:pos x="T6" y="T7"/>
                  </a:cxn>
                  <a:cxn ang="0">
                    <a:pos x="T8" y="T9"/>
                  </a:cxn>
                </a:cxnLst>
                <a:rect l="0" t="0" r="r" b="b"/>
                <a:pathLst>
                  <a:path w="10" h="103">
                    <a:moveTo>
                      <a:pt x="10" y="103"/>
                    </a:moveTo>
                    <a:lnTo>
                      <a:pt x="0" y="96"/>
                    </a:lnTo>
                    <a:lnTo>
                      <a:pt x="0" y="0"/>
                    </a:lnTo>
                    <a:lnTo>
                      <a:pt x="10" y="5"/>
                    </a:lnTo>
                    <a:lnTo>
                      <a:pt x="10" y="10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03" name="ïṡļidé"/>
              <p:cNvSpPr/>
              <p:nvPr/>
            </p:nvSpPr>
            <p:spPr bwMode="auto">
              <a:xfrm>
                <a:off x="2026" y="2531"/>
                <a:ext cx="11" cy="103"/>
              </a:xfrm>
              <a:custGeom>
                <a:avLst/>
                <a:gdLst>
                  <a:gd name="T0" fmla="*/ 11 w 11"/>
                  <a:gd name="T1" fmla="*/ 103 h 103"/>
                  <a:gd name="T2" fmla="*/ 0 w 11"/>
                  <a:gd name="T3" fmla="*/ 96 h 103"/>
                  <a:gd name="T4" fmla="*/ 0 w 11"/>
                  <a:gd name="T5" fmla="*/ 0 h 103"/>
                  <a:gd name="T6" fmla="*/ 11 w 11"/>
                  <a:gd name="T7" fmla="*/ 5 h 103"/>
                  <a:gd name="T8" fmla="*/ 11 w 11"/>
                  <a:gd name="T9" fmla="*/ 103 h 103"/>
                </a:gdLst>
                <a:ahLst/>
                <a:cxnLst>
                  <a:cxn ang="0">
                    <a:pos x="T0" y="T1"/>
                  </a:cxn>
                  <a:cxn ang="0">
                    <a:pos x="T2" y="T3"/>
                  </a:cxn>
                  <a:cxn ang="0">
                    <a:pos x="T4" y="T5"/>
                  </a:cxn>
                  <a:cxn ang="0">
                    <a:pos x="T6" y="T7"/>
                  </a:cxn>
                  <a:cxn ang="0">
                    <a:pos x="T8" y="T9"/>
                  </a:cxn>
                </a:cxnLst>
                <a:rect l="0" t="0" r="r" b="b"/>
                <a:pathLst>
                  <a:path w="11" h="103">
                    <a:moveTo>
                      <a:pt x="11" y="103"/>
                    </a:moveTo>
                    <a:lnTo>
                      <a:pt x="0" y="96"/>
                    </a:lnTo>
                    <a:lnTo>
                      <a:pt x="0" y="0"/>
                    </a:lnTo>
                    <a:lnTo>
                      <a:pt x="11" y="5"/>
                    </a:lnTo>
                    <a:lnTo>
                      <a:pt x="11" y="103"/>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04" name="ïṧľíḍe"/>
              <p:cNvSpPr/>
              <p:nvPr/>
            </p:nvSpPr>
            <p:spPr bwMode="auto">
              <a:xfrm>
                <a:off x="2026" y="2531"/>
                <a:ext cx="11" cy="103"/>
              </a:xfrm>
              <a:custGeom>
                <a:avLst/>
                <a:gdLst>
                  <a:gd name="T0" fmla="*/ 11 w 11"/>
                  <a:gd name="T1" fmla="*/ 103 h 103"/>
                  <a:gd name="T2" fmla="*/ 0 w 11"/>
                  <a:gd name="T3" fmla="*/ 96 h 103"/>
                  <a:gd name="T4" fmla="*/ 0 w 11"/>
                  <a:gd name="T5" fmla="*/ 0 h 103"/>
                  <a:gd name="T6" fmla="*/ 11 w 11"/>
                  <a:gd name="T7" fmla="*/ 5 h 103"/>
                  <a:gd name="T8" fmla="*/ 11 w 11"/>
                  <a:gd name="T9" fmla="*/ 103 h 103"/>
                </a:gdLst>
                <a:ahLst/>
                <a:cxnLst>
                  <a:cxn ang="0">
                    <a:pos x="T0" y="T1"/>
                  </a:cxn>
                  <a:cxn ang="0">
                    <a:pos x="T2" y="T3"/>
                  </a:cxn>
                  <a:cxn ang="0">
                    <a:pos x="T4" y="T5"/>
                  </a:cxn>
                  <a:cxn ang="0">
                    <a:pos x="T6" y="T7"/>
                  </a:cxn>
                  <a:cxn ang="0">
                    <a:pos x="T8" y="T9"/>
                  </a:cxn>
                </a:cxnLst>
                <a:rect l="0" t="0" r="r" b="b"/>
                <a:pathLst>
                  <a:path w="11" h="103">
                    <a:moveTo>
                      <a:pt x="11" y="103"/>
                    </a:moveTo>
                    <a:lnTo>
                      <a:pt x="0" y="96"/>
                    </a:lnTo>
                    <a:lnTo>
                      <a:pt x="0" y="0"/>
                    </a:lnTo>
                    <a:lnTo>
                      <a:pt x="11" y="5"/>
                    </a:lnTo>
                    <a:lnTo>
                      <a:pt x="11" y="10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05" name="íśľiďe"/>
              <p:cNvSpPr/>
              <p:nvPr/>
            </p:nvSpPr>
            <p:spPr bwMode="auto">
              <a:xfrm>
                <a:off x="2154" y="2604"/>
                <a:ext cx="10" cy="103"/>
              </a:xfrm>
              <a:custGeom>
                <a:avLst/>
                <a:gdLst>
                  <a:gd name="T0" fmla="*/ 10 w 10"/>
                  <a:gd name="T1" fmla="*/ 103 h 103"/>
                  <a:gd name="T2" fmla="*/ 0 w 10"/>
                  <a:gd name="T3" fmla="*/ 96 h 103"/>
                  <a:gd name="T4" fmla="*/ 0 w 10"/>
                  <a:gd name="T5" fmla="*/ 0 h 103"/>
                  <a:gd name="T6" fmla="*/ 10 w 10"/>
                  <a:gd name="T7" fmla="*/ 5 h 103"/>
                  <a:gd name="T8" fmla="*/ 10 w 10"/>
                  <a:gd name="T9" fmla="*/ 103 h 103"/>
                </a:gdLst>
                <a:ahLst/>
                <a:cxnLst>
                  <a:cxn ang="0">
                    <a:pos x="T0" y="T1"/>
                  </a:cxn>
                  <a:cxn ang="0">
                    <a:pos x="T2" y="T3"/>
                  </a:cxn>
                  <a:cxn ang="0">
                    <a:pos x="T4" y="T5"/>
                  </a:cxn>
                  <a:cxn ang="0">
                    <a:pos x="T6" y="T7"/>
                  </a:cxn>
                  <a:cxn ang="0">
                    <a:pos x="T8" y="T9"/>
                  </a:cxn>
                </a:cxnLst>
                <a:rect l="0" t="0" r="r" b="b"/>
                <a:pathLst>
                  <a:path w="10" h="103">
                    <a:moveTo>
                      <a:pt x="10" y="103"/>
                    </a:moveTo>
                    <a:lnTo>
                      <a:pt x="0" y="96"/>
                    </a:lnTo>
                    <a:lnTo>
                      <a:pt x="0" y="0"/>
                    </a:lnTo>
                    <a:lnTo>
                      <a:pt x="10" y="5"/>
                    </a:lnTo>
                    <a:lnTo>
                      <a:pt x="10" y="103"/>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06" name="ïšḷïďe"/>
              <p:cNvSpPr/>
              <p:nvPr/>
            </p:nvSpPr>
            <p:spPr bwMode="auto">
              <a:xfrm>
                <a:off x="2154" y="2604"/>
                <a:ext cx="10" cy="103"/>
              </a:xfrm>
              <a:custGeom>
                <a:avLst/>
                <a:gdLst>
                  <a:gd name="T0" fmla="*/ 10 w 10"/>
                  <a:gd name="T1" fmla="*/ 103 h 103"/>
                  <a:gd name="T2" fmla="*/ 0 w 10"/>
                  <a:gd name="T3" fmla="*/ 96 h 103"/>
                  <a:gd name="T4" fmla="*/ 0 w 10"/>
                  <a:gd name="T5" fmla="*/ 0 h 103"/>
                  <a:gd name="T6" fmla="*/ 10 w 10"/>
                  <a:gd name="T7" fmla="*/ 5 h 103"/>
                  <a:gd name="T8" fmla="*/ 10 w 10"/>
                  <a:gd name="T9" fmla="*/ 103 h 103"/>
                </a:gdLst>
                <a:ahLst/>
                <a:cxnLst>
                  <a:cxn ang="0">
                    <a:pos x="T0" y="T1"/>
                  </a:cxn>
                  <a:cxn ang="0">
                    <a:pos x="T2" y="T3"/>
                  </a:cxn>
                  <a:cxn ang="0">
                    <a:pos x="T4" y="T5"/>
                  </a:cxn>
                  <a:cxn ang="0">
                    <a:pos x="T6" y="T7"/>
                  </a:cxn>
                  <a:cxn ang="0">
                    <a:pos x="T8" y="T9"/>
                  </a:cxn>
                </a:cxnLst>
                <a:rect l="0" t="0" r="r" b="b"/>
                <a:pathLst>
                  <a:path w="10" h="103">
                    <a:moveTo>
                      <a:pt x="10" y="103"/>
                    </a:moveTo>
                    <a:lnTo>
                      <a:pt x="0" y="96"/>
                    </a:lnTo>
                    <a:lnTo>
                      <a:pt x="0" y="0"/>
                    </a:lnTo>
                    <a:lnTo>
                      <a:pt x="10" y="5"/>
                    </a:lnTo>
                    <a:lnTo>
                      <a:pt x="10" y="10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07" name="îṥľíďe"/>
              <p:cNvSpPr/>
              <p:nvPr/>
            </p:nvSpPr>
            <p:spPr bwMode="auto">
              <a:xfrm>
                <a:off x="2280" y="2676"/>
                <a:ext cx="10" cy="104"/>
              </a:xfrm>
              <a:custGeom>
                <a:avLst/>
                <a:gdLst>
                  <a:gd name="T0" fmla="*/ 10 w 10"/>
                  <a:gd name="T1" fmla="*/ 104 h 104"/>
                  <a:gd name="T2" fmla="*/ 0 w 10"/>
                  <a:gd name="T3" fmla="*/ 99 h 104"/>
                  <a:gd name="T4" fmla="*/ 0 w 10"/>
                  <a:gd name="T5" fmla="*/ 0 h 104"/>
                  <a:gd name="T6" fmla="*/ 10 w 10"/>
                  <a:gd name="T7" fmla="*/ 6 h 104"/>
                  <a:gd name="T8" fmla="*/ 10 w 10"/>
                  <a:gd name="T9" fmla="*/ 104 h 104"/>
                </a:gdLst>
                <a:ahLst/>
                <a:cxnLst>
                  <a:cxn ang="0">
                    <a:pos x="T0" y="T1"/>
                  </a:cxn>
                  <a:cxn ang="0">
                    <a:pos x="T2" y="T3"/>
                  </a:cxn>
                  <a:cxn ang="0">
                    <a:pos x="T4" y="T5"/>
                  </a:cxn>
                  <a:cxn ang="0">
                    <a:pos x="T6" y="T7"/>
                  </a:cxn>
                  <a:cxn ang="0">
                    <a:pos x="T8" y="T9"/>
                  </a:cxn>
                </a:cxnLst>
                <a:rect l="0" t="0" r="r" b="b"/>
                <a:pathLst>
                  <a:path w="10" h="104">
                    <a:moveTo>
                      <a:pt x="10" y="104"/>
                    </a:moveTo>
                    <a:lnTo>
                      <a:pt x="0" y="99"/>
                    </a:lnTo>
                    <a:lnTo>
                      <a:pt x="0" y="0"/>
                    </a:lnTo>
                    <a:lnTo>
                      <a:pt x="10" y="6"/>
                    </a:lnTo>
                    <a:lnTo>
                      <a:pt x="10" y="104"/>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08" name="íŝ1íde"/>
              <p:cNvSpPr/>
              <p:nvPr/>
            </p:nvSpPr>
            <p:spPr bwMode="auto">
              <a:xfrm>
                <a:off x="2280" y="2676"/>
                <a:ext cx="10" cy="104"/>
              </a:xfrm>
              <a:custGeom>
                <a:avLst/>
                <a:gdLst>
                  <a:gd name="T0" fmla="*/ 10 w 10"/>
                  <a:gd name="T1" fmla="*/ 104 h 104"/>
                  <a:gd name="T2" fmla="*/ 0 w 10"/>
                  <a:gd name="T3" fmla="*/ 99 h 104"/>
                  <a:gd name="T4" fmla="*/ 0 w 10"/>
                  <a:gd name="T5" fmla="*/ 0 h 104"/>
                  <a:gd name="T6" fmla="*/ 10 w 10"/>
                  <a:gd name="T7" fmla="*/ 6 h 104"/>
                  <a:gd name="T8" fmla="*/ 10 w 10"/>
                  <a:gd name="T9" fmla="*/ 104 h 104"/>
                </a:gdLst>
                <a:ahLst/>
                <a:cxnLst>
                  <a:cxn ang="0">
                    <a:pos x="T0" y="T1"/>
                  </a:cxn>
                  <a:cxn ang="0">
                    <a:pos x="T2" y="T3"/>
                  </a:cxn>
                  <a:cxn ang="0">
                    <a:pos x="T4" y="T5"/>
                  </a:cxn>
                  <a:cxn ang="0">
                    <a:pos x="T6" y="T7"/>
                  </a:cxn>
                  <a:cxn ang="0">
                    <a:pos x="T8" y="T9"/>
                  </a:cxn>
                </a:cxnLst>
                <a:rect l="0" t="0" r="r" b="b"/>
                <a:pathLst>
                  <a:path w="10" h="104">
                    <a:moveTo>
                      <a:pt x="10" y="104"/>
                    </a:moveTo>
                    <a:lnTo>
                      <a:pt x="0" y="99"/>
                    </a:lnTo>
                    <a:lnTo>
                      <a:pt x="0" y="0"/>
                    </a:lnTo>
                    <a:lnTo>
                      <a:pt x="10" y="6"/>
                    </a:lnTo>
                    <a:lnTo>
                      <a:pt x="10" y="10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09" name="ïṥļîdè"/>
              <p:cNvSpPr/>
              <p:nvPr/>
            </p:nvSpPr>
            <p:spPr bwMode="auto">
              <a:xfrm>
                <a:off x="2407" y="2749"/>
                <a:ext cx="10" cy="104"/>
              </a:xfrm>
              <a:custGeom>
                <a:avLst/>
                <a:gdLst>
                  <a:gd name="T0" fmla="*/ 10 w 10"/>
                  <a:gd name="T1" fmla="*/ 104 h 104"/>
                  <a:gd name="T2" fmla="*/ 0 w 10"/>
                  <a:gd name="T3" fmla="*/ 99 h 104"/>
                  <a:gd name="T4" fmla="*/ 0 w 10"/>
                  <a:gd name="T5" fmla="*/ 0 h 104"/>
                  <a:gd name="T6" fmla="*/ 10 w 10"/>
                  <a:gd name="T7" fmla="*/ 7 h 104"/>
                  <a:gd name="T8" fmla="*/ 10 w 10"/>
                  <a:gd name="T9" fmla="*/ 104 h 104"/>
                </a:gdLst>
                <a:ahLst/>
                <a:cxnLst>
                  <a:cxn ang="0">
                    <a:pos x="T0" y="T1"/>
                  </a:cxn>
                  <a:cxn ang="0">
                    <a:pos x="T2" y="T3"/>
                  </a:cxn>
                  <a:cxn ang="0">
                    <a:pos x="T4" y="T5"/>
                  </a:cxn>
                  <a:cxn ang="0">
                    <a:pos x="T6" y="T7"/>
                  </a:cxn>
                  <a:cxn ang="0">
                    <a:pos x="T8" y="T9"/>
                  </a:cxn>
                </a:cxnLst>
                <a:rect l="0" t="0" r="r" b="b"/>
                <a:pathLst>
                  <a:path w="10" h="104">
                    <a:moveTo>
                      <a:pt x="10" y="104"/>
                    </a:moveTo>
                    <a:lnTo>
                      <a:pt x="0" y="99"/>
                    </a:lnTo>
                    <a:lnTo>
                      <a:pt x="0" y="0"/>
                    </a:lnTo>
                    <a:lnTo>
                      <a:pt x="10" y="7"/>
                    </a:lnTo>
                    <a:lnTo>
                      <a:pt x="10" y="104"/>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10" name="iSlidé"/>
              <p:cNvSpPr/>
              <p:nvPr/>
            </p:nvSpPr>
            <p:spPr bwMode="auto">
              <a:xfrm>
                <a:off x="2407" y="2749"/>
                <a:ext cx="10" cy="104"/>
              </a:xfrm>
              <a:custGeom>
                <a:avLst/>
                <a:gdLst>
                  <a:gd name="T0" fmla="*/ 10 w 10"/>
                  <a:gd name="T1" fmla="*/ 104 h 104"/>
                  <a:gd name="T2" fmla="*/ 0 w 10"/>
                  <a:gd name="T3" fmla="*/ 99 h 104"/>
                  <a:gd name="T4" fmla="*/ 0 w 10"/>
                  <a:gd name="T5" fmla="*/ 0 h 104"/>
                  <a:gd name="T6" fmla="*/ 10 w 10"/>
                  <a:gd name="T7" fmla="*/ 7 h 104"/>
                  <a:gd name="T8" fmla="*/ 10 w 10"/>
                  <a:gd name="T9" fmla="*/ 104 h 104"/>
                </a:gdLst>
                <a:ahLst/>
                <a:cxnLst>
                  <a:cxn ang="0">
                    <a:pos x="T0" y="T1"/>
                  </a:cxn>
                  <a:cxn ang="0">
                    <a:pos x="T2" y="T3"/>
                  </a:cxn>
                  <a:cxn ang="0">
                    <a:pos x="T4" y="T5"/>
                  </a:cxn>
                  <a:cxn ang="0">
                    <a:pos x="T6" y="T7"/>
                  </a:cxn>
                  <a:cxn ang="0">
                    <a:pos x="T8" y="T9"/>
                  </a:cxn>
                </a:cxnLst>
                <a:rect l="0" t="0" r="r" b="b"/>
                <a:pathLst>
                  <a:path w="10" h="104">
                    <a:moveTo>
                      <a:pt x="10" y="104"/>
                    </a:moveTo>
                    <a:lnTo>
                      <a:pt x="0" y="99"/>
                    </a:lnTo>
                    <a:lnTo>
                      <a:pt x="0" y="0"/>
                    </a:lnTo>
                    <a:lnTo>
                      <a:pt x="10" y="7"/>
                    </a:lnTo>
                    <a:lnTo>
                      <a:pt x="10" y="10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11" name="íṣḷidè"/>
              <p:cNvSpPr/>
              <p:nvPr/>
            </p:nvSpPr>
            <p:spPr bwMode="auto">
              <a:xfrm>
                <a:off x="2534" y="2822"/>
                <a:ext cx="11" cy="104"/>
              </a:xfrm>
              <a:custGeom>
                <a:avLst/>
                <a:gdLst>
                  <a:gd name="T0" fmla="*/ 11 w 11"/>
                  <a:gd name="T1" fmla="*/ 104 h 104"/>
                  <a:gd name="T2" fmla="*/ 0 w 11"/>
                  <a:gd name="T3" fmla="*/ 99 h 104"/>
                  <a:gd name="T4" fmla="*/ 0 w 11"/>
                  <a:gd name="T5" fmla="*/ 0 h 104"/>
                  <a:gd name="T6" fmla="*/ 11 w 11"/>
                  <a:gd name="T7" fmla="*/ 7 h 104"/>
                  <a:gd name="T8" fmla="*/ 11 w 11"/>
                  <a:gd name="T9" fmla="*/ 104 h 104"/>
                </a:gdLst>
                <a:ahLst/>
                <a:cxnLst>
                  <a:cxn ang="0">
                    <a:pos x="T0" y="T1"/>
                  </a:cxn>
                  <a:cxn ang="0">
                    <a:pos x="T2" y="T3"/>
                  </a:cxn>
                  <a:cxn ang="0">
                    <a:pos x="T4" y="T5"/>
                  </a:cxn>
                  <a:cxn ang="0">
                    <a:pos x="T6" y="T7"/>
                  </a:cxn>
                  <a:cxn ang="0">
                    <a:pos x="T8" y="T9"/>
                  </a:cxn>
                </a:cxnLst>
                <a:rect l="0" t="0" r="r" b="b"/>
                <a:pathLst>
                  <a:path w="11" h="104">
                    <a:moveTo>
                      <a:pt x="11" y="104"/>
                    </a:moveTo>
                    <a:lnTo>
                      <a:pt x="0" y="99"/>
                    </a:lnTo>
                    <a:lnTo>
                      <a:pt x="0" y="0"/>
                    </a:lnTo>
                    <a:lnTo>
                      <a:pt x="11" y="7"/>
                    </a:lnTo>
                    <a:lnTo>
                      <a:pt x="11" y="104"/>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12" name="iSľíḍé"/>
              <p:cNvSpPr/>
              <p:nvPr/>
            </p:nvSpPr>
            <p:spPr bwMode="auto">
              <a:xfrm>
                <a:off x="2534" y="2822"/>
                <a:ext cx="11" cy="104"/>
              </a:xfrm>
              <a:custGeom>
                <a:avLst/>
                <a:gdLst>
                  <a:gd name="T0" fmla="*/ 11 w 11"/>
                  <a:gd name="T1" fmla="*/ 104 h 104"/>
                  <a:gd name="T2" fmla="*/ 0 w 11"/>
                  <a:gd name="T3" fmla="*/ 99 h 104"/>
                  <a:gd name="T4" fmla="*/ 0 w 11"/>
                  <a:gd name="T5" fmla="*/ 0 h 104"/>
                  <a:gd name="T6" fmla="*/ 11 w 11"/>
                  <a:gd name="T7" fmla="*/ 7 h 104"/>
                  <a:gd name="T8" fmla="*/ 11 w 11"/>
                  <a:gd name="T9" fmla="*/ 104 h 104"/>
                </a:gdLst>
                <a:ahLst/>
                <a:cxnLst>
                  <a:cxn ang="0">
                    <a:pos x="T0" y="T1"/>
                  </a:cxn>
                  <a:cxn ang="0">
                    <a:pos x="T2" y="T3"/>
                  </a:cxn>
                  <a:cxn ang="0">
                    <a:pos x="T4" y="T5"/>
                  </a:cxn>
                  <a:cxn ang="0">
                    <a:pos x="T6" y="T7"/>
                  </a:cxn>
                  <a:cxn ang="0">
                    <a:pos x="T8" y="T9"/>
                  </a:cxn>
                </a:cxnLst>
                <a:rect l="0" t="0" r="r" b="b"/>
                <a:pathLst>
                  <a:path w="11" h="104">
                    <a:moveTo>
                      <a:pt x="11" y="104"/>
                    </a:moveTo>
                    <a:lnTo>
                      <a:pt x="0" y="99"/>
                    </a:lnTo>
                    <a:lnTo>
                      <a:pt x="0" y="0"/>
                    </a:lnTo>
                    <a:lnTo>
                      <a:pt x="11" y="7"/>
                    </a:lnTo>
                    <a:lnTo>
                      <a:pt x="11" y="10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13" name="íṣḻíḋé"/>
              <p:cNvSpPr/>
              <p:nvPr/>
            </p:nvSpPr>
            <p:spPr bwMode="auto">
              <a:xfrm>
                <a:off x="2662" y="2895"/>
                <a:ext cx="10" cy="104"/>
              </a:xfrm>
              <a:custGeom>
                <a:avLst/>
                <a:gdLst>
                  <a:gd name="T0" fmla="*/ 10 w 10"/>
                  <a:gd name="T1" fmla="*/ 104 h 104"/>
                  <a:gd name="T2" fmla="*/ 0 w 10"/>
                  <a:gd name="T3" fmla="*/ 99 h 104"/>
                  <a:gd name="T4" fmla="*/ 0 w 10"/>
                  <a:gd name="T5" fmla="*/ 0 h 104"/>
                  <a:gd name="T6" fmla="*/ 10 w 10"/>
                  <a:gd name="T7" fmla="*/ 7 h 104"/>
                  <a:gd name="T8" fmla="*/ 10 w 10"/>
                  <a:gd name="T9" fmla="*/ 104 h 104"/>
                </a:gdLst>
                <a:ahLst/>
                <a:cxnLst>
                  <a:cxn ang="0">
                    <a:pos x="T0" y="T1"/>
                  </a:cxn>
                  <a:cxn ang="0">
                    <a:pos x="T2" y="T3"/>
                  </a:cxn>
                  <a:cxn ang="0">
                    <a:pos x="T4" y="T5"/>
                  </a:cxn>
                  <a:cxn ang="0">
                    <a:pos x="T6" y="T7"/>
                  </a:cxn>
                  <a:cxn ang="0">
                    <a:pos x="T8" y="T9"/>
                  </a:cxn>
                </a:cxnLst>
                <a:rect l="0" t="0" r="r" b="b"/>
                <a:pathLst>
                  <a:path w="10" h="104">
                    <a:moveTo>
                      <a:pt x="10" y="104"/>
                    </a:moveTo>
                    <a:lnTo>
                      <a:pt x="0" y="99"/>
                    </a:lnTo>
                    <a:lnTo>
                      <a:pt x="0" y="0"/>
                    </a:lnTo>
                    <a:lnTo>
                      <a:pt x="10" y="7"/>
                    </a:lnTo>
                    <a:lnTo>
                      <a:pt x="10" y="104"/>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14" name="iṧ1íḍè"/>
              <p:cNvSpPr/>
              <p:nvPr/>
            </p:nvSpPr>
            <p:spPr bwMode="auto">
              <a:xfrm>
                <a:off x="2662" y="2895"/>
                <a:ext cx="10" cy="104"/>
              </a:xfrm>
              <a:custGeom>
                <a:avLst/>
                <a:gdLst>
                  <a:gd name="T0" fmla="*/ 10 w 10"/>
                  <a:gd name="T1" fmla="*/ 104 h 104"/>
                  <a:gd name="T2" fmla="*/ 0 w 10"/>
                  <a:gd name="T3" fmla="*/ 99 h 104"/>
                  <a:gd name="T4" fmla="*/ 0 w 10"/>
                  <a:gd name="T5" fmla="*/ 0 h 104"/>
                  <a:gd name="T6" fmla="*/ 10 w 10"/>
                  <a:gd name="T7" fmla="*/ 7 h 104"/>
                  <a:gd name="T8" fmla="*/ 10 w 10"/>
                  <a:gd name="T9" fmla="*/ 104 h 104"/>
                </a:gdLst>
                <a:ahLst/>
                <a:cxnLst>
                  <a:cxn ang="0">
                    <a:pos x="T0" y="T1"/>
                  </a:cxn>
                  <a:cxn ang="0">
                    <a:pos x="T2" y="T3"/>
                  </a:cxn>
                  <a:cxn ang="0">
                    <a:pos x="T4" y="T5"/>
                  </a:cxn>
                  <a:cxn ang="0">
                    <a:pos x="T6" y="T7"/>
                  </a:cxn>
                  <a:cxn ang="0">
                    <a:pos x="T8" y="T9"/>
                  </a:cxn>
                </a:cxnLst>
                <a:rect l="0" t="0" r="r" b="b"/>
                <a:pathLst>
                  <a:path w="10" h="104">
                    <a:moveTo>
                      <a:pt x="10" y="104"/>
                    </a:moveTo>
                    <a:lnTo>
                      <a:pt x="0" y="99"/>
                    </a:lnTo>
                    <a:lnTo>
                      <a:pt x="0" y="0"/>
                    </a:lnTo>
                    <a:lnTo>
                      <a:pt x="10" y="7"/>
                    </a:lnTo>
                    <a:lnTo>
                      <a:pt x="10" y="10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15" name="íśḷíḑê"/>
              <p:cNvSpPr/>
              <p:nvPr/>
            </p:nvSpPr>
            <p:spPr bwMode="auto">
              <a:xfrm>
                <a:off x="2687" y="2888"/>
                <a:ext cx="43" cy="218"/>
              </a:xfrm>
              <a:custGeom>
                <a:avLst/>
                <a:gdLst>
                  <a:gd name="T0" fmla="*/ 43 w 43"/>
                  <a:gd name="T1" fmla="*/ 0 h 218"/>
                  <a:gd name="T2" fmla="*/ 43 w 43"/>
                  <a:gd name="T3" fmla="*/ 194 h 218"/>
                  <a:gd name="T4" fmla="*/ 0 w 43"/>
                  <a:gd name="T5" fmla="*/ 218 h 218"/>
                  <a:gd name="T6" fmla="*/ 0 w 43"/>
                  <a:gd name="T7" fmla="*/ 23 h 218"/>
                  <a:gd name="T8" fmla="*/ 43 w 43"/>
                  <a:gd name="T9" fmla="*/ 0 h 218"/>
                </a:gdLst>
                <a:ahLst/>
                <a:cxnLst>
                  <a:cxn ang="0">
                    <a:pos x="T0" y="T1"/>
                  </a:cxn>
                  <a:cxn ang="0">
                    <a:pos x="T2" y="T3"/>
                  </a:cxn>
                  <a:cxn ang="0">
                    <a:pos x="T4" y="T5"/>
                  </a:cxn>
                  <a:cxn ang="0">
                    <a:pos x="T6" y="T7"/>
                  </a:cxn>
                  <a:cxn ang="0">
                    <a:pos x="T8" y="T9"/>
                  </a:cxn>
                </a:cxnLst>
                <a:rect l="0" t="0" r="r" b="b"/>
                <a:pathLst>
                  <a:path w="43" h="218">
                    <a:moveTo>
                      <a:pt x="43" y="0"/>
                    </a:moveTo>
                    <a:lnTo>
                      <a:pt x="43" y="194"/>
                    </a:lnTo>
                    <a:lnTo>
                      <a:pt x="0" y="218"/>
                    </a:lnTo>
                    <a:lnTo>
                      <a:pt x="0" y="23"/>
                    </a:lnTo>
                    <a:lnTo>
                      <a:pt x="43" y="0"/>
                    </a:lnTo>
                    <a:close/>
                  </a:path>
                </a:pathLst>
              </a:custGeom>
              <a:solidFill>
                <a:srgbClr val="F37C5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16" name="ïṣľîde"/>
              <p:cNvSpPr/>
              <p:nvPr/>
            </p:nvSpPr>
            <p:spPr bwMode="auto">
              <a:xfrm>
                <a:off x="2687" y="2888"/>
                <a:ext cx="43" cy="218"/>
              </a:xfrm>
              <a:custGeom>
                <a:avLst/>
                <a:gdLst>
                  <a:gd name="T0" fmla="*/ 43 w 43"/>
                  <a:gd name="T1" fmla="*/ 0 h 218"/>
                  <a:gd name="T2" fmla="*/ 43 w 43"/>
                  <a:gd name="T3" fmla="*/ 194 h 218"/>
                  <a:gd name="T4" fmla="*/ 0 w 43"/>
                  <a:gd name="T5" fmla="*/ 218 h 218"/>
                  <a:gd name="T6" fmla="*/ 0 w 43"/>
                  <a:gd name="T7" fmla="*/ 23 h 218"/>
                  <a:gd name="T8" fmla="*/ 43 w 43"/>
                  <a:gd name="T9" fmla="*/ 0 h 218"/>
                </a:gdLst>
                <a:ahLst/>
                <a:cxnLst>
                  <a:cxn ang="0">
                    <a:pos x="T0" y="T1"/>
                  </a:cxn>
                  <a:cxn ang="0">
                    <a:pos x="T2" y="T3"/>
                  </a:cxn>
                  <a:cxn ang="0">
                    <a:pos x="T4" y="T5"/>
                  </a:cxn>
                  <a:cxn ang="0">
                    <a:pos x="T6" y="T7"/>
                  </a:cxn>
                  <a:cxn ang="0">
                    <a:pos x="T8" y="T9"/>
                  </a:cxn>
                </a:cxnLst>
                <a:rect l="0" t="0" r="r" b="b"/>
                <a:pathLst>
                  <a:path w="43" h="218">
                    <a:moveTo>
                      <a:pt x="43" y="0"/>
                    </a:moveTo>
                    <a:lnTo>
                      <a:pt x="43" y="194"/>
                    </a:lnTo>
                    <a:lnTo>
                      <a:pt x="0" y="218"/>
                    </a:lnTo>
                    <a:lnTo>
                      <a:pt x="0" y="23"/>
                    </a:lnTo>
                    <a:lnTo>
                      <a:pt x="4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17" name="iSļîḋe"/>
              <p:cNvSpPr/>
              <p:nvPr/>
            </p:nvSpPr>
            <p:spPr bwMode="auto">
              <a:xfrm>
                <a:off x="2687" y="2888"/>
                <a:ext cx="43" cy="218"/>
              </a:xfrm>
              <a:custGeom>
                <a:avLst/>
                <a:gdLst>
                  <a:gd name="T0" fmla="*/ 43 w 43"/>
                  <a:gd name="T1" fmla="*/ 0 h 218"/>
                  <a:gd name="T2" fmla="*/ 0 w 43"/>
                  <a:gd name="T3" fmla="*/ 23 h 218"/>
                  <a:gd name="T4" fmla="*/ 0 w 43"/>
                  <a:gd name="T5" fmla="*/ 218 h 218"/>
                  <a:gd name="T6" fmla="*/ 43 w 43"/>
                  <a:gd name="T7" fmla="*/ 194 h 218"/>
                  <a:gd name="T8" fmla="*/ 43 w 43"/>
                  <a:gd name="T9" fmla="*/ 0 h 218"/>
                </a:gdLst>
                <a:ahLst/>
                <a:cxnLst>
                  <a:cxn ang="0">
                    <a:pos x="T0" y="T1"/>
                  </a:cxn>
                  <a:cxn ang="0">
                    <a:pos x="T2" y="T3"/>
                  </a:cxn>
                  <a:cxn ang="0">
                    <a:pos x="T4" y="T5"/>
                  </a:cxn>
                  <a:cxn ang="0">
                    <a:pos x="T6" y="T7"/>
                  </a:cxn>
                  <a:cxn ang="0">
                    <a:pos x="T8" y="T9"/>
                  </a:cxn>
                </a:cxnLst>
                <a:rect l="0" t="0" r="r" b="b"/>
                <a:pathLst>
                  <a:path w="43" h="218">
                    <a:moveTo>
                      <a:pt x="43" y="0"/>
                    </a:moveTo>
                    <a:lnTo>
                      <a:pt x="0" y="23"/>
                    </a:lnTo>
                    <a:lnTo>
                      <a:pt x="0" y="218"/>
                    </a:lnTo>
                    <a:lnTo>
                      <a:pt x="43" y="194"/>
                    </a:lnTo>
                    <a:lnTo>
                      <a:pt x="43" y="0"/>
                    </a:lnTo>
                    <a:close/>
                  </a:path>
                </a:pathLst>
              </a:custGeom>
              <a:solidFill>
                <a:srgbClr val="C7674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18" name="ïṡ1ïḋé"/>
              <p:cNvSpPr/>
              <p:nvPr/>
            </p:nvSpPr>
            <p:spPr bwMode="auto">
              <a:xfrm>
                <a:off x="2687" y="2888"/>
                <a:ext cx="43" cy="218"/>
              </a:xfrm>
              <a:custGeom>
                <a:avLst/>
                <a:gdLst>
                  <a:gd name="T0" fmla="*/ 43 w 43"/>
                  <a:gd name="T1" fmla="*/ 0 h 218"/>
                  <a:gd name="T2" fmla="*/ 0 w 43"/>
                  <a:gd name="T3" fmla="*/ 23 h 218"/>
                  <a:gd name="T4" fmla="*/ 0 w 43"/>
                  <a:gd name="T5" fmla="*/ 218 h 218"/>
                  <a:gd name="T6" fmla="*/ 43 w 43"/>
                  <a:gd name="T7" fmla="*/ 194 h 218"/>
                  <a:gd name="T8" fmla="*/ 43 w 43"/>
                  <a:gd name="T9" fmla="*/ 0 h 218"/>
                </a:gdLst>
                <a:ahLst/>
                <a:cxnLst>
                  <a:cxn ang="0">
                    <a:pos x="T0" y="T1"/>
                  </a:cxn>
                  <a:cxn ang="0">
                    <a:pos x="T2" y="T3"/>
                  </a:cxn>
                  <a:cxn ang="0">
                    <a:pos x="T4" y="T5"/>
                  </a:cxn>
                  <a:cxn ang="0">
                    <a:pos x="T6" y="T7"/>
                  </a:cxn>
                  <a:cxn ang="0">
                    <a:pos x="T8" y="T9"/>
                  </a:cxn>
                </a:cxnLst>
                <a:rect l="0" t="0" r="r" b="b"/>
                <a:pathLst>
                  <a:path w="43" h="218">
                    <a:moveTo>
                      <a:pt x="43" y="0"/>
                    </a:moveTo>
                    <a:lnTo>
                      <a:pt x="0" y="23"/>
                    </a:lnTo>
                    <a:lnTo>
                      <a:pt x="0" y="218"/>
                    </a:lnTo>
                    <a:lnTo>
                      <a:pt x="43" y="194"/>
                    </a:lnTo>
                    <a:lnTo>
                      <a:pt x="4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19" name="íšḻîďè"/>
              <p:cNvSpPr/>
              <p:nvPr/>
            </p:nvSpPr>
            <p:spPr bwMode="auto">
              <a:xfrm>
                <a:off x="1654" y="2291"/>
                <a:ext cx="1076" cy="620"/>
              </a:xfrm>
              <a:custGeom>
                <a:avLst/>
                <a:gdLst>
                  <a:gd name="T0" fmla="*/ 0 w 1076"/>
                  <a:gd name="T1" fmla="*/ 26 h 620"/>
                  <a:gd name="T2" fmla="*/ 44 w 1076"/>
                  <a:gd name="T3" fmla="*/ 0 h 620"/>
                  <a:gd name="T4" fmla="*/ 1076 w 1076"/>
                  <a:gd name="T5" fmla="*/ 597 h 620"/>
                  <a:gd name="T6" fmla="*/ 1033 w 1076"/>
                  <a:gd name="T7" fmla="*/ 620 h 620"/>
                  <a:gd name="T8" fmla="*/ 0 w 1076"/>
                  <a:gd name="T9" fmla="*/ 26 h 620"/>
                </a:gdLst>
                <a:ahLst/>
                <a:cxnLst>
                  <a:cxn ang="0">
                    <a:pos x="T0" y="T1"/>
                  </a:cxn>
                  <a:cxn ang="0">
                    <a:pos x="T2" y="T3"/>
                  </a:cxn>
                  <a:cxn ang="0">
                    <a:pos x="T4" y="T5"/>
                  </a:cxn>
                  <a:cxn ang="0">
                    <a:pos x="T6" y="T7"/>
                  </a:cxn>
                  <a:cxn ang="0">
                    <a:pos x="T8" y="T9"/>
                  </a:cxn>
                </a:cxnLst>
                <a:rect l="0" t="0" r="r" b="b"/>
                <a:pathLst>
                  <a:path w="1076" h="620">
                    <a:moveTo>
                      <a:pt x="0" y="26"/>
                    </a:moveTo>
                    <a:lnTo>
                      <a:pt x="44" y="0"/>
                    </a:lnTo>
                    <a:lnTo>
                      <a:pt x="1076" y="597"/>
                    </a:lnTo>
                    <a:lnTo>
                      <a:pt x="1033" y="620"/>
                    </a:lnTo>
                    <a:lnTo>
                      <a:pt x="0" y="26"/>
                    </a:lnTo>
                    <a:close/>
                  </a:path>
                </a:pathLst>
              </a:custGeom>
              <a:solidFill>
                <a:srgbClr val="F37C5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20" name="îSlíḓé"/>
              <p:cNvSpPr/>
              <p:nvPr/>
            </p:nvSpPr>
            <p:spPr bwMode="auto">
              <a:xfrm>
                <a:off x="1654" y="2291"/>
                <a:ext cx="1076" cy="620"/>
              </a:xfrm>
              <a:custGeom>
                <a:avLst/>
                <a:gdLst>
                  <a:gd name="T0" fmla="*/ 0 w 1076"/>
                  <a:gd name="T1" fmla="*/ 26 h 620"/>
                  <a:gd name="T2" fmla="*/ 44 w 1076"/>
                  <a:gd name="T3" fmla="*/ 0 h 620"/>
                  <a:gd name="T4" fmla="*/ 1076 w 1076"/>
                  <a:gd name="T5" fmla="*/ 597 h 620"/>
                  <a:gd name="T6" fmla="*/ 1033 w 1076"/>
                  <a:gd name="T7" fmla="*/ 620 h 620"/>
                  <a:gd name="T8" fmla="*/ 0 w 1076"/>
                  <a:gd name="T9" fmla="*/ 26 h 620"/>
                </a:gdLst>
                <a:ahLst/>
                <a:cxnLst>
                  <a:cxn ang="0">
                    <a:pos x="T0" y="T1"/>
                  </a:cxn>
                  <a:cxn ang="0">
                    <a:pos x="T2" y="T3"/>
                  </a:cxn>
                  <a:cxn ang="0">
                    <a:pos x="T4" y="T5"/>
                  </a:cxn>
                  <a:cxn ang="0">
                    <a:pos x="T6" y="T7"/>
                  </a:cxn>
                  <a:cxn ang="0">
                    <a:pos x="T8" y="T9"/>
                  </a:cxn>
                </a:cxnLst>
                <a:rect l="0" t="0" r="r" b="b"/>
                <a:pathLst>
                  <a:path w="1076" h="620">
                    <a:moveTo>
                      <a:pt x="0" y="26"/>
                    </a:moveTo>
                    <a:lnTo>
                      <a:pt x="44" y="0"/>
                    </a:lnTo>
                    <a:lnTo>
                      <a:pt x="1076" y="597"/>
                    </a:lnTo>
                    <a:lnTo>
                      <a:pt x="1033" y="620"/>
                    </a:lnTo>
                    <a:lnTo>
                      <a:pt x="0" y="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21" name="îšľíḑê"/>
              <p:cNvSpPr/>
              <p:nvPr/>
            </p:nvSpPr>
            <p:spPr bwMode="auto">
              <a:xfrm>
                <a:off x="1654" y="2291"/>
                <a:ext cx="1076" cy="620"/>
              </a:xfrm>
              <a:custGeom>
                <a:avLst/>
                <a:gdLst>
                  <a:gd name="T0" fmla="*/ 44 w 1076"/>
                  <a:gd name="T1" fmla="*/ 0 h 620"/>
                  <a:gd name="T2" fmla="*/ 0 w 1076"/>
                  <a:gd name="T3" fmla="*/ 26 h 620"/>
                  <a:gd name="T4" fmla="*/ 1033 w 1076"/>
                  <a:gd name="T5" fmla="*/ 620 h 620"/>
                  <a:gd name="T6" fmla="*/ 1076 w 1076"/>
                  <a:gd name="T7" fmla="*/ 597 h 620"/>
                  <a:gd name="T8" fmla="*/ 44 w 1076"/>
                  <a:gd name="T9" fmla="*/ 0 h 620"/>
                </a:gdLst>
                <a:ahLst/>
                <a:cxnLst>
                  <a:cxn ang="0">
                    <a:pos x="T0" y="T1"/>
                  </a:cxn>
                  <a:cxn ang="0">
                    <a:pos x="T2" y="T3"/>
                  </a:cxn>
                  <a:cxn ang="0">
                    <a:pos x="T4" y="T5"/>
                  </a:cxn>
                  <a:cxn ang="0">
                    <a:pos x="T6" y="T7"/>
                  </a:cxn>
                  <a:cxn ang="0">
                    <a:pos x="T8" y="T9"/>
                  </a:cxn>
                </a:cxnLst>
                <a:rect l="0" t="0" r="r" b="b"/>
                <a:pathLst>
                  <a:path w="1076" h="620">
                    <a:moveTo>
                      <a:pt x="44" y="0"/>
                    </a:moveTo>
                    <a:lnTo>
                      <a:pt x="0" y="26"/>
                    </a:lnTo>
                    <a:lnTo>
                      <a:pt x="1033" y="620"/>
                    </a:lnTo>
                    <a:lnTo>
                      <a:pt x="1076" y="597"/>
                    </a:lnTo>
                    <a:lnTo>
                      <a:pt x="44" y="0"/>
                    </a:lnTo>
                    <a:close/>
                  </a:path>
                </a:pathLst>
              </a:custGeom>
              <a:solidFill>
                <a:srgbClr val="F8B29B"/>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22" name="iŝļïde"/>
              <p:cNvSpPr/>
              <p:nvPr/>
            </p:nvSpPr>
            <p:spPr bwMode="auto">
              <a:xfrm>
                <a:off x="1654" y="2291"/>
                <a:ext cx="1076" cy="620"/>
              </a:xfrm>
              <a:custGeom>
                <a:avLst/>
                <a:gdLst>
                  <a:gd name="T0" fmla="*/ 44 w 1076"/>
                  <a:gd name="T1" fmla="*/ 0 h 620"/>
                  <a:gd name="T2" fmla="*/ 0 w 1076"/>
                  <a:gd name="T3" fmla="*/ 26 h 620"/>
                  <a:gd name="T4" fmla="*/ 1033 w 1076"/>
                  <a:gd name="T5" fmla="*/ 620 h 620"/>
                  <a:gd name="T6" fmla="*/ 1076 w 1076"/>
                  <a:gd name="T7" fmla="*/ 597 h 620"/>
                  <a:gd name="T8" fmla="*/ 44 w 1076"/>
                  <a:gd name="T9" fmla="*/ 0 h 620"/>
                </a:gdLst>
                <a:ahLst/>
                <a:cxnLst>
                  <a:cxn ang="0">
                    <a:pos x="T0" y="T1"/>
                  </a:cxn>
                  <a:cxn ang="0">
                    <a:pos x="T2" y="T3"/>
                  </a:cxn>
                  <a:cxn ang="0">
                    <a:pos x="T4" y="T5"/>
                  </a:cxn>
                  <a:cxn ang="0">
                    <a:pos x="T6" y="T7"/>
                  </a:cxn>
                  <a:cxn ang="0">
                    <a:pos x="T8" y="T9"/>
                  </a:cxn>
                </a:cxnLst>
                <a:rect l="0" t="0" r="r" b="b"/>
                <a:pathLst>
                  <a:path w="1076" h="620">
                    <a:moveTo>
                      <a:pt x="44" y="0"/>
                    </a:moveTo>
                    <a:lnTo>
                      <a:pt x="0" y="26"/>
                    </a:lnTo>
                    <a:lnTo>
                      <a:pt x="1033" y="620"/>
                    </a:lnTo>
                    <a:lnTo>
                      <a:pt x="1076" y="597"/>
                    </a:lnTo>
                    <a:lnTo>
                      <a:pt x="4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23" name="iṥļiḍe"/>
              <p:cNvSpPr/>
              <p:nvPr/>
            </p:nvSpPr>
            <p:spPr bwMode="auto">
              <a:xfrm>
                <a:off x="5237" y="3609"/>
                <a:ext cx="107" cy="129"/>
              </a:xfrm>
              <a:custGeom>
                <a:avLst/>
                <a:gdLst>
                  <a:gd name="T0" fmla="*/ 63 w 63"/>
                  <a:gd name="T1" fmla="*/ 57 h 76"/>
                  <a:gd name="T2" fmla="*/ 57 w 63"/>
                  <a:gd name="T3" fmla="*/ 72 h 76"/>
                  <a:gd name="T4" fmla="*/ 54 w 63"/>
                  <a:gd name="T5" fmla="*/ 74 h 76"/>
                  <a:gd name="T6" fmla="*/ 54 w 63"/>
                  <a:gd name="T7" fmla="*/ 74 h 76"/>
                  <a:gd name="T8" fmla="*/ 32 w 63"/>
                  <a:gd name="T9" fmla="*/ 70 h 76"/>
                  <a:gd name="T10" fmla="*/ 11 w 63"/>
                  <a:gd name="T11" fmla="*/ 51 h 76"/>
                  <a:gd name="T12" fmla="*/ 11 w 63"/>
                  <a:gd name="T13" fmla="*/ 51 h 76"/>
                  <a:gd name="T14" fmla="*/ 0 w 63"/>
                  <a:gd name="T15" fmla="*/ 20 h 76"/>
                  <a:gd name="T16" fmla="*/ 6 w 63"/>
                  <a:gd name="T17" fmla="*/ 4 h 76"/>
                  <a:gd name="T18" fmla="*/ 7 w 63"/>
                  <a:gd name="T19" fmla="*/ 4 h 76"/>
                  <a:gd name="T20" fmla="*/ 8 w 63"/>
                  <a:gd name="T21" fmla="*/ 3 h 76"/>
                  <a:gd name="T22" fmla="*/ 8 w 63"/>
                  <a:gd name="T23" fmla="*/ 3 h 76"/>
                  <a:gd name="T24" fmla="*/ 32 w 63"/>
                  <a:gd name="T25" fmla="*/ 7 h 76"/>
                  <a:gd name="T26" fmla="*/ 52 w 63"/>
                  <a:gd name="T27" fmla="*/ 27 h 76"/>
                  <a:gd name="T28" fmla="*/ 53 w 63"/>
                  <a:gd name="T29" fmla="*/ 27 h 76"/>
                  <a:gd name="T30" fmla="*/ 63 w 63"/>
                  <a:gd name="T31" fmla="*/ 57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3" h="76">
                    <a:moveTo>
                      <a:pt x="63" y="57"/>
                    </a:moveTo>
                    <a:cubicBezTo>
                      <a:pt x="63" y="64"/>
                      <a:pt x="61" y="69"/>
                      <a:pt x="57" y="72"/>
                    </a:cubicBezTo>
                    <a:cubicBezTo>
                      <a:pt x="54" y="74"/>
                      <a:pt x="54" y="74"/>
                      <a:pt x="54" y="74"/>
                    </a:cubicBezTo>
                    <a:cubicBezTo>
                      <a:pt x="54" y="74"/>
                      <a:pt x="54" y="74"/>
                      <a:pt x="54" y="74"/>
                    </a:cubicBezTo>
                    <a:cubicBezTo>
                      <a:pt x="48" y="76"/>
                      <a:pt x="40" y="75"/>
                      <a:pt x="32" y="70"/>
                    </a:cubicBezTo>
                    <a:cubicBezTo>
                      <a:pt x="24" y="66"/>
                      <a:pt x="16" y="59"/>
                      <a:pt x="11" y="51"/>
                    </a:cubicBezTo>
                    <a:cubicBezTo>
                      <a:pt x="11" y="51"/>
                      <a:pt x="11" y="51"/>
                      <a:pt x="11" y="51"/>
                    </a:cubicBezTo>
                    <a:cubicBezTo>
                      <a:pt x="4" y="41"/>
                      <a:pt x="0" y="30"/>
                      <a:pt x="0" y="20"/>
                    </a:cubicBezTo>
                    <a:cubicBezTo>
                      <a:pt x="0" y="13"/>
                      <a:pt x="2" y="7"/>
                      <a:pt x="6" y="4"/>
                    </a:cubicBezTo>
                    <a:cubicBezTo>
                      <a:pt x="7" y="4"/>
                      <a:pt x="7" y="4"/>
                      <a:pt x="7" y="4"/>
                    </a:cubicBezTo>
                    <a:cubicBezTo>
                      <a:pt x="8" y="3"/>
                      <a:pt x="8" y="3"/>
                      <a:pt x="8" y="3"/>
                    </a:cubicBezTo>
                    <a:cubicBezTo>
                      <a:pt x="8" y="3"/>
                      <a:pt x="8" y="3"/>
                      <a:pt x="8" y="3"/>
                    </a:cubicBezTo>
                    <a:cubicBezTo>
                      <a:pt x="14" y="0"/>
                      <a:pt x="22" y="1"/>
                      <a:pt x="32" y="7"/>
                    </a:cubicBezTo>
                    <a:cubicBezTo>
                      <a:pt x="39" y="11"/>
                      <a:pt x="47" y="18"/>
                      <a:pt x="52" y="27"/>
                    </a:cubicBezTo>
                    <a:cubicBezTo>
                      <a:pt x="53" y="27"/>
                      <a:pt x="53" y="27"/>
                      <a:pt x="53" y="27"/>
                    </a:cubicBezTo>
                    <a:cubicBezTo>
                      <a:pt x="59" y="37"/>
                      <a:pt x="63" y="47"/>
                      <a:pt x="63" y="57"/>
                    </a:cubicBezTo>
                  </a:path>
                </a:pathLst>
              </a:custGeom>
              <a:solidFill>
                <a:srgbClr val="C59E7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24" name="iṥ1iďê"/>
              <p:cNvSpPr/>
              <p:nvPr/>
            </p:nvSpPr>
            <p:spPr bwMode="auto">
              <a:xfrm>
                <a:off x="4349" y="3609"/>
                <a:ext cx="978" cy="570"/>
              </a:xfrm>
              <a:custGeom>
                <a:avLst/>
                <a:gdLst>
                  <a:gd name="T0" fmla="*/ 576 w 576"/>
                  <a:gd name="T1" fmla="*/ 27 h 336"/>
                  <a:gd name="T2" fmla="*/ 574 w 576"/>
                  <a:gd name="T3" fmla="*/ 28 h 336"/>
                  <a:gd name="T4" fmla="*/ 573 w 576"/>
                  <a:gd name="T5" fmla="*/ 28 h 336"/>
                  <a:gd name="T6" fmla="*/ 556 w 576"/>
                  <a:gd name="T7" fmla="*/ 38 h 336"/>
                  <a:gd name="T8" fmla="*/ 534 w 576"/>
                  <a:gd name="T9" fmla="*/ 51 h 336"/>
                  <a:gd name="T10" fmla="*/ 261 w 576"/>
                  <a:gd name="T11" fmla="*/ 208 h 336"/>
                  <a:gd name="T12" fmla="*/ 45 w 576"/>
                  <a:gd name="T13" fmla="*/ 334 h 336"/>
                  <a:gd name="T14" fmla="*/ 45 w 576"/>
                  <a:gd name="T15" fmla="*/ 334 h 336"/>
                  <a:gd name="T16" fmla="*/ 42 w 576"/>
                  <a:gd name="T17" fmla="*/ 336 h 336"/>
                  <a:gd name="T18" fmla="*/ 0 w 576"/>
                  <a:gd name="T19" fmla="*/ 310 h 336"/>
                  <a:gd name="T20" fmla="*/ 1 w 576"/>
                  <a:gd name="T21" fmla="*/ 310 h 336"/>
                  <a:gd name="T22" fmla="*/ 529 w 576"/>
                  <a:gd name="T23" fmla="*/ 4 h 336"/>
                  <a:gd name="T24" fmla="*/ 530 w 576"/>
                  <a:gd name="T25" fmla="*/ 4 h 336"/>
                  <a:gd name="T26" fmla="*/ 531 w 576"/>
                  <a:gd name="T27" fmla="*/ 3 h 336"/>
                  <a:gd name="T28" fmla="*/ 531 w 576"/>
                  <a:gd name="T29" fmla="*/ 3 h 336"/>
                  <a:gd name="T30" fmla="*/ 555 w 576"/>
                  <a:gd name="T31" fmla="*/ 7 h 336"/>
                  <a:gd name="T32" fmla="*/ 575 w 576"/>
                  <a:gd name="T33" fmla="*/ 27 h 336"/>
                  <a:gd name="T34" fmla="*/ 576 w 576"/>
                  <a:gd name="T35" fmla="*/ 27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76" h="336">
                    <a:moveTo>
                      <a:pt x="576" y="27"/>
                    </a:moveTo>
                    <a:cubicBezTo>
                      <a:pt x="574" y="28"/>
                      <a:pt x="574" y="28"/>
                      <a:pt x="574" y="28"/>
                    </a:cubicBezTo>
                    <a:cubicBezTo>
                      <a:pt x="573" y="28"/>
                      <a:pt x="573" y="28"/>
                      <a:pt x="573" y="28"/>
                    </a:cubicBezTo>
                    <a:cubicBezTo>
                      <a:pt x="556" y="38"/>
                      <a:pt x="556" y="38"/>
                      <a:pt x="556" y="38"/>
                    </a:cubicBezTo>
                    <a:cubicBezTo>
                      <a:pt x="534" y="51"/>
                      <a:pt x="534" y="51"/>
                      <a:pt x="534" y="51"/>
                    </a:cubicBezTo>
                    <a:cubicBezTo>
                      <a:pt x="261" y="208"/>
                      <a:pt x="261" y="208"/>
                      <a:pt x="261" y="208"/>
                    </a:cubicBezTo>
                    <a:cubicBezTo>
                      <a:pt x="45" y="334"/>
                      <a:pt x="45" y="334"/>
                      <a:pt x="45" y="334"/>
                    </a:cubicBezTo>
                    <a:cubicBezTo>
                      <a:pt x="45" y="334"/>
                      <a:pt x="45" y="334"/>
                      <a:pt x="45" y="334"/>
                    </a:cubicBezTo>
                    <a:cubicBezTo>
                      <a:pt x="42" y="336"/>
                      <a:pt x="42" y="336"/>
                      <a:pt x="42" y="336"/>
                    </a:cubicBezTo>
                    <a:cubicBezTo>
                      <a:pt x="0" y="310"/>
                      <a:pt x="0" y="310"/>
                      <a:pt x="0" y="310"/>
                    </a:cubicBezTo>
                    <a:cubicBezTo>
                      <a:pt x="1" y="310"/>
                      <a:pt x="1" y="310"/>
                      <a:pt x="1" y="310"/>
                    </a:cubicBezTo>
                    <a:cubicBezTo>
                      <a:pt x="529" y="4"/>
                      <a:pt x="529" y="4"/>
                      <a:pt x="529" y="4"/>
                    </a:cubicBezTo>
                    <a:cubicBezTo>
                      <a:pt x="530" y="4"/>
                      <a:pt x="530" y="4"/>
                      <a:pt x="530" y="4"/>
                    </a:cubicBezTo>
                    <a:cubicBezTo>
                      <a:pt x="531" y="3"/>
                      <a:pt x="531" y="3"/>
                      <a:pt x="531" y="3"/>
                    </a:cubicBezTo>
                    <a:cubicBezTo>
                      <a:pt x="531" y="3"/>
                      <a:pt x="531" y="3"/>
                      <a:pt x="531" y="3"/>
                    </a:cubicBezTo>
                    <a:cubicBezTo>
                      <a:pt x="537" y="0"/>
                      <a:pt x="545" y="1"/>
                      <a:pt x="555" y="7"/>
                    </a:cubicBezTo>
                    <a:cubicBezTo>
                      <a:pt x="562" y="11"/>
                      <a:pt x="570" y="18"/>
                      <a:pt x="575" y="27"/>
                    </a:cubicBezTo>
                    <a:cubicBezTo>
                      <a:pt x="576" y="27"/>
                      <a:pt x="576" y="27"/>
                      <a:pt x="576" y="27"/>
                    </a:cubicBezTo>
                  </a:path>
                </a:pathLst>
              </a:custGeom>
              <a:solidFill>
                <a:srgbClr val="48565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25" name="i$ļidê"/>
              <p:cNvSpPr/>
              <p:nvPr/>
            </p:nvSpPr>
            <p:spPr bwMode="auto">
              <a:xfrm>
                <a:off x="4351" y="3613"/>
                <a:ext cx="975" cy="563"/>
              </a:xfrm>
              <a:custGeom>
                <a:avLst/>
                <a:gdLst>
                  <a:gd name="T0" fmla="*/ 538 w 574"/>
                  <a:gd name="T1" fmla="*/ 0 h 332"/>
                  <a:gd name="T2" fmla="*/ 530 w 574"/>
                  <a:gd name="T3" fmla="*/ 1 h 332"/>
                  <a:gd name="T4" fmla="*/ 530 w 574"/>
                  <a:gd name="T5" fmla="*/ 1 h 332"/>
                  <a:gd name="T6" fmla="*/ 529 w 574"/>
                  <a:gd name="T7" fmla="*/ 2 h 332"/>
                  <a:gd name="T8" fmla="*/ 528 w 574"/>
                  <a:gd name="T9" fmla="*/ 2 h 332"/>
                  <a:gd name="T10" fmla="*/ 0 w 574"/>
                  <a:gd name="T11" fmla="*/ 308 h 332"/>
                  <a:gd name="T12" fmla="*/ 7 w 574"/>
                  <a:gd name="T13" fmla="*/ 306 h 332"/>
                  <a:gd name="T14" fmla="*/ 23 w 574"/>
                  <a:gd name="T15" fmla="*/ 311 h 332"/>
                  <a:gd name="T16" fmla="*/ 44 w 574"/>
                  <a:gd name="T17" fmla="*/ 332 h 332"/>
                  <a:gd name="T18" fmla="*/ 260 w 574"/>
                  <a:gd name="T19" fmla="*/ 206 h 332"/>
                  <a:gd name="T20" fmla="*/ 533 w 574"/>
                  <a:gd name="T21" fmla="*/ 49 h 332"/>
                  <a:gd name="T22" fmla="*/ 555 w 574"/>
                  <a:gd name="T23" fmla="*/ 36 h 332"/>
                  <a:gd name="T24" fmla="*/ 572 w 574"/>
                  <a:gd name="T25" fmla="*/ 26 h 332"/>
                  <a:gd name="T26" fmla="*/ 573 w 574"/>
                  <a:gd name="T27" fmla="*/ 26 h 332"/>
                  <a:gd name="T28" fmla="*/ 574 w 574"/>
                  <a:gd name="T29" fmla="*/ 25 h 332"/>
                  <a:gd name="T30" fmla="*/ 554 w 574"/>
                  <a:gd name="T31" fmla="*/ 5 h 332"/>
                  <a:gd name="T32" fmla="*/ 538 w 574"/>
                  <a:gd name="T33" fmla="*/ 0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74" h="332">
                    <a:moveTo>
                      <a:pt x="538" y="0"/>
                    </a:moveTo>
                    <a:cubicBezTo>
                      <a:pt x="535" y="0"/>
                      <a:pt x="532" y="0"/>
                      <a:pt x="530" y="1"/>
                    </a:cubicBezTo>
                    <a:cubicBezTo>
                      <a:pt x="530" y="1"/>
                      <a:pt x="530" y="1"/>
                      <a:pt x="530" y="1"/>
                    </a:cubicBezTo>
                    <a:cubicBezTo>
                      <a:pt x="529" y="2"/>
                      <a:pt x="529" y="2"/>
                      <a:pt x="529" y="2"/>
                    </a:cubicBezTo>
                    <a:cubicBezTo>
                      <a:pt x="528" y="2"/>
                      <a:pt x="528" y="2"/>
                      <a:pt x="528" y="2"/>
                    </a:cubicBezTo>
                    <a:cubicBezTo>
                      <a:pt x="0" y="308"/>
                      <a:pt x="0" y="308"/>
                      <a:pt x="0" y="308"/>
                    </a:cubicBezTo>
                    <a:cubicBezTo>
                      <a:pt x="2" y="307"/>
                      <a:pt x="5" y="306"/>
                      <a:pt x="7" y="306"/>
                    </a:cubicBezTo>
                    <a:cubicBezTo>
                      <a:pt x="12" y="306"/>
                      <a:pt x="17" y="308"/>
                      <a:pt x="23" y="311"/>
                    </a:cubicBezTo>
                    <a:cubicBezTo>
                      <a:pt x="31" y="316"/>
                      <a:pt x="39" y="323"/>
                      <a:pt x="44" y="332"/>
                    </a:cubicBezTo>
                    <a:cubicBezTo>
                      <a:pt x="260" y="206"/>
                      <a:pt x="260" y="206"/>
                      <a:pt x="260" y="206"/>
                    </a:cubicBezTo>
                    <a:cubicBezTo>
                      <a:pt x="533" y="49"/>
                      <a:pt x="533" y="49"/>
                      <a:pt x="533" y="49"/>
                    </a:cubicBezTo>
                    <a:cubicBezTo>
                      <a:pt x="555" y="36"/>
                      <a:pt x="555" y="36"/>
                      <a:pt x="555" y="36"/>
                    </a:cubicBezTo>
                    <a:cubicBezTo>
                      <a:pt x="572" y="26"/>
                      <a:pt x="572" y="26"/>
                      <a:pt x="572" y="26"/>
                    </a:cubicBezTo>
                    <a:cubicBezTo>
                      <a:pt x="573" y="26"/>
                      <a:pt x="573" y="26"/>
                      <a:pt x="573" y="26"/>
                    </a:cubicBezTo>
                    <a:cubicBezTo>
                      <a:pt x="574" y="25"/>
                      <a:pt x="574" y="25"/>
                      <a:pt x="574" y="25"/>
                    </a:cubicBezTo>
                    <a:cubicBezTo>
                      <a:pt x="569" y="16"/>
                      <a:pt x="561" y="9"/>
                      <a:pt x="554" y="5"/>
                    </a:cubicBezTo>
                    <a:cubicBezTo>
                      <a:pt x="548" y="1"/>
                      <a:pt x="542" y="0"/>
                      <a:pt x="538" y="0"/>
                    </a:cubicBezTo>
                  </a:path>
                </a:pathLst>
              </a:custGeom>
              <a:solidFill>
                <a:srgbClr val="6E8583"/>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26" name="ïŝlïḓè"/>
              <p:cNvSpPr/>
              <p:nvPr/>
            </p:nvSpPr>
            <p:spPr bwMode="auto">
              <a:xfrm>
                <a:off x="4425" y="3655"/>
                <a:ext cx="919" cy="599"/>
              </a:xfrm>
              <a:custGeom>
                <a:avLst/>
                <a:gdLst>
                  <a:gd name="T0" fmla="*/ 541 w 541"/>
                  <a:gd name="T1" fmla="*/ 30 h 353"/>
                  <a:gd name="T2" fmla="*/ 535 w 541"/>
                  <a:gd name="T3" fmla="*/ 45 h 353"/>
                  <a:gd name="T4" fmla="*/ 532 w 541"/>
                  <a:gd name="T5" fmla="*/ 47 h 353"/>
                  <a:gd name="T6" fmla="*/ 532 w 541"/>
                  <a:gd name="T7" fmla="*/ 47 h 353"/>
                  <a:gd name="T8" fmla="*/ 3 w 541"/>
                  <a:gd name="T9" fmla="*/ 353 h 353"/>
                  <a:gd name="T10" fmla="*/ 2 w 541"/>
                  <a:gd name="T11" fmla="*/ 353 h 353"/>
                  <a:gd name="T12" fmla="*/ 2 w 541"/>
                  <a:gd name="T13" fmla="*/ 353 h 353"/>
                  <a:gd name="T14" fmla="*/ 0 w 541"/>
                  <a:gd name="T15" fmla="*/ 307 h 353"/>
                  <a:gd name="T16" fmla="*/ 0 w 541"/>
                  <a:gd name="T17" fmla="*/ 307 h 353"/>
                  <a:gd name="T18" fmla="*/ 216 w 541"/>
                  <a:gd name="T19" fmla="*/ 181 h 353"/>
                  <a:gd name="T20" fmla="*/ 489 w 541"/>
                  <a:gd name="T21" fmla="*/ 24 h 353"/>
                  <a:gd name="T22" fmla="*/ 511 w 541"/>
                  <a:gd name="T23" fmla="*/ 11 h 353"/>
                  <a:gd name="T24" fmla="*/ 529 w 541"/>
                  <a:gd name="T25" fmla="*/ 1 h 353"/>
                  <a:gd name="T26" fmla="*/ 530 w 541"/>
                  <a:gd name="T27" fmla="*/ 0 h 353"/>
                  <a:gd name="T28" fmla="*/ 531 w 541"/>
                  <a:gd name="T29" fmla="*/ 0 h 353"/>
                  <a:gd name="T30" fmla="*/ 541 w 541"/>
                  <a:gd name="T31" fmla="*/ 30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41" h="353">
                    <a:moveTo>
                      <a:pt x="541" y="30"/>
                    </a:moveTo>
                    <a:cubicBezTo>
                      <a:pt x="541" y="37"/>
                      <a:pt x="539" y="42"/>
                      <a:pt x="535" y="45"/>
                    </a:cubicBezTo>
                    <a:cubicBezTo>
                      <a:pt x="532" y="47"/>
                      <a:pt x="532" y="47"/>
                      <a:pt x="532" y="47"/>
                    </a:cubicBezTo>
                    <a:cubicBezTo>
                      <a:pt x="532" y="47"/>
                      <a:pt x="532" y="47"/>
                      <a:pt x="532" y="47"/>
                    </a:cubicBezTo>
                    <a:cubicBezTo>
                      <a:pt x="3" y="353"/>
                      <a:pt x="3" y="353"/>
                      <a:pt x="3" y="353"/>
                    </a:cubicBezTo>
                    <a:cubicBezTo>
                      <a:pt x="2" y="353"/>
                      <a:pt x="2" y="353"/>
                      <a:pt x="2" y="353"/>
                    </a:cubicBezTo>
                    <a:cubicBezTo>
                      <a:pt x="2" y="353"/>
                      <a:pt x="2" y="353"/>
                      <a:pt x="2" y="353"/>
                    </a:cubicBezTo>
                    <a:cubicBezTo>
                      <a:pt x="0" y="307"/>
                      <a:pt x="0" y="307"/>
                      <a:pt x="0" y="307"/>
                    </a:cubicBezTo>
                    <a:cubicBezTo>
                      <a:pt x="0" y="307"/>
                      <a:pt x="0" y="307"/>
                      <a:pt x="0" y="307"/>
                    </a:cubicBezTo>
                    <a:cubicBezTo>
                      <a:pt x="216" y="181"/>
                      <a:pt x="216" y="181"/>
                      <a:pt x="216" y="181"/>
                    </a:cubicBezTo>
                    <a:cubicBezTo>
                      <a:pt x="489" y="24"/>
                      <a:pt x="489" y="24"/>
                      <a:pt x="489" y="24"/>
                    </a:cubicBezTo>
                    <a:cubicBezTo>
                      <a:pt x="511" y="11"/>
                      <a:pt x="511" y="11"/>
                      <a:pt x="511" y="11"/>
                    </a:cubicBezTo>
                    <a:cubicBezTo>
                      <a:pt x="529" y="1"/>
                      <a:pt x="529" y="1"/>
                      <a:pt x="529" y="1"/>
                    </a:cubicBezTo>
                    <a:cubicBezTo>
                      <a:pt x="530" y="0"/>
                      <a:pt x="530" y="0"/>
                      <a:pt x="530" y="0"/>
                    </a:cubicBezTo>
                    <a:cubicBezTo>
                      <a:pt x="531" y="0"/>
                      <a:pt x="531" y="0"/>
                      <a:pt x="531" y="0"/>
                    </a:cubicBezTo>
                    <a:cubicBezTo>
                      <a:pt x="537" y="10"/>
                      <a:pt x="541" y="20"/>
                      <a:pt x="541" y="30"/>
                    </a:cubicBezTo>
                  </a:path>
                </a:pathLst>
              </a:custGeom>
              <a:solidFill>
                <a:srgbClr val="48565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27" name="îṡḷiḓé"/>
              <p:cNvSpPr/>
              <p:nvPr/>
            </p:nvSpPr>
            <p:spPr bwMode="auto">
              <a:xfrm>
                <a:off x="4291" y="4128"/>
                <a:ext cx="153" cy="128"/>
              </a:xfrm>
              <a:custGeom>
                <a:avLst/>
                <a:gdLst>
                  <a:gd name="T0" fmla="*/ 1 w 90"/>
                  <a:gd name="T1" fmla="*/ 67 h 75"/>
                  <a:gd name="T2" fmla="*/ 7 w 90"/>
                  <a:gd name="T3" fmla="*/ 55 h 75"/>
                  <a:gd name="T4" fmla="*/ 7 w 90"/>
                  <a:gd name="T5" fmla="*/ 54 h 75"/>
                  <a:gd name="T6" fmla="*/ 28 w 90"/>
                  <a:gd name="T7" fmla="*/ 11 h 75"/>
                  <a:gd name="T8" fmla="*/ 29 w 90"/>
                  <a:gd name="T9" fmla="*/ 10 h 75"/>
                  <a:gd name="T10" fmla="*/ 29 w 90"/>
                  <a:gd name="T11" fmla="*/ 10 h 75"/>
                  <a:gd name="T12" fmla="*/ 58 w 90"/>
                  <a:gd name="T13" fmla="*/ 7 h 75"/>
                  <a:gd name="T14" fmla="*/ 79 w 90"/>
                  <a:gd name="T15" fmla="*/ 28 h 75"/>
                  <a:gd name="T16" fmla="*/ 79 w 90"/>
                  <a:gd name="T17" fmla="*/ 28 h 75"/>
                  <a:gd name="T18" fmla="*/ 79 w 90"/>
                  <a:gd name="T19" fmla="*/ 28 h 75"/>
                  <a:gd name="T20" fmla="*/ 90 w 90"/>
                  <a:gd name="T21" fmla="*/ 57 h 75"/>
                  <a:gd name="T22" fmla="*/ 74 w 90"/>
                  <a:gd name="T23" fmla="*/ 75 h 75"/>
                  <a:gd name="T24" fmla="*/ 74 w 90"/>
                  <a:gd name="T25" fmla="*/ 75 h 75"/>
                  <a:gd name="T26" fmla="*/ 21 w 90"/>
                  <a:gd name="T27" fmla="*/ 74 h 75"/>
                  <a:gd name="T28" fmla="*/ 21 w 90"/>
                  <a:gd name="T29" fmla="*/ 74 h 75"/>
                  <a:gd name="T30" fmla="*/ 20 w 90"/>
                  <a:gd name="T31" fmla="*/ 74 h 75"/>
                  <a:gd name="T32" fmla="*/ 5 w 90"/>
                  <a:gd name="T33" fmla="*/ 74 h 75"/>
                  <a:gd name="T34" fmla="*/ 1 w 90"/>
                  <a:gd name="T35" fmla="*/ 73 h 75"/>
                  <a:gd name="T36" fmla="*/ 1 w 90"/>
                  <a:gd name="T37" fmla="*/ 72 h 75"/>
                  <a:gd name="T38" fmla="*/ 1 w 90"/>
                  <a:gd name="T39" fmla="*/ 71 h 75"/>
                  <a:gd name="T40" fmla="*/ 1 w 90"/>
                  <a:gd name="T41" fmla="*/ 6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0" h="75">
                    <a:moveTo>
                      <a:pt x="1" y="67"/>
                    </a:moveTo>
                    <a:cubicBezTo>
                      <a:pt x="7" y="55"/>
                      <a:pt x="7" y="55"/>
                      <a:pt x="7" y="55"/>
                    </a:cubicBezTo>
                    <a:cubicBezTo>
                      <a:pt x="7" y="54"/>
                      <a:pt x="7" y="54"/>
                      <a:pt x="7" y="54"/>
                    </a:cubicBezTo>
                    <a:cubicBezTo>
                      <a:pt x="28" y="11"/>
                      <a:pt x="28" y="11"/>
                      <a:pt x="28" y="11"/>
                    </a:cubicBezTo>
                    <a:cubicBezTo>
                      <a:pt x="29" y="10"/>
                      <a:pt x="29" y="10"/>
                      <a:pt x="29" y="10"/>
                    </a:cubicBezTo>
                    <a:cubicBezTo>
                      <a:pt x="29" y="10"/>
                      <a:pt x="29" y="10"/>
                      <a:pt x="29" y="10"/>
                    </a:cubicBezTo>
                    <a:cubicBezTo>
                      <a:pt x="34" y="1"/>
                      <a:pt x="45" y="0"/>
                      <a:pt x="58" y="7"/>
                    </a:cubicBezTo>
                    <a:cubicBezTo>
                      <a:pt x="66" y="12"/>
                      <a:pt x="74" y="19"/>
                      <a:pt x="79" y="28"/>
                    </a:cubicBezTo>
                    <a:cubicBezTo>
                      <a:pt x="79" y="28"/>
                      <a:pt x="79" y="28"/>
                      <a:pt x="79" y="28"/>
                    </a:cubicBezTo>
                    <a:cubicBezTo>
                      <a:pt x="79" y="28"/>
                      <a:pt x="79" y="28"/>
                      <a:pt x="79" y="28"/>
                    </a:cubicBezTo>
                    <a:cubicBezTo>
                      <a:pt x="86" y="37"/>
                      <a:pt x="90" y="48"/>
                      <a:pt x="90" y="57"/>
                    </a:cubicBezTo>
                    <a:cubicBezTo>
                      <a:pt x="90" y="69"/>
                      <a:pt x="83" y="75"/>
                      <a:pt x="74" y="75"/>
                    </a:cubicBezTo>
                    <a:cubicBezTo>
                      <a:pt x="74" y="75"/>
                      <a:pt x="74" y="75"/>
                      <a:pt x="74" y="75"/>
                    </a:cubicBezTo>
                    <a:cubicBezTo>
                      <a:pt x="21" y="74"/>
                      <a:pt x="21" y="74"/>
                      <a:pt x="21" y="74"/>
                    </a:cubicBezTo>
                    <a:cubicBezTo>
                      <a:pt x="21" y="74"/>
                      <a:pt x="21" y="74"/>
                      <a:pt x="21" y="74"/>
                    </a:cubicBezTo>
                    <a:cubicBezTo>
                      <a:pt x="20" y="74"/>
                      <a:pt x="20" y="74"/>
                      <a:pt x="20" y="74"/>
                    </a:cubicBezTo>
                    <a:cubicBezTo>
                      <a:pt x="5" y="74"/>
                      <a:pt x="5" y="74"/>
                      <a:pt x="5" y="74"/>
                    </a:cubicBezTo>
                    <a:cubicBezTo>
                      <a:pt x="3" y="74"/>
                      <a:pt x="2" y="73"/>
                      <a:pt x="1" y="73"/>
                    </a:cubicBezTo>
                    <a:cubicBezTo>
                      <a:pt x="1" y="72"/>
                      <a:pt x="1" y="72"/>
                      <a:pt x="1" y="72"/>
                    </a:cubicBezTo>
                    <a:cubicBezTo>
                      <a:pt x="1" y="71"/>
                      <a:pt x="1" y="71"/>
                      <a:pt x="1" y="71"/>
                    </a:cubicBezTo>
                    <a:cubicBezTo>
                      <a:pt x="0" y="70"/>
                      <a:pt x="0" y="69"/>
                      <a:pt x="1" y="67"/>
                    </a:cubicBezTo>
                  </a:path>
                </a:pathLst>
              </a:custGeom>
              <a:solidFill>
                <a:srgbClr val="48565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28" name="ïṣḷîḑè"/>
              <p:cNvSpPr/>
              <p:nvPr/>
            </p:nvSpPr>
            <p:spPr bwMode="auto">
              <a:xfrm>
                <a:off x="4291" y="4132"/>
                <a:ext cx="153" cy="124"/>
              </a:xfrm>
              <a:custGeom>
                <a:avLst/>
                <a:gdLst>
                  <a:gd name="T0" fmla="*/ 75 w 90"/>
                  <a:gd name="T1" fmla="*/ 73 h 73"/>
                  <a:gd name="T2" fmla="*/ 74 w 90"/>
                  <a:gd name="T3" fmla="*/ 73 h 73"/>
                  <a:gd name="T4" fmla="*/ 74 w 90"/>
                  <a:gd name="T5" fmla="*/ 73 h 73"/>
                  <a:gd name="T6" fmla="*/ 74 w 90"/>
                  <a:gd name="T7" fmla="*/ 73 h 73"/>
                  <a:gd name="T8" fmla="*/ 74 w 90"/>
                  <a:gd name="T9" fmla="*/ 73 h 73"/>
                  <a:gd name="T10" fmla="*/ 75 w 90"/>
                  <a:gd name="T11" fmla="*/ 73 h 73"/>
                  <a:gd name="T12" fmla="*/ 81 w 90"/>
                  <a:gd name="T13" fmla="*/ 72 h 73"/>
                  <a:gd name="T14" fmla="*/ 81 w 90"/>
                  <a:gd name="T15" fmla="*/ 72 h 73"/>
                  <a:gd name="T16" fmla="*/ 77 w 90"/>
                  <a:gd name="T17" fmla="*/ 73 h 73"/>
                  <a:gd name="T18" fmla="*/ 81 w 90"/>
                  <a:gd name="T19" fmla="*/ 72 h 73"/>
                  <a:gd name="T20" fmla="*/ 86 w 90"/>
                  <a:gd name="T21" fmla="*/ 38 h 73"/>
                  <a:gd name="T22" fmla="*/ 86 w 90"/>
                  <a:gd name="T23" fmla="*/ 40 h 73"/>
                  <a:gd name="T24" fmla="*/ 87 w 90"/>
                  <a:gd name="T25" fmla="*/ 41 h 73"/>
                  <a:gd name="T26" fmla="*/ 89 w 90"/>
                  <a:gd name="T27" fmla="*/ 49 h 73"/>
                  <a:gd name="T28" fmla="*/ 89 w 90"/>
                  <a:gd name="T29" fmla="*/ 52 h 73"/>
                  <a:gd name="T30" fmla="*/ 89 w 90"/>
                  <a:gd name="T31" fmla="*/ 52 h 73"/>
                  <a:gd name="T32" fmla="*/ 90 w 90"/>
                  <a:gd name="T33" fmla="*/ 55 h 73"/>
                  <a:gd name="T34" fmla="*/ 87 w 90"/>
                  <a:gd name="T35" fmla="*/ 67 h 73"/>
                  <a:gd name="T36" fmla="*/ 90 w 90"/>
                  <a:gd name="T37" fmla="*/ 55 h 73"/>
                  <a:gd name="T38" fmla="*/ 86 w 90"/>
                  <a:gd name="T39" fmla="*/ 38 h 73"/>
                  <a:gd name="T40" fmla="*/ 79 w 90"/>
                  <a:gd name="T41" fmla="*/ 26 h 73"/>
                  <a:gd name="T42" fmla="*/ 79 w 90"/>
                  <a:gd name="T43" fmla="*/ 26 h 73"/>
                  <a:gd name="T44" fmla="*/ 80 w 90"/>
                  <a:gd name="T45" fmla="*/ 26 h 73"/>
                  <a:gd name="T46" fmla="*/ 81 w 90"/>
                  <a:gd name="T47" fmla="*/ 29 h 73"/>
                  <a:gd name="T48" fmla="*/ 82 w 90"/>
                  <a:gd name="T49" fmla="*/ 30 h 73"/>
                  <a:gd name="T50" fmla="*/ 83 w 90"/>
                  <a:gd name="T51" fmla="*/ 33 h 73"/>
                  <a:gd name="T52" fmla="*/ 85 w 90"/>
                  <a:gd name="T53" fmla="*/ 37 h 73"/>
                  <a:gd name="T54" fmla="*/ 85 w 90"/>
                  <a:gd name="T55" fmla="*/ 37 h 73"/>
                  <a:gd name="T56" fmla="*/ 79 w 90"/>
                  <a:gd name="T57" fmla="*/ 26 h 73"/>
                  <a:gd name="T58" fmla="*/ 79 w 90"/>
                  <a:gd name="T59" fmla="*/ 26 h 73"/>
                  <a:gd name="T60" fmla="*/ 42 w 90"/>
                  <a:gd name="T61" fmla="*/ 0 h 73"/>
                  <a:gd name="T62" fmla="*/ 29 w 90"/>
                  <a:gd name="T63" fmla="*/ 8 h 73"/>
                  <a:gd name="T64" fmla="*/ 29 w 90"/>
                  <a:gd name="T65" fmla="*/ 8 h 73"/>
                  <a:gd name="T66" fmla="*/ 28 w 90"/>
                  <a:gd name="T67" fmla="*/ 9 h 73"/>
                  <a:gd name="T68" fmla="*/ 7 w 90"/>
                  <a:gd name="T69" fmla="*/ 52 h 73"/>
                  <a:gd name="T70" fmla="*/ 7 w 90"/>
                  <a:gd name="T71" fmla="*/ 53 h 73"/>
                  <a:gd name="T72" fmla="*/ 1 w 90"/>
                  <a:gd name="T73" fmla="*/ 65 h 73"/>
                  <a:gd name="T74" fmla="*/ 0 w 90"/>
                  <a:gd name="T75" fmla="*/ 67 h 73"/>
                  <a:gd name="T76" fmla="*/ 1 w 90"/>
                  <a:gd name="T77" fmla="*/ 69 h 73"/>
                  <a:gd name="T78" fmla="*/ 1 w 90"/>
                  <a:gd name="T79" fmla="*/ 70 h 73"/>
                  <a:gd name="T80" fmla="*/ 1 w 90"/>
                  <a:gd name="T81" fmla="*/ 70 h 73"/>
                  <a:gd name="T82" fmla="*/ 10 w 90"/>
                  <a:gd name="T83" fmla="*/ 65 h 73"/>
                  <a:gd name="T84" fmla="*/ 21 w 90"/>
                  <a:gd name="T85" fmla="*/ 59 h 73"/>
                  <a:gd name="T86" fmla="*/ 22 w 90"/>
                  <a:gd name="T87" fmla="*/ 58 h 73"/>
                  <a:gd name="T88" fmla="*/ 38 w 90"/>
                  <a:gd name="T89" fmla="*/ 49 h 73"/>
                  <a:gd name="T90" fmla="*/ 76 w 90"/>
                  <a:gd name="T91" fmla="*/ 28 h 73"/>
                  <a:gd name="T92" fmla="*/ 79 w 90"/>
                  <a:gd name="T93" fmla="*/ 26 h 73"/>
                  <a:gd name="T94" fmla="*/ 79 w 90"/>
                  <a:gd name="T95" fmla="*/ 26 h 73"/>
                  <a:gd name="T96" fmla="*/ 79 w 90"/>
                  <a:gd name="T97" fmla="*/ 26 h 73"/>
                  <a:gd name="T98" fmla="*/ 79 w 90"/>
                  <a:gd name="T99" fmla="*/ 26 h 73"/>
                  <a:gd name="T100" fmla="*/ 58 w 90"/>
                  <a:gd name="T101" fmla="*/ 5 h 73"/>
                  <a:gd name="T102" fmla="*/ 42 w 90"/>
                  <a:gd name="T103" fmla="*/ 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0" h="73">
                    <a:moveTo>
                      <a:pt x="75" y="73"/>
                    </a:moveTo>
                    <a:cubicBezTo>
                      <a:pt x="74" y="73"/>
                      <a:pt x="74" y="73"/>
                      <a:pt x="74" y="73"/>
                    </a:cubicBezTo>
                    <a:cubicBezTo>
                      <a:pt x="74" y="73"/>
                      <a:pt x="74" y="73"/>
                      <a:pt x="74" y="73"/>
                    </a:cubicBezTo>
                    <a:cubicBezTo>
                      <a:pt x="74" y="73"/>
                      <a:pt x="74" y="73"/>
                      <a:pt x="74" y="73"/>
                    </a:cubicBezTo>
                    <a:cubicBezTo>
                      <a:pt x="74" y="73"/>
                      <a:pt x="74" y="73"/>
                      <a:pt x="74" y="73"/>
                    </a:cubicBezTo>
                    <a:cubicBezTo>
                      <a:pt x="75" y="73"/>
                      <a:pt x="75" y="73"/>
                      <a:pt x="75" y="73"/>
                    </a:cubicBezTo>
                    <a:moveTo>
                      <a:pt x="81" y="72"/>
                    </a:moveTo>
                    <a:cubicBezTo>
                      <a:pt x="81" y="72"/>
                      <a:pt x="81" y="72"/>
                      <a:pt x="81" y="72"/>
                    </a:cubicBezTo>
                    <a:cubicBezTo>
                      <a:pt x="80" y="72"/>
                      <a:pt x="78" y="73"/>
                      <a:pt x="77" y="73"/>
                    </a:cubicBezTo>
                    <a:cubicBezTo>
                      <a:pt x="79" y="73"/>
                      <a:pt x="80" y="72"/>
                      <a:pt x="81" y="72"/>
                    </a:cubicBezTo>
                    <a:moveTo>
                      <a:pt x="86" y="38"/>
                    </a:moveTo>
                    <a:cubicBezTo>
                      <a:pt x="86" y="39"/>
                      <a:pt x="86" y="39"/>
                      <a:pt x="86" y="40"/>
                    </a:cubicBezTo>
                    <a:cubicBezTo>
                      <a:pt x="87" y="41"/>
                      <a:pt x="87" y="41"/>
                      <a:pt x="87" y="41"/>
                    </a:cubicBezTo>
                    <a:cubicBezTo>
                      <a:pt x="88" y="43"/>
                      <a:pt x="89" y="46"/>
                      <a:pt x="89" y="49"/>
                    </a:cubicBezTo>
                    <a:cubicBezTo>
                      <a:pt x="89" y="50"/>
                      <a:pt x="89" y="51"/>
                      <a:pt x="89" y="52"/>
                    </a:cubicBezTo>
                    <a:cubicBezTo>
                      <a:pt x="89" y="52"/>
                      <a:pt x="89" y="52"/>
                      <a:pt x="89" y="52"/>
                    </a:cubicBezTo>
                    <a:cubicBezTo>
                      <a:pt x="90" y="53"/>
                      <a:pt x="90" y="54"/>
                      <a:pt x="90" y="55"/>
                    </a:cubicBezTo>
                    <a:cubicBezTo>
                      <a:pt x="90" y="60"/>
                      <a:pt x="88" y="64"/>
                      <a:pt x="87" y="67"/>
                    </a:cubicBezTo>
                    <a:cubicBezTo>
                      <a:pt x="89" y="64"/>
                      <a:pt x="90" y="60"/>
                      <a:pt x="90" y="55"/>
                    </a:cubicBezTo>
                    <a:cubicBezTo>
                      <a:pt x="90" y="50"/>
                      <a:pt x="88" y="44"/>
                      <a:pt x="86" y="38"/>
                    </a:cubicBezTo>
                    <a:moveTo>
                      <a:pt x="79" y="26"/>
                    </a:moveTo>
                    <a:cubicBezTo>
                      <a:pt x="79" y="26"/>
                      <a:pt x="79" y="26"/>
                      <a:pt x="79" y="26"/>
                    </a:cubicBezTo>
                    <a:cubicBezTo>
                      <a:pt x="80" y="26"/>
                      <a:pt x="80" y="26"/>
                      <a:pt x="80" y="26"/>
                    </a:cubicBezTo>
                    <a:cubicBezTo>
                      <a:pt x="80" y="27"/>
                      <a:pt x="81" y="28"/>
                      <a:pt x="81" y="29"/>
                    </a:cubicBezTo>
                    <a:cubicBezTo>
                      <a:pt x="82" y="30"/>
                      <a:pt x="82" y="30"/>
                      <a:pt x="82" y="30"/>
                    </a:cubicBezTo>
                    <a:cubicBezTo>
                      <a:pt x="82" y="31"/>
                      <a:pt x="83" y="32"/>
                      <a:pt x="83" y="33"/>
                    </a:cubicBezTo>
                    <a:cubicBezTo>
                      <a:pt x="84" y="34"/>
                      <a:pt x="85" y="36"/>
                      <a:pt x="85" y="37"/>
                    </a:cubicBezTo>
                    <a:cubicBezTo>
                      <a:pt x="85" y="37"/>
                      <a:pt x="85" y="37"/>
                      <a:pt x="85" y="37"/>
                    </a:cubicBezTo>
                    <a:cubicBezTo>
                      <a:pt x="84" y="33"/>
                      <a:pt x="82" y="29"/>
                      <a:pt x="79" y="26"/>
                    </a:cubicBezTo>
                    <a:cubicBezTo>
                      <a:pt x="79" y="26"/>
                      <a:pt x="79" y="26"/>
                      <a:pt x="79" y="26"/>
                    </a:cubicBezTo>
                    <a:moveTo>
                      <a:pt x="42" y="0"/>
                    </a:moveTo>
                    <a:cubicBezTo>
                      <a:pt x="36" y="0"/>
                      <a:pt x="32" y="3"/>
                      <a:pt x="29" y="8"/>
                    </a:cubicBezTo>
                    <a:cubicBezTo>
                      <a:pt x="29" y="8"/>
                      <a:pt x="29" y="8"/>
                      <a:pt x="29" y="8"/>
                    </a:cubicBezTo>
                    <a:cubicBezTo>
                      <a:pt x="28" y="9"/>
                      <a:pt x="28" y="9"/>
                      <a:pt x="28" y="9"/>
                    </a:cubicBezTo>
                    <a:cubicBezTo>
                      <a:pt x="7" y="52"/>
                      <a:pt x="7" y="52"/>
                      <a:pt x="7" y="52"/>
                    </a:cubicBezTo>
                    <a:cubicBezTo>
                      <a:pt x="7" y="53"/>
                      <a:pt x="7" y="53"/>
                      <a:pt x="7" y="53"/>
                    </a:cubicBezTo>
                    <a:cubicBezTo>
                      <a:pt x="1" y="65"/>
                      <a:pt x="1" y="65"/>
                      <a:pt x="1" y="65"/>
                    </a:cubicBezTo>
                    <a:cubicBezTo>
                      <a:pt x="0" y="66"/>
                      <a:pt x="0" y="67"/>
                      <a:pt x="0" y="67"/>
                    </a:cubicBezTo>
                    <a:cubicBezTo>
                      <a:pt x="0" y="68"/>
                      <a:pt x="0" y="69"/>
                      <a:pt x="1" y="69"/>
                    </a:cubicBezTo>
                    <a:cubicBezTo>
                      <a:pt x="1" y="70"/>
                      <a:pt x="1" y="70"/>
                      <a:pt x="1" y="70"/>
                    </a:cubicBezTo>
                    <a:cubicBezTo>
                      <a:pt x="1" y="70"/>
                      <a:pt x="1" y="70"/>
                      <a:pt x="1" y="70"/>
                    </a:cubicBezTo>
                    <a:cubicBezTo>
                      <a:pt x="10" y="65"/>
                      <a:pt x="10" y="65"/>
                      <a:pt x="10" y="65"/>
                    </a:cubicBezTo>
                    <a:cubicBezTo>
                      <a:pt x="21" y="59"/>
                      <a:pt x="21" y="59"/>
                      <a:pt x="21" y="59"/>
                    </a:cubicBezTo>
                    <a:cubicBezTo>
                      <a:pt x="22" y="58"/>
                      <a:pt x="22" y="58"/>
                      <a:pt x="22" y="58"/>
                    </a:cubicBezTo>
                    <a:cubicBezTo>
                      <a:pt x="38" y="49"/>
                      <a:pt x="38" y="49"/>
                      <a:pt x="38" y="49"/>
                    </a:cubicBezTo>
                    <a:cubicBezTo>
                      <a:pt x="76" y="28"/>
                      <a:pt x="76" y="28"/>
                      <a:pt x="76" y="28"/>
                    </a:cubicBezTo>
                    <a:cubicBezTo>
                      <a:pt x="79" y="26"/>
                      <a:pt x="79" y="26"/>
                      <a:pt x="79" y="26"/>
                    </a:cubicBezTo>
                    <a:cubicBezTo>
                      <a:pt x="79" y="26"/>
                      <a:pt x="79" y="26"/>
                      <a:pt x="79" y="26"/>
                    </a:cubicBezTo>
                    <a:cubicBezTo>
                      <a:pt x="79" y="26"/>
                      <a:pt x="79" y="26"/>
                      <a:pt x="79" y="26"/>
                    </a:cubicBezTo>
                    <a:cubicBezTo>
                      <a:pt x="79" y="26"/>
                      <a:pt x="79" y="26"/>
                      <a:pt x="79" y="26"/>
                    </a:cubicBezTo>
                    <a:cubicBezTo>
                      <a:pt x="74" y="17"/>
                      <a:pt x="66" y="10"/>
                      <a:pt x="58" y="5"/>
                    </a:cubicBezTo>
                    <a:cubicBezTo>
                      <a:pt x="52" y="2"/>
                      <a:pt x="47" y="0"/>
                      <a:pt x="42" y="0"/>
                    </a:cubicBezTo>
                  </a:path>
                </a:pathLst>
              </a:custGeom>
              <a:solidFill>
                <a:srgbClr val="5B6E6C"/>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29" name="ïṩļíḋe"/>
              <p:cNvSpPr/>
              <p:nvPr/>
            </p:nvSpPr>
            <p:spPr bwMode="auto">
              <a:xfrm>
                <a:off x="4293" y="4176"/>
                <a:ext cx="151" cy="80"/>
              </a:xfrm>
              <a:custGeom>
                <a:avLst/>
                <a:gdLst>
                  <a:gd name="T0" fmla="*/ 0 w 89"/>
                  <a:gd name="T1" fmla="*/ 44 h 47"/>
                  <a:gd name="T2" fmla="*/ 0 w 89"/>
                  <a:gd name="T3" fmla="*/ 45 h 47"/>
                  <a:gd name="T4" fmla="*/ 4 w 89"/>
                  <a:gd name="T5" fmla="*/ 46 h 47"/>
                  <a:gd name="T6" fmla="*/ 8 w 89"/>
                  <a:gd name="T7" fmla="*/ 46 h 47"/>
                  <a:gd name="T8" fmla="*/ 20 w 89"/>
                  <a:gd name="T9" fmla="*/ 46 h 47"/>
                  <a:gd name="T10" fmla="*/ 20 w 89"/>
                  <a:gd name="T11" fmla="*/ 46 h 47"/>
                  <a:gd name="T12" fmla="*/ 20 w 89"/>
                  <a:gd name="T13" fmla="*/ 46 h 47"/>
                  <a:gd name="T14" fmla="*/ 20 w 89"/>
                  <a:gd name="T15" fmla="*/ 46 h 47"/>
                  <a:gd name="T16" fmla="*/ 73 w 89"/>
                  <a:gd name="T17" fmla="*/ 47 h 47"/>
                  <a:gd name="T18" fmla="*/ 73 w 89"/>
                  <a:gd name="T19" fmla="*/ 47 h 47"/>
                  <a:gd name="T20" fmla="*/ 80 w 89"/>
                  <a:gd name="T21" fmla="*/ 46 h 47"/>
                  <a:gd name="T22" fmla="*/ 81 w 89"/>
                  <a:gd name="T23" fmla="*/ 46 h 47"/>
                  <a:gd name="T24" fmla="*/ 89 w 89"/>
                  <a:gd name="T25" fmla="*/ 29 h 47"/>
                  <a:gd name="T26" fmla="*/ 88 w 89"/>
                  <a:gd name="T27" fmla="*/ 26 h 47"/>
                  <a:gd name="T28" fmla="*/ 88 w 89"/>
                  <a:gd name="T29" fmla="*/ 26 h 47"/>
                  <a:gd name="T30" fmla="*/ 88 w 89"/>
                  <a:gd name="T31" fmla="*/ 23 h 47"/>
                  <a:gd name="T32" fmla="*/ 86 w 89"/>
                  <a:gd name="T33" fmla="*/ 15 h 47"/>
                  <a:gd name="T34" fmla="*/ 85 w 89"/>
                  <a:gd name="T35" fmla="*/ 14 h 47"/>
                  <a:gd name="T36" fmla="*/ 84 w 89"/>
                  <a:gd name="T37" fmla="*/ 11 h 47"/>
                  <a:gd name="T38" fmla="*/ 84 w 89"/>
                  <a:gd name="T39" fmla="*/ 11 h 47"/>
                  <a:gd name="T40" fmla="*/ 82 w 89"/>
                  <a:gd name="T41" fmla="*/ 7 h 47"/>
                  <a:gd name="T42" fmla="*/ 81 w 89"/>
                  <a:gd name="T43" fmla="*/ 4 h 47"/>
                  <a:gd name="T44" fmla="*/ 80 w 89"/>
                  <a:gd name="T45" fmla="*/ 3 h 47"/>
                  <a:gd name="T46" fmla="*/ 79 w 89"/>
                  <a:gd name="T47" fmla="*/ 0 h 47"/>
                  <a:gd name="T48" fmla="*/ 78 w 89"/>
                  <a:gd name="T49" fmla="*/ 0 h 47"/>
                  <a:gd name="T50" fmla="*/ 78 w 89"/>
                  <a:gd name="T51" fmla="*/ 0 h 47"/>
                  <a:gd name="T52" fmla="*/ 78 w 89"/>
                  <a:gd name="T53" fmla="*/ 0 h 47"/>
                  <a:gd name="T54" fmla="*/ 75 w 89"/>
                  <a:gd name="T55" fmla="*/ 2 h 47"/>
                  <a:gd name="T56" fmla="*/ 37 w 89"/>
                  <a:gd name="T57" fmla="*/ 23 h 47"/>
                  <a:gd name="T58" fmla="*/ 21 w 89"/>
                  <a:gd name="T59" fmla="*/ 32 h 47"/>
                  <a:gd name="T60" fmla="*/ 20 w 89"/>
                  <a:gd name="T61" fmla="*/ 33 h 47"/>
                  <a:gd name="T62" fmla="*/ 9 w 89"/>
                  <a:gd name="T63" fmla="*/ 39 h 47"/>
                  <a:gd name="T64" fmla="*/ 0 w 89"/>
                  <a:gd name="T65" fmla="*/ 4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9" h="47">
                    <a:moveTo>
                      <a:pt x="0" y="44"/>
                    </a:moveTo>
                    <a:cubicBezTo>
                      <a:pt x="0" y="45"/>
                      <a:pt x="0" y="45"/>
                      <a:pt x="0" y="45"/>
                    </a:cubicBezTo>
                    <a:cubicBezTo>
                      <a:pt x="1" y="45"/>
                      <a:pt x="2" y="46"/>
                      <a:pt x="4" y="46"/>
                    </a:cubicBezTo>
                    <a:cubicBezTo>
                      <a:pt x="8" y="46"/>
                      <a:pt x="8" y="46"/>
                      <a:pt x="8" y="46"/>
                    </a:cubicBezTo>
                    <a:cubicBezTo>
                      <a:pt x="20" y="46"/>
                      <a:pt x="20" y="46"/>
                      <a:pt x="20" y="46"/>
                    </a:cubicBezTo>
                    <a:cubicBezTo>
                      <a:pt x="20" y="46"/>
                      <a:pt x="20" y="46"/>
                      <a:pt x="20" y="46"/>
                    </a:cubicBezTo>
                    <a:cubicBezTo>
                      <a:pt x="20" y="46"/>
                      <a:pt x="20" y="46"/>
                      <a:pt x="20" y="46"/>
                    </a:cubicBezTo>
                    <a:cubicBezTo>
                      <a:pt x="20" y="46"/>
                      <a:pt x="20" y="46"/>
                      <a:pt x="20" y="46"/>
                    </a:cubicBezTo>
                    <a:cubicBezTo>
                      <a:pt x="73" y="47"/>
                      <a:pt x="73" y="47"/>
                      <a:pt x="73" y="47"/>
                    </a:cubicBezTo>
                    <a:cubicBezTo>
                      <a:pt x="73" y="47"/>
                      <a:pt x="73" y="47"/>
                      <a:pt x="73" y="47"/>
                    </a:cubicBezTo>
                    <a:cubicBezTo>
                      <a:pt x="75" y="47"/>
                      <a:pt x="78" y="47"/>
                      <a:pt x="80" y="46"/>
                    </a:cubicBezTo>
                    <a:cubicBezTo>
                      <a:pt x="81" y="46"/>
                      <a:pt x="81" y="46"/>
                      <a:pt x="81" y="46"/>
                    </a:cubicBezTo>
                    <a:cubicBezTo>
                      <a:pt x="86" y="43"/>
                      <a:pt x="89" y="37"/>
                      <a:pt x="89" y="29"/>
                    </a:cubicBezTo>
                    <a:cubicBezTo>
                      <a:pt x="89" y="28"/>
                      <a:pt x="89" y="27"/>
                      <a:pt x="88" y="26"/>
                    </a:cubicBezTo>
                    <a:cubicBezTo>
                      <a:pt x="88" y="26"/>
                      <a:pt x="88" y="26"/>
                      <a:pt x="88" y="26"/>
                    </a:cubicBezTo>
                    <a:cubicBezTo>
                      <a:pt x="88" y="25"/>
                      <a:pt x="88" y="24"/>
                      <a:pt x="88" y="23"/>
                    </a:cubicBezTo>
                    <a:cubicBezTo>
                      <a:pt x="88" y="20"/>
                      <a:pt x="87" y="17"/>
                      <a:pt x="86" y="15"/>
                    </a:cubicBezTo>
                    <a:cubicBezTo>
                      <a:pt x="85" y="14"/>
                      <a:pt x="85" y="14"/>
                      <a:pt x="85" y="14"/>
                    </a:cubicBezTo>
                    <a:cubicBezTo>
                      <a:pt x="85" y="13"/>
                      <a:pt x="85" y="12"/>
                      <a:pt x="84" y="11"/>
                    </a:cubicBezTo>
                    <a:cubicBezTo>
                      <a:pt x="84" y="11"/>
                      <a:pt x="84" y="11"/>
                      <a:pt x="84" y="11"/>
                    </a:cubicBezTo>
                    <a:cubicBezTo>
                      <a:pt x="84" y="10"/>
                      <a:pt x="83" y="8"/>
                      <a:pt x="82" y="7"/>
                    </a:cubicBezTo>
                    <a:cubicBezTo>
                      <a:pt x="82" y="6"/>
                      <a:pt x="81" y="5"/>
                      <a:pt x="81" y="4"/>
                    </a:cubicBezTo>
                    <a:cubicBezTo>
                      <a:pt x="80" y="3"/>
                      <a:pt x="80" y="3"/>
                      <a:pt x="80" y="3"/>
                    </a:cubicBezTo>
                    <a:cubicBezTo>
                      <a:pt x="80" y="2"/>
                      <a:pt x="79" y="1"/>
                      <a:pt x="79" y="0"/>
                    </a:cubicBezTo>
                    <a:cubicBezTo>
                      <a:pt x="78" y="0"/>
                      <a:pt x="78" y="0"/>
                      <a:pt x="78" y="0"/>
                    </a:cubicBezTo>
                    <a:cubicBezTo>
                      <a:pt x="78" y="0"/>
                      <a:pt x="78" y="0"/>
                      <a:pt x="78" y="0"/>
                    </a:cubicBezTo>
                    <a:cubicBezTo>
                      <a:pt x="78" y="0"/>
                      <a:pt x="78" y="0"/>
                      <a:pt x="78" y="0"/>
                    </a:cubicBezTo>
                    <a:cubicBezTo>
                      <a:pt x="75" y="2"/>
                      <a:pt x="75" y="2"/>
                      <a:pt x="75" y="2"/>
                    </a:cubicBezTo>
                    <a:cubicBezTo>
                      <a:pt x="37" y="23"/>
                      <a:pt x="37" y="23"/>
                      <a:pt x="37" y="23"/>
                    </a:cubicBezTo>
                    <a:cubicBezTo>
                      <a:pt x="21" y="32"/>
                      <a:pt x="21" y="32"/>
                      <a:pt x="21" y="32"/>
                    </a:cubicBezTo>
                    <a:cubicBezTo>
                      <a:pt x="20" y="33"/>
                      <a:pt x="20" y="33"/>
                      <a:pt x="20" y="33"/>
                    </a:cubicBezTo>
                    <a:cubicBezTo>
                      <a:pt x="9" y="39"/>
                      <a:pt x="9" y="39"/>
                      <a:pt x="9" y="39"/>
                    </a:cubicBezTo>
                    <a:cubicBezTo>
                      <a:pt x="0" y="44"/>
                      <a:pt x="0" y="44"/>
                      <a:pt x="0" y="44"/>
                    </a:cubicBezTo>
                  </a:path>
                </a:pathLst>
              </a:custGeom>
              <a:solidFill>
                <a:srgbClr val="48565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30" name="îṩḻîḍè"/>
              <p:cNvSpPr/>
              <p:nvPr/>
            </p:nvSpPr>
            <p:spPr bwMode="auto">
              <a:xfrm>
                <a:off x="4293" y="4176"/>
                <a:ext cx="151" cy="80"/>
              </a:xfrm>
              <a:custGeom>
                <a:avLst/>
                <a:gdLst>
                  <a:gd name="T0" fmla="*/ 78 w 89"/>
                  <a:gd name="T1" fmla="*/ 0 h 47"/>
                  <a:gd name="T2" fmla="*/ 78 w 89"/>
                  <a:gd name="T3" fmla="*/ 0 h 47"/>
                  <a:gd name="T4" fmla="*/ 78 w 89"/>
                  <a:gd name="T5" fmla="*/ 0 h 47"/>
                  <a:gd name="T6" fmla="*/ 75 w 89"/>
                  <a:gd name="T7" fmla="*/ 2 h 47"/>
                  <a:gd name="T8" fmla="*/ 37 w 89"/>
                  <a:gd name="T9" fmla="*/ 23 h 47"/>
                  <a:gd name="T10" fmla="*/ 21 w 89"/>
                  <a:gd name="T11" fmla="*/ 32 h 47"/>
                  <a:gd name="T12" fmla="*/ 20 w 89"/>
                  <a:gd name="T13" fmla="*/ 33 h 47"/>
                  <a:gd name="T14" fmla="*/ 9 w 89"/>
                  <a:gd name="T15" fmla="*/ 39 h 47"/>
                  <a:gd name="T16" fmla="*/ 0 w 89"/>
                  <a:gd name="T17" fmla="*/ 44 h 47"/>
                  <a:gd name="T18" fmla="*/ 0 w 89"/>
                  <a:gd name="T19" fmla="*/ 45 h 47"/>
                  <a:gd name="T20" fmla="*/ 4 w 89"/>
                  <a:gd name="T21" fmla="*/ 46 h 47"/>
                  <a:gd name="T22" fmla="*/ 8 w 89"/>
                  <a:gd name="T23" fmla="*/ 46 h 47"/>
                  <a:gd name="T24" fmla="*/ 20 w 89"/>
                  <a:gd name="T25" fmla="*/ 46 h 47"/>
                  <a:gd name="T26" fmla="*/ 20 w 89"/>
                  <a:gd name="T27" fmla="*/ 46 h 47"/>
                  <a:gd name="T28" fmla="*/ 20 w 89"/>
                  <a:gd name="T29" fmla="*/ 46 h 47"/>
                  <a:gd name="T30" fmla="*/ 20 w 89"/>
                  <a:gd name="T31" fmla="*/ 46 h 47"/>
                  <a:gd name="T32" fmla="*/ 73 w 89"/>
                  <a:gd name="T33" fmla="*/ 47 h 47"/>
                  <a:gd name="T34" fmla="*/ 73 w 89"/>
                  <a:gd name="T35" fmla="*/ 47 h 47"/>
                  <a:gd name="T36" fmla="*/ 73 w 89"/>
                  <a:gd name="T37" fmla="*/ 47 h 47"/>
                  <a:gd name="T38" fmla="*/ 73 w 89"/>
                  <a:gd name="T39" fmla="*/ 47 h 47"/>
                  <a:gd name="T40" fmla="*/ 80 w 89"/>
                  <a:gd name="T41" fmla="*/ 46 h 47"/>
                  <a:gd name="T42" fmla="*/ 81 w 89"/>
                  <a:gd name="T43" fmla="*/ 46 h 47"/>
                  <a:gd name="T44" fmla="*/ 89 w 89"/>
                  <a:gd name="T45" fmla="*/ 29 h 47"/>
                  <a:gd name="T46" fmla="*/ 88 w 89"/>
                  <a:gd name="T47" fmla="*/ 26 h 47"/>
                  <a:gd name="T48" fmla="*/ 88 w 89"/>
                  <a:gd name="T49" fmla="*/ 26 h 47"/>
                  <a:gd name="T50" fmla="*/ 88 w 89"/>
                  <a:gd name="T51" fmla="*/ 23 h 47"/>
                  <a:gd name="T52" fmla="*/ 86 w 89"/>
                  <a:gd name="T53" fmla="*/ 15 h 47"/>
                  <a:gd name="T54" fmla="*/ 85 w 89"/>
                  <a:gd name="T55" fmla="*/ 14 h 47"/>
                  <a:gd name="T56" fmla="*/ 84 w 89"/>
                  <a:gd name="T57" fmla="*/ 11 h 47"/>
                  <a:gd name="T58" fmla="*/ 84 w 89"/>
                  <a:gd name="T59" fmla="*/ 11 h 47"/>
                  <a:gd name="T60" fmla="*/ 82 w 89"/>
                  <a:gd name="T61" fmla="*/ 7 h 47"/>
                  <a:gd name="T62" fmla="*/ 81 w 89"/>
                  <a:gd name="T63" fmla="*/ 4 h 47"/>
                  <a:gd name="T64" fmla="*/ 80 w 89"/>
                  <a:gd name="T65" fmla="*/ 3 h 47"/>
                  <a:gd name="T66" fmla="*/ 79 w 89"/>
                  <a:gd name="T67" fmla="*/ 0 h 47"/>
                  <a:gd name="T68" fmla="*/ 78 w 89"/>
                  <a:gd name="T69" fmla="*/ 0 h 47"/>
                  <a:gd name="T70" fmla="*/ 78 w 89"/>
                  <a:gd name="T71"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9" h="47">
                    <a:moveTo>
                      <a:pt x="78" y="0"/>
                    </a:moveTo>
                    <a:cubicBezTo>
                      <a:pt x="78" y="0"/>
                      <a:pt x="78" y="0"/>
                      <a:pt x="78" y="0"/>
                    </a:cubicBezTo>
                    <a:cubicBezTo>
                      <a:pt x="78" y="0"/>
                      <a:pt x="78" y="0"/>
                      <a:pt x="78" y="0"/>
                    </a:cubicBezTo>
                    <a:cubicBezTo>
                      <a:pt x="75" y="2"/>
                      <a:pt x="75" y="2"/>
                      <a:pt x="75" y="2"/>
                    </a:cubicBezTo>
                    <a:cubicBezTo>
                      <a:pt x="37" y="23"/>
                      <a:pt x="37" y="23"/>
                      <a:pt x="37" y="23"/>
                    </a:cubicBezTo>
                    <a:cubicBezTo>
                      <a:pt x="21" y="32"/>
                      <a:pt x="21" y="32"/>
                      <a:pt x="21" y="32"/>
                    </a:cubicBezTo>
                    <a:cubicBezTo>
                      <a:pt x="20" y="33"/>
                      <a:pt x="20" y="33"/>
                      <a:pt x="20" y="33"/>
                    </a:cubicBezTo>
                    <a:cubicBezTo>
                      <a:pt x="9" y="39"/>
                      <a:pt x="9" y="39"/>
                      <a:pt x="9" y="39"/>
                    </a:cubicBezTo>
                    <a:cubicBezTo>
                      <a:pt x="0" y="44"/>
                      <a:pt x="0" y="44"/>
                      <a:pt x="0" y="44"/>
                    </a:cubicBezTo>
                    <a:cubicBezTo>
                      <a:pt x="0" y="45"/>
                      <a:pt x="0" y="45"/>
                      <a:pt x="0" y="45"/>
                    </a:cubicBezTo>
                    <a:cubicBezTo>
                      <a:pt x="1" y="45"/>
                      <a:pt x="2" y="46"/>
                      <a:pt x="4" y="46"/>
                    </a:cubicBezTo>
                    <a:cubicBezTo>
                      <a:pt x="8" y="46"/>
                      <a:pt x="8" y="46"/>
                      <a:pt x="8" y="46"/>
                    </a:cubicBezTo>
                    <a:cubicBezTo>
                      <a:pt x="20" y="46"/>
                      <a:pt x="20" y="46"/>
                      <a:pt x="20" y="46"/>
                    </a:cubicBezTo>
                    <a:cubicBezTo>
                      <a:pt x="20" y="46"/>
                      <a:pt x="20" y="46"/>
                      <a:pt x="20" y="46"/>
                    </a:cubicBezTo>
                    <a:cubicBezTo>
                      <a:pt x="20" y="46"/>
                      <a:pt x="20" y="46"/>
                      <a:pt x="20" y="46"/>
                    </a:cubicBezTo>
                    <a:cubicBezTo>
                      <a:pt x="20" y="46"/>
                      <a:pt x="20" y="46"/>
                      <a:pt x="20" y="46"/>
                    </a:cubicBezTo>
                    <a:cubicBezTo>
                      <a:pt x="73" y="47"/>
                      <a:pt x="73" y="47"/>
                      <a:pt x="73" y="47"/>
                    </a:cubicBezTo>
                    <a:cubicBezTo>
                      <a:pt x="73" y="47"/>
                      <a:pt x="73" y="47"/>
                      <a:pt x="73" y="47"/>
                    </a:cubicBezTo>
                    <a:cubicBezTo>
                      <a:pt x="73" y="47"/>
                      <a:pt x="73" y="47"/>
                      <a:pt x="73" y="47"/>
                    </a:cubicBezTo>
                    <a:cubicBezTo>
                      <a:pt x="73" y="47"/>
                      <a:pt x="73" y="47"/>
                      <a:pt x="73" y="47"/>
                    </a:cubicBezTo>
                    <a:cubicBezTo>
                      <a:pt x="76" y="47"/>
                      <a:pt x="78" y="47"/>
                      <a:pt x="80" y="46"/>
                    </a:cubicBezTo>
                    <a:cubicBezTo>
                      <a:pt x="81" y="46"/>
                      <a:pt x="81" y="46"/>
                      <a:pt x="81" y="46"/>
                    </a:cubicBezTo>
                    <a:cubicBezTo>
                      <a:pt x="86" y="43"/>
                      <a:pt x="89" y="37"/>
                      <a:pt x="89" y="29"/>
                    </a:cubicBezTo>
                    <a:cubicBezTo>
                      <a:pt x="89" y="28"/>
                      <a:pt x="89" y="27"/>
                      <a:pt x="88" y="26"/>
                    </a:cubicBezTo>
                    <a:cubicBezTo>
                      <a:pt x="88" y="26"/>
                      <a:pt x="88" y="26"/>
                      <a:pt x="88" y="26"/>
                    </a:cubicBezTo>
                    <a:cubicBezTo>
                      <a:pt x="88" y="25"/>
                      <a:pt x="88" y="24"/>
                      <a:pt x="88" y="23"/>
                    </a:cubicBezTo>
                    <a:cubicBezTo>
                      <a:pt x="88" y="20"/>
                      <a:pt x="87" y="17"/>
                      <a:pt x="86" y="15"/>
                    </a:cubicBezTo>
                    <a:cubicBezTo>
                      <a:pt x="85" y="14"/>
                      <a:pt x="85" y="14"/>
                      <a:pt x="85" y="14"/>
                    </a:cubicBezTo>
                    <a:cubicBezTo>
                      <a:pt x="85" y="13"/>
                      <a:pt x="85" y="12"/>
                      <a:pt x="84" y="11"/>
                    </a:cubicBezTo>
                    <a:cubicBezTo>
                      <a:pt x="84" y="11"/>
                      <a:pt x="84" y="11"/>
                      <a:pt x="84" y="11"/>
                    </a:cubicBezTo>
                    <a:cubicBezTo>
                      <a:pt x="84" y="10"/>
                      <a:pt x="83" y="8"/>
                      <a:pt x="82" y="7"/>
                    </a:cubicBezTo>
                    <a:cubicBezTo>
                      <a:pt x="82" y="6"/>
                      <a:pt x="81" y="5"/>
                      <a:pt x="81" y="4"/>
                    </a:cubicBezTo>
                    <a:cubicBezTo>
                      <a:pt x="80" y="3"/>
                      <a:pt x="80" y="3"/>
                      <a:pt x="80" y="3"/>
                    </a:cubicBezTo>
                    <a:cubicBezTo>
                      <a:pt x="80" y="2"/>
                      <a:pt x="79" y="1"/>
                      <a:pt x="79" y="0"/>
                    </a:cubicBezTo>
                    <a:cubicBezTo>
                      <a:pt x="78" y="0"/>
                      <a:pt x="78" y="0"/>
                      <a:pt x="78" y="0"/>
                    </a:cubicBezTo>
                    <a:cubicBezTo>
                      <a:pt x="78" y="0"/>
                      <a:pt x="78" y="0"/>
                      <a:pt x="78" y="0"/>
                    </a:cubicBezTo>
                  </a:path>
                </a:pathLst>
              </a:custGeom>
              <a:solidFill>
                <a:srgbClr val="3B484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31" name="i$ļîďè"/>
              <p:cNvSpPr/>
              <p:nvPr/>
            </p:nvSpPr>
            <p:spPr bwMode="auto">
              <a:xfrm>
                <a:off x="4291" y="4222"/>
                <a:ext cx="36" cy="32"/>
              </a:xfrm>
              <a:custGeom>
                <a:avLst/>
                <a:gdLst>
                  <a:gd name="T0" fmla="*/ 1 w 21"/>
                  <a:gd name="T1" fmla="*/ 16 h 19"/>
                  <a:gd name="T2" fmla="*/ 1 w 21"/>
                  <a:gd name="T3" fmla="*/ 17 h 19"/>
                  <a:gd name="T4" fmla="*/ 1 w 21"/>
                  <a:gd name="T5" fmla="*/ 17 h 19"/>
                  <a:gd name="T6" fmla="*/ 1 w 21"/>
                  <a:gd name="T7" fmla="*/ 18 h 19"/>
                  <a:gd name="T8" fmla="*/ 5 w 21"/>
                  <a:gd name="T9" fmla="*/ 19 h 19"/>
                  <a:gd name="T10" fmla="*/ 9 w 21"/>
                  <a:gd name="T11" fmla="*/ 19 h 19"/>
                  <a:gd name="T12" fmla="*/ 21 w 21"/>
                  <a:gd name="T13" fmla="*/ 19 h 19"/>
                  <a:gd name="T14" fmla="*/ 21 w 21"/>
                  <a:gd name="T15" fmla="*/ 19 h 19"/>
                  <a:gd name="T16" fmla="*/ 21 w 21"/>
                  <a:gd name="T17" fmla="*/ 19 h 19"/>
                  <a:gd name="T18" fmla="*/ 21 w 21"/>
                  <a:gd name="T19" fmla="*/ 6 h 19"/>
                  <a:gd name="T20" fmla="*/ 21 w 21"/>
                  <a:gd name="T21" fmla="*/ 5 h 19"/>
                  <a:gd name="T22" fmla="*/ 7 w 21"/>
                  <a:gd name="T23" fmla="*/ 0 h 19"/>
                  <a:gd name="T24" fmla="*/ 1 w 21"/>
                  <a:gd name="T25" fmla="*/ 12 h 19"/>
                  <a:gd name="T26" fmla="*/ 1 w 21"/>
                  <a:gd name="T2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 h="19">
                    <a:moveTo>
                      <a:pt x="1" y="16"/>
                    </a:moveTo>
                    <a:cubicBezTo>
                      <a:pt x="1" y="17"/>
                      <a:pt x="1" y="17"/>
                      <a:pt x="1" y="17"/>
                    </a:cubicBezTo>
                    <a:cubicBezTo>
                      <a:pt x="1" y="17"/>
                      <a:pt x="1" y="17"/>
                      <a:pt x="1" y="17"/>
                    </a:cubicBezTo>
                    <a:cubicBezTo>
                      <a:pt x="1" y="18"/>
                      <a:pt x="1" y="18"/>
                      <a:pt x="1" y="18"/>
                    </a:cubicBezTo>
                    <a:cubicBezTo>
                      <a:pt x="2" y="18"/>
                      <a:pt x="3" y="19"/>
                      <a:pt x="5" y="19"/>
                    </a:cubicBezTo>
                    <a:cubicBezTo>
                      <a:pt x="9" y="19"/>
                      <a:pt x="9" y="19"/>
                      <a:pt x="9" y="19"/>
                    </a:cubicBezTo>
                    <a:cubicBezTo>
                      <a:pt x="21" y="19"/>
                      <a:pt x="21" y="19"/>
                      <a:pt x="21" y="19"/>
                    </a:cubicBezTo>
                    <a:cubicBezTo>
                      <a:pt x="21" y="19"/>
                      <a:pt x="21" y="19"/>
                      <a:pt x="21" y="19"/>
                    </a:cubicBezTo>
                    <a:cubicBezTo>
                      <a:pt x="21" y="19"/>
                      <a:pt x="21" y="19"/>
                      <a:pt x="21" y="19"/>
                    </a:cubicBezTo>
                    <a:cubicBezTo>
                      <a:pt x="21" y="6"/>
                      <a:pt x="21" y="6"/>
                      <a:pt x="21" y="6"/>
                    </a:cubicBezTo>
                    <a:cubicBezTo>
                      <a:pt x="21" y="5"/>
                      <a:pt x="21" y="5"/>
                      <a:pt x="21" y="5"/>
                    </a:cubicBezTo>
                    <a:cubicBezTo>
                      <a:pt x="7" y="0"/>
                      <a:pt x="7" y="0"/>
                      <a:pt x="7" y="0"/>
                    </a:cubicBezTo>
                    <a:cubicBezTo>
                      <a:pt x="1" y="12"/>
                      <a:pt x="1" y="12"/>
                      <a:pt x="1" y="12"/>
                    </a:cubicBezTo>
                    <a:cubicBezTo>
                      <a:pt x="0" y="14"/>
                      <a:pt x="0" y="15"/>
                      <a:pt x="1" y="16"/>
                    </a:cubicBezTo>
                    <a:close/>
                  </a:path>
                </a:pathLst>
              </a:custGeom>
              <a:solidFill>
                <a:srgbClr val="24282A"/>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32" name="ïsḷiḋe"/>
              <p:cNvSpPr/>
              <p:nvPr/>
            </p:nvSpPr>
            <p:spPr bwMode="auto">
              <a:xfrm>
                <a:off x="4301" y="4213"/>
                <a:ext cx="34" cy="44"/>
              </a:xfrm>
              <a:custGeom>
                <a:avLst/>
                <a:gdLst>
                  <a:gd name="T0" fmla="*/ 0 w 20"/>
                  <a:gd name="T1" fmla="*/ 8 h 26"/>
                  <a:gd name="T2" fmla="*/ 10 w 20"/>
                  <a:gd name="T3" fmla="*/ 23 h 26"/>
                  <a:gd name="T4" fmla="*/ 20 w 20"/>
                  <a:gd name="T5" fmla="*/ 19 h 26"/>
                  <a:gd name="T6" fmla="*/ 10 w 20"/>
                  <a:gd name="T7" fmla="*/ 3 h 26"/>
                  <a:gd name="T8" fmla="*/ 0 w 20"/>
                  <a:gd name="T9" fmla="*/ 8 h 26"/>
                </a:gdLst>
                <a:ahLst/>
                <a:cxnLst>
                  <a:cxn ang="0">
                    <a:pos x="T0" y="T1"/>
                  </a:cxn>
                  <a:cxn ang="0">
                    <a:pos x="T2" y="T3"/>
                  </a:cxn>
                  <a:cxn ang="0">
                    <a:pos x="T4" y="T5"/>
                  </a:cxn>
                  <a:cxn ang="0">
                    <a:pos x="T6" y="T7"/>
                  </a:cxn>
                  <a:cxn ang="0">
                    <a:pos x="T8" y="T9"/>
                  </a:cxn>
                </a:cxnLst>
                <a:rect l="0" t="0" r="r" b="b"/>
                <a:pathLst>
                  <a:path w="20" h="26">
                    <a:moveTo>
                      <a:pt x="0" y="8"/>
                    </a:moveTo>
                    <a:cubicBezTo>
                      <a:pt x="0" y="13"/>
                      <a:pt x="5" y="20"/>
                      <a:pt x="10" y="23"/>
                    </a:cubicBezTo>
                    <a:cubicBezTo>
                      <a:pt x="15" y="26"/>
                      <a:pt x="20" y="24"/>
                      <a:pt x="20" y="19"/>
                    </a:cubicBezTo>
                    <a:cubicBezTo>
                      <a:pt x="20" y="13"/>
                      <a:pt x="15" y="7"/>
                      <a:pt x="10" y="3"/>
                    </a:cubicBezTo>
                    <a:cubicBezTo>
                      <a:pt x="5" y="0"/>
                      <a:pt x="0" y="2"/>
                      <a:pt x="0" y="8"/>
                    </a:cubicBezTo>
                    <a:close/>
                  </a:path>
                </a:pathLst>
              </a:custGeom>
              <a:solidFill>
                <a:srgbClr val="24282A"/>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33" name="iSḷíḋè"/>
              <p:cNvSpPr/>
              <p:nvPr/>
            </p:nvSpPr>
            <p:spPr bwMode="auto">
              <a:xfrm>
                <a:off x="2791" y="3396"/>
                <a:ext cx="126" cy="220"/>
              </a:xfrm>
              <a:custGeom>
                <a:avLst/>
                <a:gdLst>
                  <a:gd name="T0" fmla="*/ 0 w 126"/>
                  <a:gd name="T1" fmla="*/ 147 h 220"/>
                  <a:gd name="T2" fmla="*/ 0 w 126"/>
                  <a:gd name="T3" fmla="*/ 0 h 220"/>
                  <a:gd name="T4" fmla="*/ 126 w 126"/>
                  <a:gd name="T5" fmla="*/ 74 h 220"/>
                  <a:gd name="T6" fmla="*/ 126 w 126"/>
                  <a:gd name="T7" fmla="*/ 220 h 220"/>
                  <a:gd name="T8" fmla="*/ 0 w 126"/>
                  <a:gd name="T9" fmla="*/ 147 h 220"/>
                </a:gdLst>
                <a:ahLst/>
                <a:cxnLst>
                  <a:cxn ang="0">
                    <a:pos x="T0" y="T1"/>
                  </a:cxn>
                  <a:cxn ang="0">
                    <a:pos x="T2" y="T3"/>
                  </a:cxn>
                  <a:cxn ang="0">
                    <a:pos x="T4" y="T5"/>
                  </a:cxn>
                  <a:cxn ang="0">
                    <a:pos x="T6" y="T7"/>
                  </a:cxn>
                  <a:cxn ang="0">
                    <a:pos x="T8" y="T9"/>
                  </a:cxn>
                </a:cxnLst>
                <a:rect l="0" t="0" r="r" b="b"/>
                <a:pathLst>
                  <a:path w="126" h="220">
                    <a:moveTo>
                      <a:pt x="0" y="147"/>
                    </a:moveTo>
                    <a:lnTo>
                      <a:pt x="0" y="0"/>
                    </a:lnTo>
                    <a:lnTo>
                      <a:pt x="126" y="74"/>
                    </a:lnTo>
                    <a:lnTo>
                      <a:pt x="126" y="220"/>
                    </a:lnTo>
                    <a:lnTo>
                      <a:pt x="0" y="147"/>
                    </a:lnTo>
                    <a:close/>
                  </a:path>
                </a:pathLst>
              </a:custGeom>
              <a:solidFill>
                <a:srgbClr val="7E57C5"/>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34" name="iṡļiḋé"/>
              <p:cNvSpPr/>
              <p:nvPr/>
            </p:nvSpPr>
            <p:spPr bwMode="auto">
              <a:xfrm>
                <a:off x="2791" y="3396"/>
                <a:ext cx="126" cy="220"/>
              </a:xfrm>
              <a:custGeom>
                <a:avLst/>
                <a:gdLst>
                  <a:gd name="T0" fmla="*/ 0 w 126"/>
                  <a:gd name="T1" fmla="*/ 147 h 220"/>
                  <a:gd name="T2" fmla="*/ 0 w 126"/>
                  <a:gd name="T3" fmla="*/ 0 h 220"/>
                  <a:gd name="T4" fmla="*/ 126 w 126"/>
                  <a:gd name="T5" fmla="*/ 74 h 220"/>
                  <a:gd name="T6" fmla="*/ 126 w 126"/>
                  <a:gd name="T7" fmla="*/ 220 h 220"/>
                  <a:gd name="T8" fmla="*/ 0 w 126"/>
                  <a:gd name="T9" fmla="*/ 147 h 220"/>
                </a:gdLst>
                <a:ahLst/>
                <a:cxnLst>
                  <a:cxn ang="0">
                    <a:pos x="T0" y="T1"/>
                  </a:cxn>
                  <a:cxn ang="0">
                    <a:pos x="T2" y="T3"/>
                  </a:cxn>
                  <a:cxn ang="0">
                    <a:pos x="T4" y="T5"/>
                  </a:cxn>
                  <a:cxn ang="0">
                    <a:pos x="T6" y="T7"/>
                  </a:cxn>
                  <a:cxn ang="0">
                    <a:pos x="T8" y="T9"/>
                  </a:cxn>
                </a:cxnLst>
                <a:rect l="0" t="0" r="r" b="b"/>
                <a:pathLst>
                  <a:path w="126" h="220">
                    <a:moveTo>
                      <a:pt x="0" y="147"/>
                    </a:moveTo>
                    <a:lnTo>
                      <a:pt x="0" y="0"/>
                    </a:lnTo>
                    <a:lnTo>
                      <a:pt x="126" y="74"/>
                    </a:lnTo>
                    <a:lnTo>
                      <a:pt x="126" y="220"/>
                    </a:lnTo>
                    <a:lnTo>
                      <a:pt x="0" y="14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35" name="íṣľiḋè"/>
              <p:cNvSpPr/>
              <p:nvPr/>
            </p:nvSpPr>
            <p:spPr bwMode="auto">
              <a:xfrm>
                <a:off x="2791" y="3396"/>
                <a:ext cx="126" cy="220"/>
              </a:xfrm>
              <a:custGeom>
                <a:avLst/>
                <a:gdLst>
                  <a:gd name="T0" fmla="*/ 0 w 126"/>
                  <a:gd name="T1" fmla="*/ 0 h 220"/>
                  <a:gd name="T2" fmla="*/ 0 w 126"/>
                  <a:gd name="T3" fmla="*/ 147 h 220"/>
                  <a:gd name="T4" fmla="*/ 126 w 126"/>
                  <a:gd name="T5" fmla="*/ 220 h 220"/>
                  <a:gd name="T6" fmla="*/ 126 w 126"/>
                  <a:gd name="T7" fmla="*/ 74 h 220"/>
                  <a:gd name="T8" fmla="*/ 0 w 126"/>
                  <a:gd name="T9" fmla="*/ 0 h 220"/>
                </a:gdLst>
                <a:ahLst/>
                <a:cxnLst>
                  <a:cxn ang="0">
                    <a:pos x="T0" y="T1"/>
                  </a:cxn>
                  <a:cxn ang="0">
                    <a:pos x="T2" y="T3"/>
                  </a:cxn>
                  <a:cxn ang="0">
                    <a:pos x="T4" y="T5"/>
                  </a:cxn>
                  <a:cxn ang="0">
                    <a:pos x="T6" y="T7"/>
                  </a:cxn>
                  <a:cxn ang="0">
                    <a:pos x="T8" y="T9"/>
                  </a:cxn>
                </a:cxnLst>
                <a:rect l="0" t="0" r="r" b="b"/>
                <a:pathLst>
                  <a:path w="126" h="220">
                    <a:moveTo>
                      <a:pt x="0" y="0"/>
                    </a:moveTo>
                    <a:lnTo>
                      <a:pt x="0" y="147"/>
                    </a:lnTo>
                    <a:lnTo>
                      <a:pt x="126" y="220"/>
                    </a:lnTo>
                    <a:lnTo>
                      <a:pt x="126" y="74"/>
                    </a:lnTo>
                    <a:lnTo>
                      <a:pt x="0" y="0"/>
                    </a:lnTo>
                    <a:close/>
                  </a:path>
                </a:pathLst>
              </a:custGeom>
              <a:solidFill>
                <a:srgbClr val="7E57C5"/>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36" name="ísḻíďé"/>
              <p:cNvSpPr/>
              <p:nvPr/>
            </p:nvSpPr>
            <p:spPr bwMode="auto">
              <a:xfrm>
                <a:off x="2791" y="3396"/>
                <a:ext cx="126" cy="220"/>
              </a:xfrm>
              <a:custGeom>
                <a:avLst/>
                <a:gdLst>
                  <a:gd name="T0" fmla="*/ 0 w 126"/>
                  <a:gd name="T1" fmla="*/ 0 h 220"/>
                  <a:gd name="T2" fmla="*/ 0 w 126"/>
                  <a:gd name="T3" fmla="*/ 147 h 220"/>
                  <a:gd name="T4" fmla="*/ 126 w 126"/>
                  <a:gd name="T5" fmla="*/ 220 h 220"/>
                  <a:gd name="T6" fmla="*/ 126 w 126"/>
                  <a:gd name="T7" fmla="*/ 74 h 220"/>
                  <a:gd name="T8" fmla="*/ 0 w 126"/>
                  <a:gd name="T9" fmla="*/ 0 h 220"/>
                </a:gdLst>
                <a:ahLst/>
                <a:cxnLst>
                  <a:cxn ang="0">
                    <a:pos x="T0" y="T1"/>
                  </a:cxn>
                  <a:cxn ang="0">
                    <a:pos x="T2" y="T3"/>
                  </a:cxn>
                  <a:cxn ang="0">
                    <a:pos x="T4" y="T5"/>
                  </a:cxn>
                  <a:cxn ang="0">
                    <a:pos x="T6" y="T7"/>
                  </a:cxn>
                  <a:cxn ang="0">
                    <a:pos x="T8" y="T9"/>
                  </a:cxn>
                </a:cxnLst>
                <a:rect l="0" t="0" r="r" b="b"/>
                <a:pathLst>
                  <a:path w="126" h="220">
                    <a:moveTo>
                      <a:pt x="0" y="0"/>
                    </a:moveTo>
                    <a:lnTo>
                      <a:pt x="0" y="147"/>
                    </a:lnTo>
                    <a:lnTo>
                      <a:pt x="126" y="220"/>
                    </a:lnTo>
                    <a:lnTo>
                      <a:pt x="126" y="7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37" name="iṡḷíḓè"/>
              <p:cNvSpPr/>
              <p:nvPr/>
            </p:nvSpPr>
            <p:spPr bwMode="auto">
              <a:xfrm>
                <a:off x="2791" y="3323"/>
                <a:ext cx="253" cy="147"/>
              </a:xfrm>
              <a:custGeom>
                <a:avLst/>
                <a:gdLst>
                  <a:gd name="T0" fmla="*/ 0 w 253"/>
                  <a:gd name="T1" fmla="*/ 73 h 147"/>
                  <a:gd name="T2" fmla="*/ 126 w 253"/>
                  <a:gd name="T3" fmla="*/ 0 h 147"/>
                  <a:gd name="T4" fmla="*/ 253 w 253"/>
                  <a:gd name="T5" fmla="*/ 73 h 147"/>
                  <a:gd name="T6" fmla="*/ 126 w 253"/>
                  <a:gd name="T7" fmla="*/ 147 h 147"/>
                  <a:gd name="T8" fmla="*/ 0 w 253"/>
                  <a:gd name="T9" fmla="*/ 73 h 147"/>
                </a:gdLst>
                <a:ahLst/>
                <a:cxnLst>
                  <a:cxn ang="0">
                    <a:pos x="T0" y="T1"/>
                  </a:cxn>
                  <a:cxn ang="0">
                    <a:pos x="T2" y="T3"/>
                  </a:cxn>
                  <a:cxn ang="0">
                    <a:pos x="T4" y="T5"/>
                  </a:cxn>
                  <a:cxn ang="0">
                    <a:pos x="T6" y="T7"/>
                  </a:cxn>
                  <a:cxn ang="0">
                    <a:pos x="T8" y="T9"/>
                  </a:cxn>
                </a:cxnLst>
                <a:rect l="0" t="0" r="r" b="b"/>
                <a:pathLst>
                  <a:path w="253" h="147">
                    <a:moveTo>
                      <a:pt x="0" y="73"/>
                    </a:moveTo>
                    <a:lnTo>
                      <a:pt x="126" y="0"/>
                    </a:lnTo>
                    <a:lnTo>
                      <a:pt x="253" y="73"/>
                    </a:lnTo>
                    <a:lnTo>
                      <a:pt x="126" y="147"/>
                    </a:lnTo>
                    <a:lnTo>
                      <a:pt x="0" y="73"/>
                    </a:lnTo>
                    <a:close/>
                  </a:path>
                </a:pathLst>
              </a:custGeom>
              <a:solidFill>
                <a:srgbClr val="7E57C5"/>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38" name="îṣ1íde"/>
              <p:cNvSpPr/>
              <p:nvPr/>
            </p:nvSpPr>
            <p:spPr bwMode="auto">
              <a:xfrm>
                <a:off x="2791" y="3323"/>
                <a:ext cx="253" cy="147"/>
              </a:xfrm>
              <a:custGeom>
                <a:avLst/>
                <a:gdLst>
                  <a:gd name="T0" fmla="*/ 0 w 253"/>
                  <a:gd name="T1" fmla="*/ 73 h 147"/>
                  <a:gd name="T2" fmla="*/ 126 w 253"/>
                  <a:gd name="T3" fmla="*/ 0 h 147"/>
                  <a:gd name="T4" fmla="*/ 253 w 253"/>
                  <a:gd name="T5" fmla="*/ 73 h 147"/>
                  <a:gd name="T6" fmla="*/ 126 w 253"/>
                  <a:gd name="T7" fmla="*/ 147 h 147"/>
                  <a:gd name="T8" fmla="*/ 0 w 253"/>
                  <a:gd name="T9" fmla="*/ 73 h 147"/>
                </a:gdLst>
                <a:ahLst/>
                <a:cxnLst>
                  <a:cxn ang="0">
                    <a:pos x="T0" y="T1"/>
                  </a:cxn>
                  <a:cxn ang="0">
                    <a:pos x="T2" y="T3"/>
                  </a:cxn>
                  <a:cxn ang="0">
                    <a:pos x="T4" y="T5"/>
                  </a:cxn>
                  <a:cxn ang="0">
                    <a:pos x="T6" y="T7"/>
                  </a:cxn>
                  <a:cxn ang="0">
                    <a:pos x="T8" y="T9"/>
                  </a:cxn>
                </a:cxnLst>
                <a:rect l="0" t="0" r="r" b="b"/>
                <a:pathLst>
                  <a:path w="253" h="147">
                    <a:moveTo>
                      <a:pt x="0" y="73"/>
                    </a:moveTo>
                    <a:lnTo>
                      <a:pt x="126" y="0"/>
                    </a:lnTo>
                    <a:lnTo>
                      <a:pt x="253" y="73"/>
                    </a:lnTo>
                    <a:lnTo>
                      <a:pt x="126" y="147"/>
                    </a:lnTo>
                    <a:lnTo>
                      <a:pt x="0" y="7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39" name="íślîḑê"/>
              <p:cNvSpPr/>
              <p:nvPr/>
            </p:nvSpPr>
            <p:spPr bwMode="auto">
              <a:xfrm>
                <a:off x="2791" y="3323"/>
                <a:ext cx="253" cy="147"/>
              </a:xfrm>
              <a:custGeom>
                <a:avLst/>
                <a:gdLst>
                  <a:gd name="T0" fmla="*/ 126 w 253"/>
                  <a:gd name="T1" fmla="*/ 0 h 147"/>
                  <a:gd name="T2" fmla="*/ 0 w 253"/>
                  <a:gd name="T3" fmla="*/ 73 h 147"/>
                  <a:gd name="T4" fmla="*/ 126 w 253"/>
                  <a:gd name="T5" fmla="*/ 147 h 147"/>
                  <a:gd name="T6" fmla="*/ 253 w 253"/>
                  <a:gd name="T7" fmla="*/ 73 h 147"/>
                  <a:gd name="T8" fmla="*/ 126 w 253"/>
                  <a:gd name="T9" fmla="*/ 0 h 147"/>
                </a:gdLst>
                <a:ahLst/>
                <a:cxnLst>
                  <a:cxn ang="0">
                    <a:pos x="T0" y="T1"/>
                  </a:cxn>
                  <a:cxn ang="0">
                    <a:pos x="T2" y="T3"/>
                  </a:cxn>
                  <a:cxn ang="0">
                    <a:pos x="T4" y="T5"/>
                  </a:cxn>
                  <a:cxn ang="0">
                    <a:pos x="T6" y="T7"/>
                  </a:cxn>
                  <a:cxn ang="0">
                    <a:pos x="T8" y="T9"/>
                  </a:cxn>
                </a:cxnLst>
                <a:rect l="0" t="0" r="r" b="b"/>
                <a:pathLst>
                  <a:path w="253" h="147">
                    <a:moveTo>
                      <a:pt x="126" y="0"/>
                    </a:moveTo>
                    <a:lnTo>
                      <a:pt x="0" y="73"/>
                    </a:lnTo>
                    <a:lnTo>
                      <a:pt x="126" y="147"/>
                    </a:lnTo>
                    <a:lnTo>
                      <a:pt x="253" y="73"/>
                    </a:lnTo>
                    <a:lnTo>
                      <a:pt x="126" y="0"/>
                    </a:lnTo>
                    <a:close/>
                  </a:path>
                </a:pathLst>
              </a:custGeom>
              <a:solidFill>
                <a:srgbClr val="7E57C5"/>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40" name="îş1ïḋè"/>
              <p:cNvSpPr/>
              <p:nvPr/>
            </p:nvSpPr>
            <p:spPr bwMode="auto">
              <a:xfrm>
                <a:off x="2791" y="3323"/>
                <a:ext cx="253" cy="147"/>
              </a:xfrm>
              <a:custGeom>
                <a:avLst/>
                <a:gdLst>
                  <a:gd name="T0" fmla="*/ 126 w 253"/>
                  <a:gd name="T1" fmla="*/ 0 h 147"/>
                  <a:gd name="T2" fmla="*/ 0 w 253"/>
                  <a:gd name="T3" fmla="*/ 73 h 147"/>
                  <a:gd name="T4" fmla="*/ 126 w 253"/>
                  <a:gd name="T5" fmla="*/ 147 h 147"/>
                  <a:gd name="T6" fmla="*/ 253 w 253"/>
                  <a:gd name="T7" fmla="*/ 73 h 147"/>
                  <a:gd name="T8" fmla="*/ 126 w 253"/>
                  <a:gd name="T9" fmla="*/ 0 h 147"/>
                </a:gdLst>
                <a:ahLst/>
                <a:cxnLst>
                  <a:cxn ang="0">
                    <a:pos x="T0" y="T1"/>
                  </a:cxn>
                  <a:cxn ang="0">
                    <a:pos x="T2" y="T3"/>
                  </a:cxn>
                  <a:cxn ang="0">
                    <a:pos x="T4" y="T5"/>
                  </a:cxn>
                  <a:cxn ang="0">
                    <a:pos x="T6" y="T7"/>
                  </a:cxn>
                  <a:cxn ang="0">
                    <a:pos x="T8" y="T9"/>
                  </a:cxn>
                </a:cxnLst>
                <a:rect l="0" t="0" r="r" b="b"/>
                <a:pathLst>
                  <a:path w="253" h="147">
                    <a:moveTo>
                      <a:pt x="126" y="0"/>
                    </a:moveTo>
                    <a:lnTo>
                      <a:pt x="0" y="73"/>
                    </a:lnTo>
                    <a:lnTo>
                      <a:pt x="126" y="147"/>
                    </a:lnTo>
                    <a:lnTo>
                      <a:pt x="253" y="73"/>
                    </a:lnTo>
                    <a:lnTo>
                      <a:pt x="12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41" name="ïšḻíḓe"/>
              <p:cNvSpPr/>
              <p:nvPr/>
            </p:nvSpPr>
            <p:spPr bwMode="auto">
              <a:xfrm>
                <a:off x="2917" y="3396"/>
                <a:ext cx="127" cy="220"/>
              </a:xfrm>
              <a:custGeom>
                <a:avLst/>
                <a:gdLst>
                  <a:gd name="T0" fmla="*/ 0 w 127"/>
                  <a:gd name="T1" fmla="*/ 74 h 220"/>
                  <a:gd name="T2" fmla="*/ 127 w 127"/>
                  <a:gd name="T3" fmla="*/ 0 h 220"/>
                  <a:gd name="T4" fmla="*/ 127 w 127"/>
                  <a:gd name="T5" fmla="*/ 147 h 220"/>
                  <a:gd name="T6" fmla="*/ 0 w 127"/>
                  <a:gd name="T7" fmla="*/ 220 h 220"/>
                  <a:gd name="T8" fmla="*/ 0 w 127"/>
                  <a:gd name="T9" fmla="*/ 74 h 220"/>
                </a:gdLst>
                <a:ahLst/>
                <a:cxnLst>
                  <a:cxn ang="0">
                    <a:pos x="T0" y="T1"/>
                  </a:cxn>
                  <a:cxn ang="0">
                    <a:pos x="T2" y="T3"/>
                  </a:cxn>
                  <a:cxn ang="0">
                    <a:pos x="T4" y="T5"/>
                  </a:cxn>
                  <a:cxn ang="0">
                    <a:pos x="T6" y="T7"/>
                  </a:cxn>
                  <a:cxn ang="0">
                    <a:pos x="T8" y="T9"/>
                  </a:cxn>
                </a:cxnLst>
                <a:rect l="0" t="0" r="r" b="b"/>
                <a:pathLst>
                  <a:path w="127" h="220">
                    <a:moveTo>
                      <a:pt x="0" y="74"/>
                    </a:moveTo>
                    <a:lnTo>
                      <a:pt x="127" y="0"/>
                    </a:lnTo>
                    <a:lnTo>
                      <a:pt x="127" y="147"/>
                    </a:lnTo>
                    <a:lnTo>
                      <a:pt x="0" y="220"/>
                    </a:lnTo>
                    <a:lnTo>
                      <a:pt x="0" y="74"/>
                    </a:lnTo>
                    <a:close/>
                  </a:path>
                </a:pathLst>
              </a:custGeom>
              <a:solidFill>
                <a:srgbClr val="00A19B"/>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42" name="iṧ1iḍê"/>
              <p:cNvSpPr/>
              <p:nvPr/>
            </p:nvSpPr>
            <p:spPr bwMode="auto">
              <a:xfrm>
                <a:off x="2917" y="3396"/>
                <a:ext cx="127" cy="220"/>
              </a:xfrm>
              <a:custGeom>
                <a:avLst/>
                <a:gdLst>
                  <a:gd name="T0" fmla="*/ 0 w 127"/>
                  <a:gd name="T1" fmla="*/ 74 h 220"/>
                  <a:gd name="T2" fmla="*/ 127 w 127"/>
                  <a:gd name="T3" fmla="*/ 0 h 220"/>
                  <a:gd name="T4" fmla="*/ 127 w 127"/>
                  <a:gd name="T5" fmla="*/ 147 h 220"/>
                  <a:gd name="T6" fmla="*/ 0 w 127"/>
                  <a:gd name="T7" fmla="*/ 220 h 220"/>
                  <a:gd name="T8" fmla="*/ 0 w 127"/>
                  <a:gd name="T9" fmla="*/ 74 h 220"/>
                </a:gdLst>
                <a:ahLst/>
                <a:cxnLst>
                  <a:cxn ang="0">
                    <a:pos x="T0" y="T1"/>
                  </a:cxn>
                  <a:cxn ang="0">
                    <a:pos x="T2" y="T3"/>
                  </a:cxn>
                  <a:cxn ang="0">
                    <a:pos x="T4" y="T5"/>
                  </a:cxn>
                  <a:cxn ang="0">
                    <a:pos x="T6" y="T7"/>
                  </a:cxn>
                  <a:cxn ang="0">
                    <a:pos x="T8" y="T9"/>
                  </a:cxn>
                </a:cxnLst>
                <a:rect l="0" t="0" r="r" b="b"/>
                <a:pathLst>
                  <a:path w="127" h="220">
                    <a:moveTo>
                      <a:pt x="0" y="74"/>
                    </a:moveTo>
                    <a:lnTo>
                      <a:pt x="127" y="0"/>
                    </a:lnTo>
                    <a:lnTo>
                      <a:pt x="127" y="147"/>
                    </a:lnTo>
                    <a:lnTo>
                      <a:pt x="0" y="220"/>
                    </a:lnTo>
                    <a:lnTo>
                      <a:pt x="0" y="74"/>
                    </a:lnTo>
                    <a:close/>
                  </a:path>
                </a:pathLst>
              </a:custGeom>
              <a:solidFill>
                <a:srgbClr val="7E57C5"/>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43" name="îŝļiḍé"/>
              <p:cNvSpPr/>
              <p:nvPr/>
            </p:nvSpPr>
            <p:spPr bwMode="auto">
              <a:xfrm>
                <a:off x="2368" y="1983"/>
                <a:ext cx="127" cy="219"/>
              </a:xfrm>
              <a:custGeom>
                <a:avLst/>
                <a:gdLst>
                  <a:gd name="T0" fmla="*/ 0 w 127"/>
                  <a:gd name="T1" fmla="*/ 146 h 219"/>
                  <a:gd name="T2" fmla="*/ 0 w 127"/>
                  <a:gd name="T3" fmla="*/ 0 h 219"/>
                  <a:gd name="T4" fmla="*/ 127 w 127"/>
                  <a:gd name="T5" fmla="*/ 73 h 219"/>
                  <a:gd name="T6" fmla="*/ 127 w 127"/>
                  <a:gd name="T7" fmla="*/ 219 h 219"/>
                  <a:gd name="T8" fmla="*/ 0 w 127"/>
                  <a:gd name="T9" fmla="*/ 146 h 219"/>
                </a:gdLst>
                <a:ahLst/>
                <a:cxnLst>
                  <a:cxn ang="0">
                    <a:pos x="T0" y="T1"/>
                  </a:cxn>
                  <a:cxn ang="0">
                    <a:pos x="T2" y="T3"/>
                  </a:cxn>
                  <a:cxn ang="0">
                    <a:pos x="T4" y="T5"/>
                  </a:cxn>
                  <a:cxn ang="0">
                    <a:pos x="T6" y="T7"/>
                  </a:cxn>
                  <a:cxn ang="0">
                    <a:pos x="T8" y="T9"/>
                  </a:cxn>
                </a:cxnLst>
                <a:rect l="0" t="0" r="r" b="b"/>
                <a:pathLst>
                  <a:path w="127" h="219">
                    <a:moveTo>
                      <a:pt x="0" y="146"/>
                    </a:moveTo>
                    <a:lnTo>
                      <a:pt x="0" y="0"/>
                    </a:lnTo>
                    <a:lnTo>
                      <a:pt x="127" y="73"/>
                    </a:lnTo>
                    <a:lnTo>
                      <a:pt x="127" y="219"/>
                    </a:lnTo>
                    <a:lnTo>
                      <a:pt x="0" y="146"/>
                    </a:lnTo>
                    <a:close/>
                  </a:path>
                </a:pathLst>
              </a:custGeom>
              <a:solidFill>
                <a:srgbClr val="7A97AB"/>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44" name="îşļiḑê"/>
              <p:cNvSpPr/>
              <p:nvPr/>
            </p:nvSpPr>
            <p:spPr bwMode="auto">
              <a:xfrm>
                <a:off x="2368" y="1910"/>
                <a:ext cx="255" cy="146"/>
              </a:xfrm>
              <a:custGeom>
                <a:avLst/>
                <a:gdLst>
                  <a:gd name="T0" fmla="*/ 0 w 255"/>
                  <a:gd name="T1" fmla="*/ 73 h 146"/>
                  <a:gd name="T2" fmla="*/ 127 w 255"/>
                  <a:gd name="T3" fmla="*/ 0 h 146"/>
                  <a:gd name="T4" fmla="*/ 255 w 255"/>
                  <a:gd name="T5" fmla="*/ 73 h 146"/>
                  <a:gd name="T6" fmla="*/ 127 w 255"/>
                  <a:gd name="T7" fmla="*/ 146 h 146"/>
                  <a:gd name="T8" fmla="*/ 0 w 255"/>
                  <a:gd name="T9" fmla="*/ 73 h 146"/>
                </a:gdLst>
                <a:ahLst/>
                <a:cxnLst>
                  <a:cxn ang="0">
                    <a:pos x="T0" y="T1"/>
                  </a:cxn>
                  <a:cxn ang="0">
                    <a:pos x="T2" y="T3"/>
                  </a:cxn>
                  <a:cxn ang="0">
                    <a:pos x="T4" y="T5"/>
                  </a:cxn>
                  <a:cxn ang="0">
                    <a:pos x="T6" y="T7"/>
                  </a:cxn>
                  <a:cxn ang="0">
                    <a:pos x="T8" y="T9"/>
                  </a:cxn>
                </a:cxnLst>
                <a:rect l="0" t="0" r="r" b="b"/>
                <a:pathLst>
                  <a:path w="255" h="146">
                    <a:moveTo>
                      <a:pt x="0" y="73"/>
                    </a:moveTo>
                    <a:lnTo>
                      <a:pt x="127" y="0"/>
                    </a:lnTo>
                    <a:lnTo>
                      <a:pt x="255" y="73"/>
                    </a:lnTo>
                    <a:lnTo>
                      <a:pt x="127" y="146"/>
                    </a:lnTo>
                    <a:lnTo>
                      <a:pt x="0" y="73"/>
                    </a:lnTo>
                    <a:close/>
                  </a:path>
                </a:pathLst>
              </a:custGeom>
              <a:solidFill>
                <a:srgbClr val="A5BAC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45" name="iŝļiḓe"/>
              <p:cNvSpPr/>
              <p:nvPr/>
            </p:nvSpPr>
            <p:spPr bwMode="auto">
              <a:xfrm>
                <a:off x="2495" y="1983"/>
                <a:ext cx="128" cy="219"/>
              </a:xfrm>
              <a:custGeom>
                <a:avLst/>
                <a:gdLst>
                  <a:gd name="T0" fmla="*/ 0 w 128"/>
                  <a:gd name="T1" fmla="*/ 73 h 219"/>
                  <a:gd name="T2" fmla="*/ 128 w 128"/>
                  <a:gd name="T3" fmla="*/ 0 h 219"/>
                  <a:gd name="T4" fmla="*/ 128 w 128"/>
                  <a:gd name="T5" fmla="*/ 146 h 219"/>
                  <a:gd name="T6" fmla="*/ 0 w 128"/>
                  <a:gd name="T7" fmla="*/ 219 h 219"/>
                  <a:gd name="T8" fmla="*/ 0 w 128"/>
                  <a:gd name="T9" fmla="*/ 73 h 219"/>
                </a:gdLst>
                <a:ahLst/>
                <a:cxnLst>
                  <a:cxn ang="0">
                    <a:pos x="T0" y="T1"/>
                  </a:cxn>
                  <a:cxn ang="0">
                    <a:pos x="T2" y="T3"/>
                  </a:cxn>
                  <a:cxn ang="0">
                    <a:pos x="T4" y="T5"/>
                  </a:cxn>
                  <a:cxn ang="0">
                    <a:pos x="T6" y="T7"/>
                  </a:cxn>
                  <a:cxn ang="0">
                    <a:pos x="T8" y="T9"/>
                  </a:cxn>
                </a:cxnLst>
                <a:rect l="0" t="0" r="r" b="b"/>
                <a:pathLst>
                  <a:path w="128" h="219">
                    <a:moveTo>
                      <a:pt x="0" y="73"/>
                    </a:moveTo>
                    <a:lnTo>
                      <a:pt x="128" y="0"/>
                    </a:lnTo>
                    <a:lnTo>
                      <a:pt x="128" y="146"/>
                    </a:lnTo>
                    <a:lnTo>
                      <a:pt x="0" y="219"/>
                    </a:lnTo>
                    <a:lnTo>
                      <a:pt x="0" y="73"/>
                    </a:lnTo>
                    <a:close/>
                  </a:path>
                </a:pathLst>
              </a:custGeom>
              <a:solidFill>
                <a:srgbClr val="00A19B"/>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46" name="îs1íḍê"/>
              <p:cNvSpPr/>
              <p:nvPr/>
            </p:nvSpPr>
            <p:spPr bwMode="auto">
              <a:xfrm>
                <a:off x="2495" y="1983"/>
                <a:ext cx="128" cy="219"/>
              </a:xfrm>
              <a:custGeom>
                <a:avLst/>
                <a:gdLst>
                  <a:gd name="T0" fmla="*/ 0 w 128"/>
                  <a:gd name="T1" fmla="*/ 73 h 219"/>
                  <a:gd name="T2" fmla="*/ 128 w 128"/>
                  <a:gd name="T3" fmla="*/ 0 h 219"/>
                  <a:gd name="T4" fmla="*/ 128 w 128"/>
                  <a:gd name="T5" fmla="*/ 146 h 219"/>
                  <a:gd name="T6" fmla="*/ 0 w 128"/>
                  <a:gd name="T7" fmla="*/ 219 h 219"/>
                  <a:gd name="T8" fmla="*/ 0 w 128"/>
                  <a:gd name="T9" fmla="*/ 73 h 219"/>
                </a:gdLst>
                <a:ahLst/>
                <a:cxnLst>
                  <a:cxn ang="0">
                    <a:pos x="T0" y="T1"/>
                  </a:cxn>
                  <a:cxn ang="0">
                    <a:pos x="T2" y="T3"/>
                  </a:cxn>
                  <a:cxn ang="0">
                    <a:pos x="T4" y="T5"/>
                  </a:cxn>
                  <a:cxn ang="0">
                    <a:pos x="T6" y="T7"/>
                  </a:cxn>
                  <a:cxn ang="0">
                    <a:pos x="T8" y="T9"/>
                  </a:cxn>
                </a:cxnLst>
                <a:rect l="0" t="0" r="r" b="b"/>
                <a:pathLst>
                  <a:path w="128" h="219">
                    <a:moveTo>
                      <a:pt x="0" y="73"/>
                    </a:moveTo>
                    <a:lnTo>
                      <a:pt x="128" y="0"/>
                    </a:lnTo>
                    <a:lnTo>
                      <a:pt x="128" y="146"/>
                    </a:lnTo>
                    <a:lnTo>
                      <a:pt x="0" y="219"/>
                    </a:lnTo>
                    <a:lnTo>
                      <a:pt x="0" y="73"/>
                    </a:lnTo>
                    <a:close/>
                  </a:path>
                </a:pathLst>
              </a:custGeom>
              <a:solidFill>
                <a:srgbClr val="5B7E9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47" name="îśḷïḍè"/>
              <p:cNvSpPr/>
              <p:nvPr/>
            </p:nvSpPr>
            <p:spPr bwMode="auto">
              <a:xfrm>
                <a:off x="2283" y="2276"/>
                <a:ext cx="127" cy="219"/>
              </a:xfrm>
              <a:custGeom>
                <a:avLst/>
                <a:gdLst>
                  <a:gd name="T0" fmla="*/ 0 w 127"/>
                  <a:gd name="T1" fmla="*/ 146 h 219"/>
                  <a:gd name="T2" fmla="*/ 0 w 127"/>
                  <a:gd name="T3" fmla="*/ 0 h 219"/>
                  <a:gd name="T4" fmla="*/ 127 w 127"/>
                  <a:gd name="T5" fmla="*/ 73 h 219"/>
                  <a:gd name="T6" fmla="*/ 127 w 127"/>
                  <a:gd name="T7" fmla="*/ 219 h 219"/>
                  <a:gd name="T8" fmla="*/ 0 w 127"/>
                  <a:gd name="T9" fmla="*/ 146 h 219"/>
                </a:gdLst>
                <a:ahLst/>
                <a:cxnLst>
                  <a:cxn ang="0">
                    <a:pos x="T0" y="T1"/>
                  </a:cxn>
                  <a:cxn ang="0">
                    <a:pos x="T2" y="T3"/>
                  </a:cxn>
                  <a:cxn ang="0">
                    <a:pos x="T4" y="T5"/>
                  </a:cxn>
                  <a:cxn ang="0">
                    <a:pos x="T6" y="T7"/>
                  </a:cxn>
                  <a:cxn ang="0">
                    <a:pos x="T8" y="T9"/>
                  </a:cxn>
                </a:cxnLst>
                <a:rect l="0" t="0" r="r" b="b"/>
                <a:pathLst>
                  <a:path w="127" h="219">
                    <a:moveTo>
                      <a:pt x="0" y="146"/>
                    </a:moveTo>
                    <a:lnTo>
                      <a:pt x="0" y="0"/>
                    </a:lnTo>
                    <a:lnTo>
                      <a:pt x="127" y="73"/>
                    </a:lnTo>
                    <a:lnTo>
                      <a:pt x="127" y="219"/>
                    </a:lnTo>
                    <a:lnTo>
                      <a:pt x="0" y="146"/>
                    </a:lnTo>
                    <a:close/>
                  </a:path>
                </a:pathLst>
              </a:custGeom>
              <a:solidFill>
                <a:srgbClr val="CF3A5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48" name="i$ḷidê"/>
              <p:cNvSpPr/>
              <p:nvPr/>
            </p:nvSpPr>
            <p:spPr bwMode="auto">
              <a:xfrm>
                <a:off x="2283" y="2276"/>
                <a:ext cx="127" cy="219"/>
              </a:xfrm>
              <a:custGeom>
                <a:avLst/>
                <a:gdLst>
                  <a:gd name="T0" fmla="*/ 0 w 127"/>
                  <a:gd name="T1" fmla="*/ 146 h 219"/>
                  <a:gd name="T2" fmla="*/ 0 w 127"/>
                  <a:gd name="T3" fmla="*/ 0 h 219"/>
                  <a:gd name="T4" fmla="*/ 127 w 127"/>
                  <a:gd name="T5" fmla="*/ 73 h 219"/>
                  <a:gd name="T6" fmla="*/ 127 w 127"/>
                  <a:gd name="T7" fmla="*/ 219 h 219"/>
                  <a:gd name="T8" fmla="*/ 0 w 127"/>
                  <a:gd name="T9" fmla="*/ 146 h 219"/>
                </a:gdLst>
                <a:ahLst/>
                <a:cxnLst>
                  <a:cxn ang="0">
                    <a:pos x="T0" y="T1"/>
                  </a:cxn>
                  <a:cxn ang="0">
                    <a:pos x="T2" y="T3"/>
                  </a:cxn>
                  <a:cxn ang="0">
                    <a:pos x="T4" y="T5"/>
                  </a:cxn>
                  <a:cxn ang="0">
                    <a:pos x="T6" y="T7"/>
                  </a:cxn>
                  <a:cxn ang="0">
                    <a:pos x="T8" y="T9"/>
                  </a:cxn>
                </a:cxnLst>
                <a:rect l="0" t="0" r="r" b="b"/>
                <a:pathLst>
                  <a:path w="127" h="219">
                    <a:moveTo>
                      <a:pt x="0" y="146"/>
                    </a:moveTo>
                    <a:lnTo>
                      <a:pt x="0" y="0"/>
                    </a:lnTo>
                    <a:lnTo>
                      <a:pt x="127" y="73"/>
                    </a:lnTo>
                    <a:lnTo>
                      <a:pt x="127" y="219"/>
                    </a:lnTo>
                    <a:lnTo>
                      <a:pt x="0" y="1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49" name="íṣļíḋe"/>
              <p:cNvSpPr/>
              <p:nvPr/>
            </p:nvSpPr>
            <p:spPr bwMode="auto">
              <a:xfrm>
                <a:off x="2283" y="2276"/>
                <a:ext cx="127" cy="219"/>
              </a:xfrm>
              <a:custGeom>
                <a:avLst/>
                <a:gdLst>
                  <a:gd name="T0" fmla="*/ 0 w 127"/>
                  <a:gd name="T1" fmla="*/ 0 h 219"/>
                  <a:gd name="T2" fmla="*/ 0 w 127"/>
                  <a:gd name="T3" fmla="*/ 146 h 219"/>
                  <a:gd name="T4" fmla="*/ 127 w 127"/>
                  <a:gd name="T5" fmla="*/ 219 h 219"/>
                  <a:gd name="T6" fmla="*/ 127 w 127"/>
                  <a:gd name="T7" fmla="*/ 73 h 219"/>
                  <a:gd name="T8" fmla="*/ 0 w 127"/>
                  <a:gd name="T9" fmla="*/ 0 h 219"/>
                </a:gdLst>
                <a:ahLst/>
                <a:cxnLst>
                  <a:cxn ang="0">
                    <a:pos x="T0" y="T1"/>
                  </a:cxn>
                  <a:cxn ang="0">
                    <a:pos x="T2" y="T3"/>
                  </a:cxn>
                  <a:cxn ang="0">
                    <a:pos x="T4" y="T5"/>
                  </a:cxn>
                  <a:cxn ang="0">
                    <a:pos x="T6" y="T7"/>
                  </a:cxn>
                  <a:cxn ang="0">
                    <a:pos x="T8" y="T9"/>
                  </a:cxn>
                </a:cxnLst>
                <a:rect l="0" t="0" r="r" b="b"/>
                <a:pathLst>
                  <a:path w="127" h="219">
                    <a:moveTo>
                      <a:pt x="0" y="0"/>
                    </a:moveTo>
                    <a:lnTo>
                      <a:pt x="0" y="146"/>
                    </a:lnTo>
                    <a:lnTo>
                      <a:pt x="127" y="219"/>
                    </a:lnTo>
                    <a:lnTo>
                      <a:pt x="127" y="73"/>
                    </a:lnTo>
                    <a:lnTo>
                      <a:pt x="0" y="0"/>
                    </a:lnTo>
                    <a:close/>
                  </a:path>
                </a:pathLst>
              </a:custGeom>
              <a:solidFill>
                <a:srgbClr val="E3516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50" name="ïŝlïḋe"/>
              <p:cNvSpPr/>
              <p:nvPr/>
            </p:nvSpPr>
            <p:spPr bwMode="auto">
              <a:xfrm>
                <a:off x="2283" y="2276"/>
                <a:ext cx="127" cy="219"/>
              </a:xfrm>
              <a:custGeom>
                <a:avLst/>
                <a:gdLst>
                  <a:gd name="T0" fmla="*/ 0 w 127"/>
                  <a:gd name="T1" fmla="*/ 0 h 219"/>
                  <a:gd name="T2" fmla="*/ 0 w 127"/>
                  <a:gd name="T3" fmla="*/ 146 h 219"/>
                  <a:gd name="T4" fmla="*/ 127 w 127"/>
                  <a:gd name="T5" fmla="*/ 219 h 219"/>
                  <a:gd name="T6" fmla="*/ 127 w 127"/>
                  <a:gd name="T7" fmla="*/ 73 h 219"/>
                  <a:gd name="T8" fmla="*/ 0 w 127"/>
                  <a:gd name="T9" fmla="*/ 0 h 219"/>
                </a:gdLst>
                <a:ahLst/>
                <a:cxnLst>
                  <a:cxn ang="0">
                    <a:pos x="T0" y="T1"/>
                  </a:cxn>
                  <a:cxn ang="0">
                    <a:pos x="T2" y="T3"/>
                  </a:cxn>
                  <a:cxn ang="0">
                    <a:pos x="T4" y="T5"/>
                  </a:cxn>
                  <a:cxn ang="0">
                    <a:pos x="T6" y="T7"/>
                  </a:cxn>
                  <a:cxn ang="0">
                    <a:pos x="T8" y="T9"/>
                  </a:cxn>
                </a:cxnLst>
                <a:rect l="0" t="0" r="r" b="b"/>
                <a:pathLst>
                  <a:path w="127" h="219">
                    <a:moveTo>
                      <a:pt x="0" y="0"/>
                    </a:moveTo>
                    <a:lnTo>
                      <a:pt x="0" y="146"/>
                    </a:lnTo>
                    <a:lnTo>
                      <a:pt x="127" y="219"/>
                    </a:lnTo>
                    <a:lnTo>
                      <a:pt x="127" y="7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51" name="îs1iḑè"/>
              <p:cNvSpPr/>
              <p:nvPr/>
            </p:nvSpPr>
            <p:spPr bwMode="auto">
              <a:xfrm>
                <a:off x="2283" y="2203"/>
                <a:ext cx="255" cy="146"/>
              </a:xfrm>
              <a:custGeom>
                <a:avLst/>
                <a:gdLst>
                  <a:gd name="T0" fmla="*/ 0 w 255"/>
                  <a:gd name="T1" fmla="*/ 73 h 146"/>
                  <a:gd name="T2" fmla="*/ 127 w 255"/>
                  <a:gd name="T3" fmla="*/ 0 h 146"/>
                  <a:gd name="T4" fmla="*/ 255 w 255"/>
                  <a:gd name="T5" fmla="*/ 73 h 146"/>
                  <a:gd name="T6" fmla="*/ 127 w 255"/>
                  <a:gd name="T7" fmla="*/ 146 h 146"/>
                  <a:gd name="T8" fmla="*/ 0 w 255"/>
                  <a:gd name="T9" fmla="*/ 73 h 146"/>
                </a:gdLst>
                <a:ahLst/>
                <a:cxnLst>
                  <a:cxn ang="0">
                    <a:pos x="T0" y="T1"/>
                  </a:cxn>
                  <a:cxn ang="0">
                    <a:pos x="T2" y="T3"/>
                  </a:cxn>
                  <a:cxn ang="0">
                    <a:pos x="T4" y="T5"/>
                  </a:cxn>
                  <a:cxn ang="0">
                    <a:pos x="T6" y="T7"/>
                  </a:cxn>
                  <a:cxn ang="0">
                    <a:pos x="T8" y="T9"/>
                  </a:cxn>
                </a:cxnLst>
                <a:rect l="0" t="0" r="r" b="b"/>
                <a:pathLst>
                  <a:path w="255" h="146">
                    <a:moveTo>
                      <a:pt x="0" y="73"/>
                    </a:moveTo>
                    <a:lnTo>
                      <a:pt x="127" y="0"/>
                    </a:lnTo>
                    <a:lnTo>
                      <a:pt x="255" y="73"/>
                    </a:lnTo>
                    <a:lnTo>
                      <a:pt x="127" y="146"/>
                    </a:lnTo>
                    <a:lnTo>
                      <a:pt x="0" y="73"/>
                    </a:lnTo>
                    <a:close/>
                  </a:path>
                </a:pathLst>
              </a:custGeom>
              <a:solidFill>
                <a:srgbClr val="CF3A5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52" name="ïslîḑe"/>
              <p:cNvSpPr/>
              <p:nvPr/>
            </p:nvSpPr>
            <p:spPr bwMode="auto">
              <a:xfrm>
                <a:off x="2283" y="2203"/>
                <a:ext cx="255" cy="146"/>
              </a:xfrm>
              <a:custGeom>
                <a:avLst/>
                <a:gdLst>
                  <a:gd name="T0" fmla="*/ 0 w 255"/>
                  <a:gd name="T1" fmla="*/ 73 h 146"/>
                  <a:gd name="T2" fmla="*/ 127 w 255"/>
                  <a:gd name="T3" fmla="*/ 0 h 146"/>
                  <a:gd name="T4" fmla="*/ 255 w 255"/>
                  <a:gd name="T5" fmla="*/ 73 h 146"/>
                  <a:gd name="T6" fmla="*/ 127 w 255"/>
                  <a:gd name="T7" fmla="*/ 146 h 146"/>
                  <a:gd name="T8" fmla="*/ 0 w 255"/>
                  <a:gd name="T9" fmla="*/ 73 h 146"/>
                </a:gdLst>
                <a:ahLst/>
                <a:cxnLst>
                  <a:cxn ang="0">
                    <a:pos x="T0" y="T1"/>
                  </a:cxn>
                  <a:cxn ang="0">
                    <a:pos x="T2" y="T3"/>
                  </a:cxn>
                  <a:cxn ang="0">
                    <a:pos x="T4" y="T5"/>
                  </a:cxn>
                  <a:cxn ang="0">
                    <a:pos x="T6" y="T7"/>
                  </a:cxn>
                  <a:cxn ang="0">
                    <a:pos x="T8" y="T9"/>
                  </a:cxn>
                </a:cxnLst>
                <a:rect l="0" t="0" r="r" b="b"/>
                <a:pathLst>
                  <a:path w="255" h="146">
                    <a:moveTo>
                      <a:pt x="0" y="73"/>
                    </a:moveTo>
                    <a:lnTo>
                      <a:pt x="127" y="0"/>
                    </a:lnTo>
                    <a:lnTo>
                      <a:pt x="255" y="73"/>
                    </a:lnTo>
                    <a:lnTo>
                      <a:pt x="127" y="146"/>
                    </a:lnTo>
                    <a:lnTo>
                      <a:pt x="0" y="7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53" name="îṥļidè"/>
              <p:cNvSpPr/>
              <p:nvPr/>
            </p:nvSpPr>
            <p:spPr bwMode="auto">
              <a:xfrm>
                <a:off x="2283" y="2203"/>
                <a:ext cx="255" cy="146"/>
              </a:xfrm>
              <a:custGeom>
                <a:avLst/>
                <a:gdLst>
                  <a:gd name="T0" fmla="*/ 127 w 255"/>
                  <a:gd name="T1" fmla="*/ 0 h 146"/>
                  <a:gd name="T2" fmla="*/ 0 w 255"/>
                  <a:gd name="T3" fmla="*/ 73 h 146"/>
                  <a:gd name="T4" fmla="*/ 127 w 255"/>
                  <a:gd name="T5" fmla="*/ 146 h 146"/>
                  <a:gd name="T6" fmla="*/ 255 w 255"/>
                  <a:gd name="T7" fmla="*/ 73 h 146"/>
                  <a:gd name="T8" fmla="*/ 127 w 255"/>
                  <a:gd name="T9" fmla="*/ 0 h 146"/>
                </a:gdLst>
                <a:ahLst/>
                <a:cxnLst>
                  <a:cxn ang="0">
                    <a:pos x="T0" y="T1"/>
                  </a:cxn>
                  <a:cxn ang="0">
                    <a:pos x="T2" y="T3"/>
                  </a:cxn>
                  <a:cxn ang="0">
                    <a:pos x="T4" y="T5"/>
                  </a:cxn>
                  <a:cxn ang="0">
                    <a:pos x="T6" y="T7"/>
                  </a:cxn>
                  <a:cxn ang="0">
                    <a:pos x="T8" y="T9"/>
                  </a:cxn>
                </a:cxnLst>
                <a:rect l="0" t="0" r="r" b="b"/>
                <a:pathLst>
                  <a:path w="255" h="146">
                    <a:moveTo>
                      <a:pt x="127" y="0"/>
                    </a:moveTo>
                    <a:lnTo>
                      <a:pt x="0" y="73"/>
                    </a:lnTo>
                    <a:lnTo>
                      <a:pt x="127" y="146"/>
                    </a:lnTo>
                    <a:lnTo>
                      <a:pt x="255" y="73"/>
                    </a:lnTo>
                    <a:lnTo>
                      <a:pt x="127" y="0"/>
                    </a:lnTo>
                    <a:close/>
                  </a:path>
                </a:pathLst>
              </a:custGeom>
              <a:solidFill>
                <a:srgbClr val="F6678A"/>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54" name="išļïḓe"/>
              <p:cNvSpPr/>
              <p:nvPr/>
            </p:nvSpPr>
            <p:spPr bwMode="auto">
              <a:xfrm>
                <a:off x="2283" y="2203"/>
                <a:ext cx="255" cy="146"/>
              </a:xfrm>
              <a:custGeom>
                <a:avLst/>
                <a:gdLst>
                  <a:gd name="T0" fmla="*/ 127 w 255"/>
                  <a:gd name="T1" fmla="*/ 0 h 146"/>
                  <a:gd name="T2" fmla="*/ 0 w 255"/>
                  <a:gd name="T3" fmla="*/ 73 h 146"/>
                  <a:gd name="T4" fmla="*/ 127 w 255"/>
                  <a:gd name="T5" fmla="*/ 146 h 146"/>
                  <a:gd name="T6" fmla="*/ 255 w 255"/>
                  <a:gd name="T7" fmla="*/ 73 h 146"/>
                  <a:gd name="T8" fmla="*/ 127 w 255"/>
                  <a:gd name="T9" fmla="*/ 0 h 146"/>
                </a:gdLst>
                <a:ahLst/>
                <a:cxnLst>
                  <a:cxn ang="0">
                    <a:pos x="T0" y="T1"/>
                  </a:cxn>
                  <a:cxn ang="0">
                    <a:pos x="T2" y="T3"/>
                  </a:cxn>
                  <a:cxn ang="0">
                    <a:pos x="T4" y="T5"/>
                  </a:cxn>
                  <a:cxn ang="0">
                    <a:pos x="T6" y="T7"/>
                  </a:cxn>
                  <a:cxn ang="0">
                    <a:pos x="T8" y="T9"/>
                  </a:cxn>
                </a:cxnLst>
                <a:rect l="0" t="0" r="r" b="b"/>
                <a:pathLst>
                  <a:path w="255" h="146">
                    <a:moveTo>
                      <a:pt x="127" y="0"/>
                    </a:moveTo>
                    <a:lnTo>
                      <a:pt x="0" y="73"/>
                    </a:lnTo>
                    <a:lnTo>
                      <a:pt x="127" y="146"/>
                    </a:lnTo>
                    <a:lnTo>
                      <a:pt x="255" y="73"/>
                    </a:lnTo>
                    <a:lnTo>
                      <a:pt x="1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55" name="ísḻïḓé"/>
              <p:cNvSpPr/>
              <p:nvPr/>
            </p:nvSpPr>
            <p:spPr bwMode="auto">
              <a:xfrm>
                <a:off x="2410" y="2276"/>
                <a:ext cx="128" cy="219"/>
              </a:xfrm>
              <a:custGeom>
                <a:avLst/>
                <a:gdLst>
                  <a:gd name="T0" fmla="*/ 0 w 128"/>
                  <a:gd name="T1" fmla="*/ 73 h 219"/>
                  <a:gd name="T2" fmla="*/ 128 w 128"/>
                  <a:gd name="T3" fmla="*/ 0 h 219"/>
                  <a:gd name="T4" fmla="*/ 128 w 128"/>
                  <a:gd name="T5" fmla="*/ 146 h 219"/>
                  <a:gd name="T6" fmla="*/ 0 w 128"/>
                  <a:gd name="T7" fmla="*/ 219 h 219"/>
                  <a:gd name="T8" fmla="*/ 0 w 128"/>
                  <a:gd name="T9" fmla="*/ 73 h 219"/>
                </a:gdLst>
                <a:ahLst/>
                <a:cxnLst>
                  <a:cxn ang="0">
                    <a:pos x="T0" y="T1"/>
                  </a:cxn>
                  <a:cxn ang="0">
                    <a:pos x="T2" y="T3"/>
                  </a:cxn>
                  <a:cxn ang="0">
                    <a:pos x="T4" y="T5"/>
                  </a:cxn>
                  <a:cxn ang="0">
                    <a:pos x="T6" y="T7"/>
                  </a:cxn>
                  <a:cxn ang="0">
                    <a:pos x="T8" y="T9"/>
                  </a:cxn>
                </a:cxnLst>
                <a:rect l="0" t="0" r="r" b="b"/>
                <a:pathLst>
                  <a:path w="128" h="219">
                    <a:moveTo>
                      <a:pt x="0" y="73"/>
                    </a:moveTo>
                    <a:lnTo>
                      <a:pt x="128" y="0"/>
                    </a:lnTo>
                    <a:lnTo>
                      <a:pt x="128" y="146"/>
                    </a:lnTo>
                    <a:lnTo>
                      <a:pt x="0" y="219"/>
                    </a:lnTo>
                    <a:lnTo>
                      <a:pt x="0" y="73"/>
                    </a:lnTo>
                    <a:close/>
                  </a:path>
                </a:pathLst>
              </a:custGeom>
              <a:solidFill>
                <a:srgbClr val="CF3A5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56" name="îṥ1îḍè"/>
              <p:cNvSpPr/>
              <p:nvPr/>
            </p:nvSpPr>
            <p:spPr bwMode="auto">
              <a:xfrm>
                <a:off x="1736" y="1616"/>
                <a:ext cx="336" cy="586"/>
              </a:xfrm>
              <a:custGeom>
                <a:avLst/>
                <a:gdLst>
                  <a:gd name="T0" fmla="*/ 336 w 336"/>
                  <a:gd name="T1" fmla="*/ 0 h 586"/>
                  <a:gd name="T2" fmla="*/ 0 w 336"/>
                  <a:gd name="T3" fmla="*/ 195 h 586"/>
                  <a:gd name="T4" fmla="*/ 0 w 336"/>
                  <a:gd name="T5" fmla="*/ 586 h 586"/>
                  <a:gd name="T6" fmla="*/ 336 w 336"/>
                  <a:gd name="T7" fmla="*/ 391 h 586"/>
                  <a:gd name="T8" fmla="*/ 336 w 336"/>
                  <a:gd name="T9" fmla="*/ 0 h 586"/>
                </a:gdLst>
                <a:ahLst/>
                <a:cxnLst>
                  <a:cxn ang="0">
                    <a:pos x="T0" y="T1"/>
                  </a:cxn>
                  <a:cxn ang="0">
                    <a:pos x="T2" y="T3"/>
                  </a:cxn>
                  <a:cxn ang="0">
                    <a:pos x="T4" y="T5"/>
                  </a:cxn>
                  <a:cxn ang="0">
                    <a:pos x="T6" y="T7"/>
                  </a:cxn>
                  <a:cxn ang="0">
                    <a:pos x="T8" y="T9"/>
                  </a:cxn>
                </a:cxnLst>
                <a:rect l="0" t="0" r="r" b="b"/>
                <a:pathLst>
                  <a:path w="336" h="586">
                    <a:moveTo>
                      <a:pt x="336" y="0"/>
                    </a:moveTo>
                    <a:lnTo>
                      <a:pt x="0" y="195"/>
                    </a:lnTo>
                    <a:lnTo>
                      <a:pt x="0" y="586"/>
                    </a:lnTo>
                    <a:lnTo>
                      <a:pt x="336" y="391"/>
                    </a:lnTo>
                    <a:lnTo>
                      <a:pt x="336" y="0"/>
                    </a:lnTo>
                    <a:close/>
                  </a:path>
                </a:pathLst>
              </a:custGeom>
              <a:solidFill>
                <a:srgbClr val="5CD2D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57" name="i$ļîḍe"/>
              <p:cNvSpPr/>
              <p:nvPr/>
            </p:nvSpPr>
            <p:spPr bwMode="auto">
              <a:xfrm>
                <a:off x="1736" y="1616"/>
                <a:ext cx="336" cy="586"/>
              </a:xfrm>
              <a:custGeom>
                <a:avLst/>
                <a:gdLst>
                  <a:gd name="T0" fmla="*/ 336 w 336"/>
                  <a:gd name="T1" fmla="*/ 0 h 586"/>
                  <a:gd name="T2" fmla="*/ 0 w 336"/>
                  <a:gd name="T3" fmla="*/ 195 h 586"/>
                  <a:gd name="T4" fmla="*/ 0 w 336"/>
                  <a:gd name="T5" fmla="*/ 586 h 586"/>
                  <a:gd name="T6" fmla="*/ 336 w 336"/>
                  <a:gd name="T7" fmla="*/ 391 h 586"/>
                  <a:gd name="T8" fmla="*/ 336 w 336"/>
                  <a:gd name="T9" fmla="*/ 0 h 586"/>
                </a:gdLst>
                <a:ahLst/>
                <a:cxnLst>
                  <a:cxn ang="0">
                    <a:pos x="T0" y="T1"/>
                  </a:cxn>
                  <a:cxn ang="0">
                    <a:pos x="T2" y="T3"/>
                  </a:cxn>
                  <a:cxn ang="0">
                    <a:pos x="T4" y="T5"/>
                  </a:cxn>
                  <a:cxn ang="0">
                    <a:pos x="T6" y="T7"/>
                  </a:cxn>
                  <a:cxn ang="0">
                    <a:pos x="T8" y="T9"/>
                  </a:cxn>
                </a:cxnLst>
                <a:rect l="0" t="0" r="r" b="b"/>
                <a:pathLst>
                  <a:path w="336" h="586">
                    <a:moveTo>
                      <a:pt x="336" y="0"/>
                    </a:moveTo>
                    <a:lnTo>
                      <a:pt x="0" y="195"/>
                    </a:lnTo>
                    <a:lnTo>
                      <a:pt x="0" y="586"/>
                    </a:lnTo>
                    <a:lnTo>
                      <a:pt x="336" y="391"/>
                    </a:lnTo>
                    <a:lnTo>
                      <a:pt x="33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58" name="íṣ1íḓê"/>
              <p:cNvSpPr/>
              <p:nvPr/>
            </p:nvSpPr>
            <p:spPr bwMode="auto">
              <a:xfrm>
                <a:off x="1736" y="1616"/>
                <a:ext cx="336" cy="586"/>
              </a:xfrm>
              <a:custGeom>
                <a:avLst/>
                <a:gdLst>
                  <a:gd name="T0" fmla="*/ 336 w 336"/>
                  <a:gd name="T1" fmla="*/ 0 h 586"/>
                  <a:gd name="T2" fmla="*/ 0 w 336"/>
                  <a:gd name="T3" fmla="*/ 195 h 586"/>
                  <a:gd name="T4" fmla="*/ 0 w 336"/>
                  <a:gd name="T5" fmla="*/ 586 h 586"/>
                  <a:gd name="T6" fmla="*/ 336 w 336"/>
                  <a:gd name="T7" fmla="*/ 391 h 586"/>
                  <a:gd name="T8" fmla="*/ 336 w 336"/>
                  <a:gd name="T9" fmla="*/ 0 h 586"/>
                </a:gdLst>
                <a:ahLst/>
                <a:cxnLst>
                  <a:cxn ang="0">
                    <a:pos x="T0" y="T1"/>
                  </a:cxn>
                  <a:cxn ang="0">
                    <a:pos x="T2" y="T3"/>
                  </a:cxn>
                  <a:cxn ang="0">
                    <a:pos x="T4" y="T5"/>
                  </a:cxn>
                  <a:cxn ang="0">
                    <a:pos x="T6" y="T7"/>
                  </a:cxn>
                  <a:cxn ang="0">
                    <a:pos x="T8" y="T9"/>
                  </a:cxn>
                </a:cxnLst>
                <a:rect l="0" t="0" r="r" b="b"/>
                <a:pathLst>
                  <a:path w="336" h="586">
                    <a:moveTo>
                      <a:pt x="336" y="0"/>
                    </a:moveTo>
                    <a:lnTo>
                      <a:pt x="0" y="195"/>
                    </a:lnTo>
                    <a:lnTo>
                      <a:pt x="0" y="586"/>
                    </a:lnTo>
                    <a:lnTo>
                      <a:pt x="336" y="391"/>
                    </a:lnTo>
                    <a:lnTo>
                      <a:pt x="336" y="0"/>
                    </a:lnTo>
                    <a:close/>
                  </a:path>
                </a:pathLst>
              </a:custGeom>
              <a:solidFill>
                <a:srgbClr val="21ADAD"/>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59" name="îṥḷïďè"/>
              <p:cNvSpPr/>
              <p:nvPr/>
            </p:nvSpPr>
            <p:spPr bwMode="auto">
              <a:xfrm>
                <a:off x="1736" y="1616"/>
                <a:ext cx="336" cy="586"/>
              </a:xfrm>
              <a:custGeom>
                <a:avLst/>
                <a:gdLst>
                  <a:gd name="T0" fmla="*/ 336 w 336"/>
                  <a:gd name="T1" fmla="*/ 0 h 586"/>
                  <a:gd name="T2" fmla="*/ 0 w 336"/>
                  <a:gd name="T3" fmla="*/ 195 h 586"/>
                  <a:gd name="T4" fmla="*/ 0 w 336"/>
                  <a:gd name="T5" fmla="*/ 586 h 586"/>
                  <a:gd name="T6" fmla="*/ 336 w 336"/>
                  <a:gd name="T7" fmla="*/ 391 h 586"/>
                  <a:gd name="T8" fmla="*/ 336 w 336"/>
                  <a:gd name="T9" fmla="*/ 0 h 586"/>
                </a:gdLst>
                <a:ahLst/>
                <a:cxnLst>
                  <a:cxn ang="0">
                    <a:pos x="T0" y="T1"/>
                  </a:cxn>
                  <a:cxn ang="0">
                    <a:pos x="T2" y="T3"/>
                  </a:cxn>
                  <a:cxn ang="0">
                    <a:pos x="T4" y="T5"/>
                  </a:cxn>
                  <a:cxn ang="0">
                    <a:pos x="T6" y="T7"/>
                  </a:cxn>
                  <a:cxn ang="0">
                    <a:pos x="T8" y="T9"/>
                  </a:cxn>
                </a:cxnLst>
                <a:rect l="0" t="0" r="r" b="b"/>
                <a:pathLst>
                  <a:path w="336" h="586">
                    <a:moveTo>
                      <a:pt x="336" y="0"/>
                    </a:moveTo>
                    <a:lnTo>
                      <a:pt x="0" y="195"/>
                    </a:lnTo>
                    <a:lnTo>
                      <a:pt x="0" y="586"/>
                    </a:lnTo>
                    <a:lnTo>
                      <a:pt x="336" y="391"/>
                    </a:lnTo>
                    <a:lnTo>
                      <a:pt x="33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60" name="îŝľïḑé"/>
              <p:cNvSpPr/>
              <p:nvPr/>
            </p:nvSpPr>
            <p:spPr bwMode="auto">
              <a:xfrm>
                <a:off x="1923" y="1893"/>
                <a:ext cx="81" cy="107"/>
              </a:xfrm>
              <a:custGeom>
                <a:avLst/>
                <a:gdLst>
                  <a:gd name="T0" fmla="*/ 48 w 48"/>
                  <a:gd name="T1" fmla="*/ 18 h 63"/>
                  <a:gd name="T2" fmla="*/ 24 w 48"/>
                  <a:gd name="T3" fmla="*/ 8 h 63"/>
                  <a:gd name="T4" fmla="*/ 0 w 48"/>
                  <a:gd name="T5" fmla="*/ 45 h 63"/>
                  <a:gd name="T6" fmla="*/ 24 w 48"/>
                  <a:gd name="T7" fmla="*/ 55 h 63"/>
                  <a:gd name="T8" fmla="*/ 48 w 48"/>
                  <a:gd name="T9" fmla="*/ 18 h 63"/>
                </a:gdLst>
                <a:ahLst/>
                <a:cxnLst>
                  <a:cxn ang="0">
                    <a:pos x="T0" y="T1"/>
                  </a:cxn>
                  <a:cxn ang="0">
                    <a:pos x="T2" y="T3"/>
                  </a:cxn>
                  <a:cxn ang="0">
                    <a:pos x="T4" y="T5"/>
                  </a:cxn>
                  <a:cxn ang="0">
                    <a:pos x="T6" y="T7"/>
                  </a:cxn>
                  <a:cxn ang="0">
                    <a:pos x="T8" y="T9"/>
                  </a:cxn>
                </a:cxnLst>
                <a:rect l="0" t="0" r="r" b="b"/>
                <a:pathLst>
                  <a:path w="48" h="63">
                    <a:moveTo>
                      <a:pt x="48" y="18"/>
                    </a:moveTo>
                    <a:cubicBezTo>
                      <a:pt x="48" y="5"/>
                      <a:pt x="37" y="0"/>
                      <a:pt x="24" y="8"/>
                    </a:cubicBezTo>
                    <a:cubicBezTo>
                      <a:pt x="11" y="15"/>
                      <a:pt x="0" y="32"/>
                      <a:pt x="0" y="45"/>
                    </a:cubicBezTo>
                    <a:cubicBezTo>
                      <a:pt x="0" y="58"/>
                      <a:pt x="11" y="63"/>
                      <a:pt x="24" y="55"/>
                    </a:cubicBezTo>
                    <a:cubicBezTo>
                      <a:pt x="37" y="48"/>
                      <a:pt x="48" y="31"/>
                      <a:pt x="48" y="18"/>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61" name="íšľîde"/>
              <p:cNvSpPr/>
              <p:nvPr/>
            </p:nvSpPr>
            <p:spPr bwMode="auto">
              <a:xfrm>
                <a:off x="1923" y="1735"/>
                <a:ext cx="81" cy="107"/>
              </a:xfrm>
              <a:custGeom>
                <a:avLst/>
                <a:gdLst>
                  <a:gd name="T0" fmla="*/ 48 w 48"/>
                  <a:gd name="T1" fmla="*/ 18 h 63"/>
                  <a:gd name="T2" fmla="*/ 24 w 48"/>
                  <a:gd name="T3" fmla="*/ 8 h 63"/>
                  <a:gd name="T4" fmla="*/ 0 w 48"/>
                  <a:gd name="T5" fmla="*/ 45 h 63"/>
                  <a:gd name="T6" fmla="*/ 24 w 48"/>
                  <a:gd name="T7" fmla="*/ 55 h 63"/>
                  <a:gd name="T8" fmla="*/ 48 w 48"/>
                  <a:gd name="T9" fmla="*/ 18 h 63"/>
                </a:gdLst>
                <a:ahLst/>
                <a:cxnLst>
                  <a:cxn ang="0">
                    <a:pos x="T0" y="T1"/>
                  </a:cxn>
                  <a:cxn ang="0">
                    <a:pos x="T2" y="T3"/>
                  </a:cxn>
                  <a:cxn ang="0">
                    <a:pos x="T4" y="T5"/>
                  </a:cxn>
                  <a:cxn ang="0">
                    <a:pos x="T6" y="T7"/>
                  </a:cxn>
                  <a:cxn ang="0">
                    <a:pos x="T8" y="T9"/>
                  </a:cxn>
                </a:cxnLst>
                <a:rect l="0" t="0" r="r" b="b"/>
                <a:pathLst>
                  <a:path w="48" h="63">
                    <a:moveTo>
                      <a:pt x="48" y="18"/>
                    </a:moveTo>
                    <a:cubicBezTo>
                      <a:pt x="48" y="5"/>
                      <a:pt x="37" y="0"/>
                      <a:pt x="24" y="8"/>
                    </a:cubicBezTo>
                    <a:cubicBezTo>
                      <a:pt x="11" y="15"/>
                      <a:pt x="0" y="32"/>
                      <a:pt x="0" y="45"/>
                    </a:cubicBezTo>
                    <a:cubicBezTo>
                      <a:pt x="0" y="59"/>
                      <a:pt x="11" y="63"/>
                      <a:pt x="24" y="55"/>
                    </a:cubicBezTo>
                    <a:cubicBezTo>
                      <a:pt x="37" y="48"/>
                      <a:pt x="48" y="31"/>
                      <a:pt x="48" y="18"/>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62" name="iS1íďê"/>
              <p:cNvSpPr/>
              <p:nvPr/>
            </p:nvSpPr>
            <p:spPr bwMode="auto">
              <a:xfrm>
                <a:off x="1792" y="1889"/>
                <a:ext cx="81" cy="107"/>
              </a:xfrm>
              <a:custGeom>
                <a:avLst/>
                <a:gdLst>
                  <a:gd name="T0" fmla="*/ 48 w 48"/>
                  <a:gd name="T1" fmla="*/ 18 h 63"/>
                  <a:gd name="T2" fmla="*/ 24 w 48"/>
                  <a:gd name="T3" fmla="*/ 8 h 63"/>
                  <a:gd name="T4" fmla="*/ 0 w 48"/>
                  <a:gd name="T5" fmla="*/ 45 h 63"/>
                  <a:gd name="T6" fmla="*/ 24 w 48"/>
                  <a:gd name="T7" fmla="*/ 55 h 63"/>
                  <a:gd name="T8" fmla="*/ 48 w 48"/>
                  <a:gd name="T9" fmla="*/ 18 h 63"/>
                </a:gdLst>
                <a:ahLst/>
                <a:cxnLst>
                  <a:cxn ang="0">
                    <a:pos x="T0" y="T1"/>
                  </a:cxn>
                  <a:cxn ang="0">
                    <a:pos x="T2" y="T3"/>
                  </a:cxn>
                  <a:cxn ang="0">
                    <a:pos x="T4" y="T5"/>
                  </a:cxn>
                  <a:cxn ang="0">
                    <a:pos x="T6" y="T7"/>
                  </a:cxn>
                  <a:cxn ang="0">
                    <a:pos x="T8" y="T9"/>
                  </a:cxn>
                </a:cxnLst>
                <a:rect l="0" t="0" r="r" b="b"/>
                <a:pathLst>
                  <a:path w="48" h="63">
                    <a:moveTo>
                      <a:pt x="48" y="18"/>
                    </a:moveTo>
                    <a:cubicBezTo>
                      <a:pt x="48" y="5"/>
                      <a:pt x="37" y="0"/>
                      <a:pt x="24" y="8"/>
                    </a:cubicBezTo>
                    <a:cubicBezTo>
                      <a:pt x="11" y="15"/>
                      <a:pt x="0" y="32"/>
                      <a:pt x="0" y="45"/>
                    </a:cubicBezTo>
                    <a:cubicBezTo>
                      <a:pt x="0" y="58"/>
                      <a:pt x="11" y="63"/>
                      <a:pt x="24" y="55"/>
                    </a:cubicBezTo>
                    <a:cubicBezTo>
                      <a:pt x="37" y="48"/>
                      <a:pt x="48" y="31"/>
                      <a:pt x="48" y="18"/>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63" name="ïṣľîḍe"/>
              <p:cNvSpPr/>
              <p:nvPr/>
            </p:nvSpPr>
            <p:spPr bwMode="auto">
              <a:xfrm>
                <a:off x="1829" y="1928"/>
                <a:ext cx="140" cy="33"/>
              </a:xfrm>
              <a:custGeom>
                <a:avLst/>
                <a:gdLst>
                  <a:gd name="T0" fmla="*/ 12 w 140"/>
                  <a:gd name="T1" fmla="*/ 0 h 33"/>
                  <a:gd name="T2" fmla="*/ 0 w 140"/>
                  <a:gd name="T3" fmla="*/ 29 h 33"/>
                  <a:gd name="T4" fmla="*/ 126 w 140"/>
                  <a:gd name="T5" fmla="*/ 33 h 33"/>
                  <a:gd name="T6" fmla="*/ 140 w 140"/>
                  <a:gd name="T7" fmla="*/ 4 h 33"/>
                  <a:gd name="T8" fmla="*/ 12 w 140"/>
                  <a:gd name="T9" fmla="*/ 0 h 33"/>
                </a:gdLst>
                <a:ahLst/>
                <a:cxnLst>
                  <a:cxn ang="0">
                    <a:pos x="T0" y="T1"/>
                  </a:cxn>
                  <a:cxn ang="0">
                    <a:pos x="T2" y="T3"/>
                  </a:cxn>
                  <a:cxn ang="0">
                    <a:pos x="T4" y="T5"/>
                  </a:cxn>
                  <a:cxn ang="0">
                    <a:pos x="T6" y="T7"/>
                  </a:cxn>
                  <a:cxn ang="0">
                    <a:pos x="T8" y="T9"/>
                  </a:cxn>
                </a:cxnLst>
                <a:rect l="0" t="0" r="r" b="b"/>
                <a:pathLst>
                  <a:path w="140" h="33">
                    <a:moveTo>
                      <a:pt x="12" y="0"/>
                    </a:moveTo>
                    <a:lnTo>
                      <a:pt x="0" y="29"/>
                    </a:lnTo>
                    <a:lnTo>
                      <a:pt x="126" y="33"/>
                    </a:lnTo>
                    <a:lnTo>
                      <a:pt x="140" y="4"/>
                    </a:lnTo>
                    <a:lnTo>
                      <a:pt x="12"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64" name="isľiḋe"/>
              <p:cNvSpPr/>
              <p:nvPr/>
            </p:nvSpPr>
            <p:spPr bwMode="auto">
              <a:xfrm>
                <a:off x="1829" y="1784"/>
                <a:ext cx="140" cy="163"/>
              </a:xfrm>
              <a:custGeom>
                <a:avLst/>
                <a:gdLst>
                  <a:gd name="T0" fmla="*/ 126 w 140"/>
                  <a:gd name="T1" fmla="*/ 0 h 163"/>
                  <a:gd name="T2" fmla="*/ 0 w 140"/>
                  <a:gd name="T3" fmla="*/ 150 h 163"/>
                  <a:gd name="T4" fmla="*/ 12 w 140"/>
                  <a:gd name="T5" fmla="*/ 163 h 163"/>
                  <a:gd name="T6" fmla="*/ 140 w 140"/>
                  <a:gd name="T7" fmla="*/ 14 h 163"/>
                  <a:gd name="T8" fmla="*/ 126 w 140"/>
                  <a:gd name="T9" fmla="*/ 0 h 163"/>
                </a:gdLst>
                <a:ahLst/>
                <a:cxnLst>
                  <a:cxn ang="0">
                    <a:pos x="T0" y="T1"/>
                  </a:cxn>
                  <a:cxn ang="0">
                    <a:pos x="T2" y="T3"/>
                  </a:cxn>
                  <a:cxn ang="0">
                    <a:pos x="T4" y="T5"/>
                  </a:cxn>
                  <a:cxn ang="0">
                    <a:pos x="T6" y="T7"/>
                  </a:cxn>
                  <a:cxn ang="0">
                    <a:pos x="T8" y="T9"/>
                  </a:cxn>
                </a:cxnLst>
                <a:rect l="0" t="0" r="r" b="b"/>
                <a:pathLst>
                  <a:path w="140" h="163">
                    <a:moveTo>
                      <a:pt x="126" y="0"/>
                    </a:moveTo>
                    <a:lnTo>
                      <a:pt x="0" y="150"/>
                    </a:lnTo>
                    <a:lnTo>
                      <a:pt x="12" y="163"/>
                    </a:lnTo>
                    <a:lnTo>
                      <a:pt x="140" y="14"/>
                    </a:lnTo>
                    <a:lnTo>
                      <a:pt x="126"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65" name="ïŝḷïdê"/>
              <p:cNvSpPr/>
              <p:nvPr/>
            </p:nvSpPr>
            <p:spPr bwMode="auto">
              <a:xfrm>
                <a:off x="2283" y="3737"/>
                <a:ext cx="678" cy="390"/>
              </a:xfrm>
              <a:custGeom>
                <a:avLst/>
                <a:gdLst>
                  <a:gd name="T0" fmla="*/ 0 w 678"/>
                  <a:gd name="T1" fmla="*/ 195 h 390"/>
                  <a:gd name="T2" fmla="*/ 340 w 678"/>
                  <a:gd name="T3" fmla="*/ 0 h 390"/>
                  <a:gd name="T4" fmla="*/ 678 w 678"/>
                  <a:gd name="T5" fmla="*/ 195 h 390"/>
                  <a:gd name="T6" fmla="*/ 340 w 678"/>
                  <a:gd name="T7" fmla="*/ 390 h 390"/>
                  <a:gd name="T8" fmla="*/ 0 w 678"/>
                  <a:gd name="T9" fmla="*/ 195 h 390"/>
                </a:gdLst>
                <a:ahLst/>
                <a:cxnLst>
                  <a:cxn ang="0">
                    <a:pos x="T0" y="T1"/>
                  </a:cxn>
                  <a:cxn ang="0">
                    <a:pos x="T2" y="T3"/>
                  </a:cxn>
                  <a:cxn ang="0">
                    <a:pos x="T4" y="T5"/>
                  </a:cxn>
                  <a:cxn ang="0">
                    <a:pos x="T6" y="T7"/>
                  </a:cxn>
                  <a:cxn ang="0">
                    <a:pos x="T8" y="T9"/>
                  </a:cxn>
                </a:cxnLst>
                <a:rect l="0" t="0" r="r" b="b"/>
                <a:pathLst>
                  <a:path w="678" h="390">
                    <a:moveTo>
                      <a:pt x="0" y="195"/>
                    </a:moveTo>
                    <a:lnTo>
                      <a:pt x="340" y="0"/>
                    </a:lnTo>
                    <a:lnTo>
                      <a:pt x="678" y="195"/>
                    </a:lnTo>
                    <a:lnTo>
                      <a:pt x="340" y="390"/>
                    </a:lnTo>
                    <a:lnTo>
                      <a:pt x="0" y="195"/>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66" name="ïśḷidé"/>
              <p:cNvSpPr/>
              <p:nvPr/>
            </p:nvSpPr>
            <p:spPr bwMode="auto">
              <a:xfrm>
                <a:off x="2283" y="3932"/>
                <a:ext cx="678" cy="244"/>
              </a:xfrm>
              <a:custGeom>
                <a:avLst/>
                <a:gdLst>
                  <a:gd name="T0" fmla="*/ 0 w 678"/>
                  <a:gd name="T1" fmla="*/ 0 h 244"/>
                  <a:gd name="T2" fmla="*/ 0 w 678"/>
                  <a:gd name="T3" fmla="*/ 49 h 244"/>
                  <a:gd name="T4" fmla="*/ 340 w 678"/>
                  <a:gd name="T5" fmla="*/ 244 h 244"/>
                  <a:gd name="T6" fmla="*/ 678 w 678"/>
                  <a:gd name="T7" fmla="*/ 49 h 244"/>
                  <a:gd name="T8" fmla="*/ 678 w 678"/>
                  <a:gd name="T9" fmla="*/ 0 h 244"/>
                  <a:gd name="T10" fmla="*/ 340 w 678"/>
                  <a:gd name="T11" fmla="*/ 195 h 244"/>
                  <a:gd name="T12" fmla="*/ 0 w 678"/>
                  <a:gd name="T13" fmla="*/ 0 h 244"/>
                </a:gdLst>
                <a:ahLst/>
                <a:cxnLst>
                  <a:cxn ang="0">
                    <a:pos x="T0" y="T1"/>
                  </a:cxn>
                  <a:cxn ang="0">
                    <a:pos x="T2" y="T3"/>
                  </a:cxn>
                  <a:cxn ang="0">
                    <a:pos x="T4" y="T5"/>
                  </a:cxn>
                  <a:cxn ang="0">
                    <a:pos x="T6" y="T7"/>
                  </a:cxn>
                  <a:cxn ang="0">
                    <a:pos x="T8" y="T9"/>
                  </a:cxn>
                  <a:cxn ang="0">
                    <a:pos x="T10" y="T11"/>
                  </a:cxn>
                  <a:cxn ang="0">
                    <a:pos x="T12" y="T13"/>
                  </a:cxn>
                </a:cxnLst>
                <a:rect l="0" t="0" r="r" b="b"/>
                <a:pathLst>
                  <a:path w="678" h="244">
                    <a:moveTo>
                      <a:pt x="0" y="0"/>
                    </a:moveTo>
                    <a:lnTo>
                      <a:pt x="0" y="49"/>
                    </a:lnTo>
                    <a:lnTo>
                      <a:pt x="340" y="244"/>
                    </a:lnTo>
                    <a:lnTo>
                      <a:pt x="678" y="49"/>
                    </a:lnTo>
                    <a:lnTo>
                      <a:pt x="678" y="0"/>
                    </a:lnTo>
                    <a:lnTo>
                      <a:pt x="340" y="195"/>
                    </a:lnTo>
                    <a:lnTo>
                      <a:pt x="0" y="0"/>
                    </a:lnTo>
                    <a:close/>
                  </a:path>
                </a:pathLst>
              </a:custGeom>
              <a:solidFill>
                <a:srgbClr val="E6E7E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67" name="îšľiḋé"/>
              <p:cNvSpPr/>
              <p:nvPr/>
            </p:nvSpPr>
            <p:spPr bwMode="auto">
              <a:xfrm>
                <a:off x="2623" y="3932"/>
                <a:ext cx="338" cy="244"/>
              </a:xfrm>
              <a:custGeom>
                <a:avLst/>
                <a:gdLst>
                  <a:gd name="T0" fmla="*/ 0 w 338"/>
                  <a:gd name="T1" fmla="*/ 195 h 244"/>
                  <a:gd name="T2" fmla="*/ 0 w 338"/>
                  <a:gd name="T3" fmla="*/ 244 h 244"/>
                  <a:gd name="T4" fmla="*/ 338 w 338"/>
                  <a:gd name="T5" fmla="*/ 49 h 244"/>
                  <a:gd name="T6" fmla="*/ 338 w 338"/>
                  <a:gd name="T7" fmla="*/ 0 h 244"/>
                  <a:gd name="T8" fmla="*/ 0 w 338"/>
                  <a:gd name="T9" fmla="*/ 195 h 244"/>
                </a:gdLst>
                <a:ahLst/>
                <a:cxnLst>
                  <a:cxn ang="0">
                    <a:pos x="T0" y="T1"/>
                  </a:cxn>
                  <a:cxn ang="0">
                    <a:pos x="T2" y="T3"/>
                  </a:cxn>
                  <a:cxn ang="0">
                    <a:pos x="T4" y="T5"/>
                  </a:cxn>
                  <a:cxn ang="0">
                    <a:pos x="T6" y="T7"/>
                  </a:cxn>
                  <a:cxn ang="0">
                    <a:pos x="T8" y="T9"/>
                  </a:cxn>
                </a:cxnLst>
                <a:rect l="0" t="0" r="r" b="b"/>
                <a:pathLst>
                  <a:path w="338" h="244">
                    <a:moveTo>
                      <a:pt x="0" y="195"/>
                    </a:moveTo>
                    <a:lnTo>
                      <a:pt x="0" y="244"/>
                    </a:lnTo>
                    <a:lnTo>
                      <a:pt x="338" y="49"/>
                    </a:lnTo>
                    <a:lnTo>
                      <a:pt x="338" y="0"/>
                    </a:lnTo>
                    <a:lnTo>
                      <a:pt x="0" y="195"/>
                    </a:lnTo>
                    <a:close/>
                  </a:path>
                </a:pathLst>
              </a:custGeom>
              <a:solidFill>
                <a:srgbClr val="D3D1D3"/>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68" name="îṡļïdè"/>
              <p:cNvSpPr/>
              <p:nvPr/>
            </p:nvSpPr>
            <p:spPr bwMode="auto">
              <a:xfrm>
                <a:off x="1692" y="1788"/>
                <a:ext cx="44" cy="414"/>
              </a:xfrm>
              <a:custGeom>
                <a:avLst/>
                <a:gdLst>
                  <a:gd name="T0" fmla="*/ 44 w 44"/>
                  <a:gd name="T1" fmla="*/ 414 h 414"/>
                  <a:gd name="T2" fmla="*/ 0 w 44"/>
                  <a:gd name="T3" fmla="*/ 388 h 414"/>
                  <a:gd name="T4" fmla="*/ 0 w 44"/>
                  <a:gd name="T5" fmla="*/ 0 h 414"/>
                  <a:gd name="T6" fmla="*/ 44 w 44"/>
                  <a:gd name="T7" fmla="*/ 23 h 414"/>
                  <a:gd name="T8" fmla="*/ 44 w 44"/>
                  <a:gd name="T9" fmla="*/ 414 h 414"/>
                </a:gdLst>
                <a:ahLst/>
                <a:cxnLst>
                  <a:cxn ang="0">
                    <a:pos x="T0" y="T1"/>
                  </a:cxn>
                  <a:cxn ang="0">
                    <a:pos x="T2" y="T3"/>
                  </a:cxn>
                  <a:cxn ang="0">
                    <a:pos x="T4" y="T5"/>
                  </a:cxn>
                  <a:cxn ang="0">
                    <a:pos x="T6" y="T7"/>
                  </a:cxn>
                  <a:cxn ang="0">
                    <a:pos x="T8" y="T9"/>
                  </a:cxn>
                </a:cxnLst>
                <a:rect l="0" t="0" r="r" b="b"/>
                <a:pathLst>
                  <a:path w="44" h="414">
                    <a:moveTo>
                      <a:pt x="44" y="414"/>
                    </a:moveTo>
                    <a:lnTo>
                      <a:pt x="0" y="388"/>
                    </a:lnTo>
                    <a:lnTo>
                      <a:pt x="0" y="0"/>
                    </a:lnTo>
                    <a:lnTo>
                      <a:pt x="44" y="23"/>
                    </a:lnTo>
                    <a:lnTo>
                      <a:pt x="44" y="414"/>
                    </a:lnTo>
                    <a:close/>
                  </a:path>
                </a:pathLst>
              </a:custGeom>
              <a:solidFill>
                <a:srgbClr val="5CD2D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69" name="ïşlíďè"/>
              <p:cNvSpPr/>
              <p:nvPr/>
            </p:nvSpPr>
            <p:spPr bwMode="auto">
              <a:xfrm>
                <a:off x="1692" y="1788"/>
                <a:ext cx="44" cy="414"/>
              </a:xfrm>
              <a:custGeom>
                <a:avLst/>
                <a:gdLst>
                  <a:gd name="T0" fmla="*/ 44 w 44"/>
                  <a:gd name="T1" fmla="*/ 414 h 414"/>
                  <a:gd name="T2" fmla="*/ 0 w 44"/>
                  <a:gd name="T3" fmla="*/ 388 h 414"/>
                  <a:gd name="T4" fmla="*/ 0 w 44"/>
                  <a:gd name="T5" fmla="*/ 0 h 414"/>
                  <a:gd name="T6" fmla="*/ 44 w 44"/>
                  <a:gd name="T7" fmla="*/ 23 h 414"/>
                  <a:gd name="T8" fmla="*/ 44 w 44"/>
                  <a:gd name="T9" fmla="*/ 414 h 414"/>
                </a:gdLst>
                <a:ahLst/>
                <a:cxnLst>
                  <a:cxn ang="0">
                    <a:pos x="T0" y="T1"/>
                  </a:cxn>
                  <a:cxn ang="0">
                    <a:pos x="T2" y="T3"/>
                  </a:cxn>
                  <a:cxn ang="0">
                    <a:pos x="T4" y="T5"/>
                  </a:cxn>
                  <a:cxn ang="0">
                    <a:pos x="T6" y="T7"/>
                  </a:cxn>
                  <a:cxn ang="0">
                    <a:pos x="T8" y="T9"/>
                  </a:cxn>
                </a:cxnLst>
                <a:rect l="0" t="0" r="r" b="b"/>
                <a:pathLst>
                  <a:path w="44" h="414">
                    <a:moveTo>
                      <a:pt x="44" y="414"/>
                    </a:moveTo>
                    <a:lnTo>
                      <a:pt x="0" y="388"/>
                    </a:lnTo>
                    <a:lnTo>
                      <a:pt x="0" y="0"/>
                    </a:lnTo>
                    <a:lnTo>
                      <a:pt x="44" y="23"/>
                    </a:lnTo>
                    <a:lnTo>
                      <a:pt x="44" y="4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70" name="iṡļíḑè"/>
              <p:cNvSpPr/>
              <p:nvPr/>
            </p:nvSpPr>
            <p:spPr bwMode="auto">
              <a:xfrm>
                <a:off x="4164" y="3553"/>
                <a:ext cx="0" cy="50"/>
              </a:xfrm>
              <a:custGeom>
                <a:avLst/>
                <a:gdLst>
                  <a:gd name="T0" fmla="*/ 0 h 50"/>
                  <a:gd name="T1" fmla="*/ 50 h 50"/>
                  <a:gd name="T2" fmla="*/ 0 h 50"/>
                </a:gdLst>
                <a:ahLst/>
                <a:cxnLst>
                  <a:cxn ang="0">
                    <a:pos x="0" y="T0"/>
                  </a:cxn>
                  <a:cxn ang="0">
                    <a:pos x="0" y="T1"/>
                  </a:cxn>
                  <a:cxn ang="0">
                    <a:pos x="0" y="T2"/>
                  </a:cxn>
                </a:cxnLst>
                <a:rect l="0" t="0" r="r" b="b"/>
                <a:pathLst>
                  <a:path h="50">
                    <a:moveTo>
                      <a:pt x="0" y="0"/>
                    </a:moveTo>
                    <a:lnTo>
                      <a:pt x="0" y="50"/>
                    </a:lnTo>
                    <a:lnTo>
                      <a:pt x="0" y="0"/>
                    </a:lnTo>
                    <a:close/>
                  </a:path>
                </a:pathLst>
              </a:custGeom>
              <a:solidFill>
                <a:srgbClr val="8B909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71" name="íṡḻíḍé"/>
              <p:cNvSpPr/>
              <p:nvPr/>
            </p:nvSpPr>
            <p:spPr bwMode="auto">
              <a:xfrm>
                <a:off x="4164" y="3553"/>
                <a:ext cx="0" cy="50"/>
              </a:xfrm>
              <a:custGeom>
                <a:avLst/>
                <a:gdLst>
                  <a:gd name="T0" fmla="*/ 0 h 50"/>
                  <a:gd name="T1" fmla="*/ 50 h 50"/>
                  <a:gd name="T2" fmla="*/ 0 h 50"/>
                </a:gdLst>
                <a:ahLst/>
                <a:cxnLst>
                  <a:cxn ang="0">
                    <a:pos x="0" y="T0"/>
                  </a:cxn>
                  <a:cxn ang="0">
                    <a:pos x="0" y="T1"/>
                  </a:cxn>
                  <a:cxn ang="0">
                    <a:pos x="0" y="T2"/>
                  </a:cxn>
                </a:cxnLst>
                <a:rect l="0" t="0" r="r" b="b"/>
                <a:pathLst>
                  <a:path h="50">
                    <a:moveTo>
                      <a:pt x="0" y="0"/>
                    </a:moveTo>
                    <a:lnTo>
                      <a:pt x="0" y="5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72" name="iŝļïďè"/>
              <p:cNvSpPr/>
              <p:nvPr/>
            </p:nvSpPr>
            <p:spPr bwMode="auto">
              <a:xfrm>
                <a:off x="4186" y="3299"/>
                <a:ext cx="465" cy="315"/>
              </a:xfrm>
              <a:custGeom>
                <a:avLst/>
                <a:gdLst>
                  <a:gd name="T0" fmla="*/ 465 w 465"/>
                  <a:gd name="T1" fmla="*/ 0 h 315"/>
                  <a:gd name="T2" fmla="*/ 0 w 465"/>
                  <a:gd name="T3" fmla="*/ 268 h 315"/>
                  <a:gd name="T4" fmla="*/ 0 w 465"/>
                  <a:gd name="T5" fmla="*/ 315 h 315"/>
                  <a:gd name="T6" fmla="*/ 465 w 465"/>
                  <a:gd name="T7" fmla="*/ 47 h 315"/>
                  <a:gd name="T8" fmla="*/ 465 w 465"/>
                  <a:gd name="T9" fmla="*/ 0 h 315"/>
                </a:gdLst>
                <a:ahLst/>
                <a:cxnLst>
                  <a:cxn ang="0">
                    <a:pos x="T0" y="T1"/>
                  </a:cxn>
                  <a:cxn ang="0">
                    <a:pos x="T2" y="T3"/>
                  </a:cxn>
                  <a:cxn ang="0">
                    <a:pos x="T4" y="T5"/>
                  </a:cxn>
                  <a:cxn ang="0">
                    <a:pos x="T6" y="T7"/>
                  </a:cxn>
                  <a:cxn ang="0">
                    <a:pos x="T8" y="T9"/>
                  </a:cxn>
                </a:cxnLst>
                <a:rect l="0" t="0" r="r" b="b"/>
                <a:pathLst>
                  <a:path w="465" h="315">
                    <a:moveTo>
                      <a:pt x="465" y="0"/>
                    </a:moveTo>
                    <a:lnTo>
                      <a:pt x="0" y="268"/>
                    </a:lnTo>
                    <a:lnTo>
                      <a:pt x="0" y="315"/>
                    </a:lnTo>
                    <a:lnTo>
                      <a:pt x="465" y="47"/>
                    </a:lnTo>
                    <a:lnTo>
                      <a:pt x="465" y="0"/>
                    </a:lnTo>
                    <a:close/>
                  </a:path>
                </a:pathLst>
              </a:custGeom>
              <a:solidFill>
                <a:srgbClr val="46636C"/>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73" name="îSḻïḍê"/>
              <p:cNvSpPr/>
              <p:nvPr/>
            </p:nvSpPr>
            <p:spPr bwMode="auto">
              <a:xfrm>
                <a:off x="4186" y="3299"/>
                <a:ext cx="465" cy="315"/>
              </a:xfrm>
              <a:custGeom>
                <a:avLst/>
                <a:gdLst>
                  <a:gd name="T0" fmla="*/ 465 w 465"/>
                  <a:gd name="T1" fmla="*/ 0 h 315"/>
                  <a:gd name="T2" fmla="*/ 0 w 465"/>
                  <a:gd name="T3" fmla="*/ 268 h 315"/>
                  <a:gd name="T4" fmla="*/ 0 w 465"/>
                  <a:gd name="T5" fmla="*/ 315 h 315"/>
                  <a:gd name="T6" fmla="*/ 465 w 465"/>
                  <a:gd name="T7" fmla="*/ 47 h 315"/>
                  <a:gd name="T8" fmla="*/ 465 w 465"/>
                  <a:gd name="T9" fmla="*/ 0 h 315"/>
                </a:gdLst>
                <a:ahLst/>
                <a:cxnLst>
                  <a:cxn ang="0">
                    <a:pos x="T0" y="T1"/>
                  </a:cxn>
                  <a:cxn ang="0">
                    <a:pos x="T2" y="T3"/>
                  </a:cxn>
                  <a:cxn ang="0">
                    <a:pos x="T4" y="T5"/>
                  </a:cxn>
                  <a:cxn ang="0">
                    <a:pos x="T6" y="T7"/>
                  </a:cxn>
                  <a:cxn ang="0">
                    <a:pos x="T8" y="T9"/>
                  </a:cxn>
                </a:cxnLst>
                <a:rect l="0" t="0" r="r" b="b"/>
                <a:pathLst>
                  <a:path w="465" h="315">
                    <a:moveTo>
                      <a:pt x="465" y="0"/>
                    </a:moveTo>
                    <a:lnTo>
                      <a:pt x="0" y="268"/>
                    </a:lnTo>
                    <a:lnTo>
                      <a:pt x="0" y="315"/>
                    </a:lnTo>
                    <a:lnTo>
                      <a:pt x="465" y="47"/>
                    </a:lnTo>
                    <a:lnTo>
                      <a:pt x="46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74" name="îsļíďe"/>
              <p:cNvSpPr/>
              <p:nvPr/>
            </p:nvSpPr>
            <p:spPr bwMode="auto">
              <a:xfrm>
                <a:off x="4164" y="3553"/>
                <a:ext cx="22" cy="61"/>
              </a:xfrm>
              <a:custGeom>
                <a:avLst/>
                <a:gdLst>
                  <a:gd name="T0" fmla="*/ 0 w 22"/>
                  <a:gd name="T1" fmla="*/ 0 h 61"/>
                  <a:gd name="T2" fmla="*/ 0 w 22"/>
                  <a:gd name="T3" fmla="*/ 50 h 61"/>
                  <a:gd name="T4" fmla="*/ 22 w 22"/>
                  <a:gd name="T5" fmla="*/ 61 h 61"/>
                  <a:gd name="T6" fmla="*/ 22 w 22"/>
                  <a:gd name="T7" fmla="*/ 14 h 61"/>
                  <a:gd name="T8" fmla="*/ 0 w 22"/>
                  <a:gd name="T9" fmla="*/ 0 h 61"/>
                </a:gdLst>
                <a:ahLst/>
                <a:cxnLst>
                  <a:cxn ang="0">
                    <a:pos x="T0" y="T1"/>
                  </a:cxn>
                  <a:cxn ang="0">
                    <a:pos x="T2" y="T3"/>
                  </a:cxn>
                  <a:cxn ang="0">
                    <a:pos x="T4" y="T5"/>
                  </a:cxn>
                  <a:cxn ang="0">
                    <a:pos x="T6" y="T7"/>
                  </a:cxn>
                  <a:cxn ang="0">
                    <a:pos x="T8" y="T9"/>
                  </a:cxn>
                </a:cxnLst>
                <a:rect l="0" t="0" r="r" b="b"/>
                <a:pathLst>
                  <a:path w="22" h="61">
                    <a:moveTo>
                      <a:pt x="0" y="0"/>
                    </a:moveTo>
                    <a:lnTo>
                      <a:pt x="0" y="50"/>
                    </a:lnTo>
                    <a:lnTo>
                      <a:pt x="22" y="61"/>
                    </a:lnTo>
                    <a:lnTo>
                      <a:pt x="22" y="14"/>
                    </a:lnTo>
                    <a:lnTo>
                      <a:pt x="0" y="0"/>
                    </a:lnTo>
                    <a:close/>
                  </a:path>
                </a:pathLst>
              </a:custGeom>
              <a:solidFill>
                <a:srgbClr val="68818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75" name="íṥľídé"/>
              <p:cNvSpPr/>
              <p:nvPr/>
            </p:nvSpPr>
            <p:spPr bwMode="auto">
              <a:xfrm>
                <a:off x="4164" y="3553"/>
                <a:ext cx="22" cy="61"/>
              </a:xfrm>
              <a:custGeom>
                <a:avLst/>
                <a:gdLst>
                  <a:gd name="T0" fmla="*/ 0 w 22"/>
                  <a:gd name="T1" fmla="*/ 0 h 61"/>
                  <a:gd name="T2" fmla="*/ 0 w 22"/>
                  <a:gd name="T3" fmla="*/ 50 h 61"/>
                  <a:gd name="T4" fmla="*/ 22 w 22"/>
                  <a:gd name="T5" fmla="*/ 61 h 61"/>
                  <a:gd name="T6" fmla="*/ 22 w 22"/>
                  <a:gd name="T7" fmla="*/ 14 h 61"/>
                  <a:gd name="T8" fmla="*/ 0 w 22"/>
                  <a:gd name="T9" fmla="*/ 0 h 61"/>
                </a:gdLst>
                <a:ahLst/>
                <a:cxnLst>
                  <a:cxn ang="0">
                    <a:pos x="T0" y="T1"/>
                  </a:cxn>
                  <a:cxn ang="0">
                    <a:pos x="T2" y="T3"/>
                  </a:cxn>
                  <a:cxn ang="0">
                    <a:pos x="T4" y="T5"/>
                  </a:cxn>
                  <a:cxn ang="0">
                    <a:pos x="T6" y="T7"/>
                  </a:cxn>
                  <a:cxn ang="0">
                    <a:pos x="T8" y="T9"/>
                  </a:cxn>
                </a:cxnLst>
                <a:rect l="0" t="0" r="r" b="b"/>
                <a:pathLst>
                  <a:path w="22" h="61">
                    <a:moveTo>
                      <a:pt x="0" y="0"/>
                    </a:moveTo>
                    <a:lnTo>
                      <a:pt x="0" y="50"/>
                    </a:lnTo>
                    <a:lnTo>
                      <a:pt x="22" y="61"/>
                    </a:lnTo>
                    <a:lnTo>
                      <a:pt x="22" y="1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76" name="ïśliḓê"/>
              <p:cNvSpPr/>
              <p:nvPr/>
            </p:nvSpPr>
            <p:spPr bwMode="auto">
              <a:xfrm>
                <a:off x="4164" y="3285"/>
                <a:ext cx="487" cy="282"/>
              </a:xfrm>
              <a:custGeom>
                <a:avLst/>
                <a:gdLst>
                  <a:gd name="T0" fmla="*/ 465 w 487"/>
                  <a:gd name="T1" fmla="*/ 0 h 282"/>
                  <a:gd name="T2" fmla="*/ 0 w 487"/>
                  <a:gd name="T3" fmla="*/ 268 h 282"/>
                  <a:gd name="T4" fmla="*/ 22 w 487"/>
                  <a:gd name="T5" fmla="*/ 282 h 282"/>
                  <a:gd name="T6" fmla="*/ 487 w 487"/>
                  <a:gd name="T7" fmla="*/ 14 h 282"/>
                  <a:gd name="T8" fmla="*/ 465 w 487"/>
                  <a:gd name="T9" fmla="*/ 0 h 282"/>
                </a:gdLst>
                <a:ahLst/>
                <a:cxnLst>
                  <a:cxn ang="0">
                    <a:pos x="T0" y="T1"/>
                  </a:cxn>
                  <a:cxn ang="0">
                    <a:pos x="T2" y="T3"/>
                  </a:cxn>
                  <a:cxn ang="0">
                    <a:pos x="T4" y="T5"/>
                  </a:cxn>
                  <a:cxn ang="0">
                    <a:pos x="T6" y="T7"/>
                  </a:cxn>
                  <a:cxn ang="0">
                    <a:pos x="T8" y="T9"/>
                  </a:cxn>
                </a:cxnLst>
                <a:rect l="0" t="0" r="r" b="b"/>
                <a:pathLst>
                  <a:path w="487" h="282">
                    <a:moveTo>
                      <a:pt x="465" y="0"/>
                    </a:moveTo>
                    <a:lnTo>
                      <a:pt x="0" y="268"/>
                    </a:lnTo>
                    <a:lnTo>
                      <a:pt x="22" y="282"/>
                    </a:lnTo>
                    <a:lnTo>
                      <a:pt x="487" y="14"/>
                    </a:lnTo>
                    <a:lnTo>
                      <a:pt x="465" y="0"/>
                    </a:lnTo>
                    <a:close/>
                  </a:path>
                </a:pathLst>
              </a:custGeom>
              <a:solidFill>
                <a:srgbClr val="849DA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77" name="îṡḻïḓè"/>
              <p:cNvSpPr/>
              <p:nvPr/>
            </p:nvSpPr>
            <p:spPr bwMode="auto">
              <a:xfrm>
                <a:off x="4164" y="3285"/>
                <a:ext cx="487" cy="282"/>
              </a:xfrm>
              <a:custGeom>
                <a:avLst/>
                <a:gdLst>
                  <a:gd name="T0" fmla="*/ 465 w 487"/>
                  <a:gd name="T1" fmla="*/ 0 h 282"/>
                  <a:gd name="T2" fmla="*/ 0 w 487"/>
                  <a:gd name="T3" fmla="*/ 268 h 282"/>
                  <a:gd name="T4" fmla="*/ 22 w 487"/>
                  <a:gd name="T5" fmla="*/ 282 h 282"/>
                  <a:gd name="T6" fmla="*/ 487 w 487"/>
                  <a:gd name="T7" fmla="*/ 14 h 282"/>
                  <a:gd name="T8" fmla="*/ 465 w 487"/>
                  <a:gd name="T9" fmla="*/ 0 h 282"/>
                </a:gdLst>
                <a:ahLst/>
                <a:cxnLst>
                  <a:cxn ang="0">
                    <a:pos x="T0" y="T1"/>
                  </a:cxn>
                  <a:cxn ang="0">
                    <a:pos x="T2" y="T3"/>
                  </a:cxn>
                  <a:cxn ang="0">
                    <a:pos x="T4" y="T5"/>
                  </a:cxn>
                  <a:cxn ang="0">
                    <a:pos x="T6" y="T7"/>
                  </a:cxn>
                  <a:cxn ang="0">
                    <a:pos x="T8" y="T9"/>
                  </a:cxn>
                </a:cxnLst>
                <a:rect l="0" t="0" r="r" b="b"/>
                <a:pathLst>
                  <a:path w="487" h="282">
                    <a:moveTo>
                      <a:pt x="465" y="0"/>
                    </a:moveTo>
                    <a:lnTo>
                      <a:pt x="0" y="268"/>
                    </a:lnTo>
                    <a:lnTo>
                      <a:pt x="22" y="282"/>
                    </a:lnTo>
                    <a:lnTo>
                      <a:pt x="487" y="14"/>
                    </a:lnTo>
                    <a:lnTo>
                      <a:pt x="46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78" name="îş1ïḓê"/>
              <p:cNvSpPr/>
              <p:nvPr/>
            </p:nvSpPr>
            <p:spPr bwMode="auto">
              <a:xfrm>
                <a:off x="4102" y="3250"/>
                <a:ext cx="466" cy="317"/>
              </a:xfrm>
              <a:custGeom>
                <a:avLst/>
                <a:gdLst>
                  <a:gd name="T0" fmla="*/ 466 w 466"/>
                  <a:gd name="T1" fmla="*/ 0 h 317"/>
                  <a:gd name="T2" fmla="*/ 0 w 466"/>
                  <a:gd name="T3" fmla="*/ 268 h 317"/>
                  <a:gd name="T4" fmla="*/ 0 w 466"/>
                  <a:gd name="T5" fmla="*/ 317 h 317"/>
                  <a:gd name="T6" fmla="*/ 466 w 466"/>
                  <a:gd name="T7" fmla="*/ 49 h 317"/>
                  <a:gd name="T8" fmla="*/ 466 w 466"/>
                  <a:gd name="T9" fmla="*/ 0 h 317"/>
                </a:gdLst>
                <a:ahLst/>
                <a:cxnLst>
                  <a:cxn ang="0">
                    <a:pos x="T0" y="T1"/>
                  </a:cxn>
                  <a:cxn ang="0">
                    <a:pos x="T2" y="T3"/>
                  </a:cxn>
                  <a:cxn ang="0">
                    <a:pos x="T4" y="T5"/>
                  </a:cxn>
                  <a:cxn ang="0">
                    <a:pos x="T6" y="T7"/>
                  </a:cxn>
                  <a:cxn ang="0">
                    <a:pos x="T8" y="T9"/>
                  </a:cxn>
                </a:cxnLst>
                <a:rect l="0" t="0" r="r" b="b"/>
                <a:pathLst>
                  <a:path w="466" h="317">
                    <a:moveTo>
                      <a:pt x="466" y="0"/>
                    </a:moveTo>
                    <a:lnTo>
                      <a:pt x="0" y="268"/>
                    </a:lnTo>
                    <a:lnTo>
                      <a:pt x="0" y="317"/>
                    </a:lnTo>
                    <a:lnTo>
                      <a:pt x="466" y="49"/>
                    </a:lnTo>
                    <a:lnTo>
                      <a:pt x="466" y="0"/>
                    </a:lnTo>
                    <a:close/>
                  </a:path>
                </a:pathLst>
              </a:custGeom>
              <a:solidFill>
                <a:srgbClr val="46636C"/>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79" name="íśḻïḑé"/>
              <p:cNvSpPr/>
              <p:nvPr/>
            </p:nvSpPr>
            <p:spPr bwMode="auto">
              <a:xfrm>
                <a:off x="4102" y="3250"/>
                <a:ext cx="466" cy="317"/>
              </a:xfrm>
              <a:custGeom>
                <a:avLst/>
                <a:gdLst>
                  <a:gd name="T0" fmla="*/ 466 w 466"/>
                  <a:gd name="T1" fmla="*/ 0 h 317"/>
                  <a:gd name="T2" fmla="*/ 0 w 466"/>
                  <a:gd name="T3" fmla="*/ 268 h 317"/>
                  <a:gd name="T4" fmla="*/ 0 w 466"/>
                  <a:gd name="T5" fmla="*/ 317 h 317"/>
                  <a:gd name="T6" fmla="*/ 466 w 466"/>
                  <a:gd name="T7" fmla="*/ 49 h 317"/>
                  <a:gd name="T8" fmla="*/ 466 w 466"/>
                  <a:gd name="T9" fmla="*/ 0 h 317"/>
                </a:gdLst>
                <a:ahLst/>
                <a:cxnLst>
                  <a:cxn ang="0">
                    <a:pos x="T0" y="T1"/>
                  </a:cxn>
                  <a:cxn ang="0">
                    <a:pos x="T2" y="T3"/>
                  </a:cxn>
                  <a:cxn ang="0">
                    <a:pos x="T4" y="T5"/>
                  </a:cxn>
                  <a:cxn ang="0">
                    <a:pos x="T6" y="T7"/>
                  </a:cxn>
                  <a:cxn ang="0">
                    <a:pos x="T8" y="T9"/>
                  </a:cxn>
                </a:cxnLst>
                <a:rect l="0" t="0" r="r" b="b"/>
                <a:pathLst>
                  <a:path w="466" h="317">
                    <a:moveTo>
                      <a:pt x="466" y="0"/>
                    </a:moveTo>
                    <a:lnTo>
                      <a:pt x="0" y="268"/>
                    </a:lnTo>
                    <a:lnTo>
                      <a:pt x="0" y="317"/>
                    </a:lnTo>
                    <a:lnTo>
                      <a:pt x="466" y="49"/>
                    </a:lnTo>
                    <a:lnTo>
                      <a:pt x="46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80" name="ïšľïḓê"/>
              <p:cNvSpPr/>
              <p:nvPr/>
            </p:nvSpPr>
            <p:spPr bwMode="auto">
              <a:xfrm>
                <a:off x="4080" y="3506"/>
                <a:ext cx="22" cy="61"/>
              </a:xfrm>
              <a:custGeom>
                <a:avLst/>
                <a:gdLst>
                  <a:gd name="T0" fmla="*/ 0 w 22"/>
                  <a:gd name="T1" fmla="*/ 0 h 61"/>
                  <a:gd name="T2" fmla="*/ 0 w 22"/>
                  <a:gd name="T3" fmla="*/ 47 h 61"/>
                  <a:gd name="T4" fmla="*/ 22 w 22"/>
                  <a:gd name="T5" fmla="*/ 61 h 61"/>
                  <a:gd name="T6" fmla="*/ 22 w 22"/>
                  <a:gd name="T7" fmla="*/ 12 h 61"/>
                  <a:gd name="T8" fmla="*/ 0 w 22"/>
                  <a:gd name="T9" fmla="*/ 0 h 61"/>
                </a:gdLst>
                <a:ahLst/>
                <a:cxnLst>
                  <a:cxn ang="0">
                    <a:pos x="T0" y="T1"/>
                  </a:cxn>
                  <a:cxn ang="0">
                    <a:pos x="T2" y="T3"/>
                  </a:cxn>
                  <a:cxn ang="0">
                    <a:pos x="T4" y="T5"/>
                  </a:cxn>
                  <a:cxn ang="0">
                    <a:pos x="T6" y="T7"/>
                  </a:cxn>
                  <a:cxn ang="0">
                    <a:pos x="T8" y="T9"/>
                  </a:cxn>
                </a:cxnLst>
                <a:rect l="0" t="0" r="r" b="b"/>
                <a:pathLst>
                  <a:path w="22" h="61">
                    <a:moveTo>
                      <a:pt x="0" y="0"/>
                    </a:moveTo>
                    <a:lnTo>
                      <a:pt x="0" y="47"/>
                    </a:lnTo>
                    <a:lnTo>
                      <a:pt x="22" y="61"/>
                    </a:lnTo>
                    <a:lnTo>
                      <a:pt x="22" y="12"/>
                    </a:lnTo>
                    <a:lnTo>
                      <a:pt x="0" y="0"/>
                    </a:lnTo>
                    <a:close/>
                  </a:path>
                </a:pathLst>
              </a:custGeom>
              <a:solidFill>
                <a:srgbClr val="68818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81" name="íšļïdé"/>
              <p:cNvSpPr/>
              <p:nvPr/>
            </p:nvSpPr>
            <p:spPr bwMode="auto">
              <a:xfrm>
                <a:off x="4080" y="3506"/>
                <a:ext cx="22" cy="61"/>
              </a:xfrm>
              <a:custGeom>
                <a:avLst/>
                <a:gdLst>
                  <a:gd name="T0" fmla="*/ 0 w 22"/>
                  <a:gd name="T1" fmla="*/ 0 h 61"/>
                  <a:gd name="T2" fmla="*/ 0 w 22"/>
                  <a:gd name="T3" fmla="*/ 47 h 61"/>
                  <a:gd name="T4" fmla="*/ 22 w 22"/>
                  <a:gd name="T5" fmla="*/ 61 h 61"/>
                  <a:gd name="T6" fmla="*/ 22 w 22"/>
                  <a:gd name="T7" fmla="*/ 12 h 61"/>
                  <a:gd name="T8" fmla="*/ 0 w 22"/>
                  <a:gd name="T9" fmla="*/ 0 h 61"/>
                </a:gdLst>
                <a:ahLst/>
                <a:cxnLst>
                  <a:cxn ang="0">
                    <a:pos x="T0" y="T1"/>
                  </a:cxn>
                  <a:cxn ang="0">
                    <a:pos x="T2" y="T3"/>
                  </a:cxn>
                  <a:cxn ang="0">
                    <a:pos x="T4" y="T5"/>
                  </a:cxn>
                  <a:cxn ang="0">
                    <a:pos x="T6" y="T7"/>
                  </a:cxn>
                  <a:cxn ang="0">
                    <a:pos x="T8" y="T9"/>
                  </a:cxn>
                </a:cxnLst>
                <a:rect l="0" t="0" r="r" b="b"/>
                <a:pathLst>
                  <a:path w="22" h="61">
                    <a:moveTo>
                      <a:pt x="0" y="0"/>
                    </a:moveTo>
                    <a:lnTo>
                      <a:pt x="0" y="47"/>
                    </a:lnTo>
                    <a:lnTo>
                      <a:pt x="22" y="61"/>
                    </a:lnTo>
                    <a:lnTo>
                      <a:pt x="22" y="1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82" name="íṩľide"/>
              <p:cNvSpPr/>
              <p:nvPr/>
            </p:nvSpPr>
            <p:spPr bwMode="auto">
              <a:xfrm>
                <a:off x="4080" y="3238"/>
                <a:ext cx="488" cy="280"/>
              </a:xfrm>
              <a:custGeom>
                <a:avLst/>
                <a:gdLst>
                  <a:gd name="T0" fmla="*/ 464 w 488"/>
                  <a:gd name="T1" fmla="*/ 0 h 280"/>
                  <a:gd name="T2" fmla="*/ 0 w 488"/>
                  <a:gd name="T3" fmla="*/ 268 h 280"/>
                  <a:gd name="T4" fmla="*/ 22 w 488"/>
                  <a:gd name="T5" fmla="*/ 280 h 280"/>
                  <a:gd name="T6" fmla="*/ 488 w 488"/>
                  <a:gd name="T7" fmla="*/ 12 h 280"/>
                  <a:gd name="T8" fmla="*/ 464 w 488"/>
                  <a:gd name="T9" fmla="*/ 0 h 280"/>
                </a:gdLst>
                <a:ahLst/>
                <a:cxnLst>
                  <a:cxn ang="0">
                    <a:pos x="T0" y="T1"/>
                  </a:cxn>
                  <a:cxn ang="0">
                    <a:pos x="T2" y="T3"/>
                  </a:cxn>
                  <a:cxn ang="0">
                    <a:pos x="T4" y="T5"/>
                  </a:cxn>
                  <a:cxn ang="0">
                    <a:pos x="T6" y="T7"/>
                  </a:cxn>
                  <a:cxn ang="0">
                    <a:pos x="T8" y="T9"/>
                  </a:cxn>
                </a:cxnLst>
                <a:rect l="0" t="0" r="r" b="b"/>
                <a:pathLst>
                  <a:path w="488" h="280">
                    <a:moveTo>
                      <a:pt x="464" y="0"/>
                    </a:moveTo>
                    <a:lnTo>
                      <a:pt x="0" y="268"/>
                    </a:lnTo>
                    <a:lnTo>
                      <a:pt x="22" y="280"/>
                    </a:lnTo>
                    <a:lnTo>
                      <a:pt x="488" y="12"/>
                    </a:lnTo>
                    <a:lnTo>
                      <a:pt x="464" y="0"/>
                    </a:lnTo>
                    <a:close/>
                  </a:path>
                </a:pathLst>
              </a:custGeom>
              <a:solidFill>
                <a:srgbClr val="849DA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83" name="ïšľiḓê"/>
              <p:cNvSpPr/>
              <p:nvPr/>
            </p:nvSpPr>
            <p:spPr bwMode="auto">
              <a:xfrm>
                <a:off x="4080" y="3238"/>
                <a:ext cx="488" cy="280"/>
              </a:xfrm>
              <a:custGeom>
                <a:avLst/>
                <a:gdLst>
                  <a:gd name="T0" fmla="*/ 464 w 488"/>
                  <a:gd name="T1" fmla="*/ 0 h 280"/>
                  <a:gd name="T2" fmla="*/ 0 w 488"/>
                  <a:gd name="T3" fmla="*/ 268 h 280"/>
                  <a:gd name="T4" fmla="*/ 22 w 488"/>
                  <a:gd name="T5" fmla="*/ 280 h 280"/>
                  <a:gd name="T6" fmla="*/ 488 w 488"/>
                  <a:gd name="T7" fmla="*/ 12 h 280"/>
                  <a:gd name="T8" fmla="*/ 464 w 488"/>
                  <a:gd name="T9" fmla="*/ 0 h 280"/>
                </a:gdLst>
                <a:ahLst/>
                <a:cxnLst>
                  <a:cxn ang="0">
                    <a:pos x="T0" y="T1"/>
                  </a:cxn>
                  <a:cxn ang="0">
                    <a:pos x="T2" y="T3"/>
                  </a:cxn>
                  <a:cxn ang="0">
                    <a:pos x="T4" y="T5"/>
                  </a:cxn>
                  <a:cxn ang="0">
                    <a:pos x="T6" y="T7"/>
                  </a:cxn>
                  <a:cxn ang="0">
                    <a:pos x="T8" y="T9"/>
                  </a:cxn>
                </a:cxnLst>
                <a:rect l="0" t="0" r="r" b="b"/>
                <a:pathLst>
                  <a:path w="488" h="280">
                    <a:moveTo>
                      <a:pt x="464" y="0"/>
                    </a:moveTo>
                    <a:lnTo>
                      <a:pt x="0" y="268"/>
                    </a:lnTo>
                    <a:lnTo>
                      <a:pt x="22" y="280"/>
                    </a:lnTo>
                    <a:lnTo>
                      <a:pt x="488" y="12"/>
                    </a:lnTo>
                    <a:lnTo>
                      <a:pt x="46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84" name="iŝḷîďé"/>
              <p:cNvSpPr/>
              <p:nvPr/>
            </p:nvSpPr>
            <p:spPr bwMode="auto">
              <a:xfrm>
                <a:off x="4271" y="3348"/>
                <a:ext cx="465" cy="316"/>
              </a:xfrm>
              <a:custGeom>
                <a:avLst/>
                <a:gdLst>
                  <a:gd name="T0" fmla="*/ 465 w 465"/>
                  <a:gd name="T1" fmla="*/ 0 h 316"/>
                  <a:gd name="T2" fmla="*/ 465 w 465"/>
                  <a:gd name="T3" fmla="*/ 48 h 316"/>
                  <a:gd name="T4" fmla="*/ 0 w 465"/>
                  <a:gd name="T5" fmla="*/ 316 h 316"/>
                  <a:gd name="T6" fmla="*/ 465 w 465"/>
                  <a:gd name="T7" fmla="*/ 48 h 316"/>
                  <a:gd name="T8" fmla="*/ 465 w 465"/>
                  <a:gd name="T9" fmla="*/ 0 h 316"/>
                </a:gdLst>
                <a:ahLst/>
                <a:cxnLst>
                  <a:cxn ang="0">
                    <a:pos x="T0" y="T1"/>
                  </a:cxn>
                  <a:cxn ang="0">
                    <a:pos x="T2" y="T3"/>
                  </a:cxn>
                  <a:cxn ang="0">
                    <a:pos x="T4" y="T5"/>
                  </a:cxn>
                  <a:cxn ang="0">
                    <a:pos x="T6" y="T7"/>
                  </a:cxn>
                  <a:cxn ang="0">
                    <a:pos x="T8" y="T9"/>
                  </a:cxn>
                </a:cxnLst>
                <a:rect l="0" t="0" r="r" b="b"/>
                <a:pathLst>
                  <a:path w="465" h="316">
                    <a:moveTo>
                      <a:pt x="465" y="0"/>
                    </a:moveTo>
                    <a:lnTo>
                      <a:pt x="465" y="48"/>
                    </a:lnTo>
                    <a:lnTo>
                      <a:pt x="0" y="316"/>
                    </a:lnTo>
                    <a:lnTo>
                      <a:pt x="465" y="48"/>
                    </a:lnTo>
                    <a:lnTo>
                      <a:pt x="465" y="0"/>
                    </a:lnTo>
                    <a:close/>
                  </a:path>
                </a:pathLst>
              </a:custGeom>
              <a:solidFill>
                <a:srgbClr val="74767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85" name="îSḷîḋê"/>
              <p:cNvSpPr/>
              <p:nvPr/>
            </p:nvSpPr>
            <p:spPr bwMode="auto">
              <a:xfrm>
                <a:off x="4271" y="3348"/>
                <a:ext cx="465" cy="316"/>
              </a:xfrm>
              <a:custGeom>
                <a:avLst/>
                <a:gdLst>
                  <a:gd name="T0" fmla="*/ 465 w 465"/>
                  <a:gd name="T1" fmla="*/ 0 h 316"/>
                  <a:gd name="T2" fmla="*/ 465 w 465"/>
                  <a:gd name="T3" fmla="*/ 48 h 316"/>
                  <a:gd name="T4" fmla="*/ 0 w 465"/>
                  <a:gd name="T5" fmla="*/ 316 h 316"/>
                  <a:gd name="T6" fmla="*/ 465 w 465"/>
                  <a:gd name="T7" fmla="*/ 48 h 316"/>
                  <a:gd name="T8" fmla="*/ 465 w 465"/>
                  <a:gd name="T9" fmla="*/ 0 h 316"/>
                </a:gdLst>
                <a:ahLst/>
                <a:cxnLst>
                  <a:cxn ang="0">
                    <a:pos x="T0" y="T1"/>
                  </a:cxn>
                  <a:cxn ang="0">
                    <a:pos x="T2" y="T3"/>
                  </a:cxn>
                  <a:cxn ang="0">
                    <a:pos x="T4" y="T5"/>
                  </a:cxn>
                  <a:cxn ang="0">
                    <a:pos x="T6" y="T7"/>
                  </a:cxn>
                  <a:cxn ang="0">
                    <a:pos x="T8" y="T9"/>
                  </a:cxn>
                </a:cxnLst>
                <a:rect l="0" t="0" r="r" b="b"/>
                <a:pathLst>
                  <a:path w="465" h="316">
                    <a:moveTo>
                      <a:pt x="465" y="0"/>
                    </a:moveTo>
                    <a:lnTo>
                      <a:pt x="465" y="48"/>
                    </a:lnTo>
                    <a:lnTo>
                      <a:pt x="0" y="316"/>
                    </a:lnTo>
                    <a:lnTo>
                      <a:pt x="465" y="48"/>
                    </a:lnTo>
                    <a:lnTo>
                      <a:pt x="46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86" name="íşļiḍê"/>
              <p:cNvSpPr/>
              <p:nvPr/>
            </p:nvSpPr>
            <p:spPr bwMode="auto">
              <a:xfrm>
                <a:off x="4249" y="3335"/>
                <a:ext cx="465" cy="317"/>
              </a:xfrm>
              <a:custGeom>
                <a:avLst/>
                <a:gdLst>
                  <a:gd name="T0" fmla="*/ 465 w 465"/>
                  <a:gd name="T1" fmla="*/ 0 h 317"/>
                  <a:gd name="T2" fmla="*/ 0 w 465"/>
                  <a:gd name="T3" fmla="*/ 268 h 317"/>
                  <a:gd name="T4" fmla="*/ 0 w 465"/>
                  <a:gd name="T5" fmla="*/ 317 h 317"/>
                  <a:gd name="T6" fmla="*/ 0 w 465"/>
                  <a:gd name="T7" fmla="*/ 268 h 317"/>
                  <a:gd name="T8" fmla="*/ 465 w 465"/>
                  <a:gd name="T9" fmla="*/ 0 h 317"/>
                </a:gdLst>
                <a:ahLst/>
                <a:cxnLst>
                  <a:cxn ang="0">
                    <a:pos x="T0" y="T1"/>
                  </a:cxn>
                  <a:cxn ang="0">
                    <a:pos x="T2" y="T3"/>
                  </a:cxn>
                  <a:cxn ang="0">
                    <a:pos x="T4" y="T5"/>
                  </a:cxn>
                  <a:cxn ang="0">
                    <a:pos x="T6" y="T7"/>
                  </a:cxn>
                  <a:cxn ang="0">
                    <a:pos x="T8" y="T9"/>
                  </a:cxn>
                </a:cxnLst>
                <a:rect l="0" t="0" r="r" b="b"/>
                <a:pathLst>
                  <a:path w="465" h="317">
                    <a:moveTo>
                      <a:pt x="465" y="0"/>
                    </a:moveTo>
                    <a:lnTo>
                      <a:pt x="0" y="268"/>
                    </a:lnTo>
                    <a:lnTo>
                      <a:pt x="0" y="317"/>
                    </a:lnTo>
                    <a:lnTo>
                      <a:pt x="0" y="268"/>
                    </a:lnTo>
                    <a:lnTo>
                      <a:pt x="465" y="0"/>
                    </a:lnTo>
                    <a:close/>
                  </a:path>
                </a:pathLst>
              </a:custGeom>
              <a:solidFill>
                <a:srgbClr val="A2D9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87" name="ïšḻíḑe"/>
              <p:cNvSpPr/>
              <p:nvPr/>
            </p:nvSpPr>
            <p:spPr bwMode="auto">
              <a:xfrm>
                <a:off x="4249" y="3335"/>
                <a:ext cx="465" cy="317"/>
              </a:xfrm>
              <a:custGeom>
                <a:avLst/>
                <a:gdLst>
                  <a:gd name="T0" fmla="*/ 465 w 465"/>
                  <a:gd name="T1" fmla="*/ 0 h 317"/>
                  <a:gd name="T2" fmla="*/ 0 w 465"/>
                  <a:gd name="T3" fmla="*/ 268 h 317"/>
                  <a:gd name="T4" fmla="*/ 0 w 465"/>
                  <a:gd name="T5" fmla="*/ 317 h 317"/>
                  <a:gd name="T6" fmla="*/ 0 w 465"/>
                  <a:gd name="T7" fmla="*/ 268 h 317"/>
                  <a:gd name="T8" fmla="*/ 465 w 465"/>
                  <a:gd name="T9" fmla="*/ 0 h 317"/>
                </a:gdLst>
                <a:ahLst/>
                <a:cxnLst>
                  <a:cxn ang="0">
                    <a:pos x="T0" y="T1"/>
                  </a:cxn>
                  <a:cxn ang="0">
                    <a:pos x="T2" y="T3"/>
                  </a:cxn>
                  <a:cxn ang="0">
                    <a:pos x="T4" y="T5"/>
                  </a:cxn>
                  <a:cxn ang="0">
                    <a:pos x="T6" y="T7"/>
                  </a:cxn>
                  <a:cxn ang="0">
                    <a:pos x="T8" y="T9"/>
                  </a:cxn>
                </a:cxnLst>
                <a:rect l="0" t="0" r="r" b="b"/>
                <a:pathLst>
                  <a:path w="465" h="317">
                    <a:moveTo>
                      <a:pt x="465" y="0"/>
                    </a:moveTo>
                    <a:lnTo>
                      <a:pt x="0" y="268"/>
                    </a:lnTo>
                    <a:lnTo>
                      <a:pt x="0" y="317"/>
                    </a:lnTo>
                    <a:lnTo>
                      <a:pt x="0" y="268"/>
                    </a:lnTo>
                    <a:lnTo>
                      <a:pt x="46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88" name="íṩlïdê"/>
              <p:cNvSpPr/>
              <p:nvPr/>
            </p:nvSpPr>
            <p:spPr bwMode="auto">
              <a:xfrm>
                <a:off x="4271" y="3348"/>
                <a:ext cx="465" cy="316"/>
              </a:xfrm>
              <a:custGeom>
                <a:avLst/>
                <a:gdLst>
                  <a:gd name="T0" fmla="*/ 465 w 465"/>
                  <a:gd name="T1" fmla="*/ 0 h 316"/>
                  <a:gd name="T2" fmla="*/ 0 w 465"/>
                  <a:gd name="T3" fmla="*/ 268 h 316"/>
                  <a:gd name="T4" fmla="*/ 0 w 465"/>
                  <a:gd name="T5" fmla="*/ 316 h 316"/>
                  <a:gd name="T6" fmla="*/ 465 w 465"/>
                  <a:gd name="T7" fmla="*/ 48 h 316"/>
                  <a:gd name="T8" fmla="*/ 465 w 465"/>
                  <a:gd name="T9" fmla="*/ 0 h 316"/>
                </a:gdLst>
                <a:ahLst/>
                <a:cxnLst>
                  <a:cxn ang="0">
                    <a:pos x="T0" y="T1"/>
                  </a:cxn>
                  <a:cxn ang="0">
                    <a:pos x="T2" y="T3"/>
                  </a:cxn>
                  <a:cxn ang="0">
                    <a:pos x="T4" y="T5"/>
                  </a:cxn>
                  <a:cxn ang="0">
                    <a:pos x="T6" y="T7"/>
                  </a:cxn>
                  <a:cxn ang="0">
                    <a:pos x="T8" y="T9"/>
                  </a:cxn>
                </a:cxnLst>
                <a:rect l="0" t="0" r="r" b="b"/>
                <a:pathLst>
                  <a:path w="465" h="316">
                    <a:moveTo>
                      <a:pt x="465" y="0"/>
                    </a:moveTo>
                    <a:lnTo>
                      <a:pt x="0" y="268"/>
                    </a:lnTo>
                    <a:lnTo>
                      <a:pt x="0" y="316"/>
                    </a:lnTo>
                    <a:lnTo>
                      <a:pt x="465" y="48"/>
                    </a:lnTo>
                    <a:lnTo>
                      <a:pt x="465" y="0"/>
                    </a:lnTo>
                    <a:close/>
                  </a:path>
                </a:pathLst>
              </a:custGeom>
              <a:solidFill>
                <a:srgbClr val="46636C"/>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89" name="iṣlíḑe"/>
              <p:cNvSpPr/>
              <p:nvPr/>
            </p:nvSpPr>
            <p:spPr bwMode="auto">
              <a:xfrm>
                <a:off x="4271" y="3348"/>
                <a:ext cx="465" cy="316"/>
              </a:xfrm>
              <a:custGeom>
                <a:avLst/>
                <a:gdLst>
                  <a:gd name="T0" fmla="*/ 465 w 465"/>
                  <a:gd name="T1" fmla="*/ 0 h 316"/>
                  <a:gd name="T2" fmla="*/ 0 w 465"/>
                  <a:gd name="T3" fmla="*/ 268 h 316"/>
                  <a:gd name="T4" fmla="*/ 0 w 465"/>
                  <a:gd name="T5" fmla="*/ 316 h 316"/>
                  <a:gd name="T6" fmla="*/ 465 w 465"/>
                  <a:gd name="T7" fmla="*/ 48 h 316"/>
                  <a:gd name="T8" fmla="*/ 465 w 465"/>
                  <a:gd name="T9" fmla="*/ 0 h 316"/>
                </a:gdLst>
                <a:ahLst/>
                <a:cxnLst>
                  <a:cxn ang="0">
                    <a:pos x="T0" y="T1"/>
                  </a:cxn>
                  <a:cxn ang="0">
                    <a:pos x="T2" y="T3"/>
                  </a:cxn>
                  <a:cxn ang="0">
                    <a:pos x="T4" y="T5"/>
                  </a:cxn>
                  <a:cxn ang="0">
                    <a:pos x="T6" y="T7"/>
                  </a:cxn>
                  <a:cxn ang="0">
                    <a:pos x="T8" y="T9"/>
                  </a:cxn>
                </a:cxnLst>
                <a:rect l="0" t="0" r="r" b="b"/>
                <a:pathLst>
                  <a:path w="465" h="316">
                    <a:moveTo>
                      <a:pt x="465" y="0"/>
                    </a:moveTo>
                    <a:lnTo>
                      <a:pt x="0" y="268"/>
                    </a:lnTo>
                    <a:lnTo>
                      <a:pt x="0" y="316"/>
                    </a:lnTo>
                    <a:lnTo>
                      <a:pt x="465" y="48"/>
                    </a:lnTo>
                    <a:lnTo>
                      <a:pt x="46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90" name="iṧḻïdê"/>
              <p:cNvSpPr/>
              <p:nvPr/>
            </p:nvSpPr>
            <p:spPr bwMode="auto">
              <a:xfrm>
                <a:off x="4736" y="3348"/>
                <a:ext cx="0" cy="48"/>
              </a:xfrm>
              <a:custGeom>
                <a:avLst/>
                <a:gdLst>
                  <a:gd name="T0" fmla="*/ 0 h 48"/>
                  <a:gd name="T1" fmla="*/ 48 h 48"/>
                  <a:gd name="T2" fmla="*/ 0 h 48"/>
                </a:gdLst>
                <a:ahLst/>
                <a:cxnLst>
                  <a:cxn ang="0">
                    <a:pos x="0" y="T0"/>
                  </a:cxn>
                  <a:cxn ang="0">
                    <a:pos x="0" y="T1"/>
                  </a:cxn>
                  <a:cxn ang="0">
                    <a:pos x="0" y="T2"/>
                  </a:cxn>
                </a:cxnLst>
                <a:rect l="0" t="0" r="r" b="b"/>
                <a:pathLst>
                  <a:path h="48">
                    <a:moveTo>
                      <a:pt x="0" y="0"/>
                    </a:moveTo>
                    <a:lnTo>
                      <a:pt x="0" y="48"/>
                    </a:lnTo>
                    <a:lnTo>
                      <a:pt x="0" y="0"/>
                    </a:lnTo>
                    <a:close/>
                  </a:path>
                </a:pathLst>
              </a:custGeom>
              <a:solidFill>
                <a:srgbClr val="46636C"/>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91" name="ïṥ1îḑe"/>
              <p:cNvSpPr/>
              <p:nvPr/>
            </p:nvSpPr>
            <p:spPr bwMode="auto">
              <a:xfrm>
                <a:off x="4736" y="3348"/>
                <a:ext cx="0" cy="48"/>
              </a:xfrm>
              <a:custGeom>
                <a:avLst/>
                <a:gdLst>
                  <a:gd name="T0" fmla="*/ 0 h 48"/>
                  <a:gd name="T1" fmla="*/ 48 h 48"/>
                  <a:gd name="T2" fmla="*/ 0 h 48"/>
                </a:gdLst>
                <a:ahLst/>
                <a:cxnLst>
                  <a:cxn ang="0">
                    <a:pos x="0" y="T0"/>
                  </a:cxn>
                  <a:cxn ang="0">
                    <a:pos x="0" y="T1"/>
                  </a:cxn>
                  <a:cxn ang="0">
                    <a:pos x="0" y="T2"/>
                  </a:cxn>
                </a:cxnLst>
                <a:rect l="0" t="0" r="r" b="b"/>
                <a:pathLst>
                  <a:path h="48">
                    <a:moveTo>
                      <a:pt x="0" y="0"/>
                    </a:moveTo>
                    <a:lnTo>
                      <a:pt x="0" y="4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92" name="íṧľíḋê"/>
              <p:cNvSpPr/>
              <p:nvPr/>
            </p:nvSpPr>
            <p:spPr bwMode="auto">
              <a:xfrm>
                <a:off x="4249" y="3603"/>
                <a:ext cx="22" cy="61"/>
              </a:xfrm>
              <a:custGeom>
                <a:avLst/>
                <a:gdLst>
                  <a:gd name="T0" fmla="*/ 0 w 22"/>
                  <a:gd name="T1" fmla="*/ 0 h 61"/>
                  <a:gd name="T2" fmla="*/ 0 w 22"/>
                  <a:gd name="T3" fmla="*/ 49 h 61"/>
                  <a:gd name="T4" fmla="*/ 22 w 22"/>
                  <a:gd name="T5" fmla="*/ 61 h 61"/>
                  <a:gd name="T6" fmla="*/ 22 w 22"/>
                  <a:gd name="T7" fmla="*/ 13 h 61"/>
                  <a:gd name="T8" fmla="*/ 0 w 22"/>
                  <a:gd name="T9" fmla="*/ 0 h 61"/>
                </a:gdLst>
                <a:ahLst/>
                <a:cxnLst>
                  <a:cxn ang="0">
                    <a:pos x="T0" y="T1"/>
                  </a:cxn>
                  <a:cxn ang="0">
                    <a:pos x="T2" y="T3"/>
                  </a:cxn>
                  <a:cxn ang="0">
                    <a:pos x="T4" y="T5"/>
                  </a:cxn>
                  <a:cxn ang="0">
                    <a:pos x="T6" y="T7"/>
                  </a:cxn>
                  <a:cxn ang="0">
                    <a:pos x="T8" y="T9"/>
                  </a:cxn>
                </a:cxnLst>
                <a:rect l="0" t="0" r="r" b="b"/>
                <a:pathLst>
                  <a:path w="22" h="61">
                    <a:moveTo>
                      <a:pt x="0" y="0"/>
                    </a:moveTo>
                    <a:lnTo>
                      <a:pt x="0" y="49"/>
                    </a:lnTo>
                    <a:lnTo>
                      <a:pt x="22" y="61"/>
                    </a:lnTo>
                    <a:lnTo>
                      <a:pt x="22" y="13"/>
                    </a:lnTo>
                    <a:lnTo>
                      <a:pt x="0" y="0"/>
                    </a:lnTo>
                    <a:close/>
                  </a:path>
                </a:pathLst>
              </a:custGeom>
              <a:solidFill>
                <a:srgbClr val="68818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93" name="iŝ1îdè"/>
              <p:cNvSpPr/>
              <p:nvPr/>
            </p:nvSpPr>
            <p:spPr bwMode="auto">
              <a:xfrm>
                <a:off x="4249" y="3603"/>
                <a:ext cx="22" cy="61"/>
              </a:xfrm>
              <a:custGeom>
                <a:avLst/>
                <a:gdLst>
                  <a:gd name="T0" fmla="*/ 0 w 22"/>
                  <a:gd name="T1" fmla="*/ 0 h 61"/>
                  <a:gd name="T2" fmla="*/ 0 w 22"/>
                  <a:gd name="T3" fmla="*/ 49 h 61"/>
                  <a:gd name="T4" fmla="*/ 22 w 22"/>
                  <a:gd name="T5" fmla="*/ 61 h 61"/>
                  <a:gd name="T6" fmla="*/ 22 w 22"/>
                  <a:gd name="T7" fmla="*/ 13 h 61"/>
                  <a:gd name="T8" fmla="*/ 0 w 22"/>
                  <a:gd name="T9" fmla="*/ 0 h 61"/>
                </a:gdLst>
                <a:ahLst/>
                <a:cxnLst>
                  <a:cxn ang="0">
                    <a:pos x="T0" y="T1"/>
                  </a:cxn>
                  <a:cxn ang="0">
                    <a:pos x="T2" y="T3"/>
                  </a:cxn>
                  <a:cxn ang="0">
                    <a:pos x="T4" y="T5"/>
                  </a:cxn>
                  <a:cxn ang="0">
                    <a:pos x="T6" y="T7"/>
                  </a:cxn>
                  <a:cxn ang="0">
                    <a:pos x="T8" y="T9"/>
                  </a:cxn>
                </a:cxnLst>
                <a:rect l="0" t="0" r="r" b="b"/>
                <a:pathLst>
                  <a:path w="22" h="61">
                    <a:moveTo>
                      <a:pt x="0" y="0"/>
                    </a:moveTo>
                    <a:lnTo>
                      <a:pt x="0" y="49"/>
                    </a:lnTo>
                    <a:lnTo>
                      <a:pt x="22" y="61"/>
                    </a:lnTo>
                    <a:lnTo>
                      <a:pt x="22" y="1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94" name="íṧ1ïḑé"/>
              <p:cNvSpPr/>
              <p:nvPr/>
            </p:nvSpPr>
            <p:spPr bwMode="auto">
              <a:xfrm>
                <a:off x="4249" y="3335"/>
                <a:ext cx="487" cy="281"/>
              </a:xfrm>
              <a:custGeom>
                <a:avLst/>
                <a:gdLst>
                  <a:gd name="T0" fmla="*/ 465 w 487"/>
                  <a:gd name="T1" fmla="*/ 0 h 281"/>
                  <a:gd name="T2" fmla="*/ 0 w 487"/>
                  <a:gd name="T3" fmla="*/ 268 h 281"/>
                  <a:gd name="T4" fmla="*/ 22 w 487"/>
                  <a:gd name="T5" fmla="*/ 281 h 281"/>
                  <a:gd name="T6" fmla="*/ 487 w 487"/>
                  <a:gd name="T7" fmla="*/ 13 h 281"/>
                  <a:gd name="T8" fmla="*/ 465 w 487"/>
                  <a:gd name="T9" fmla="*/ 0 h 281"/>
                </a:gdLst>
                <a:ahLst/>
                <a:cxnLst>
                  <a:cxn ang="0">
                    <a:pos x="T0" y="T1"/>
                  </a:cxn>
                  <a:cxn ang="0">
                    <a:pos x="T2" y="T3"/>
                  </a:cxn>
                  <a:cxn ang="0">
                    <a:pos x="T4" y="T5"/>
                  </a:cxn>
                  <a:cxn ang="0">
                    <a:pos x="T6" y="T7"/>
                  </a:cxn>
                  <a:cxn ang="0">
                    <a:pos x="T8" y="T9"/>
                  </a:cxn>
                </a:cxnLst>
                <a:rect l="0" t="0" r="r" b="b"/>
                <a:pathLst>
                  <a:path w="487" h="281">
                    <a:moveTo>
                      <a:pt x="465" y="0"/>
                    </a:moveTo>
                    <a:lnTo>
                      <a:pt x="0" y="268"/>
                    </a:lnTo>
                    <a:lnTo>
                      <a:pt x="22" y="281"/>
                    </a:lnTo>
                    <a:lnTo>
                      <a:pt x="487" y="13"/>
                    </a:lnTo>
                    <a:lnTo>
                      <a:pt x="465" y="0"/>
                    </a:lnTo>
                    <a:close/>
                  </a:path>
                </a:pathLst>
              </a:custGeom>
              <a:solidFill>
                <a:srgbClr val="849DA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95" name="îSlíďé"/>
              <p:cNvSpPr/>
              <p:nvPr/>
            </p:nvSpPr>
            <p:spPr bwMode="auto">
              <a:xfrm>
                <a:off x="4249" y="3335"/>
                <a:ext cx="487" cy="281"/>
              </a:xfrm>
              <a:custGeom>
                <a:avLst/>
                <a:gdLst>
                  <a:gd name="T0" fmla="*/ 465 w 487"/>
                  <a:gd name="T1" fmla="*/ 0 h 281"/>
                  <a:gd name="T2" fmla="*/ 0 w 487"/>
                  <a:gd name="T3" fmla="*/ 268 h 281"/>
                  <a:gd name="T4" fmla="*/ 22 w 487"/>
                  <a:gd name="T5" fmla="*/ 281 h 281"/>
                  <a:gd name="T6" fmla="*/ 487 w 487"/>
                  <a:gd name="T7" fmla="*/ 13 h 281"/>
                  <a:gd name="T8" fmla="*/ 465 w 487"/>
                  <a:gd name="T9" fmla="*/ 0 h 281"/>
                </a:gdLst>
                <a:ahLst/>
                <a:cxnLst>
                  <a:cxn ang="0">
                    <a:pos x="T0" y="T1"/>
                  </a:cxn>
                  <a:cxn ang="0">
                    <a:pos x="T2" y="T3"/>
                  </a:cxn>
                  <a:cxn ang="0">
                    <a:pos x="T4" y="T5"/>
                  </a:cxn>
                  <a:cxn ang="0">
                    <a:pos x="T6" y="T7"/>
                  </a:cxn>
                  <a:cxn ang="0">
                    <a:pos x="T8" y="T9"/>
                  </a:cxn>
                </a:cxnLst>
                <a:rect l="0" t="0" r="r" b="b"/>
                <a:pathLst>
                  <a:path w="487" h="281">
                    <a:moveTo>
                      <a:pt x="465" y="0"/>
                    </a:moveTo>
                    <a:lnTo>
                      <a:pt x="0" y="268"/>
                    </a:lnTo>
                    <a:lnTo>
                      <a:pt x="22" y="281"/>
                    </a:lnTo>
                    <a:lnTo>
                      <a:pt x="487" y="13"/>
                    </a:lnTo>
                    <a:lnTo>
                      <a:pt x="46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96" name="ïšḷïḍe"/>
              <p:cNvSpPr/>
              <p:nvPr/>
            </p:nvSpPr>
            <p:spPr bwMode="auto">
              <a:xfrm>
                <a:off x="5190" y="3611"/>
                <a:ext cx="154" cy="156"/>
              </a:xfrm>
              <a:custGeom>
                <a:avLst/>
                <a:gdLst>
                  <a:gd name="T0" fmla="*/ 91 w 91"/>
                  <a:gd name="T1" fmla="*/ 56 h 92"/>
                  <a:gd name="T2" fmla="*/ 85 w 91"/>
                  <a:gd name="T3" fmla="*/ 71 h 92"/>
                  <a:gd name="T4" fmla="*/ 85 w 91"/>
                  <a:gd name="T5" fmla="*/ 71 h 92"/>
                  <a:gd name="T6" fmla="*/ 82 w 91"/>
                  <a:gd name="T7" fmla="*/ 73 h 92"/>
                  <a:gd name="T8" fmla="*/ 82 w 91"/>
                  <a:gd name="T9" fmla="*/ 73 h 92"/>
                  <a:gd name="T10" fmla="*/ 49 w 91"/>
                  <a:gd name="T11" fmla="*/ 92 h 92"/>
                  <a:gd name="T12" fmla="*/ 55 w 91"/>
                  <a:gd name="T13" fmla="*/ 77 h 92"/>
                  <a:gd name="T14" fmla="*/ 44 w 91"/>
                  <a:gd name="T15" fmla="*/ 47 h 92"/>
                  <a:gd name="T16" fmla="*/ 44 w 91"/>
                  <a:gd name="T17" fmla="*/ 47 h 92"/>
                  <a:gd name="T18" fmla="*/ 23 w 91"/>
                  <a:gd name="T19" fmla="*/ 27 h 92"/>
                  <a:gd name="T20" fmla="*/ 0 w 91"/>
                  <a:gd name="T21" fmla="*/ 23 h 92"/>
                  <a:gd name="T22" fmla="*/ 37 w 91"/>
                  <a:gd name="T23" fmla="*/ 2 h 92"/>
                  <a:gd name="T24" fmla="*/ 60 w 91"/>
                  <a:gd name="T25" fmla="*/ 6 h 92"/>
                  <a:gd name="T26" fmla="*/ 81 w 91"/>
                  <a:gd name="T27" fmla="*/ 26 h 92"/>
                  <a:gd name="T28" fmla="*/ 81 w 91"/>
                  <a:gd name="T29" fmla="*/ 26 h 92"/>
                  <a:gd name="T30" fmla="*/ 91 w 91"/>
                  <a:gd name="T31" fmla="*/ 56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1" h="92">
                    <a:moveTo>
                      <a:pt x="91" y="56"/>
                    </a:moveTo>
                    <a:cubicBezTo>
                      <a:pt x="91" y="63"/>
                      <a:pt x="89" y="68"/>
                      <a:pt x="85" y="71"/>
                    </a:cubicBezTo>
                    <a:cubicBezTo>
                      <a:pt x="85" y="71"/>
                      <a:pt x="85" y="71"/>
                      <a:pt x="85" y="71"/>
                    </a:cubicBezTo>
                    <a:cubicBezTo>
                      <a:pt x="82" y="73"/>
                      <a:pt x="82" y="73"/>
                      <a:pt x="82" y="73"/>
                    </a:cubicBezTo>
                    <a:cubicBezTo>
                      <a:pt x="82" y="73"/>
                      <a:pt x="82" y="73"/>
                      <a:pt x="82" y="73"/>
                    </a:cubicBezTo>
                    <a:cubicBezTo>
                      <a:pt x="49" y="92"/>
                      <a:pt x="49" y="92"/>
                      <a:pt x="49" y="92"/>
                    </a:cubicBezTo>
                    <a:cubicBezTo>
                      <a:pt x="53" y="89"/>
                      <a:pt x="55" y="84"/>
                      <a:pt x="55" y="77"/>
                    </a:cubicBezTo>
                    <a:cubicBezTo>
                      <a:pt x="55" y="68"/>
                      <a:pt x="51" y="57"/>
                      <a:pt x="44" y="47"/>
                    </a:cubicBezTo>
                    <a:cubicBezTo>
                      <a:pt x="44" y="47"/>
                      <a:pt x="44" y="47"/>
                      <a:pt x="44" y="47"/>
                    </a:cubicBezTo>
                    <a:cubicBezTo>
                      <a:pt x="39" y="39"/>
                      <a:pt x="31" y="31"/>
                      <a:pt x="23" y="27"/>
                    </a:cubicBezTo>
                    <a:cubicBezTo>
                      <a:pt x="14" y="21"/>
                      <a:pt x="6" y="20"/>
                      <a:pt x="0" y="23"/>
                    </a:cubicBezTo>
                    <a:cubicBezTo>
                      <a:pt x="37" y="2"/>
                      <a:pt x="37" y="2"/>
                      <a:pt x="37" y="2"/>
                    </a:cubicBezTo>
                    <a:cubicBezTo>
                      <a:pt x="43" y="0"/>
                      <a:pt x="51" y="1"/>
                      <a:pt x="60" y="6"/>
                    </a:cubicBezTo>
                    <a:cubicBezTo>
                      <a:pt x="68" y="10"/>
                      <a:pt x="75" y="17"/>
                      <a:pt x="81" y="26"/>
                    </a:cubicBezTo>
                    <a:cubicBezTo>
                      <a:pt x="81" y="26"/>
                      <a:pt x="81" y="26"/>
                      <a:pt x="81" y="26"/>
                    </a:cubicBezTo>
                    <a:cubicBezTo>
                      <a:pt x="87" y="36"/>
                      <a:pt x="91" y="46"/>
                      <a:pt x="91" y="56"/>
                    </a:cubicBezTo>
                    <a:close/>
                  </a:path>
                </a:pathLst>
              </a:custGeom>
              <a:solidFill>
                <a:srgbClr val="C6859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97" name="išḻiḍe"/>
              <p:cNvSpPr/>
              <p:nvPr/>
            </p:nvSpPr>
            <p:spPr bwMode="auto">
              <a:xfrm>
                <a:off x="5270" y="3767"/>
                <a:ext cx="3" cy="2"/>
              </a:xfrm>
              <a:custGeom>
                <a:avLst/>
                <a:gdLst>
                  <a:gd name="T0" fmla="*/ 3 w 3"/>
                  <a:gd name="T1" fmla="*/ 0 h 2"/>
                  <a:gd name="T2" fmla="*/ 3 w 3"/>
                  <a:gd name="T3" fmla="*/ 0 h 2"/>
                  <a:gd name="T4" fmla="*/ 0 w 3"/>
                  <a:gd name="T5" fmla="*/ 2 h 2"/>
                  <a:gd name="T6" fmla="*/ 3 w 3"/>
                  <a:gd name="T7" fmla="*/ 0 h 2"/>
                </a:gdLst>
                <a:ahLst/>
                <a:cxnLst>
                  <a:cxn ang="0">
                    <a:pos x="T0" y="T1"/>
                  </a:cxn>
                  <a:cxn ang="0">
                    <a:pos x="T2" y="T3"/>
                  </a:cxn>
                  <a:cxn ang="0">
                    <a:pos x="T4" y="T5"/>
                  </a:cxn>
                  <a:cxn ang="0">
                    <a:pos x="T6" y="T7"/>
                  </a:cxn>
                </a:cxnLst>
                <a:rect l="0" t="0" r="r" b="b"/>
                <a:pathLst>
                  <a:path w="3" h="2">
                    <a:moveTo>
                      <a:pt x="3" y="0"/>
                    </a:moveTo>
                    <a:lnTo>
                      <a:pt x="3" y="0"/>
                    </a:lnTo>
                    <a:lnTo>
                      <a:pt x="0" y="2"/>
                    </a:lnTo>
                    <a:lnTo>
                      <a:pt x="3" y="0"/>
                    </a:lnTo>
                    <a:close/>
                  </a:path>
                </a:pathLst>
              </a:custGeom>
              <a:solidFill>
                <a:srgbClr val="A5BAC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98" name="íṣľíḍê"/>
              <p:cNvSpPr/>
              <p:nvPr/>
            </p:nvSpPr>
            <p:spPr bwMode="auto">
              <a:xfrm>
                <a:off x="5186" y="3650"/>
                <a:ext cx="4" cy="2"/>
              </a:xfrm>
              <a:custGeom>
                <a:avLst/>
                <a:gdLst>
                  <a:gd name="T0" fmla="*/ 4 w 4"/>
                  <a:gd name="T1" fmla="*/ 0 h 2"/>
                  <a:gd name="T2" fmla="*/ 0 w 4"/>
                  <a:gd name="T3" fmla="*/ 2 h 2"/>
                  <a:gd name="T4" fmla="*/ 0 w 4"/>
                  <a:gd name="T5" fmla="*/ 2 h 2"/>
                  <a:gd name="T6" fmla="*/ 4 w 4"/>
                  <a:gd name="T7" fmla="*/ 0 h 2"/>
                  <a:gd name="T8" fmla="*/ 4 w 4"/>
                  <a:gd name="T9" fmla="*/ 0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0" y="2"/>
                    </a:lnTo>
                    <a:lnTo>
                      <a:pt x="0" y="2"/>
                    </a:lnTo>
                    <a:lnTo>
                      <a:pt x="4" y="0"/>
                    </a:lnTo>
                    <a:lnTo>
                      <a:pt x="4" y="0"/>
                    </a:lnTo>
                    <a:lnTo>
                      <a:pt x="4" y="0"/>
                    </a:lnTo>
                    <a:close/>
                  </a:path>
                </a:pathLst>
              </a:custGeom>
              <a:solidFill>
                <a:srgbClr val="A5BAC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99" name="ïṣḷîḍè"/>
              <p:cNvSpPr/>
              <p:nvPr/>
            </p:nvSpPr>
            <p:spPr bwMode="auto">
              <a:xfrm>
                <a:off x="5268" y="3769"/>
                <a:ext cx="2" cy="1"/>
              </a:xfrm>
              <a:custGeom>
                <a:avLst/>
                <a:gdLst>
                  <a:gd name="T0" fmla="*/ 0 w 2"/>
                  <a:gd name="T1" fmla="*/ 1 h 1"/>
                  <a:gd name="T2" fmla="*/ 2 w 2"/>
                  <a:gd name="T3" fmla="*/ 0 h 1"/>
                  <a:gd name="T4" fmla="*/ 0 w 2"/>
                  <a:gd name="T5" fmla="*/ 1 h 1"/>
                  <a:gd name="T6" fmla="*/ 0 w 2"/>
                  <a:gd name="T7" fmla="*/ 1 h 1"/>
                </a:gdLst>
                <a:ahLst/>
                <a:cxnLst>
                  <a:cxn ang="0">
                    <a:pos x="T0" y="T1"/>
                  </a:cxn>
                  <a:cxn ang="0">
                    <a:pos x="T2" y="T3"/>
                  </a:cxn>
                  <a:cxn ang="0">
                    <a:pos x="T4" y="T5"/>
                  </a:cxn>
                  <a:cxn ang="0">
                    <a:pos x="T6" y="T7"/>
                  </a:cxn>
                </a:cxnLst>
                <a:rect l="0" t="0" r="r" b="b"/>
                <a:pathLst>
                  <a:path w="2" h="1">
                    <a:moveTo>
                      <a:pt x="0" y="1"/>
                    </a:moveTo>
                    <a:lnTo>
                      <a:pt x="2" y="0"/>
                    </a:lnTo>
                    <a:lnTo>
                      <a:pt x="0" y="1"/>
                    </a:lnTo>
                    <a:lnTo>
                      <a:pt x="0" y="1"/>
                    </a:lnTo>
                    <a:close/>
                  </a:path>
                </a:pathLst>
              </a:custGeom>
              <a:solidFill>
                <a:srgbClr val="A5BAC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00" name="ïşḻíďé"/>
              <p:cNvSpPr/>
              <p:nvPr/>
            </p:nvSpPr>
            <p:spPr bwMode="auto">
              <a:xfrm>
                <a:off x="5241" y="3618"/>
                <a:ext cx="7" cy="3"/>
              </a:xfrm>
              <a:custGeom>
                <a:avLst/>
                <a:gdLst>
                  <a:gd name="T0" fmla="*/ 0 w 7"/>
                  <a:gd name="T1" fmla="*/ 3 h 3"/>
                  <a:gd name="T2" fmla="*/ 7 w 7"/>
                  <a:gd name="T3" fmla="*/ 0 h 3"/>
                  <a:gd name="T4" fmla="*/ 7 w 7"/>
                  <a:gd name="T5" fmla="*/ 0 h 3"/>
                  <a:gd name="T6" fmla="*/ 0 w 7"/>
                  <a:gd name="T7" fmla="*/ 3 h 3"/>
                  <a:gd name="T8" fmla="*/ 0 w 7"/>
                  <a:gd name="T9" fmla="*/ 3 h 3"/>
                </a:gdLst>
                <a:ahLst/>
                <a:cxnLst>
                  <a:cxn ang="0">
                    <a:pos x="T0" y="T1"/>
                  </a:cxn>
                  <a:cxn ang="0">
                    <a:pos x="T2" y="T3"/>
                  </a:cxn>
                  <a:cxn ang="0">
                    <a:pos x="T4" y="T5"/>
                  </a:cxn>
                  <a:cxn ang="0">
                    <a:pos x="T6" y="T7"/>
                  </a:cxn>
                  <a:cxn ang="0">
                    <a:pos x="T8" y="T9"/>
                  </a:cxn>
                </a:cxnLst>
                <a:rect l="0" t="0" r="r" b="b"/>
                <a:pathLst>
                  <a:path w="7" h="3">
                    <a:moveTo>
                      <a:pt x="0" y="3"/>
                    </a:moveTo>
                    <a:lnTo>
                      <a:pt x="7" y="0"/>
                    </a:lnTo>
                    <a:lnTo>
                      <a:pt x="7" y="0"/>
                    </a:lnTo>
                    <a:lnTo>
                      <a:pt x="0" y="3"/>
                    </a:lnTo>
                    <a:lnTo>
                      <a:pt x="0" y="3"/>
                    </a:lnTo>
                    <a:close/>
                  </a:path>
                </a:pathLst>
              </a:custGeom>
              <a:solidFill>
                <a:srgbClr val="C6859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grpSp>
        <p:grpSp>
          <p:nvGrpSpPr>
            <p:cNvPr id="41" name="ï$1îḑê"/>
            <p:cNvGrpSpPr/>
            <p:nvPr/>
          </p:nvGrpSpPr>
          <p:grpSpPr bwMode="auto">
            <a:xfrm>
              <a:off x="3579639" y="2884785"/>
              <a:ext cx="5077104" cy="3340200"/>
              <a:chOff x="1692" y="1472"/>
              <a:chExt cx="4332" cy="2850"/>
            </a:xfrm>
          </p:grpSpPr>
          <p:sp>
            <p:nvSpPr>
              <p:cNvPr id="43" name="ïSḻîḑè"/>
              <p:cNvSpPr/>
              <p:nvPr/>
            </p:nvSpPr>
            <p:spPr bwMode="auto">
              <a:xfrm>
                <a:off x="5322" y="3733"/>
                <a:ext cx="11" cy="5"/>
              </a:xfrm>
              <a:custGeom>
                <a:avLst/>
                <a:gdLst>
                  <a:gd name="T0" fmla="*/ 2 w 11"/>
                  <a:gd name="T1" fmla="*/ 5 h 5"/>
                  <a:gd name="T2" fmla="*/ 11 w 11"/>
                  <a:gd name="T3" fmla="*/ 0 h 5"/>
                  <a:gd name="T4" fmla="*/ 0 w 11"/>
                  <a:gd name="T5" fmla="*/ 5 h 5"/>
                  <a:gd name="T6" fmla="*/ 2 w 11"/>
                  <a:gd name="T7" fmla="*/ 5 h 5"/>
                </a:gdLst>
                <a:ahLst/>
                <a:cxnLst>
                  <a:cxn ang="0">
                    <a:pos x="T0" y="T1"/>
                  </a:cxn>
                  <a:cxn ang="0">
                    <a:pos x="T2" y="T3"/>
                  </a:cxn>
                  <a:cxn ang="0">
                    <a:pos x="T4" y="T5"/>
                  </a:cxn>
                  <a:cxn ang="0">
                    <a:pos x="T6" y="T7"/>
                  </a:cxn>
                </a:cxnLst>
                <a:rect l="0" t="0" r="r" b="b"/>
                <a:pathLst>
                  <a:path w="11" h="5">
                    <a:moveTo>
                      <a:pt x="2" y="5"/>
                    </a:moveTo>
                    <a:lnTo>
                      <a:pt x="11" y="0"/>
                    </a:lnTo>
                    <a:lnTo>
                      <a:pt x="0" y="5"/>
                    </a:lnTo>
                    <a:lnTo>
                      <a:pt x="2" y="5"/>
                    </a:lnTo>
                    <a:close/>
                  </a:path>
                </a:pathLst>
              </a:custGeom>
              <a:solidFill>
                <a:srgbClr val="C6859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44" name="i$liḍe"/>
              <p:cNvSpPr/>
              <p:nvPr/>
            </p:nvSpPr>
            <p:spPr bwMode="auto">
              <a:xfrm>
                <a:off x="5319" y="3738"/>
                <a:ext cx="3" cy="2"/>
              </a:xfrm>
              <a:custGeom>
                <a:avLst/>
                <a:gdLst>
                  <a:gd name="T0" fmla="*/ 3 w 3"/>
                  <a:gd name="T1" fmla="*/ 0 h 2"/>
                  <a:gd name="T2" fmla="*/ 3 w 3"/>
                  <a:gd name="T3" fmla="*/ 0 h 2"/>
                  <a:gd name="T4" fmla="*/ 0 w 3"/>
                  <a:gd name="T5" fmla="*/ 2 h 2"/>
                  <a:gd name="T6" fmla="*/ 3 w 3"/>
                  <a:gd name="T7" fmla="*/ 0 h 2"/>
                </a:gdLst>
                <a:ahLst/>
                <a:cxnLst>
                  <a:cxn ang="0">
                    <a:pos x="T0" y="T1"/>
                  </a:cxn>
                  <a:cxn ang="0">
                    <a:pos x="T2" y="T3"/>
                  </a:cxn>
                  <a:cxn ang="0">
                    <a:pos x="T4" y="T5"/>
                  </a:cxn>
                  <a:cxn ang="0">
                    <a:pos x="T6" y="T7"/>
                  </a:cxn>
                </a:cxnLst>
                <a:rect l="0" t="0" r="r" b="b"/>
                <a:pathLst>
                  <a:path w="3" h="2">
                    <a:moveTo>
                      <a:pt x="3" y="0"/>
                    </a:moveTo>
                    <a:lnTo>
                      <a:pt x="3" y="0"/>
                    </a:lnTo>
                    <a:lnTo>
                      <a:pt x="0" y="2"/>
                    </a:lnTo>
                    <a:lnTo>
                      <a:pt x="3" y="0"/>
                    </a:lnTo>
                    <a:close/>
                  </a:path>
                </a:pathLst>
              </a:custGeom>
              <a:solidFill>
                <a:srgbClr val="A5BAC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45" name="îṩľïḑê"/>
              <p:cNvSpPr/>
              <p:nvPr/>
            </p:nvSpPr>
            <p:spPr bwMode="auto">
              <a:xfrm>
                <a:off x="5237" y="3621"/>
                <a:ext cx="4" cy="2"/>
              </a:xfrm>
              <a:custGeom>
                <a:avLst/>
                <a:gdLst>
                  <a:gd name="T0" fmla="*/ 2 w 4"/>
                  <a:gd name="T1" fmla="*/ 0 h 2"/>
                  <a:gd name="T2" fmla="*/ 0 w 4"/>
                  <a:gd name="T3" fmla="*/ 2 h 2"/>
                  <a:gd name="T4" fmla="*/ 0 w 4"/>
                  <a:gd name="T5" fmla="*/ 2 h 2"/>
                  <a:gd name="T6" fmla="*/ 4 w 4"/>
                  <a:gd name="T7" fmla="*/ 0 h 2"/>
                  <a:gd name="T8" fmla="*/ 2 w 4"/>
                  <a:gd name="T9" fmla="*/ 0 h 2"/>
                  <a:gd name="T10" fmla="*/ 2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2" y="0"/>
                    </a:moveTo>
                    <a:lnTo>
                      <a:pt x="0" y="2"/>
                    </a:lnTo>
                    <a:lnTo>
                      <a:pt x="0" y="2"/>
                    </a:lnTo>
                    <a:lnTo>
                      <a:pt x="4" y="0"/>
                    </a:lnTo>
                    <a:lnTo>
                      <a:pt x="2" y="0"/>
                    </a:lnTo>
                    <a:lnTo>
                      <a:pt x="2" y="0"/>
                    </a:lnTo>
                    <a:close/>
                  </a:path>
                </a:pathLst>
              </a:custGeom>
              <a:solidFill>
                <a:srgbClr val="A5BAC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46" name="íśļíḍe"/>
              <p:cNvSpPr/>
              <p:nvPr/>
            </p:nvSpPr>
            <p:spPr bwMode="auto">
              <a:xfrm>
                <a:off x="5317" y="3740"/>
                <a:ext cx="2" cy="2"/>
              </a:xfrm>
              <a:custGeom>
                <a:avLst/>
                <a:gdLst>
                  <a:gd name="T0" fmla="*/ 0 w 2"/>
                  <a:gd name="T1" fmla="*/ 2 h 2"/>
                  <a:gd name="T2" fmla="*/ 2 w 2"/>
                  <a:gd name="T3" fmla="*/ 0 h 2"/>
                  <a:gd name="T4" fmla="*/ 0 w 2"/>
                  <a:gd name="T5" fmla="*/ 2 h 2"/>
                  <a:gd name="T6" fmla="*/ 0 w 2"/>
                  <a:gd name="T7" fmla="*/ 2 h 2"/>
                </a:gdLst>
                <a:ahLst/>
                <a:cxnLst>
                  <a:cxn ang="0">
                    <a:pos x="T0" y="T1"/>
                  </a:cxn>
                  <a:cxn ang="0">
                    <a:pos x="T2" y="T3"/>
                  </a:cxn>
                  <a:cxn ang="0">
                    <a:pos x="T4" y="T5"/>
                  </a:cxn>
                  <a:cxn ang="0">
                    <a:pos x="T6" y="T7"/>
                  </a:cxn>
                </a:cxnLst>
                <a:rect l="0" t="0" r="r" b="b"/>
                <a:pathLst>
                  <a:path w="2" h="2">
                    <a:moveTo>
                      <a:pt x="0" y="2"/>
                    </a:moveTo>
                    <a:lnTo>
                      <a:pt x="2" y="0"/>
                    </a:lnTo>
                    <a:lnTo>
                      <a:pt x="0" y="2"/>
                    </a:lnTo>
                    <a:lnTo>
                      <a:pt x="0" y="2"/>
                    </a:lnTo>
                    <a:close/>
                  </a:path>
                </a:pathLst>
              </a:custGeom>
              <a:solidFill>
                <a:srgbClr val="A5BAC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47" name="ïṡľíďè"/>
              <p:cNvSpPr/>
              <p:nvPr/>
            </p:nvSpPr>
            <p:spPr bwMode="auto">
              <a:xfrm>
                <a:off x="3294" y="3638"/>
                <a:ext cx="678" cy="390"/>
              </a:xfrm>
              <a:custGeom>
                <a:avLst/>
                <a:gdLst>
                  <a:gd name="T0" fmla="*/ 0 w 678"/>
                  <a:gd name="T1" fmla="*/ 195 h 390"/>
                  <a:gd name="T2" fmla="*/ 340 w 678"/>
                  <a:gd name="T3" fmla="*/ 0 h 390"/>
                  <a:gd name="T4" fmla="*/ 678 w 678"/>
                  <a:gd name="T5" fmla="*/ 195 h 390"/>
                  <a:gd name="T6" fmla="*/ 340 w 678"/>
                  <a:gd name="T7" fmla="*/ 390 h 390"/>
                  <a:gd name="T8" fmla="*/ 0 w 678"/>
                  <a:gd name="T9" fmla="*/ 195 h 390"/>
                </a:gdLst>
                <a:ahLst/>
                <a:cxnLst>
                  <a:cxn ang="0">
                    <a:pos x="T0" y="T1"/>
                  </a:cxn>
                  <a:cxn ang="0">
                    <a:pos x="T2" y="T3"/>
                  </a:cxn>
                  <a:cxn ang="0">
                    <a:pos x="T4" y="T5"/>
                  </a:cxn>
                  <a:cxn ang="0">
                    <a:pos x="T6" y="T7"/>
                  </a:cxn>
                  <a:cxn ang="0">
                    <a:pos x="T8" y="T9"/>
                  </a:cxn>
                </a:cxnLst>
                <a:rect l="0" t="0" r="r" b="b"/>
                <a:pathLst>
                  <a:path w="678" h="390">
                    <a:moveTo>
                      <a:pt x="0" y="195"/>
                    </a:moveTo>
                    <a:lnTo>
                      <a:pt x="340" y="0"/>
                    </a:lnTo>
                    <a:lnTo>
                      <a:pt x="678" y="195"/>
                    </a:lnTo>
                    <a:lnTo>
                      <a:pt x="340" y="390"/>
                    </a:lnTo>
                    <a:lnTo>
                      <a:pt x="0" y="195"/>
                    </a:lnTo>
                    <a:close/>
                  </a:path>
                </a:pathLst>
              </a:custGeom>
              <a:solidFill>
                <a:srgbClr val="CF3A5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48" name="iṣḻíḋè"/>
              <p:cNvSpPr/>
              <p:nvPr/>
            </p:nvSpPr>
            <p:spPr bwMode="auto">
              <a:xfrm>
                <a:off x="3294" y="3638"/>
                <a:ext cx="678" cy="390"/>
              </a:xfrm>
              <a:custGeom>
                <a:avLst/>
                <a:gdLst>
                  <a:gd name="T0" fmla="*/ 0 w 678"/>
                  <a:gd name="T1" fmla="*/ 195 h 390"/>
                  <a:gd name="T2" fmla="*/ 340 w 678"/>
                  <a:gd name="T3" fmla="*/ 0 h 390"/>
                  <a:gd name="T4" fmla="*/ 678 w 678"/>
                  <a:gd name="T5" fmla="*/ 195 h 390"/>
                  <a:gd name="T6" fmla="*/ 340 w 678"/>
                  <a:gd name="T7" fmla="*/ 390 h 390"/>
                  <a:gd name="T8" fmla="*/ 0 w 678"/>
                  <a:gd name="T9" fmla="*/ 195 h 390"/>
                </a:gdLst>
                <a:ahLst/>
                <a:cxnLst>
                  <a:cxn ang="0">
                    <a:pos x="T0" y="T1"/>
                  </a:cxn>
                  <a:cxn ang="0">
                    <a:pos x="T2" y="T3"/>
                  </a:cxn>
                  <a:cxn ang="0">
                    <a:pos x="T4" y="T5"/>
                  </a:cxn>
                  <a:cxn ang="0">
                    <a:pos x="T6" y="T7"/>
                  </a:cxn>
                  <a:cxn ang="0">
                    <a:pos x="T8" y="T9"/>
                  </a:cxn>
                </a:cxnLst>
                <a:rect l="0" t="0" r="r" b="b"/>
                <a:pathLst>
                  <a:path w="678" h="390">
                    <a:moveTo>
                      <a:pt x="0" y="195"/>
                    </a:moveTo>
                    <a:lnTo>
                      <a:pt x="340" y="0"/>
                    </a:lnTo>
                    <a:lnTo>
                      <a:pt x="678" y="195"/>
                    </a:lnTo>
                    <a:lnTo>
                      <a:pt x="340" y="390"/>
                    </a:lnTo>
                    <a:lnTo>
                      <a:pt x="0" y="19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49" name="iṣ1ïḋe"/>
              <p:cNvSpPr/>
              <p:nvPr/>
            </p:nvSpPr>
            <p:spPr bwMode="auto">
              <a:xfrm>
                <a:off x="3294" y="3638"/>
                <a:ext cx="678" cy="390"/>
              </a:xfrm>
              <a:custGeom>
                <a:avLst/>
                <a:gdLst>
                  <a:gd name="T0" fmla="*/ 340 w 678"/>
                  <a:gd name="T1" fmla="*/ 0 h 390"/>
                  <a:gd name="T2" fmla="*/ 0 w 678"/>
                  <a:gd name="T3" fmla="*/ 195 h 390"/>
                  <a:gd name="T4" fmla="*/ 340 w 678"/>
                  <a:gd name="T5" fmla="*/ 390 h 390"/>
                  <a:gd name="T6" fmla="*/ 678 w 678"/>
                  <a:gd name="T7" fmla="*/ 195 h 390"/>
                  <a:gd name="T8" fmla="*/ 340 w 678"/>
                  <a:gd name="T9" fmla="*/ 0 h 390"/>
                </a:gdLst>
                <a:ahLst/>
                <a:cxnLst>
                  <a:cxn ang="0">
                    <a:pos x="T0" y="T1"/>
                  </a:cxn>
                  <a:cxn ang="0">
                    <a:pos x="T2" y="T3"/>
                  </a:cxn>
                  <a:cxn ang="0">
                    <a:pos x="T4" y="T5"/>
                  </a:cxn>
                  <a:cxn ang="0">
                    <a:pos x="T6" y="T7"/>
                  </a:cxn>
                  <a:cxn ang="0">
                    <a:pos x="T8" y="T9"/>
                  </a:cxn>
                </a:cxnLst>
                <a:rect l="0" t="0" r="r" b="b"/>
                <a:pathLst>
                  <a:path w="678" h="390">
                    <a:moveTo>
                      <a:pt x="340" y="0"/>
                    </a:moveTo>
                    <a:lnTo>
                      <a:pt x="0" y="195"/>
                    </a:lnTo>
                    <a:lnTo>
                      <a:pt x="340" y="390"/>
                    </a:lnTo>
                    <a:lnTo>
                      <a:pt x="678" y="195"/>
                    </a:lnTo>
                    <a:lnTo>
                      <a:pt x="340" y="0"/>
                    </a:lnTo>
                    <a:close/>
                  </a:path>
                </a:pathLst>
              </a:custGeom>
              <a:solidFill>
                <a:srgbClr val="F6678A"/>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0" name="îšlíďe"/>
              <p:cNvSpPr/>
              <p:nvPr/>
            </p:nvSpPr>
            <p:spPr bwMode="auto">
              <a:xfrm>
                <a:off x="3294" y="3638"/>
                <a:ext cx="678" cy="390"/>
              </a:xfrm>
              <a:custGeom>
                <a:avLst/>
                <a:gdLst>
                  <a:gd name="T0" fmla="*/ 340 w 678"/>
                  <a:gd name="T1" fmla="*/ 0 h 390"/>
                  <a:gd name="T2" fmla="*/ 0 w 678"/>
                  <a:gd name="T3" fmla="*/ 195 h 390"/>
                  <a:gd name="T4" fmla="*/ 340 w 678"/>
                  <a:gd name="T5" fmla="*/ 390 h 390"/>
                  <a:gd name="T6" fmla="*/ 678 w 678"/>
                  <a:gd name="T7" fmla="*/ 195 h 390"/>
                  <a:gd name="T8" fmla="*/ 340 w 678"/>
                  <a:gd name="T9" fmla="*/ 0 h 390"/>
                </a:gdLst>
                <a:ahLst/>
                <a:cxnLst>
                  <a:cxn ang="0">
                    <a:pos x="T0" y="T1"/>
                  </a:cxn>
                  <a:cxn ang="0">
                    <a:pos x="T2" y="T3"/>
                  </a:cxn>
                  <a:cxn ang="0">
                    <a:pos x="T4" y="T5"/>
                  </a:cxn>
                  <a:cxn ang="0">
                    <a:pos x="T6" y="T7"/>
                  </a:cxn>
                  <a:cxn ang="0">
                    <a:pos x="T8" y="T9"/>
                  </a:cxn>
                </a:cxnLst>
                <a:rect l="0" t="0" r="r" b="b"/>
                <a:pathLst>
                  <a:path w="678" h="390">
                    <a:moveTo>
                      <a:pt x="340" y="0"/>
                    </a:moveTo>
                    <a:lnTo>
                      <a:pt x="0" y="195"/>
                    </a:lnTo>
                    <a:lnTo>
                      <a:pt x="340" y="390"/>
                    </a:lnTo>
                    <a:lnTo>
                      <a:pt x="678" y="195"/>
                    </a:lnTo>
                    <a:lnTo>
                      <a:pt x="34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1" name="ïsľïḋé"/>
              <p:cNvSpPr/>
              <p:nvPr/>
            </p:nvSpPr>
            <p:spPr bwMode="auto">
              <a:xfrm>
                <a:off x="3294" y="3833"/>
                <a:ext cx="678" cy="244"/>
              </a:xfrm>
              <a:custGeom>
                <a:avLst/>
                <a:gdLst>
                  <a:gd name="T0" fmla="*/ 0 w 678"/>
                  <a:gd name="T1" fmla="*/ 0 h 244"/>
                  <a:gd name="T2" fmla="*/ 0 w 678"/>
                  <a:gd name="T3" fmla="*/ 48 h 244"/>
                  <a:gd name="T4" fmla="*/ 340 w 678"/>
                  <a:gd name="T5" fmla="*/ 244 h 244"/>
                  <a:gd name="T6" fmla="*/ 678 w 678"/>
                  <a:gd name="T7" fmla="*/ 48 h 244"/>
                  <a:gd name="T8" fmla="*/ 678 w 678"/>
                  <a:gd name="T9" fmla="*/ 0 h 244"/>
                  <a:gd name="T10" fmla="*/ 340 w 678"/>
                  <a:gd name="T11" fmla="*/ 195 h 244"/>
                  <a:gd name="T12" fmla="*/ 0 w 678"/>
                  <a:gd name="T13" fmla="*/ 0 h 244"/>
                </a:gdLst>
                <a:ahLst/>
                <a:cxnLst>
                  <a:cxn ang="0">
                    <a:pos x="T0" y="T1"/>
                  </a:cxn>
                  <a:cxn ang="0">
                    <a:pos x="T2" y="T3"/>
                  </a:cxn>
                  <a:cxn ang="0">
                    <a:pos x="T4" y="T5"/>
                  </a:cxn>
                  <a:cxn ang="0">
                    <a:pos x="T6" y="T7"/>
                  </a:cxn>
                  <a:cxn ang="0">
                    <a:pos x="T8" y="T9"/>
                  </a:cxn>
                  <a:cxn ang="0">
                    <a:pos x="T10" y="T11"/>
                  </a:cxn>
                  <a:cxn ang="0">
                    <a:pos x="T12" y="T13"/>
                  </a:cxn>
                </a:cxnLst>
                <a:rect l="0" t="0" r="r" b="b"/>
                <a:pathLst>
                  <a:path w="678" h="244">
                    <a:moveTo>
                      <a:pt x="0" y="0"/>
                    </a:moveTo>
                    <a:lnTo>
                      <a:pt x="0" y="48"/>
                    </a:lnTo>
                    <a:lnTo>
                      <a:pt x="340" y="244"/>
                    </a:lnTo>
                    <a:lnTo>
                      <a:pt x="678" y="48"/>
                    </a:lnTo>
                    <a:lnTo>
                      <a:pt x="678" y="0"/>
                    </a:lnTo>
                    <a:lnTo>
                      <a:pt x="340" y="195"/>
                    </a:lnTo>
                    <a:lnTo>
                      <a:pt x="0" y="0"/>
                    </a:lnTo>
                    <a:close/>
                  </a:path>
                </a:pathLst>
              </a:custGeom>
              <a:solidFill>
                <a:srgbClr val="CF3A5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2" name="ïṥļïḓe"/>
              <p:cNvSpPr/>
              <p:nvPr/>
            </p:nvSpPr>
            <p:spPr bwMode="auto">
              <a:xfrm>
                <a:off x="3294" y="3833"/>
                <a:ext cx="678" cy="244"/>
              </a:xfrm>
              <a:custGeom>
                <a:avLst/>
                <a:gdLst>
                  <a:gd name="T0" fmla="*/ 0 w 678"/>
                  <a:gd name="T1" fmla="*/ 0 h 244"/>
                  <a:gd name="T2" fmla="*/ 0 w 678"/>
                  <a:gd name="T3" fmla="*/ 48 h 244"/>
                  <a:gd name="T4" fmla="*/ 340 w 678"/>
                  <a:gd name="T5" fmla="*/ 244 h 244"/>
                  <a:gd name="T6" fmla="*/ 678 w 678"/>
                  <a:gd name="T7" fmla="*/ 48 h 244"/>
                  <a:gd name="T8" fmla="*/ 678 w 678"/>
                  <a:gd name="T9" fmla="*/ 0 h 244"/>
                  <a:gd name="T10" fmla="*/ 340 w 678"/>
                  <a:gd name="T11" fmla="*/ 195 h 244"/>
                  <a:gd name="T12" fmla="*/ 0 w 678"/>
                  <a:gd name="T13" fmla="*/ 0 h 244"/>
                </a:gdLst>
                <a:ahLst/>
                <a:cxnLst>
                  <a:cxn ang="0">
                    <a:pos x="T0" y="T1"/>
                  </a:cxn>
                  <a:cxn ang="0">
                    <a:pos x="T2" y="T3"/>
                  </a:cxn>
                  <a:cxn ang="0">
                    <a:pos x="T4" y="T5"/>
                  </a:cxn>
                  <a:cxn ang="0">
                    <a:pos x="T6" y="T7"/>
                  </a:cxn>
                  <a:cxn ang="0">
                    <a:pos x="T8" y="T9"/>
                  </a:cxn>
                  <a:cxn ang="0">
                    <a:pos x="T10" y="T11"/>
                  </a:cxn>
                  <a:cxn ang="0">
                    <a:pos x="T12" y="T13"/>
                  </a:cxn>
                </a:cxnLst>
                <a:rect l="0" t="0" r="r" b="b"/>
                <a:pathLst>
                  <a:path w="678" h="244">
                    <a:moveTo>
                      <a:pt x="0" y="0"/>
                    </a:moveTo>
                    <a:lnTo>
                      <a:pt x="0" y="48"/>
                    </a:lnTo>
                    <a:lnTo>
                      <a:pt x="340" y="244"/>
                    </a:lnTo>
                    <a:lnTo>
                      <a:pt x="678" y="48"/>
                    </a:lnTo>
                    <a:lnTo>
                      <a:pt x="678" y="0"/>
                    </a:lnTo>
                    <a:lnTo>
                      <a:pt x="340" y="19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3" name="iṥlïďê"/>
              <p:cNvSpPr/>
              <p:nvPr/>
            </p:nvSpPr>
            <p:spPr bwMode="auto">
              <a:xfrm>
                <a:off x="3499" y="3760"/>
                <a:ext cx="262" cy="158"/>
              </a:xfrm>
              <a:custGeom>
                <a:avLst/>
                <a:gdLst>
                  <a:gd name="T0" fmla="*/ 228 w 262"/>
                  <a:gd name="T1" fmla="*/ 24 h 158"/>
                  <a:gd name="T2" fmla="*/ 203 w 262"/>
                  <a:gd name="T3" fmla="*/ 75 h 158"/>
                  <a:gd name="T4" fmla="*/ 262 w 262"/>
                  <a:gd name="T5" fmla="*/ 121 h 158"/>
                  <a:gd name="T6" fmla="*/ 170 w 262"/>
                  <a:gd name="T7" fmla="*/ 116 h 158"/>
                  <a:gd name="T8" fmla="*/ 121 w 262"/>
                  <a:gd name="T9" fmla="*/ 158 h 158"/>
                  <a:gd name="T10" fmla="*/ 89 w 262"/>
                  <a:gd name="T11" fmla="*/ 104 h 158"/>
                  <a:gd name="T12" fmla="*/ 0 w 262"/>
                  <a:gd name="T13" fmla="*/ 83 h 158"/>
                  <a:gd name="T14" fmla="*/ 72 w 262"/>
                  <a:gd name="T15" fmla="*/ 55 h 158"/>
                  <a:gd name="T16" fmla="*/ 67 w 262"/>
                  <a:gd name="T17" fmla="*/ 0 h 158"/>
                  <a:gd name="T18" fmla="*/ 143 w 262"/>
                  <a:gd name="T19" fmla="*/ 36 h 158"/>
                  <a:gd name="T20" fmla="*/ 228 w 262"/>
                  <a:gd name="T21" fmla="*/ 24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2" h="158">
                    <a:moveTo>
                      <a:pt x="228" y="24"/>
                    </a:moveTo>
                    <a:lnTo>
                      <a:pt x="203" y="75"/>
                    </a:lnTo>
                    <a:lnTo>
                      <a:pt x="262" y="121"/>
                    </a:lnTo>
                    <a:lnTo>
                      <a:pt x="170" y="116"/>
                    </a:lnTo>
                    <a:lnTo>
                      <a:pt x="121" y="158"/>
                    </a:lnTo>
                    <a:lnTo>
                      <a:pt x="89" y="104"/>
                    </a:lnTo>
                    <a:lnTo>
                      <a:pt x="0" y="83"/>
                    </a:lnTo>
                    <a:lnTo>
                      <a:pt x="72" y="55"/>
                    </a:lnTo>
                    <a:lnTo>
                      <a:pt x="67" y="0"/>
                    </a:lnTo>
                    <a:lnTo>
                      <a:pt x="143" y="36"/>
                    </a:lnTo>
                    <a:lnTo>
                      <a:pt x="228" y="24"/>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4" name="í$liḑê"/>
              <p:cNvSpPr/>
              <p:nvPr/>
            </p:nvSpPr>
            <p:spPr bwMode="auto">
              <a:xfrm>
                <a:off x="3294" y="3833"/>
                <a:ext cx="340" cy="244"/>
              </a:xfrm>
              <a:custGeom>
                <a:avLst/>
                <a:gdLst>
                  <a:gd name="T0" fmla="*/ 0 w 340"/>
                  <a:gd name="T1" fmla="*/ 0 h 244"/>
                  <a:gd name="T2" fmla="*/ 0 w 340"/>
                  <a:gd name="T3" fmla="*/ 48 h 244"/>
                  <a:gd name="T4" fmla="*/ 340 w 340"/>
                  <a:gd name="T5" fmla="*/ 244 h 244"/>
                  <a:gd name="T6" fmla="*/ 340 w 340"/>
                  <a:gd name="T7" fmla="*/ 195 h 244"/>
                  <a:gd name="T8" fmla="*/ 0 w 340"/>
                  <a:gd name="T9" fmla="*/ 0 h 244"/>
                </a:gdLst>
                <a:ahLst/>
                <a:cxnLst>
                  <a:cxn ang="0">
                    <a:pos x="T0" y="T1"/>
                  </a:cxn>
                  <a:cxn ang="0">
                    <a:pos x="T2" y="T3"/>
                  </a:cxn>
                  <a:cxn ang="0">
                    <a:pos x="T4" y="T5"/>
                  </a:cxn>
                  <a:cxn ang="0">
                    <a:pos x="T6" y="T7"/>
                  </a:cxn>
                  <a:cxn ang="0">
                    <a:pos x="T8" y="T9"/>
                  </a:cxn>
                </a:cxnLst>
                <a:rect l="0" t="0" r="r" b="b"/>
                <a:pathLst>
                  <a:path w="340" h="244">
                    <a:moveTo>
                      <a:pt x="0" y="0"/>
                    </a:moveTo>
                    <a:lnTo>
                      <a:pt x="0" y="48"/>
                    </a:lnTo>
                    <a:lnTo>
                      <a:pt x="340" y="244"/>
                    </a:lnTo>
                    <a:lnTo>
                      <a:pt x="340" y="195"/>
                    </a:lnTo>
                    <a:lnTo>
                      <a:pt x="0" y="0"/>
                    </a:lnTo>
                    <a:close/>
                  </a:path>
                </a:pathLst>
              </a:custGeom>
              <a:solidFill>
                <a:srgbClr val="E3516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5" name="ïṡḻíḓé"/>
              <p:cNvSpPr/>
              <p:nvPr/>
            </p:nvSpPr>
            <p:spPr bwMode="auto">
              <a:xfrm>
                <a:off x="3294" y="3833"/>
                <a:ext cx="340" cy="244"/>
              </a:xfrm>
              <a:custGeom>
                <a:avLst/>
                <a:gdLst>
                  <a:gd name="T0" fmla="*/ 0 w 340"/>
                  <a:gd name="T1" fmla="*/ 0 h 244"/>
                  <a:gd name="T2" fmla="*/ 0 w 340"/>
                  <a:gd name="T3" fmla="*/ 48 h 244"/>
                  <a:gd name="T4" fmla="*/ 340 w 340"/>
                  <a:gd name="T5" fmla="*/ 244 h 244"/>
                  <a:gd name="T6" fmla="*/ 340 w 340"/>
                  <a:gd name="T7" fmla="*/ 195 h 244"/>
                  <a:gd name="T8" fmla="*/ 0 w 340"/>
                  <a:gd name="T9" fmla="*/ 0 h 244"/>
                </a:gdLst>
                <a:ahLst/>
                <a:cxnLst>
                  <a:cxn ang="0">
                    <a:pos x="T0" y="T1"/>
                  </a:cxn>
                  <a:cxn ang="0">
                    <a:pos x="T2" y="T3"/>
                  </a:cxn>
                  <a:cxn ang="0">
                    <a:pos x="T4" y="T5"/>
                  </a:cxn>
                  <a:cxn ang="0">
                    <a:pos x="T6" y="T7"/>
                  </a:cxn>
                  <a:cxn ang="0">
                    <a:pos x="T8" y="T9"/>
                  </a:cxn>
                </a:cxnLst>
                <a:rect l="0" t="0" r="r" b="b"/>
                <a:pathLst>
                  <a:path w="340" h="244">
                    <a:moveTo>
                      <a:pt x="0" y="0"/>
                    </a:moveTo>
                    <a:lnTo>
                      <a:pt x="0" y="48"/>
                    </a:lnTo>
                    <a:lnTo>
                      <a:pt x="340" y="244"/>
                    </a:lnTo>
                    <a:lnTo>
                      <a:pt x="340" y="19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6" name="ïṥľíḑê"/>
              <p:cNvSpPr/>
              <p:nvPr/>
            </p:nvSpPr>
            <p:spPr bwMode="auto">
              <a:xfrm>
                <a:off x="1901" y="3068"/>
                <a:ext cx="678" cy="389"/>
              </a:xfrm>
              <a:custGeom>
                <a:avLst/>
                <a:gdLst>
                  <a:gd name="T0" fmla="*/ 0 w 678"/>
                  <a:gd name="T1" fmla="*/ 194 h 389"/>
                  <a:gd name="T2" fmla="*/ 339 w 678"/>
                  <a:gd name="T3" fmla="*/ 0 h 389"/>
                  <a:gd name="T4" fmla="*/ 678 w 678"/>
                  <a:gd name="T5" fmla="*/ 194 h 389"/>
                  <a:gd name="T6" fmla="*/ 338 w 678"/>
                  <a:gd name="T7" fmla="*/ 389 h 389"/>
                  <a:gd name="T8" fmla="*/ 0 w 678"/>
                  <a:gd name="T9" fmla="*/ 194 h 389"/>
                </a:gdLst>
                <a:ahLst/>
                <a:cxnLst>
                  <a:cxn ang="0">
                    <a:pos x="T0" y="T1"/>
                  </a:cxn>
                  <a:cxn ang="0">
                    <a:pos x="T2" y="T3"/>
                  </a:cxn>
                  <a:cxn ang="0">
                    <a:pos x="T4" y="T5"/>
                  </a:cxn>
                  <a:cxn ang="0">
                    <a:pos x="T6" y="T7"/>
                  </a:cxn>
                  <a:cxn ang="0">
                    <a:pos x="T8" y="T9"/>
                  </a:cxn>
                </a:cxnLst>
                <a:rect l="0" t="0" r="r" b="b"/>
                <a:pathLst>
                  <a:path w="678" h="389">
                    <a:moveTo>
                      <a:pt x="0" y="194"/>
                    </a:moveTo>
                    <a:lnTo>
                      <a:pt x="339" y="0"/>
                    </a:lnTo>
                    <a:lnTo>
                      <a:pt x="678" y="194"/>
                    </a:lnTo>
                    <a:lnTo>
                      <a:pt x="338" y="389"/>
                    </a:lnTo>
                    <a:lnTo>
                      <a:pt x="0" y="194"/>
                    </a:lnTo>
                    <a:close/>
                  </a:path>
                </a:pathLst>
              </a:custGeom>
              <a:solidFill>
                <a:srgbClr val="416BA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7" name="isľiḍé"/>
              <p:cNvSpPr/>
              <p:nvPr/>
            </p:nvSpPr>
            <p:spPr bwMode="auto">
              <a:xfrm>
                <a:off x="1901" y="3068"/>
                <a:ext cx="678" cy="389"/>
              </a:xfrm>
              <a:custGeom>
                <a:avLst/>
                <a:gdLst>
                  <a:gd name="T0" fmla="*/ 0 w 678"/>
                  <a:gd name="T1" fmla="*/ 194 h 389"/>
                  <a:gd name="T2" fmla="*/ 339 w 678"/>
                  <a:gd name="T3" fmla="*/ 0 h 389"/>
                  <a:gd name="T4" fmla="*/ 678 w 678"/>
                  <a:gd name="T5" fmla="*/ 194 h 389"/>
                  <a:gd name="T6" fmla="*/ 338 w 678"/>
                  <a:gd name="T7" fmla="*/ 389 h 389"/>
                  <a:gd name="T8" fmla="*/ 0 w 678"/>
                  <a:gd name="T9" fmla="*/ 194 h 389"/>
                </a:gdLst>
                <a:ahLst/>
                <a:cxnLst>
                  <a:cxn ang="0">
                    <a:pos x="T0" y="T1"/>
                  </a:cxn>
                  <a:cxn ang="0">
                    <a:pos x="T2" y="T3"/>
                  </a:cxn>
                  <a:cxn ang="0">
                    <a:pos x="T4" y="T5"/>
                  </a:cxn>
                  <a:cxn ang="0">
                    <a:pos x="T6" y="T7"/>
                  </a:cxn>
                  <a:cxn ang="0">
                    <a:pos x="T8" y="T9"/>
                  </a:cxn>
                </a:cxnLst>
                <a:rect l="0" t="0" r="r" b="b"/>
                <a:pathLst>
                  <a:path w="678" h="389">
                    <a:moveTo>
                      <a:pt x="0" y="194"/>
                    </a:moveTo>
                    <a:lnTo>
                      <a:pt x="339" y="0"/>
                    </a:lnTo>
                    <a:lnTo>
                      <a:pt x="678" y="194"/>
                    </a:lnTo>
                    <a:lnTo>
                      <a:pt x="338" y="389"/>
                    </a:lnTo>
                    <a:lnTo>
                      <a:pt x="0" y="19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8" name="ïṩḻiďê"/>
              <p:cNvSpPr/>
              <p:nvPr/>
            </p:nvSpPr>
            <p:spPr bwMode="auto">
              <a:xfrm>
                <a:off x="1901" y="3068"/>
                <a:ext cx="678" cy="389"/>
              </a:xfrm>
              <a:custGeom>
                <a:avLst/>
                <a:gdLst>
                  <a:gd name="T0" fmla="*/ 339 w 678"/>
                  <a:gd name="T1" fmla="*/ 0 h 389"/>
                  <a:gd name="T2" fmla="*/ 0 w 678"/>
                  <a:gd name="T3" fmla="*/ 194 h 389"/>
                  <a:gd name="T4" fmla="*/ 338 w 678"/>
                  <a:gd name="T5" fmla="*/ 389 h 389"/>
                  <a:gd name="T6" fmla="*/ 678 w 678"/>
                  <a:gd name="T7" fmla="*/ 194 h 389"/>
                  <a:gd name="T8" fmla="*/ 339 w 678"/>
                  <a:gd name="T9" fmla="*/ 0 h 389"/>
                </a:gdLst>
                <a:ahLst/>
                <a:cxnLst>
                  <a:cxn ang="0">
                    <a:pos x="T0" y="T1"/>
                  </a:cxn>
                  <a:cxn ang="0">
                    <a:pos x="T2" y="T3"/>
                  </a:cxn>
                  <a:cxn ang="0">
                    <a:pos x="T4" y="T5"/>
                  </a:cxn>
                  <a:cxn ang="0">
                    <a:pos x="T6" y="T7"/>
                  </a:cxn>
                  <a:cxn ang="0">
                    <a:pos x="T8" y="T9"/>
                  </a:cxn>
                </a:cxnLst>
                <a:rect l="0" t="0" r="r" b="b"/>
                <a:pathLst>
                  <a:path w="678" h="389">
                    <a:moveTo>
                      <a:pt x="339" y="0"/>
                    </a:moveTo>
                    <a:lnTo>
                      <a:pt x="0" y="194"/>
                    </a:lnTo>
                    <a:lnTo>
                      <a:pt x="338" y="389"/>
                    </a:lnTo>
                    <a:lnTo>
                      <a:pt x="678" y="194"/>
                    </a:lnTo>
                    <a:lnTo>
                      <a:pt x="339" y="0"/>
                    </a:lnTo>
                    <a:close/>
                  </a:path>
                </a:pathLst>
              </a:custGeom>
              <a:solidFill>
                <a:srgbClr val="416BA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9" name="ïṧḻídê"/>
              <p:cNvSpPr/>
              <p:nvPr/>
            </p:nvSpPr>
            <p:spPr bwMode="auto">
              <a:xfrm>
                <a:off x="1901" y="3068"/>
                <a:ext cx="678" cy="389"/>
              </a:xfrm>
              <a:custGeom>
                <a:avLst/>
                <a:gdLst>
                  <a:gd name="T0" fmla="*/ 339 w 678"/>
                  <a:gd name="T1" fmla="*/ 0 h 389"/>
                  <a:gd name="T2" fmla="*/ 0 w 678"/>
                  <a:gd name="T3" fmla="*/ 194 h 389"/>
                  <a:gd name="T4" fmla="*/ 338 w 678"/>
                  <a:gd name="T5" fmla="*/ 389 h 389"/>
                  <a:gd name="T6" fmla="*/ 678 w 678"/>
                  <a:gd name="T7" fmla="*/ 194 h 389"/>
                  <a:gd name="T8" fmla="*/ 339 w 678"/>
                  <a:gd name="T9" fmla="*/ 0 h 389"/>
                </a:gdLst>
                <a:ahLst/>
                <a:cxnLst>
                  <a:cxn ang="0">
                    <a:pos x="T0" y="T1"/>
                  </a:cxn>
                  <a:cxn ang="0">
                    <a:pos x="T2" y="T3"/>
                  </a:cxn>
                  <a:cxn ang="0">
                    <a:pos x="T4" y="T5"/>
                  </a:cxn>
                  <a:cxn ang="0">
                    <a:pos x="T6" y="T7"/>
                  </a:cxn>
                  <a:cxn ang="0">
                    <a:pos x="T8" y="T9"/>
                  </a:cxn>
                </a:cxnLst>
                <a:rect l="0" t="0" r="r" b="b"/>
                <a:pathLst>
                  <a:path w="678" h="389">
                    <a:moveTo>
                      <a:pt x="339" y="0"/>
                    </a:moveTo>
                    <a:lnTo>
                      <a:pt x="0" y="194"/>
                    </a:lnTo>
                    <a:lnTo>
                      <a:pt x="338" y="389"/>
                    </a:lnTo>
                    <a:lnTo>
                      <a:pt x="678" y="194"/>
                    </a:lnTo>
                    <a:lnTo>
                      <a:pt x="33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0" name="ïṧľídê"/>
              <p:cNvSpPr/>
              <p:nvPr/>
            </p:nvSpPr>
            <p:spPr bwMode="auto">
              <a:xfrm>
                <a:off x="1901" y="3262"/>
                <a:ext cx="678" cy="244"/>
              </a:xfrm>
              <a:custGeom>
                <a:avLst/>
                <a:gdLst>
                  <a:gd name="T0" fmla="*/ 0 w 678"/>
                  <a:gd name="T1" fmla="*/ 0 h 244"/>
                  <a:gd name="T2" fmla="*/ 0 w 678"/>
                  <a:gd name="T3" fmla="*/ 49 h 244"/>
                  <a:gd name="T4" fmla="*/ 339 w 678"/>
                  <a:gd name="T5" fmla="*/ 244 h 244"/>
                  <a:gd name="T6" fmla="*/ 678 w 678"/>
                  <a:gd name="T7" fmla="*/ 49 h 244"/>
                  <a:gd name="T8" fmla="*/ 678 w 678"/>
                  <a:gd name="T9" fmla="*/ 0 h 244"/>
                  <a:gd name="T10" fmla="*/ 338 w 678"/>
                  <a:gd name="T11" fmla="*/ 195 h 244"/>
                  <a:gd name="T12" fmla="*/ 0 w 678"/>
                  <a:gd name="T13" fmla="*/ 0 h 244"/>
                </a:gdLst>
                <a:ahLst/>
                <a:cxnLst>
                  <a:cxn ang="0">
                    <a:pos x="T0" y="T1"/>
                  </a:cxn>
                  <a:cxn ang="0">
                    <a:pos x="T2" y="T3"/>
                  </a:cxn>
                  <a:cxn ang="0">
                    <a:pos x="T4" y="T5"/>
                  </a:cxn>
                  <a:cxn ang="0">
                    <a:pos x="T6" y="T7"/>
                  </a:cxn>
                  <a:cxn ang="0">
                    <a:pos x="T8" y="T9"/>
                  </a:cxn>
                  <a:cxn ang="0">
                    <a:pos x="T10" y="T11"/>
                  </a:cxn>
                  <a:cxn ang="0">
                    <a:pos x="T12" y="T13"/>
                  </a:cxn>
                </a:cxnLst>
                <a:rect l="0" t="0" r="r" b="b"/>
                <a:pathLst>
                  <a:path w="678" h="244">
                    <a:moveTo>
                      <a:pt x="0" y="0"/>
                    </a:moveTo>
                    <a:lnTo>
                      <a:pt x="0" y="49"/>
                    </a:lnTo>
                    <a:lnTo>
                      <a:pt x="339" y="244"/>
                    </a:lnTo>
                    <a:lnTo>
                      <a:pt x="678" y="49"/>
                    </a:lnTo>
                    <a:lnTo>
                      <a:pt x="678" y="0"/>
                    </a:lnTo>
                    <a:lnTo>
                      <a:pt x="338" y="195"/>
                    </a:lnTo>
                    <a:lnTo>
                      <a:pt x="0" y="0"/>
                    </a:lnTo>
                    <a:close/>
                  </a:path>
                </a:pathLst>
              </a:custGeom>
              <a:solidFill>
                <a:srgbClr val="1A428A"/>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1" name="ïṩḷïḓe"/>
              <p:cNvSpPr/>
              <p:nvPr/>
            </p:nvSpPr>
            <p:spPr bwMode="auto">
              <a:xfrm>
                <a:off x="1901" y="3262"/>
                <a:ext cx="678" cy="244"/>
              </a:xfrm>
              <a:custGeom>
                <a:avLst/>
                <a:gdLst>
                  <a:gd name="T0" fmla="*/ 0 w 678"/>
                  <a:gd name="T1" fmla="*/ 0 h 244"/>
                  <a:gd name="T2" fmla="*/ 0 w 678"/>
                  <a:gd name="T3" fmla="*/ 49 h 244"/>
                  <a:gd name="T4" fmla="*/ 339 w 678"/>
                  <a:gd name="T5" fmla="*/ 244 h 244"/>
                  <a:gd name="T6" fmla="*/ 678 w 678"/>
                  <a:gd name="T7" fmla="*/ 49 h 244"/>
                  <a:gd name="T8" fmla="*/ 678 w 678"/>
                  <a:gd name="T9" fmla="*/ 0 h 244"/>
                  <a:gd name="T10" fmla="*/ 338 w 678"/>
                  <a:gd name="T11" fmla="*/ 195 h 244"/>
                  <a:gd name="T12" fmla="*/ 0 w 678"/>
                  <a:gd name="T13" fmla="*/ 0 h 244"/>
                </a:gdLst>
                <a:ahLst/>
                <a:cxnLst>
                  <a:cxn ang="0">
                    <a:pos x="T0" y="T1"/>
                  </a:cxn>
                  <a:cxn ang="0">
                    <a:pos x="T2" y="T3"/>
                  </a:cxn>
                  <a:cxn ang="0">
                    <a:pos x="T4" y="T5"/>
                  </a:cxn>
                  <a:cxn ang="0">
                    <a:pos x="T6" y="T7"/>
                  </a:cxn>
                  <a:cxn ang="0">
                    <a:pos x="T8" y="T9"/>
                  </a:cxn>
                  <a:cxn ang="0">
                    <a:pos x="T10" y="T11"/>
                  </a:cxn>
                  <a:cxn ang="0">
                    <a:pos x="T12" y="T13"/>
                  </a:cxn>
                </a:cxnLst>
                <a:rect l="0" t="0" r="r" b="b"/>
                <a:pathLst>
                  <a:path w="678" h="244">
                    <a:moveTo>
                      <a:pt x="0" y="0"/>
                    </a:moveTo>
                    <a:lnTo>
                      <a:pt x="0" y="49"/>
                    </a:lnTo>
                    <a:lnTo>
                      <a:pt x="339" y="244"/>
                    </a:lnTo>
                    <a:lnTo>
                      <a:pt x="678" y="49"/>
                    </a:lnTo>
                    <a:lnTo>
                      <a:pt x="678" y="0"/>
                    </a:lnTo>
                    <a:lnTo>
                      <a:pt x="338" y="19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2" name="îṣḻíḓê"/>
              <p:cNvSpPr/>
              <p:nvPr/>
            </p:nvSpPr>
            <p:spPr bwMode="auto">
              <a:xfrm>
                <a:off x="2103" y="3179"/>
                <a:ext cx="273" cy="167"/>
              </a:xfrm>
              <a:custGeom>
                <a:avLst/>
                <a:gdLst>
                  <a:gd name="T0" fmla="*/ 72 w 161"/>
                  <a:gd name="T1" fmla="*/ 1 h 99"/>
                  <a:gd name="T2" fmla="*/ 156 w 161"/>
                  <a:gd name="T3" fmla="*/ 49 h 99"/>
                  <a:gd name="T4" fmla="*/ 156 w 161"/>
                  <a:gd name="T5" fmla="*/ 63 h 99"/>
                  <a:gd name="T6" fmla="*/ 97 w 161"/>
                  <a:gd name="T7" fmla="*/ 97 h 99"/>
                  <a:gd name="T8" fmla="*/ 89 w 161"/>
                  <a:gd name="T9" fmla="*/ 97 h 99"/>
                  <a:gd name="T10" fmla="*/ 45 w 161"/>
                  <a:gd name="T11" fmla="*/ 71 h 99"/>
                  <a:gd name="T12" fmla="*/ 6 w 161"/>
                  <a:gd name="T13" fmla="*/ 49 h 99"/>
                  <a:gd name="T14" fmla="*/ 6 w 161"/>
                  <a:gd name="T15" fmla="*/ 35 h 99"/>
                  <a:gd name="T16" fmla="*/ 64 w 161"/>
                  <a:gd name="T17" fmla="*/ 1 h 99"/>
                  <a:gd name="T18" fmla="*/ 72 w 161"/>
                  <a:gd name="T19" fmla="*/ 1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1" h="99">
                    <a:moveTo>
                      <a:pt x="72" y="1"/>
                    </a:moveTo>
                    <a:cubicBezTo>
                      <a:pt x="156" y="49"/>
                      <a:pt x="156" y="49"/>
                      <a:pt x="156" y="49"/>
                    </a:cubicBezTo>
                    <a:cubicBezTo>
                      <a:pt x="161" y="52"/>
                      <a:pt x="161" y="60"/>
                      <a:pt x="156" y="63"/>
                    </a:cubicBezTo>
                    <a:cubicBezTo>
                      <a:pt x="97" y="97"/>
                      <a:pt x="97" y="97"/>
                      <a:pt x="97" y="97"/>
                    </a:cubicBezTo>
                    <a:cubicBezTo>
                      <a:pt x="95" y="99"/>
                      <a:pt x="92" y="99"/>
                      <a:pt x="89" y="97"/>
                    </a:cubicBezTo>
                    <a:cubicBezTo>
                      <a:pt x="45" y="71"/>
                      <a:pt x="45" y="71"/>
                      <a:pt x="45" y="71"/>
                    </a:cubicBezTo>
                    <a:cubicBezTo>
                      <a:pt x="6" y="49"/>
                      <a:pt x="6" y="49"/>
                      <a:pt x="6" y="49"/>
                    </a:cubicBezTo>
                    <a:cubicBezTo>
                      <a:pt x="0" y="46"/>
                      <a:pt x="0" y="38"/>
                      <a:pt x="6" y="35"/>
                    </a:cubicBezTo>
                    <a:cubicBezTo>
                      <a:pt x="64" y="1"/>
                      <a:pt x="64" y="1"/>
                      <a:pt x="64" y="1"/>
                    </a:cubicBezTo>
                    <a:cubicBezTo>
                      <a:pt x="67" y="0"/>
                      <a:pt x="70" y="0"/>
                      <a:pt x="72" y="1"/>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3" name="ísḷîḋe"/>
              <p:cNvSpPr/>
              <p:nvPr/>
            </p:nvSpPr>
            <p:spPr bwMode="auto">
              <a:xfrm>
                <a:off x="2176" y="3299"/>
                <a:ext cx="42" cy="47"/>
              </a:xfrm>
              <a:custGeom>
                <a:avLst/>
                <a:gdLst>
                  <a:gd name="T0" fmla="*/ 0 w 42"/>
                  <a:gd name="T1" fmla="*/ 47 h 47"/>
                  <a:gd name="T2" fmla="*/ 42 w 42"/>
                  <a:gd name="T3" fmla="*/ 24 h 47"/>
                  <a:gd name="T4" fmla="*/ 3 w 42"/>
                  <a:gd name="T5" fmla="*/ 0 h 47"/>
                  <a:gd name="T6" fmla="*/ 0 w 42"/>
                  <a:gd name="T7" fmla="*/ 47 h 47"/>
                </a:gdLst>
                <a:ahLst/>
                <a:cxnLst>
                  <a:cxn ang="0">
                    <a:pos x="T0" y="T1"/>
                  </a:cxn>
                  <a:cxn ang="0">
                    <a:pos x="T2" y="T3"/>
                  </a:cxn>
                  <a:cxn ang="0">
                    <a:pos x="T4" y="T5"/>
                  </a:cxn>
                  <a:cxn ang="0">
                    <a:pos x="T6" y="T7"/>
                  </a:cxn>
                </a:cxnLst>
                <a:rect l="0" t="0" r="r" b="b"/>
                <a:pathLst>
                  <a:path w="42" h="47">
                    <a:moveTo>
                      <a:pt x="0" y="47"/>
                    </a:moveTo>
                    <a:lnTo>
                      <a:pt x="42" y="24"/>
                    </a:lnTo>
                    <a:lnTo>
                      <a:pt x="3" y="0"/>
                    </a:lnTo>
                    <a:lnTo>
                      <a:pt x="0" y="47"/>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448" name="ïṧľiḍê"/>
              <p:cNvSpPr/>
              <p:nvPr/>
            </p:nvSpPr>
            <p:spPr bwMode="auto">
              <a:xfrm>
                <a:off x="1901" y="3262"/>
                <a:ext cx="339" cy="244"/>
              </a:xfrm>
              <a:custGeom>
                <a:avLst/>
                <a:gdLst>
                  <a:gd name="T0" fmla="*/ 0 w 339"/>
                  <a:gd name="T1" fmla="*/ 0 h 244"/>
                  <a:gd name="T2" fmla="*/ 0 w 339"/>
                  <a:gd name="T3" fmla="*/ 49 h 244"/>
                  <a:gd name="T4" fmla="*/ 339 w 339"/>
                  <a:gd name="T5" fmla="*/ 244 h 244"/>
                  <a:gd name="T6" fmla="*/ 338 w 339"/>
                  <a:gd name="T7" fmla="*/ 195 h 244"/>
                  <a:gd name="T8" fmla="*/ 0 w 339"/>
                  <a:gd name="T9" fmla="*/ 0 h 244"/>
                </a:gdLst>
                <a:ahLst/>
                <a:cxnLst>
                  <a:cxn ang="0">
                    <a:pos x="T0" y="T1"/>
                  </a:cxn>
                  <a:cxn ang="0">
                    <a:pos x="T2" y="T3"/>
                  </a:cxn>
                  <a:cxn ang="0">
                    <a:pos x="T4" y="T5"/>
                  </a:cxn>
                  <a:cxn ang="0">
                    <a:pos x="T6" y="T7"/>
                  </a:cxn>
                  <a:cxn ang="0">
                    <a:pos x="T8" y="T9"/>
                  </a:cxn>
                </a:cxnLst>
                <a:rect l="0" t="0" r="r" b="b"/>
                <a:pathLst>
                  <a:path w="339" h="244">
                    <a:moveTo>
                      <a:pt x="0" y="0"/>
                    </a:moveTo>
                    <a:lnTo>
                      <a:pt x="0" y="49"/>
                    </a:lnTo>
                    <a:lnTo>
                      <a:pt x="339" y="244"/>
                    </a:lnTo>
                    <a:lnTo>
                      <a:pt x="338" y="195"/>
                    </a:lnTo>
                    <a:lnTo>
                      <a:pt x="0" y="0"/>
                    </a:lnTo>
                    <a:close/>
                  </a:path>
                </a:pathLst>
              </a:custGeom>
              <a:solidFill>
                <a:srgbClr val="36508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449" name="îṣľîḑê"/>
              <p:cNvSpPr/>
              <p:nvPr/>
            </p:nvSpPr>
            <p:spPr bwMode="auto">
              <a:xfrm>
                <a:off x="1901" y="3262"/>
                <a:ext cx="339" cy="244"/>
              </a:xfrm>
              <a:custGeom>
                <a:avLst/>
                <a:gdLst>
                  <a:gd name="T0" fmla="*/ 0 w 339"/>
                  <a:gd name="T1" fmla="*/ 0 h 244"/>
                  <a:gd name="T2" fmla="*/ 0 w 339"/>
                  <a:gd name="T3" fmla="*/ 49 h 244"/>
                  <a:gd name="T4" fmla="*/ 339 w 339"/>
                  <a:gd name="T5" fmla="*/ 244 h 244"/>
                  <a:gd name="T6" fmla="*/ 338 w 339"/>
                  <a:gd name="T7" fmla="*/ 195 h 244"/>
                  <a:gd name="T8" fmla="*/ 0 w 339"/>
                  <a:gd name="T9" fmla="*/ 0 h 244"/>
                </a:gdLst>
                <a:ahLst/>
                <a:cxnLst>
                  <a:cxn ang="0">
                    <a:pos x="T0" y="T1"/>
                  </a:cxn>
                  <a:cxn ang="0">
                    <a:pos x="T2" y="T3"/>
                  </a:cxn>
                  <a:cxn ang="0">
                    <a:pos x="T4" y="T5"/>
                  </a:cxn>
                  <a:cxn ang="0">
                    <a:pos x="T6" y="T7"/>
                  </a:cxn>
                  <a:cxn ang="0">
                    <a:pos x="T8" y="T9"/>
                  </a:cxn>
                </a:cxnLst>
                <a:rect l="0" t="0" r="r" b="b"/>
                <a:pathLst>
                  <a:path w="339" h="244">
                    <a:moveTo>
                      <a:pt x="0" y="0"/>
                    </a:moveTo>
                    <a:lnTo>
                      <a:pt x="0" y="49"/>
                    </a:lnTo>
                    <a:lnTo>
                      <a:pt x="339" y="244"/>
                    </a:lnTo>
                    <a:lnTo>
                      <a:pt x="338" y="19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450" name="íṥḻîḍê"/>
              <p:cNvSpPr/>
              <p:nvPr/>
            </p:nvSpPr>
            <p:spPr bwMode="auto">
              <a:xfrm>
                <a:off x="3464" y="2980"/>
                <a:ext cx="593" cy="365"/>
              </a:xfrm>
              <a:custGeom>
                <a:avLst/>
                <a:gdLst>
                  <a:gd name="T0" fmla="*/ 42 w 593"/>
                  <a:gd name="T1" fmla="*/ 0 h 365"/>
                  <a:gd name="T2" fmla="*/ 0 w 593"/>
                  <a:gd name="T3" fmla="*/ 24 h 365"/>
                  <a:gd name="T4" fmla="*/ 593 w 593"/>
                  <a:gd name="T5" fmla="*/ 365 h 365"/>
                  <a:gd name="T6" fmla="*/ 0 w 593"/>
                  <a:gd name="T7" fmla="*/ 24 h 365"/>
                  <a:gd name="T8" fmla="*/ 42 w 593"/>
                  <a:gd name="T9" fmla="*/ 0 h 365"/>
                  <a:gd name="T10" fmla="*/ 42 w 593"/>
                  <a:gd name="T11" fmla="*/ 0 h 365"/>
                </a:gdLst>
                <a:ahLst/>
                <a:cxnLst>
                  <a:cxn ang="0">
                    <a:pos x="T0" y="T1"/>
                  </a:cxn>
                  <a:cxn ang="0">
                    <a:pos x="T2" y="T3"/>
                  </a:cxn>
                  <a:cxn ang="0">
                    <a:pos x="T4" y="T5"/>
                  </a:cxn>
                  <a:cxn ang="0">
                    <a:pos x="T6" y="T7"/>
                  </a:cxn>
                  <a:cxn ang="0">
                    <a:pos x="T8" y="T9"/>
                  </a:cxn>
                  <a:cxn ang="0">
                    <a:pos x="T10" y="T11"/>
                  </a:cxn>
                </a:cxnLst>
                <a:rect l="0" t="0" r="r" b="b"/>
                <a:pathLst>
                  <a:path w="593" h="365">
                    <a:moveTo>
                      <a:pt x="42" y="0"/>
                    </a:moveTo>
                    <a:lnTo>
                      <a:pt x="0" y="24"/>
                    </a:lnTo>
                    <a:lnTo>
                      <a:pt x="593" y="365"/>
                    </a:lnTo>
                    <a:lnTo>
                      <a:pt x="0" y="24"/>
                    </a:lnTo>
                    <a:lnTo>
                      <a:pt x="42" y="0"/>
                    </a:lnTo>
                    <a:lnTo>
                      <a:pt x="42" y="0"/>
                    </a:lnTo>
                    <a:close/>
                  </a:path>
                </a:pathLst>
              </a:custGeom>
              <a:solidFill>
                <a:srgbClr val="E7E9EA"/>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451" name="ïšḷîḍè"/>
              <p:cNvSpPr/>
              <p:nvPr/>
            </p:nvSpPr>
            <p:spPr bwMode="auto">
              <a:xfrm>
                <a:off x="3464" y="2980"/>
                <a:ext cx="593" cy="365"/>
              </a:xfrm>
              <a:custGeom>
                <a:avLst/>
                <a:gdLst>
                  <a:gd name="T0" fmla="*/ 42 w 593"/>
                  <a:gd name="T1" fmla="*/ 0 h 365"/>
                  <a:gd name="T2" fmla="*/ 0 w 593"/>
                  <a:gd name="T3" fmla="*/ 24 h 365"/>
                  <a:gd name="T4" fmla="*/ 593 w 593"/>
                  <a:gd name="T5" fmla="*/ 365 h 365"/>
                  <a:gd name="T6" fmla="*/ 0 w 593"/>
                  <a:gd name="T7" fmla="*/ 24 h 365"/>
                  <a:gd name="T8" fmla="*/ 42 w 593"/>
                  <a:gd name="T9" fmla="*/ 0 h 365"/>
                  <a:gd name="T10" fmla="*/ 42 w 593"/>
                  <a:gd name="T11" fmla="*/ 0 h 365"/>
                </a:gdLst>
                <a:ahLst/>
                <a:cxnLst>
                  <a:cxn ang="0">
                    <a:pos x="T0" y="T1"/>
                  </a:cxn>
                  <a:cxn ang="0">
                    <a:pos x="T2" y="T3"/>
                  </a:cxn>
                  <a:cxn ang="0">
                    <a:pos x="T4" y="T5"/>
                  </a:cxn>
                  <a:cxn ang="0">
                    <a:pos x="T6" y="T7"/>
                  </a:cxn>
                  <a:cxn ang="0">
                    <a:pos x="T8" y="T9"/>
                  </a:cxn>
                  <a:cxn ang="0">
                    <a:pos x="T10" y="T11"/>
                  </a:cxn>
                </a:cxnLst>
                <a:rect l="0" t="0" r="r" b="b"/>
                <a:pathLst>
                  <a:path w="593" h="365">
                    <a:moveTo>
                      <a:pt x="42" y="0"/>
                    </a:moveTo>
                    <a:lnTo>
                      <a:pt x="0" y="24"/>
                    </a:lnTo>
                    <a:lnTo>
                      <a:pt x="593" y="365"/>
                    </a:lnTo>
                    <a:lnTo>
                      <a:pt x="0" y="24"/>
                    </a:lnTo>
                    <a:lnTo>
                      <a:pt x="42" y="0"/>
                    </a:lnTo>
                    <a:lnTo>
                      <a:pt x="4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452" name="ïṣ1iďê"/>
              <p:cNvSpPr/>
              <p:nvPr/>
            </p:nvSpPr>
            <p:spPr bwMode="auto">
              <a:xfrm>
                <a:off x="3464" y="2980"/>
                <a:ext cx="593" cy="365"/>
              </a:xfrm>
              <a:custGeom>
                <a:avLst/>
                <a:gdLst>
                  <a:gd name="T0" fmla="*/ 42 w 593"/>
                  <a:gd name="T1" fmla="*/ 0 h 365"/>
                  <a:gd name="T2" fmla="*/ 0 w 593"/>
                  <a:gd name="T3" fmla="*/ 24 h 365"/>
                  <a:gd name="T4" fmla="*/ 593 w 593"/>
                  <a:gd name="T5" fmla="*/ 365 h 365"/>
                  <a:gd name="T6" fmla="*/ 591 w 593"/>
                  <a:gd name="T7" fmla="*/ 316 h 365"/>
                  <a:gd name="T8" fmla="*/ 42 w 593"/>
                  <a:gd name="T9" fmla="*/ 0 h 365"/>
                </a:gdLst>
                <a:ahLst/>
                <a:cxnLst>
                  <a:cxn ang="0">
                    <a:pos x="T0" y="T1"/>
                  </a:cxn>
                  <a:cxn ang="0">
                    <a:pos x="T2" y="T3"/>
                  </a:cxn>
                  <a:cxn ang="0">
                    <a:pos x="T4" y="T5"/>
                  </a:cxn>
                  <a:cxn ang="0">
                    <a:pos x="T6" y="T7"/>
                  </a:cxn>
                  <a:cxn ang="0">
                    <a:pos x="T8" y="T9"/>
                  </a:cxn>
                </a:cxnLst>
                <a:rect l="0" t="0" r="r" b="b"/>
                <a:pathLst>
                  <a:path w="593" h="365">
                    <a:moveTo>
                      <a:pt x="42" y="0"/>
                    </a:moveTo>
                    <a:lnTo>
                      <a:pt x="0" y="24"/>
                    </a:lnTo>
                    <a:lnTo>
                      <a:pt x="593" y="365"/>
                    </a:lnTo>
                    <a:lnTo>
                      <a:pt x="591" y="316"/>
                    </a:lnTo>
                    <a:lnTo>
                      <a:pt x="42" y="0"/>
                    </a:lnTo>
                    <a:close/>
                  </a:path>
                </a:pathLst>
              </a:custGeom>
              <a:solidFill>
                <a:srgbClr val="AFB6BB"/>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489" name="iśļíḑè"/>
              <p:cNvSpPr/>
              <p:nvPr/>
            </p:nvSpPr>
            <p:spPr bwMode="auto">
              <a:xfrm>
                <a:off x="3464" y="2980"/>
                <a:ext cx="593" cy="365"/>
              </a:xfrm>
              <a:custGeom>
                <a:avLst/>
                <a:gdLst>
                  <a:gd name="T0" fmla="*/ 42 w 593"/>
                  <a:gd name="T1" fmla="*/ 0 h 365"/>
                  <a:gd name="T2" fmla="*/ 0 w 593"/>
                  <a:gd name="T3" fmla="*/ 24 h 365"/>
                  <a:gd name="T4" fmla="*/ 593 w 593"/>
                  <a:gd name="T5" fmla="*/ 365 h 365"/>
                  <a:gd name="T6" fmla="*/ 591 w 593"/>
                  <a:gd name="T7" fmla="*/ 316 h 365"/>
                  <a:gd name="T8" fmla="*/ 42 w 593"/>
                  <a:gd name="T9" fmla="*/ 0 h 365"/>
                </a:gdLst>
                <a:ahLst/>
                <a:cxnLst>
                  <a:cxn ang="0">
                    <a:pos x="T0" y="T1"/>
                  </a:cxn>
                  <a:cxn ang="0">
                    <a:pos x="T2" y="T3"/>
                  </a:cxn>
                  <a:cxn ang="0">
                    <a:pos x="T4" y="T5"/>
                  </a:cxn>
                  <a:cxn ang="0">
                    <a:pos x="T6" y="T7"/>
                  </a:cxn>
                  <a:cxn ang="0">
                    <a:pos x="T8" y="T9"/>
                  </a:cxn>
                </a:cxnLst>
                <a:rect l="0" t="0" r="r" b="b"/>
                <a:pathLst>
                  <a:path w="593" h="365">
                    <a:moveTo>
                      <a:pt x="42" y="0"/>
                    </a:moveTo>
                    <a:lnTo>
                      <a:pt x="0" y="24"/>
                    </a:lnTo>
                    <a:lnTo>
                      <a:pt x="593" y="365"/>
                    </a:lnTo>
                    <a:lnTo>
                      <a:pt x="591" y="316"/>
                    </a:lnTo>
                    <a:lnTo>
                      <a:pt x="4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490" name="íṣ1ïḋe"/>
              <p:cNvSpPr/>
              <p:nvPr/>
            </p:nvSpPr>
            <p:spPr bwMode="auto">
              <a:xfrm>
                <a:off x="3464" y="2955"/>
                <a:ext cx="42" cy="49"/>
              </a:xfrm>
              <a:custGeom>
                <a:avLst/>
                <a:gdLst>
                  <a:gd name="T0" fmla="*/ 0 w 42"/>
                  <a:gd name="T1" fmla="*/ 0 h 49"/>
                  <a:gd name="T2" fmla="*/ 0 w 42"/>
                  <a:gd name="T3" fmla="*/ 49 h 49"/>
                  <a:gd name="T4" fmla="*/ 42 w 42"/>
                  <a:gd name="T5" fmla="*/ 25 h 49"/>
                  <a:gd name="T6" fmla="*/ 0 w 42"/>
                  <a:gd name="T7" fmla="*/ 0 h 49"/>
                </a:gdLst>
                <a:ahLst/>
                <a:cxnLst>
                  <a:cxn ang="0">
                    <a:pos x="T0" y="T1"/>
                  </a:cxn>
                  <a:cxn ang="0">
                    <a:pos x="T2" y="T3"/>
                  </a:cxn>
                  <a:cxn ang="0">
                    <a:pos x="T4" y="T5"/>
                  </a:cxn>
                  <a:cxn ang="0">
                    <a:pos x="T6" y="T7"/>
                  </a:cxn>
                </a:cxnLst>
                <a:rect l="0" t="0" r="r" b="b"/>
                <a:pathLst>
                  <a:path w="42" h="49">
                    <a:moveTo>
                      <a:pt x="0" y="0"/>
                    </a:moveTo>
                    <a:lnTo>
                      <a:pt x="0" y="49"/>
                    </a:lnTo>
                    <a:lnTo>
                      <a:pt x="42" y="25"/>
                    </a:lnTo>
                    <a:lnTo>
                      <a:pt x="0" y="0"/>
                    </a:lnTo>
                    <a:close/>
                  </a:path>
                </a:pathLst>
              </a:custGeom>
              <a:solidFill>
                <a:srgbClr val="AFB6BB"/>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491" name="ïş1iďe"/>
              <p:cNvSpPr/>
              <p:nvPr/>
            </p:nvSpPr>
            <p:spPr bwMode="auto">
              <a:xfrm>
                <a:off x="3464" y="2955"/>
                <a:ext cx="42" cy="49"/>
              </a:xfrm>
              <a:custGeom>
                <a:avLst/>
                <a:gdLst>
                  <a:gd name="T0" fmla="*/ 0 w 42"/>
                  <a:gd name="T1" fmla="*/ 0 h 49"/>
                  <a:gd name="T2" fmla="*/ 0 w 42"/>
                  <a:gd name="T3" fmla="*/ 49 h 49"/>
                  <a:gd name="T4" fmla="*/ 42 w 42"/>
                  <a:gd name="T5" fmla="*/ 25 h 49"/>
                  <a:gd name="T6" fmla="*/ 0 w 42"/>
                  <a:gd name="T7" fmla="*/ 0 h 49"/>
                </a:gdLst>
                <a:ahLst/>
                <a:cxnLst>
                  <a:cxn ang="0">
                    <a:pos x="T0" y="T1"/>
                  </a:cxn>
                  <a:cxn ang="0">
                    <a:pos x="T2" y="T3"/>
                  </a:cxn>
                  <a:cxn ang="0">
                    <a:pos x="T4" y="T5"/>
                  </a:cxn>
                  <a:cxn ang="0">
                    <a:pos x="T6" y="T7"/>
                  </a:cxn>
                </a:cxnLst>
                <a:rect l="0" t="0" r="r" b="b"/>
                <a:pathLst>
                  <a:path w="42" h="49">
                    <a:moveTo>
                      <a:pt x="0" y="0"/>
                    </a:moveTo>
                    <a:lnTo>
                      <a:pt x="0" y="49"/>
                    </a:lnTo>
                    <a:lnTo>
                      <a:pt x="42" y="2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492" name="ïšḷïḑè"/>
              <p:cNvSpPr/>
              <p:nvPr/>
            </p:nvSpPr>
            <p:spPr bwMode="auto">
              <a:xfrm>
                <a:off x="3484" y="1801"/>
                <a:ext cx="168" cy="611"/>
              </a:xfrm>
              <a:custGeom>
                <a:avLst/>
                <a:gdLst>
                  <a:gd name="T0" fmla="*/ 83 w 168"/>
                  <a:gd name="T1" fmla="*/ 24 h 611"/>
                  <a:gd name="T2" fmla="*/ 126 w 168"/>
                  <a:gd name="T3" fmla="*/ 0 h 611"/>
                  <a:gd name="T4" fmla="*/ 168 w 168"/>
                  <a:gd name="T5" fmla="*/ 24 h 611"/>
                  <a:gd name="T6" fmla="*/ 43 w 168"/>
                  <a:gd name="T7" fmla="*/ 587 h 611"/>
                  <a:gd name="T8" fmla="*/ 0 w 168"/>
                  <a:gd name="T9" fmla="*/ 611 h 611"/>
                  <a:gd name="T10" fmla="*/ 126 w 168"/>
                  <a:gd name="T11" fmla="*/ 49 h 611"/>
                  <a:gd name="T12" fmla="*/ 83 w 168"/>
                  <a:gd name="T13" fmla="*/ 24 h 611"/>
                </a:gdLst>
                <a:ahLst/>
                <a:cxnLst>
                  <a:cxn ang="0">
                    <a:pos x="T0" y="T1"/>
                  </a:cxn>
                  <a:cxn ang="0">
                    <a:pos x="T2" y="T3"/>
                  </a:cxn>
                  <a:cxn ang="0">
                    <a:pos x="T4" y="T5"/>
                  </a:cxn>
                  <a:cxn ang="0">
                    <a:pos x="T6" y="T7"/>
                  </a:cxn>
                  <a:cxn ang="0">
                    <a:pos x="T8" y="T9"/>
                  </a:cxn>
                  <a:cxn ang="0">
                    <a:pos x="T10" y="T11"/>
                  </a:cxn>
                  <a:cxn ang="0">
                    <a:pos x="T12" y="T13"/>
                  </a:cxn>
                </a:cxnLst>
                <a:rect l="0" t="0" r="r" b="b"/>
                <a:pathLst>
                  <a:path w="168" h="611">
                    <a:moveTo>
                      <a:pt x="83" y="24"/>
                    </a:moveTo>
                    <a:lnTo>
                      <a:pt x="126" y="0"/>
                    </a:lnTo>
                    <a:lnTo>
                      <a:pt x="168" y="24"/>
                    </a:lnTo>
                    <a:lnTo>
                      <a:pt x="43" y="587"/>
                    </a:lnTo>
                    <a:lnTo>
                      <a:pt x="0" y="611"/>
                    </a:lnTo>
                    <a:lnTo>
                      <a:pt x="126" y="49"/>
                    </a:lnTo>
                    <a:lnTo>
                      <a:pt x="83" y="24"/>
                    </a:lnTo>
                    <a:close/>
                  </a:path>
                </a:pathLst>
              </a:custGeom>
              <a:solidFill>
                <a:srgbClr val="543E3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493" name="íśľiḋê"/>
              <p:cNvSpPr/>
              <p:nvPr/>
            </p:nvSpPr>
            <p:spPr bwMode="auto">
              <a:xfrm>
                <a:off x="3484" y="1801"/>
                <a:ext cx="168" cy="611"/>
              </a:xfrm>
              <a:custGeom>
                <a:avLst/>
                <a:gdLst>
                  <a:gd name="T0" fmla="*/ 83 w 168"/>
                  <a:gd name="T1" fmla="*/ 24 h 611"/>
                  <a:gd name="T2" fmla="*/ 126 w 168"/>
                  <a:gd name="T3" fmla="*/ 0 h 611"/>
                  <a:gd name="T4" fmla="*/ 168 w 168"/>
                  <a:gd name="T5" fmla="*/ 24 h 611"/>
                  <a:gd name="T6" fmla="*/ 43 w 168"/>
                  <a:gd name="T7" fmla="*/ 587 h 611"/>
                  <a:gd name="T8" fmla="*/ 0 w 168"/>
                  <a:gd name="T9" fmla="*/ 611 h 611"/>
                  <a:gd name="T10" fmla="*/ 126 w 168"/>
                  <a:gd name="T11" fmla="*/ 49 h 611"/>
                  <a:gd name="T12" fmla="*/ 83 w 168"/>
                  <a:gd name="T13" fmla="*/ 24 h 611"/>
                </a:gdLst>
                <a:ahLst/>
                <a:cxnLst>
                  <a:cxn ang="0">
                    <a:pos x="T0" y="T1"/>
                  </a:cxn>
                  <a:cxn ang="0">
                    <a:pos x="T2" y="T3"/>
                  </a:cxn>
                  <a:cxn ang="0">
                    <a:pos x="T4" y="T5"/>
                  </a:cxn>
                  <a:cxn ang="0">
                    <a:pos x="T6" y="T7"/>
                  </a:cxn>
                  <a:cxn ang="0">
                    <a:pos x="T8" y="T9"/>
                  </a:cxn>
                  <a:cxn ang="0">
                    <a:pos x="T10" y="T11"/>
                  </a:cxn>
                  <a:cxn ang="0">
                    <a:pos x="T12" y="T13"/>
                  </a:cxn>
                </a:cxnLst>
                <a:rect l="0" t="0" r="r" b="b"/>
                <a:pathLst>
                  <a:path w="168" h="611">
                    <a:moveTo>
                      <a:pt x="83" y="24"/>
                    </a:moveTo>
                    <a:lnTo>
                      <a:pt x="126" y="0"/>
                    </a:lnTo>
                    <a:lnTo>
                      <a:pt x="168" y="24"/>
                    </a:lnTo>
                    <a:lnTo>
                      <a:pt x="43" y="587"/>
                    </a:lnTo>
                    <a:lnTo>
                      <a:pt x="0" y="611"/>
                    </a:lnTo>
                    <a:lnTo>
                      <a:pt x="126" y="49"/>
                    </a:lnTo>
                    <a:lnTo>
                      <a:pt x="83" y="2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494" name="ïṣļíḑè"/>
              <p:cNvSpPr/>
              <p:nvPr/>
            </p:nvSpPr>
            <p:spPr bwMode="auto">
              <a:xfrm>
                <a:off x="3549" y="1961"/>
                <a:ext cx="253" cy="195"/>
              </a:xfrm>
              <a:custGeom>
                <a:avLst/>
                <a:gdLst>
                  <a:gd name="T0" fmla="*/ 0 w 253"/>
                  <a:gd name="T1" fmla="*/ 0 h 195"/>
                  <a:gd name="T2" fmla="*/ 0 w 253"/>
                  <a:gd name="T3" fmla="*/ 49 h 195"/>
                  <a:gd name="T4" fmla="*/ 253 w 253"/>
                  <a:gd name="T5" fmla="*/ 195 h 195"/>
                  <a:gd name="T6" fmla="*/ 253 w 253"/>
                  <a:gd name="T7" fmla="*/ 146 h 195"/>
                  <a:gd name="T8" fmla="*/ 0 w 253"/>
                  <a:gd name="T9" fmla="*/ 0 h 195"/>
                </a:gdLst>
                <a:ahLst/>
                <a:cxnLst>
                  <a:cxn ang="0">
                    <a:pos x="T0" y="T1"/>
                  </a:cxn>
                  <a:cxn ang="0">
                    <a:pos x="T2" y="T3"/>
                  </a:cxn>
                  <a:cxn ang="0">
                    <a:pos x="T4" y="T5"/>
                  </a:cxn>
                  <a:cxn ang="0">
                    <a:pos x="T6" y="T7"/>
                  </a:cxn>
                  <a:cxn ang="0">
                    <a:pos x="T8" y="T9"/>
                  </a:cxn>
                </a:cxnLst>
                <a:rect l="0" t="0" r="r" b="b"/>
                <a:pathLst>
                  <a:path w="253" h="195">
                    <a:moveTo>
                      <a:pt x="0" y="0"/>
                    </a:moveTo>
                    <a:lnTo>
                      <a:pt x="0" y="49"/>
                    </a:lnTo>
                    <a:lnTo>
                      <a:pt x="253" y="195"/>
                    </a:lnTo>
                    <a:lnTo>
                      <a:pt x="253" y="146"/>
                    </a:lnTo>
                    <a:lnTo>
                      <a:pt x="0" y="0"/>
                    </a:lnTo>
                    <a:close/>
                  </a:path>
                </a:pathLst>
              </a:custGeom>
              <a:solidFill>
                <a:srgbClr val="72594B"/>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495" name="is1îḋê"/>
              <p:cNvSpPr/>
              <p:nvPr/>
            </p:nvSpPr>
            <p:spPr bwMode="auto">
              <a:xfrm>
                <a:off x="3549" y="1961"/>
                <a:ext cx="253" cy="195"/>
              </a:xfrm>
              <a:custGeom>
                <a:avLst/>
                <a:gdLst>
                  <a:gd name="T0" fmla="*/ 0 w 253"/>
                  <a:gd name="T1" fmla="*/ 0 h 195"/>
                  <a:gd name="T2" fmla="*/ 0 w 253"/>
                  <a:gd name="T3" fmla="*/ 49 h 195"/>
                  <a:gd name="T4" fmla="*/ 253 w 253"/>
                  <a:gd name="T5" fmla="*/ 195 h 195"/>
                  <a:gd name="T6" fmla="*/ 253 w 253"/>
                  <a:gd name="T7" fmla="*/ 146 h 195"/>
                  <a:gd name="T8" fmla="*/ 0 w 253"/>
                  <a:gd name="T9" fmla="*/ 0 h 195"/>
                </a:gdLst>
                <a:ahLst/>
                <a:cxnLst>
                  <a:cxn ang="0">
                    <a:pos x="T0" y="T1"/>
                  </a:cxn>
                  <a:cxn ang="0">
                    <a:pos x="T2" y="T3"/>
                  </a:cxn>
                  <a:cxn ang="0">
                    <a:pos x="T4" y="T5"/>
                  </a:cxn>
                  <a:cxn ang="0">
                    <a:pos x="T6" y="T7"/>
                  </a:cxn>
                  <a:cxn ang="0">
                    <a:pos x="T8" y="T9"/>
                  </a:cxn>
                </a:cxnLst>
                <a:rect l="0" t="0" r="r" b="b"/>
                <a:pathLst>
                  <a:path w="253" h="195">
                    <a:moveTo>
                      <a:pt x="0" y="0"/>
                    </a:moveTo>
                    <a:lnTo>
                      <a:pt x="0" y="49"/>
                    </a:lnTo>
                    <a:lnTo>
                      <a:pt x="253" y="195"/>
                    </a:lnTo>
                    <a:lnTo>
                      <a:pt x="253" y="146"/>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496" name="ïSļîḓè"/>
              <p:cNvSpPr/>
              <p:nvPr/>
            </p:nvSpPr>
            <p:spPr bwMode="auto">
              <a:xfrm>
                <a:off x="3549" y="1937"/>
                <a:ext cx="295" cy="219"/>
              </a:xfrm>
              <a:custGeom>
                <a:avLst/>
                <a:gdLst>
                  <a:gd name="T0" fmla="*/ 0 w 295"/>
                  <a:gd name="T1" fmla="*/ 24 h 219"/>
                  <a:gd name="T2" fmla="*/ 42 w 295"/>
                  <a:gd name="T3" fmla="*/ 0 h 219"/>
                  <a:gd name="T4" fmla="*/ 295 w 295"/>
                  <a:gd name="T5" fmla="*/ 146 h 219"/>
                  <a:gd name="T6" fmla="*/ 295 w 295"/>
                  <a:gd name="T7" fmla="*/ 195 h 219"/>
                  <a:gd name="T8" fmla="*/ 253 w 295"/>
                  <a:gd name="T9" fmla="*/ 219 h 219"/>
                  <a:gd name="T10" fmla="*/ 253 w 295"/>
                  <a:gd name="T11" fmla="*/ 170 h 219"/>
                  <a:gd name="T12" fmla="*/ 0 w 295"/>
                  <a:gd name="T13" fmla="*/ 24 h 219"/>
                </a:gdLst>
                <a:ahLst/>
                <a:cxnLst>
                  <a:cxn ang="0">
                    <a:pos x="T0" y="T1"/>
                  </a:cxn>
                  <a:cxn ang="0">
                    <a:pos x="T2" y="T3"/>
                  </a:cxn>
                  <a:cxn ang="0">
                    <a:pos x="T4" y="T5"/>
                  </a:cxn>
                  <a:cxn ang="0">
                    <a:pos x="T6" y="T7"/>
                  </a:cxn>
                  <a:cxn ang="0">
                    <a:pos x="T8" y="T9"/>
                  </a:cxn>
                  <a:cxn ang="0">
                    <a:pos x="T10" y="T11"/>
                  </a:cxn>
                  <a:cxn ang="0">
                    <a:pos x="T12" y="T13"/>
                  </a:cxn>
                </a:cxnLst>
                <a:rect l="0" t="0" r="r" b="b"/>
                <a:pathLst>
                  <a:path w="295" h="219">
                    <a:moveTo>
                      <a:pt x="0" y="24"/>
                    </a:moveTo>
                    <a:lnTo>
                      <a:pt x="42" y="0"/>
                    </a:lnTo>
                    <a:lnTo>
                      <a:pt x="295" y="146"/>
                    </a:lnTo>
                    <a:lnTo>
                      <a:pt x="295" y="195"/>
                    </a:lnTo>
                    <a:lnTo>
                      <a:pt x="253" y="219"/>
                    </a:lnTo>
                    <a:lnTo>
                      <a:pt x="253" y="170"/>
                    </a:lnTo>
                    <a:lnTo>
                      <a:pt x="0" y="24"/>
                    </a:lnTo>
                    <a:close/>
                  </a:path>
                </a:pathLst>
              </a:custGeom>
              <a:solidFill>
                <a:srgbClr val="543E3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497" name="íṧļïḋe"/>
              <p:cNvSpPr/>
              <p:nvPr/>
            </p:nvSpPr>
            <p:spPr bwMode="auto">
              <a:xfrm>
                <a:off x="3549" y="1937"/>
                <a:ext cx="295" cy="219"/>
              </a:xfrm>
              <a:custGeom>
                <a:avLst/>
                <a:gdLst>
                  <a:gd name="T0" fmla="*/ 0 w 295"/>
                  <a:gd name="T1" fmla="*/ 24 h 219"/>
                  <a:gd name="T2" fmla="*/ 42 w 295"/>
                  <a:gd name="T3" fmla="*/ 0 h 219"/>
                  <a:gd name="T4" fmla="*/ 295 w 295"/>
                  <a:gd name="T5" fmla="*/ 146 h 219"/>
                  <a:gd name="T6" fmla="*/ 295 w 295"/>
                  <a:gd name="T7" fmla="*/ 195 h 219"/>
                  <a:gd name="T8" fmla="*/ 253 w 295"/>
                  <a:gd name="T9" fmla="*/ 219 h 219"/>
                  <a:gd name="T10" fmla="*/ 253 w 295"/>
                  <a:gd name="T11" fmla="*/ 170 h 219"/>
                  <a:gd name="T12" fmla="*/ 0 w 295"/>
                  <a:gd name="T13" fmla="*/ 24 h 219"/>
                </a:gdLst>
                <a:ahLst/>
                <a:cxnLst>
                  <a:cxn ang="0">
                    <a:pos x="T0" y="T1"/>
                  </a:cxn>
                  <a:cxn ang="0">
                    <a:pos x="T2" y="T3"/>
                  </a:cxn>
                  <a:cxn ang="0">
                    <a:pos x="T4" y="T5"/>
                  </a:cxn>
                  <a:cxn ang="0">
                    <a:pos x="T6" y="T7"/>
                  </a:cxn>
                  <a:cxn ang="0">
                    <a:pos x="T8" y="T9"/>
                  </a:cxn>
                  <a:cxn ang="0">
                    <a:pos x="T10" y="T11"/>
                  </a:cxn>
                  <a:cxn ang="0">
                    <a:pos x="T12" y="T13"/>
                  </a:cxn>
                </a:cxnLst>
                <a:rect l="0" t="0" r="r" b="b"/>
                <a:pathLst>
                  <a:path w="295" h="219">
                    <a:moveTo>
                      <a:pt x="0" y="24"/>
                    </a:moveTo>
                    <a:lnTo>
                      <a:pt x="42" y="0"/>
                    </a:lnTo>
                    <a:lnTo>
                      <a:pt x="295" y="146"/>
                    </a:lnTo>
                    <a:lnTo>
                      <a:pt x="295" y="195"/>
                    </a:lnTo>
                    <a:lnTo>
                      <a:pt x="253" y="219"/>
                    </a:lnTo>
                    <a:lnTo>
                      <a:pt x="253" y="170"/>
                    </a:lnTo>
                    <a:lnTo>
                      <a:pt x="0" y="2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498" name="íśļiḓe"/>
              <p:cNvSpPr/>
              <p:nvPr/>
            </p:nvSpPr>
            <p:spPr bwMode="auto">
              <a:xfrm>
                <a:off x="3623" y="1956"/>
                <a:ext cx="221" cy="127"/>
              </a:xfrm>
              <a:custGeom>
                <a:avLst/>
                <a:gdLst>
                  <a:gd name="T0" fmla="*/ 0 w 221"/>
                  <a:gd name="T1" fmla="*/ 0 h 127"/>
                  <a:gd name="T2" fmla="*/ 0 w 221"/>
                  <a:gd name="T3" fmla="*/ 0 h 127"/>
                  <a:gd name="T4" fmla="*/ 221 w 221"/>
                  <a:gd name="T5" fmla="*/ 127 h 127"/>
                  <a:gd name="T6" fmla="*/ 0 w 221"/>
                  <a:gd name="T7" fmla="*/ 0 h 127"/>
                </a:gdLst>
                <a:ahLst/>
                <a:cxnLst>
                  <a:cxn ang="0">
                    <a:pos x="T0" y="T1"/>
                  </a:cxn>
                  <a:cxn ang="0">
                    <a:pos x="T2" y="T3"/>
                  </a:cxn>
                  <a:cxn ang="0">
                    <a:pos x="T4" y="T5"/>
                  </a:cxn>
                  <a:cxn ang="0">
                    <a:pos x="T6" y="T7"/>
                  </a:cxn>
                </a:cxnLst>
                <a:rect l="0" t="0" r="r" b="b"/>
                <a:pathLst>
                  <a:path w="221" h="127">
                    <a:moveTo>
                      <a:pt x="0" y="0"/>
                    </a:moveTo>
                    <a:lnTo>
                      <a:pt x="0" y="0"/>
                    </a:lnTo>
                    <a:lnTo>
                      <a:pt x="221" y="127"/>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499" name="ï$líďé"/>
              <p:cNvSpPr/>
              <p:nvPr/>
            </p:nvSpPr>
            <p:spPr bwMode="auto">
              <a:xfrm>
                <a:off x="3623" y="1956"/>
                <a:ext cx="221" cy="127"/>
              </a:xfrm>
              <a:custGeom>
                <a:avLst/>
                <a:gdLst>
                  <a:gd name="T0" fmla="*/ 0 w 221"/>
                  <a:gd name="T1" fmla="*/ 0 h 127"/>
                  <a:gd name="T2" fmla="*/ 0 w 221"/>
                  <a:gd name="T3" fmla="*/ 0 h 127"/>
                  <a:gd name="T4" fmla="*/ 221 w 221"/>
                  <a:gd name="T5" fmla="*/ 127 h 127"/>
                  <a:gd name="T6" fmla="*/ 0 w 221"/>
                  <a:gd name="T7" fmla="*/ 0 h 127"/>
                </a:gdLst>
                <a:ahLst/>
                <a:cxnLst>
                  <a:cxn ang="0">
                    <a:pos x="T0" y="T1"/>
                  </a:cxn>
                  <a:cxn ang="0">
                    <a:pos x="T2" y="T3"/>
                  </a:cxn>
                  <a:cxn ang="0">
                    <a:pos x="T4" y="T5"/>
                  </a:cxn>
                  <a:cxn ang="0">
                    <a:pos x="T6" y="T7"/>
                  </a:cxn>
                </a:cxnLst>
                <a:rect l="0" t="0" r="r" b="b"/>
                <a:pathLst>
                  <a:path w="221" h="127">
                    <a:moveTo>
                      <a:pt x="0" y="0"/>
                    </a:moveTo>
                    <a:lnTo>
                      <a:pt x="0" y="0"/>
                    </a:lnTo>
                    <a:lnTo>
                      <a:pt x="221" y="127"/>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00" name="îṩľîďê"/>
              <p:cNvSpPr/>
              <p:nvPr/>
            </p:nvSpPr>
            <p:spPr bwMode="auto">
              <a:xfrm>
                <a:off x="3623" y="1956"/>
                <a:ext cx="221" cy="127"/>
              </a:xfrm>
              <a:custGeom>
                <a:avLst/>
                <a:gdLst>
                  <a:gd name="T0" fmla="*/ 0 w 221"/>
                  <a:gd name="T1" fmla="*/ 0 h 127"/>
                  <a:gd name="T2" fmla="*/ 0 w 221"/>
                  <a:gd name="T3" fmla="*/ 0 h 127"/>
                  <a:gd name="T4" fmla="*/ 221 w 221"/>
                  <a:gd name="T5" fmla="*/ 127 h 127"/>
                  <a:gd name="T6" fmla="*/ 0 w 221"/>
                  <a:gd name="T7" fmla="*/ 0 h 127"/>
                </a:gdLst>
                <a:ahLst/>
                <a:cxnLst>
                  <a:cxn ang="0">
                    <a:pos x="T0" y="T1"/>
                  </a:cxn>
                  <a:cxn ang="0">
                    <a:pos x="T2" y="T3"/>
                  </a:cxn>
                  <a:cxn ang="0">
                    <a:pos x="T4" y="T5"/>
                  </a:cxn>
                  <a:cxn ang="0">
                    <a:pos x="T6" y="T7"/>
                  </a:cxn>
                </a:cxnLst>
                <a:rect l="0" t="0" r="r" b="b"/>
                <a:pathLst>
                  <a:path w="221" h="127">
                    <a:moveTo>
                      <a:pt x="0" y="0"/>
                    </a:moveTo>
                    <a:lnTo>
                      <a:pt x="0" y="0"/>
                    </a:lnTo>
                    <a:lnTo>
                      <a:pt x="221" y="127"/>
                    </a:lnTo>
                    <a:lnTo>
                      <a:pt x="0" y="0"/>
                    </a:lnTo>
                    <a:close/>
                  </a:path>
                </a:pathLst>
              </a:custGeom>
              <a:solidFill>
                <a:srgbClr val="D2CFCB"/>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01" name="i$ļïďé"/>
              <p:cNvSpPr/>
              <p:nvPr/>
            </p:nvSpPr>
            <p:spPr bwMode="auto">
              <a:xfrm>
                <a:off x="3623" y="1956"/>
                <a:ext cx="221" cy="127"/>
              </a:xfrm>
              <a:custGeom>
                <a:avLst/>
                <a:gdLst>
                  <a:gd name="T0" fmla="*/ 0 w 221"/>
                  <a:gd name="T1" fmla="*/ 0 h 127"/>
                  <a:gd name="T2" fmla="*/ 0 w 221"/>
                  <a:gd name="T3" fmla="*/ 0 h 127"/>
                  <a:gd name="T4" fmla="*/ 221 w 221"/>
                  <a:gd name="T5" fmla="*/ 127 h 127"/>
                  <a:gd name="T6" fmla="*/ 0 w 221"/>
                  <a:gd name="T7" fmla="*/ 0 h 127"/>
                </a:gdLst>
                <a:ahLst/>
                <a:cxnLst>
                  <a:cxn ang="0">
                    <a:pos x="T0" y="T1"/>
                  </a:cxn>
                  <a:cxn ang="0">
                    <a:pos x="T2" y="T3"/>
                  </a:cxn>
                  <a:cxn ang="0">
                    <a:pos x="T4" y="T5"/>
                  </a:cxn>
                  <a:cxn ang="0">
                    <a:pos x="T6" y="T7"/>
                  </a:cxn>
                </a:cxnLst>
                <a:rect l="0" t="0" r="r" b="b"/>
                <a:pathLst>
                  <a:path w="221" h="127">
                    <a:moveTo>
                      <a:pt x="0" y="0"/>
                    </a:moveTo>
                    <a:lnTo>
                      <a:pt x="0" y="0"/>
                    </a:lnTo>
                    <a:lnTo>
                      <a:pt x="221" y="127"/>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02" name="ïşľiďé"/>
              <p:cNvSpPr/>
              <p:nvPr/>
            </p:nvSpPr>
            <p:spPr bwMode="auto">
              <a:xfrm>
                <a:off x="3581" y="1979"/>
                <a:ext cx="221" cy="128"/>
              </a:xfrm>
              <a:custGeom>
                <a:avLst/>
                <a:gdLst>
                  <a:gd name="T0" fmla="*/ 0 w 221"/>
                  <a:gd name="T1" fmla="*/ 0 h 128"/>
                  <a:gd name="T2" fmla="*/ 0 w 221"/>
                  <a:gd name="T3" fmla="*/ 0 h 128"/>
                  <a:gd name="T4" fmla="*/ 221 w 221"/>
                  <a:gd name="T5" fmla="*/ 128 h 128"/>
                  <a:gd name="T6" fmla="*/ 0 w 221"/>
                  <a:gd name="T7" fmla="*/ 0 h 128"/>
                </a:gdLst>
                <a:ahLst/>
                <a:cxnLst>
                  <a:cxn ang="0">
                    <a:pos x="T0" y="T1"/>
                  </a:cxn>
                  <a:cxn ang="0">
                    <a:pos x="T2" y="T3"/>
                  </a:cxn>
                  <a:cxn ang="0">
                    <a:pos x="T4" y="T5"/>
                  </a:cxn>
                  <a:cxn ang="0">
                    <a:pos x="T6" y="T7"/>
                  </a:cxn>
                </a:cxnLst>
                <a:rect l="0" t="0" r="r" b="b"/>
                <a:pathLst>
                  <a:path w="221" h="128">
                    <a:moveTo>
                      <a:pt x="0" y="0"/>
                    </a:moveTo>
                    <a:lnTo>
                      <a:pt x="0" y="0"/>
                    </a:lnTo>
                    <a:lnTo>
                      <a:pt x="221" y="128"/>
                    </a:lnTo>
                    <a:lnTo>
                      <a:pt x="0" y="0"/>
                    </a:lnTo>
                    <a:close/>
                  </a:path>
                </a:pathLst>
              </a:custGeom>
              <a:solidFill>
                <a:srgbClr val="B1938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03" name="iSľîdè"/>
              <p:cNvSpPr/>
              <p:nvPr/>
            </p:nvSpPr>
            <p:spPr bwMode="auto">
              <a:xfrm>
                <a:off x="3581" y="1979"/>
                <a:ext cx="221" cy="128"/>
              </a:xfrm>
              <a:custGeom>
                <a:avLst/>
                <a:gdLst>
                  <a:gd name="T0" fmla="*/ 0 w 221"/>
                  <a:gd name="T1" fmla="*/ 0 h 128"/>
                  <a:gd name="T2" fmla="*/ 0 w 221"/>
                  <a:gd name="T3" fmla="*/ 0 h 128"/>
                  <a:gd name="T4" fmla="*/ 221 w 221"/>
                  <a:gd name="T5" fmla="*/ 128 h 128"/>
                  <a:gd name="T6" fmla="*/ 0 w 221"/>
                  <a:gd name="T7" fmla="*/ 0 h 128"/>
                </a:gdLst>
                <a:ahLst/>
                <a:cxnLst>
                  <a:cxn ang="0">
                    <a:pos x="T0" y="T1"/>
                  </a:cxn>
                  <a:cxn ang="0">
                    <a:pos x="T2" y="T3"/>
                  </a:cxn>
                  <a:cxn ang="0">
                    <a:pos x="T4" y="T5"/>
                  </a:cxn>
                  <a:cxn ang="0">
                    <a:pos x="T6" y="T7"/>
                  </a:cxn>
                </a:cxnLst>
                <a:rect l="0" t="0" r="r" b="b"/>
                <a:pathLst>
                  <a:path w="221" h="128">
                    <a:moveTo>
                      <a:pt x="0" y="0"/>
                    </a:moveTo>
                    <a:lnTo>
                      <a:pt x="0" y="0"/>
                    </a:lnTo>
                    <a:lnTo>
                      <a:pt x="221" y="12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04" name="îşlïḓe"/>
              <p:cNvSpPr/>
              <p:nvPr/>
            </p:nvSpPr>
            <p:spPr bwMode="auto">
              <a:xfrm>
                <a:off x="3581" y="1956"/>
                <a:ext cx="263" cy="200"/>
              </a:xfrm>
              <a:custGeom>
                <a:avLst/>
                <a:gdLst>
                  <a:gd name="T0" fmla="*/ 42 w 263"/>
                  <a:gd name="T1" fmla="*/ 0 h 200"/>
                  <a:gd name="T2" fmla="*/ 0 w 263"/>
                  <a:gd name="T3" fmla="*/ 23 h 200"/>
                  <a:gd name="T4" fmla="*/ 221 w 263"/>
                  <a:gd name="T5" fmla="*/ 151 h 200"/>
                  <a:gd name="T6" fmla="*/ 221 w 263"/>
                  <a:gd name="T7" fmla="*/ 200 h 200"/>
                  <a:gd name="T8" fmla="*/ 250 w 263"/>
                  <a:gd name="T9" fmla="*/ 183 h 200"/>
                  <a:gd name="T10" fmla="*/ 263 w 263"/>
                  <a:gd name="T11" fmla="*/ 127 h 200"/>
                  <a:gd name="T12" fmla="*/ 42 w 263"/>
                  <a:gd name="T13" fmla="*/ 0 h 200"/>
                </a:gdLst>
                <a:ahLst/>
                <a:cxnLst>
                  <a:cxn ang="0">
                    <a:pos x="T0" y="T1"/>
                  </a:cxn>
                  <a:cxn ang="0">
                    <a:pos x="T2" y="T3"/>
                  </a:cxn>
                  <a:cxn ang="0">
                    <a:pos x="T4" y="T5"/>
                  </a:cxn>
                  <a:cxn ang="0">
                    <a:pos x="T6" y="T7"/>
                  </a:cxn>
                  <a:cxn ang="0">
                    <a:pos x="T8" y="T9"/>
                  </a:cxn>
                  <a:cxn ang="0">
                    <a:pos x="T10" y="T11"/>
                  </a:cxn>
                  <a:cxn ang="0">
                    <a:pos x="T12" y="T13"/>
                  </a:cxn>
                </a:cxnLst>
                <a:rect l="0" t="0" r="r" b="b"/>
                <a:pathLst>
                  <a:path w="263" h="200">
                    <a:moveTo>
                      <a:pt x="42" y="0"/>
                    </a:moveTo>
                    <a:lnTo>
                      <a:pt x="0" y="23"/>
                    </a:lnTo>
                    <a:lnTo>
                      <a:pt x="221" y="151"/>
                    </a:lnTo>
                    <a:lnTo>
                      <a:pt x="221" y="200"/>
                    </a:lnTo>
                    <a:lnTo>
                      <a:pt x="250" y="183"/>
                    </a:lnTo>
                    <a:lnTo>
                      <a:pt x="263" y="127"/>
                    </a:lnTo>
                    <a:lnTo>
                      <a:pt x="42" y="0"/>
                    </a:lnTo>
                    <a:close/>
                  </a:path>
                </a:pathLst>
              </a:custGeom>
              <a:solidFill>
                <a:srgbClr val="A08171"/>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05" name="îṣ1ïďè"/>
              <p:cNvSpPr/>
              <p:nvPr/>
            </p:nvSpPr>
            <p:spPr bwMode="auto">
              <a:xfrm>
                <a:off x="3581" y="1956"/>
                <a:ext cx="263" cy="200"/>
              </a:xfrm>
              <a:custGeom>
                <a:avLst/>
                <a:gdLst>
                  <a:gd name="T0" fmla="*/ 42 w 263"/>
                  <a:gd name="T1" fmla="*/ 0 h 200"/>
                  <a:gd name="T2" fmla="*/ 0 w 263"/>
                  <a:gd name="T3" fmla="*/ 23 h 200"/>
                  <a:gd name="T4" fmla="*/ 221 w 263"/>
                  <a:gd name="T5" fmla="*/ 151 h 200"/>
                  <a:gd name="T6" fmla="*/ 221 w 263"/>
                  <a:gd name="T7" fmla="*/ 200 h 200"/>
                  <a:gd name="T8" fmla="*/ 250 w 263"/>
                  <a:gd name="T9" fmla="*/ 183 h 200"/>
                  <a:gd name="T10" fmla="*/ 263 w 263"/>
                  <a:gd name="T11" fmla="*/ 127 h 200"/>
                  <a:gd name="T12" fmla="*/ 42 w 263"/>
                  <a:gd name="T13" fmla="*/ 0 h 200"/>
                </a:gdLst>
                <a:ahLst/>
                <a:cxnLst>
                  <a:cxn ang="0">
                    <a:pos x="T0" y="T1"/>
                  </a:cxn>
                  <a:cxn ang="0">
                    <a:pos x="T2" y="T3"/>
                  </a:cxn>
                  <a:cxn ang="0">
                    <a:pos x="T4" y="T5"/>
                  </a:cxn>
                  <a:cxn ang="0">
                    <a:pos x="T6" y="T7"/>
                  </a:cxn>
                  <a:cxn ang="0">
                    <a:pos x="T8" y="T9"/>
                  </a:cxn>
                  <a:cxn ang="0">
                    <a:pos x="T10" y="T11"/>
                  </a:cxn>
                  <a:cxn ang="0">
                    <a:pos x="T12" y="T13"/>
                  </a:cxn>
                </a:cxnLst>
                <a:rect l="0" t="0" r="r" b="b"/>
                <a:pathLst>
                  <a:path w="263" h="200">
                    <a:moveTo>
                      <a:pt x="42" y="0"/>
                    </a:moveTo>
                    <a:lnTo>
                      <a:pt x="0" y="23"/>
                    </a:lnTo>
                    <a:lnTo>
                      <a:pt x="221" y="151"/>
                    </a:lnTo>
                    <a:lnTo>
                      <a:pt x="221" y="200"/>
                    </a:lnTo>
                    <a:lnTo>
                      <a:pt x="250" y="183"/>
                    </a:lnTo>
                    <a:lnTo>
                      <a:pt x="263" y="127"/>
                    </a:lnTo>
                    <a:lnTo>
                      <a:pt x="4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06" name="ïṥḻîḓe"/>
              <p:cNvSpPr/>
              <p:nvPr/>
            </p:nvSpPr>
            <p:spPr bwMode="auto">
              <a:xfrm>
                <a:off x="3510" y="2134"/>
                <a:ext cx="254" cy="195"/>
              </a:xfrm>
              <a:custGeom>
                <a:avLst/>
                <a:gdLst>
                  <a:gd name="T0" fmla="*/ 0 w 254"/>
                  <a:gd name="T1" fmla="*/ 0 h 195"/>
                  <a:gd name="T2" fmla="*/ 0 w 254"/>
                  <a:gd name="T3" fmla="*/ 47 h 195"/>
                  <a:gd name="T4" fmla="*/ 254 w 254"/>
                  <a:gd name="T5" fmla="*/ 195 h 195"/>
                  <a:gd name="T6" fmla="*/ 254 w 254"/>
                  <a:gd name="T7" fmla="*/ 146 h 195"/>
                  <a:gd name="T8" fmla="*/ 0 w 254"/>
                  <a:gd name="T9" fmla="*/ 0 h 195"/>
                </a:gdLst>
                <a:ahLst/>
                <a:cxnLst>
                  <a:cxn ang="0">
                    <a:pos x="T0" y="T1"/>
                  </a:cxn>
                  <a:cxn ang="0">
                    <a:pos x="T2" y="T3"/>
                  </a:cxn>
                  <a:cxn ang="0">
                    <a:pos x="T4" y="T5"/>
                  </a:cxn>
                  <a:cxn ang="0">
                    <a:pos x="T6" y="T7"/>
                  </a:cxn>
                  <a:cxn ang="0">
                    <a:pos x="T8" y="T9"/>
                  </a:cxn>
                </a:cxnLst>
                <a:rect l="0" t="0" r="r" b="b"/>
                <a:pathLst>
                  <a:path w="254" h="195">
                    <a:moveTo>
                      <a:pt x="0" y="0"/>
                    </a:moveTo>
                    <a:lnTo>
                      <a:pt x="0" y="47"/>
                    </a:lnTo>
                    <a:lnTo>
                      <a:pt x="254" y="195"/>
                    </a:lnTo>
                    <a:lnTo>
                      <a:pt x="254" y="146"/>
                    </a:lnTo>
                    <a:lnTo>
                      <a:pt x="0" y="0"/>
                    </a:lnTo>
                    <a:close/>
                  </a:path>
                </a:pathLst>
              </a:custGeom>
              <a:solidFill>
                <a:srgbClr val="72594B"/>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07" name="îṩľiḍê"/>
              <p:cNvSpPr/>
              <p:nvPr/>
            </p:nvSpPr>
            <p:spPr bwMode="auto">
              <a:xfrm>
                <a:off x="3510" y="2134"/>
                <a:ext cx="254" cy="195"/>
              </a:xfrm>
              <a:custGeom>
                <a:avLst/>
                <a:gdLst>
                  <a:gd name="T0" fmla="*/ 0 w 254"/>
                  <a:gd name="T1" fmla="*/ 0 h 195"/>
                  <a:gd name="T2" fmla="*/ 0 w 254"/>
                  <a:gd name="T3" fmla="*/ 47 h 195"/>
                  <a:gd name="T4" fmla="*/ 254 w 254"/>
                  <a:gd name="T5" fmla="*/ 195 h 195"/>
                  <a:gd name="T6" fmla="*/ 254 w 254"/>
                  <a:gd name="T7" fmla="*/ 146 h 195"/>
                  <a:gd name="T8" fmla="*/ 0 w 254"/>
                  <a:gd name="T9" fmla="*/ 0 h 195"/>
                </a:gdLst>
                <a:ahLst/>
                <a:cxnLst>
                  <a:cxn ang="0">
                    <a:pos x="T0" y="T1"/>
                  </a:cxn>
                  <a:cxn ang="0">
                    <a:pos x="T2" y="T3"/>
                  </a:cxn>
                  <a:cxn ang="0">
                    <a:pos x="T4" y="T5"/>
                  </a:cxn>
                  <a:cxn ang="0">
                    <a:pos x="T6" y="T7"/>
                  </a:cxn>
                  <a:cxn ang="0">
                    <a:pos x="T8" y="T9"/>
                  </a:cxn>
                </a:cxnLst>
                <a:rect l="0" t="0" r="r" b="b"/>
                <a:pathLst>
                  <a:path w="254" h="195">
                    <a:moveTo>
                      <a:pt x="0" y="0"/>
                    </a:moveTo>
                    <a:lnTo>
                      <a:pt x="0" y="47"/>
                    </a:lnTo>
                    <a:lnTo>
                      <a:pt x="254" y="195"/>
                    </a:lnTo>
                    <a:lnTo>
                      <a:pt x="254" y="146"/>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08" name="îŝlïdê"/>
              <p:cNvSpPr/>
              <p:nvPr/>
            </p:nvSpPr>
            <p:spPr bwMode="auto">
              <a:xfrm>
                <a:off x="3510" y="2108"/>
                <a:ext cx="297" cy="221"/>
              </a:xfrm>
              <a:custGeom>
                <a:avLst/>
                <a:gdLst>
                  <a:gd name="T0" fmla="*/ 0 w 297"/>
                  <a:gd name="T1" fmla="*/ 26 h 221"/>
                  <a:gd name="T2" fmla="*/ 42 w 297"/>
                  <a:gd name="T3" fmla="*/ 0 h 221"/>
                  <a:gd name="T4" fmla="*/ 297 w 297"/>
                  <a:gd name="T5" fmla="*/ 146 h 221"/>
                  <a:gd name="T6" fmla="*/ 297 w 297"/>
                  <a:gd name="T7" fmla="*/ 195 h 221"/>
                  <a:gd name="T8" fmla="*/ 254 w 297"/>
                  <a:gd name="T9" fmla="*/ 221 h 221"/>
                  <a:gd name="T10" fmla="*/ 254 w 297"/>
                  <a:gd name="T11" fmla="*/ 172 h 221"/>
                  <a:gd name="T12" fmla="*/ 0 w 297"/>
                  <a:gd name="T13" fmla="*/ 26 h 221"/>
                </a:gdLst>
                <a:ahLst/>
                <a:cxnLst>
                  <a:cxn ang="0">
                    <a:pos x="T0" y="T1"/>
                  </a:cxn>
                  <a:cxn ang="0">
                    <a:pos x="T2" y="T3"/>
                  </a:cxn>
                  <a:cxn ang="0">
                    <a:pos x="T4" y="T5"/>
                  </a:cxn>
                  <a:cxn ang="0">
                    <a:pos x="T6" y="T7"/>
                  </a:cxn>
                  <a:cxn ang="0">
                    <a:pos x="T8" y="T9"/>
                  </a:cxn>
                  <a:cxn ang="0">
                    <a:pos x="T10" y="T11"/>
                  </a:cxn>
                  <a:cxn ang="0">
                    <a:pos x="T12" y="T13"/>
                  </a:cxn>
                </a:cxnLst>
                <a:rect l="0" t="0" r="r" b="b"/>
                <a:pathLst>
                  <a:path w="297" h="221">
                    <a:moveTo>
                      <a:pt x="0" y="26"/>
                    </a:moveTo>
                    <a:lnTo>
                      <a:pt x="42" y="0"/>
                    </a:lnTo>
                    <a:lnTo>
                      <a:pt x="297" y="146"/>
                    </a:lnTo>
                    <a:lnTo>
                      <a:pt x="297" y="195"/>
                    </a:lnTo>
                    <a:lnTo>
                      <a:pt x="254" y="221"/>
                    </a:lnTo>
                    <a:lnTo>
                      <a:pt x="254" y="172"/>
                    </a:lnTo>
                    <a:lnTo>
                      <a:pt x="0" y="26"/>
                    </a:lnTo>
                    <a:close/>
                  </a:path>
                </a:pathLst>
              </a:custGeom>
              <a:solidFill>
                <a:srgbClr val="543E3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09" name="íSľidê"/>
              <p:cNvSpPr/>
              <p:nvPr/>
            </p:nvSpPr>
            <p:spPr bwMode="auto">
              <a:xfrm>
                <a:off x="3510" y="2108"/>
                <a:ext cx="297" cy="221"/>
              </a:xfrm>
              <a:custGeom>
                <a:avLst/>
                <a:gdLst>
                  <a:gd name="T0" fmla="*/ 0 w 297"/>
                  <a:gd name="T1" fmla="*/ 26 h 221"/>
                  <a:gd name="T2" fmla="*/ 42 w 297"/>
                  <a:gd name="T3" fmla="*/ 0 h 221"/>
                  <a:gd name="T4" fmla="*/ 297 w 297"/>
                  <a:gd name="T5" fmla="*/ 146 h 221"/>
                  <a:gd name="T6" fmla="*/ 297 w 297"/>
                  <a:gd name="T7" fmla="*/ 195 h 221"/>
                  <a:gd name="T8" fmla="*/ 254 w 297"/>
                  <a:gd name="T9" fmla="*/ 221 h 221"/>
                  <a:gd name="T10" fmla="*/ 254 w 297"/>
                  <a:gd name="T11" fmla="*/ 172 h 221"/>
                  <a:gd name="T12" fmla="*/ 0 w 297"/>
                  <a:gd name="T13" fmla="*/ 26 h 221"/>
                </a:gdLst>
                <a:ahLst/>
                <a:cxnLst>
                  <a:cxn ang="0">
                    <a:pos x="T0" y="T1"/>
                  </a:cxn>
                  <a:cxn ang="0">
                    <a:pos x="T2" y="T3"/>
                  </a:cxn>
                  <a:cxn ang="0">
                    <a:pos x="T4" y="T5"/>
                  </a:cxn>
                  <a:cxn ang="0">
                    <a:pos x="T6" y="T7"/>
                  </a:cxn>
                  <a:cxn ang="0">
                    <a:pos x="T8" y="T9"/>
                  </a:cxn>
                  <a:cxn ang="0">
                    <a:pos x="T10" y="T11"/>
                  </a:cxn>
                  <a:cxn ang="0">
                    <a:pos x="T12" y="T13"/>
                  </a:cxn>
                </a:cxnLst>
                <a:rect l="0" t="0" r="r" b="b"/>
                <a:pathLst>
                  <a:path w="297" h="221">
                    <a:moveTo>
                      <a:pt x="0" y="26"/>
                    </a:moveTo>
                    <a:lnTo>
                      <a:pt x="42" y="0"/>
                    </a:lnTo>
                    <a:lnTo>
                      <a:pt x="297" y="146"/>
                    </a:lnTo>
                    <a:lnTo>
                      <a:pt x="297" y="195"/>
                    </a:lnTo>
                    <a:lnTo>
                      <a:pt x="254" y="221"/>
                    </a:lnTo>
                    <a:lnTo>
                      <a:pt x="254" y="172"/>
                    </a:lnTo>
                    <a:lnTo>
                      <a:pt x="0" y="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10" name="î$ľîḋe"/>
              <p:cNvSpPr/>
              <p:nvPr/>
            </p:nvSpPr>
            <p:spPr bwMode="auto">
              <a:xfrm>
                <a:off x="3584" y="2127"/>
                <a:ext cx="221" cy="127"/>
              </a:xfrm>
              <a:custGeom>
                <a:avLst/>
                <a:gdLst>
                  <a:gd name="T0" fmla="*/ 0 w 221"/>
                  <a:gd name="T1" fmla="*/ 0 h 127"/>
                  <a:gd name="T2" fmla="*/ 0 w 221"/>
                  <a:gd name="T3" fmla="*/ 0 h 127"/>
                  <a:gd name="T4" fmla="*/ 221 w 221"/>
                  <a:gd name="T5" fmla="*/ 127 h 127"/>
                  <a:gd name="T6" fmla="*/ 221 w 221"/>
                  <a:gd name="T7" fmla="*/ 127 h 127"/>
                  <a:gd name="T8" fmla="*/ 0 w 221"/>
                  <a:gd name="T9" fmla="*/ 0 h 127"/>
                </a:gdLst>
                <a:ahLst/>
                <a:cxnLst>
                  <a:cxn ang="0">
                    <a:pos x="T0" y="T1"/>
                  </a:cxn>
                  <a:cxn ang="0">
                    <a:pos x="T2" y="T3"/>
                  </a:cxn>
                  <a:cxn ang="0">
                    <a:pos x="T4" y="T5"/>
                  </a:cxn>
                  <a:cxn ang="0">
                    <a:pos x="T6" y="T7"/>
                  </a:cxn>
                  <a:cxn ang="0">
                    <a:pos x="T8" y="T9"/>
                  </a:cxn>
                </a:cxnLst>
                <a:rect l="0" t="0" r="r" b="b"/>
                <a:pathLst>
                  <a:path w="221" h="127">
                    <a:moveTo>
                      <a:pt x="0" y="0"/>
                    </a:moveTo>
                    <a:lnTo>
                      <a:pt x="0" y="0"/>
                    </a:lnTo>
                    <a:lnTo>
                      <a:pt x="221" y="127"/>
                    </a:lnTo>
                    <a:lnTo>
                      <a:pt x="221" y="127"/>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11" name="îşḻiḋè"/>
              <p:cNvSpPr/>
              <p:nvPr/>
            </p:nvSpPr>
            <p:spPr bwMode="auto">
              <a:xfrm>
                <a:off x="3584" y="2127"/>
                <a:ext cx="221" cy="127"/>
              </a:xfrm>
              <a:custGeom>
                <a:avLst/>
                <a:gdLst>
                  <a:gd name="T0" fmla="*/ 0 w 221"/>
                  <a:gd name="T1" fmla="*/ 0 h 127"/>
                  <a:gd name="T2" fmla="*/ 0 w 221"/>
                  <a:gd name="T3" fmla="*/ 0 h 127"/>
                  <a:gd name="T4" fmla="*/ 221 w 221"/>
                  <a:gd name="T5" fmla="*/ 127 h 127"/>
                  <a:gd name="T6" fmla="*/ 221 w 221"/>
                  <a:gd name="T7" fmla="*/ 127 h 127"/>
                  <a:gd name="T8" fmla="*/ 0 w 221"/>
                  <a:gd name="T9" fmla="*/ 0 h 127"/>
                </a:gdLst>
                <a:ahLst/>
                <a:cxnLst>
                  <a:cxn ang="0">
                    <a:pos x="T0" y="T1"/>
                  </a:cxn>
                  <a:cxn ang="0">
                    <a:pos x="T2" y="T3"/>
                  </a:cxn>
                  <a:cxn ang="0">
                    <a:pos x="T4" y="T5"/>
                  </a:cxn>
                  <a:cxn ang="0">
                    <a:pos x="T6" y="T7"/>
                  </a:cxn>
                  <a:cxn ang="0">
                    <a:pos x="T8" y="T9"/>
                  </a:cxn>
                </a:cxnLst>
                <a:rect l="0" t="0" r="r" b="b"/>
                <a:pathLst>
                  <a:path w="221" h="127">
                    <a:moveTo>
                      <a:pt x="0" y="0"/>
                    </a:moveTo>
                    <a:lnTo>
                      <a:pt x="0" y="0"/>
                    </a:lnTo>
                    <a:lnTo>
                      <a:pt x="221" y="127"/>
                    </a:lnTo>
                    <a:lnTo>
                      <a:pt x="221" y="127"/>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4" name="îṩlíďé"/>
              <p:cNvSpPr/>
              <p:nvPr/>
            </p:nvSpPr>
            <p:spPr bwMode="auto">
              <a:xfrm>
                <a:off x="3584" y="2127"/>
                <a:ext cx="221" cy="127"/>
              </a:xfrm>
              <a:custGeom>
                <a:avLst/>
                <a:gdLst>
                  <a:gd name="T0" fmla="*/ 0 w 221"/>
                  <a:gd name="T1" fmla="*/ 0 h 127"/>
                  <a:gd name="T2" fmla="*/ 0 w 221"/>
                  <a:gd name="T3" fmla="*/ 0 h 127"/>
                  <a:gd name="T4" fmla="*/ 221 w 221"/>
                  <a:gd name="T5" fmla="*/ 127 h 127"/>
                  <a:gd name="T6" fmla="*/ 221 w 221"/>
                  <a:gd name="T7" fmla="*/ 127 h 127"/>
                  <a:gd name="T8" fmla="*/ 0 w 221"/>
                  <a:gd name="T9" fmla="*/ 0 h 127"/>
                </a:gdLst>
                <a:ahLst/>
                <a:cxnLst>
                  <a:cxn ang="0">
                    <a:pos x="T0" y="T1"/>
                  </a:cxn>
                  <a:cxn ang="0">
                    <a:pos x="T2" y="T3"/>
                  </a:cxn>
                  <a:cxn ang="0">
                    <a:pos x="T4" y="T5"/>
                  </a:cxn>
                  <a:cxn ang="0">
                    <a:pos x="T6" y="T7"/>
                  </a:cxn>
                  <a:cxn ang="0">
                    <a:pos x="T8" y="T9"/>
                  </a:cxn>
                </a:cxnLst>
                <a:rect l="0" t="0" r="r" b="b"/>
                <a:pathLst>
                  <a:path w="221" h="127">
                    <a:moveTo>
                      <a:pt x="0" y="0"/>
                    </a:moveTo>
                    <a:lnTo>
                      <a:pt x="0" y="0"/>
                    </a:lnTo>
                    <a:lnTo>
                      <a:pt x="221" y="127"/>
                    </a:lnTo>
                    <a:lnTo>
                      <a:pt x="221" y="127"/>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5" name="ïŝļíḋe"/>
              <p:cNvSpPr/>
              <p:nvPr/>
            </p:nvSpPr>
            <p:spPr bwMode="auto">
              <a:xfrm>
                <a:off x="3584" y="2127"/>
                <a:ext cx="221" cy="127"/>
              </a:xfrm>
              <a:custGeom>
                <a:avLst/>
                <a:gdLst>
                  <a:gd name="T0" fmla="*/ 0 w 221"/>
                  <a:gd name="T1" fmla="*/ 0 h 127"/>
                  <a:gd name="T2" fmla="*/ 0 w 221"/>
                  <a:gd name="T3" fmla="*/ 0 h 127"/>
                  <a:gd name="T4" fmla="*/ 221 w 221"/>
                  <a:gd name="T5" fmla="*/ 127 h 127"/>
                  <a:gd name="T6" fmla="*/ 221 w 221"/>
                  <a:gd name="T7" fmla="*/ 127 h 127"/>
                  <a:gd name="T8" fmla="*/ 0 w 221"/>
                  <a:gd name="T9" fmla="*/ 0 h 127"/>
                </a:gdLst>
                <a:ahLst/>
                <a:cxnLst>
                  <a:cxn ang="0">
                    <a:pos x="T0" y="T1"/>
                  </a:cxn>
                  <a:cxn ang="0">
                    <a:pos x="T2" y="T3"/>
                  </a:cxn>
                  <a:cxn ang="0">
                    <a:pos x="T4" y="T5"/>
                  </a:cxn>
                  <a:cxn ang="0">
                    <a:pos x="T6" y="T7"/>
                  </a:cxn>
                  <a:cxn ang="0">
                    <a:pos x="T8" y="T9"/>
                  </a:cxn>
                </a:cxnLst>
                <a:rect l="0" t="0" r="r" b="b"/>
                <a:pathLst>
                  <a:path w="221" h="127">
                    <a:moveTo>
                      <a:pt x="0" y="0"/>
                    </a:moveTo>
                    <a:lnTo>
                      <a:pt x="0" y="0"/>
                    </a:lnTo>
                    <a:lnTo>
                      <a:pt x="221" y="127"/>
                    </a:lnTo>
                    <a:lnTo>
                      <a:pt x="221" y="127"/>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6" name="îṧļiḑê"/>
              <p:cNvSpPr/>
              <p:nvPr/>
            </p:nvSpPr>
            <p:spPr bwMode="auto">
              <a:xfrm>
                <a:off x="3584" y="2127"/>
                <a:ext cx="1" cy="1"/>
              </a:xfrm>
              <a:prstGeom prst="rect">
                <a:avLst/>
              </a:prstGeom>
              <a:solidFill>
                <a:srgbClr val="A0817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p>
            </p:txBody>
          </p:sp>
          <p:sp>
            <p:nvSpPr>
              <p:cNvPr id="67" name="ïšľïdé"/>
              <p:cNvSpPr/>
              <p:nvPr/>
            </p:nvSpPr>
            <p:spPr bwMode="auto">
              <a:xfrm>
                <a:off x="3584" y="2127"/>
                <a:ext cx="1" cy="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p>
            </p:txBody>
          </p:sp>
          <p:sp>
            <p:nvSpPr>
              <p:cNvPr id="68" name="îş1íḍè"/>
              <p:cNvSpPr/>
              <p:nvPr/>
            </p:nvSpPr>
            <p:spPr bwMode="auto">
              <a:xfrm>
                <a:off x="3542" y="2127"/>
                <a:ext cx="263" cy="202"/>
              </a:xfrm>
              <a:custGeom>
                <a:avLst/>
                <a:gdLst>
                  <a:gd name="T0" fmla="*/ 42 w 263"/>
                  <a:gd name="T1" fmla="*/ 0 h 202"/>
                  <a:gd name="T2" fmla="*/ 0 w 263"/>
                  <a:gd name="T3" fmla="*/ 24 h 202"/>
                  <a:gd name="T4" fmla="*/ 222 w 263"/>
                  <a:gd name="T5" fmla="*/ 153 h 202"/>
                  <a:gd name="T6" fmla="*/ 222 w 263"/>
                  <a:gd name="T7" fmla="*/ 202 h 202"/>
                  <a:gd name="T8" fmla="*/ 251 w 263"/>
                  <a:gd name="T9" fmla="*/ 185 h 202"/>
                  <a:gd name="T10" fmla="*/ 263 w 263"/>
                  <a:gd name="T11" fmla="*/ 127 h 202"/>
                  <a:gd name="T12" fmla="*/ 42 w 263"/>
                  <a:gd name="T13" fmla="*/ 0 h 202"/>
                  <a:gd name="T14" fmla="*/ 42 w 263"/>
                  <a:gd name="T15" fmla="*/ 0 h 2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3" h="202">
                    <a:moveTo>
                      <a:pt x="42" y="0"/>
                    </a:moveTo>
                    <a:lnTo>
                      <a:pt x="0" y="24"/>
                    </a:lnTo>
                    <a:lnTo>
                      <a:pt x="222" y="153"/>
                    </a:lnTo>
                    <a:lnTo>
                      <a:pt x="222" y="202"/>
                    </a:lnTo>
                    <a:lnTo>
                      <a:pt x="251" y="185"/>
                    </a:lnTo>
                    <a:lnTo>
                      <a:pt x="263" y="127"/>
                    </a:lnTo>
                    <a:lnTo>
                      <a:pt x="42" y="0"/>
                    </a:lnTo>
                    <a:lnTo>
                      <a:pt x="42" y="0"/>
                    </a:lnTo>
                    <a:close/>
                  </a:path>
                </a:pathLst>
              </a:custGeom>
              <a:solidFill>
                <a:srgbClr val="A08171"/>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9" name="ïṣļïdé"/>
              <p:cNvSpPr/>
              <p:nvPr/>
            </p:nvSpPr>
            <p:spPr bwMode="auto">
              <a:xfrm>
                <a:off x="3542" y="2127"/>
                <a:ext cx="263" cy="202"/>
              </a:xfrm>
              <a:custGeom>
                <a:avLst/>
                <a:gdLst>
                  <a:gd name="T0" fmla="*/ 42 w 263"/>
                  <a:gd name="T1" fmla="*/ 0 h 202"/>
                  <a:gd name="T2" fmla="*/ 0 w 263"/>
                  <a:gd name="T3" fmla="*/ 24 h 202"/>
                  <a:gd name="T4" fmla="*/ 222 w 263"/>
                  <a:gd name="T5" fmla="*/ 153 h 202"/>
                  <a:gd name="T6" fmla="*/ 222 w 263"/>
                  <a:gd name="T7" fmla="*/ 202 h 202"/>
                  <a:gd name="T8" fmla="*/ 251 w 263"/>
                  <a:gd name="T9" fmla="*/ 185 h 202"/>
                  <a:gd name="T10" fmla="*/ 263 w 263"/>
                  <a:gd name="T11" fmla="*/ 127 h 202"/>
                  <a:gd name="T12" fmla="*/ 42 w 263"/>
                  <a:gd name="T13" fmla="*/ 0 h 202"/>
                  <a:gd name="T14" fmla="*/ 42 w 263"/>
                  <a:gd name="T15" fmla="*/ 0 h 2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3" h="202">
                    <a:moveTo>
                      <a:pt x="42" y="0"/>
                    </a:moveTo>
                    <a:lnTo>
                      <a:pt x="0" y="24"/>
                    </a:lnTo>
                    <a:lnTo>
                      <a:pt x="222" y="153"/>
                    </a:lnTo>
                    <a:lnTo>
                      <a:pt x="222" y="202"/>
                    </a:lnTo>
                    <a:lnTo>
                      <a:pt x="251" y="185"/>
                    </a:lnTo>
                    <a:lnTo>
                      <a:pt x="263" y="127"/>
                    </a:lnTo>
                    <a:lnTo>
                      <a:pt x="42" y="0"/>
                    </a:lnTo>
                    <a:lnTo>
                      <a:pt x="4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0" name="îS1îḋè"/>
              <p:cNvSpPr/>
              <p:nvPr/>
            </p:nvSpPr>
            <p:spPr bwMode="auto">
              <a:xfrm>
                <a:off x="3737" y="1947"/>
                <a:ext cx="168" cy="612"/>
              </a:xfrm>
              <a:custGeom>
                <a:avLst/>
                <a:gdLst>
                  <a:gd name="T0" fmla="*/ 83 w 168"/>
                  <a:gd name="T1" fmla="*/ 26 h 612"/>
                  <a:gd name="T2" fmla="*/ 126 w 168"/>
                  <a:gd name="T3" fmla="*/ 0 h 612"/>
                  <a:gd name="T4" fmla="*/ 168 w 168"/>
                  <a:gd name="T5" fmla="*/ 26 h 612"/>
                  <a:gd name="T6" fmla="*/ 43 w 168"/>
                  <a:gd name="T7" fmla="*/ 587 h 612"/>
                  <a:gd name="T8" fmla="*/ 0 w 168"/>
                  <a:gd name="T9" fmla="*/ 612 h 612"/>
                  <a:gd name="T10" fmla="*/ 126 w 168"/>
                  <a:gd name="T11" fmla="*/ 49 h 612"/>
                  <a:gd name="T12" fmla="*/ 83 w 168"/>
                  <a:gd name="T13" fmla="*/ 26 h 612"/>
                </a:gdLst>
                <a:ahLst/>
                <a:cxnLst>
                  <a:cxn ang="0">
                    <a:pos x="T0" y="T1"/>
                  </a:cxn>
                  <a:cxn ang="0">
                    <a:pos x="T2" y="T3"/>
                  </a:cxn>
                  <a:cxn ang="0">
                    <a:pos x="T4" y="T5"/>
                  </a:cxn>
                  <a:cxn ang="0">
                    <a:pos x="T6" y="T7"/>
                  </a:cxn>
                  <a:cxn ang="0">
                    <a:pos x="T8" y="T9"/>
                  </a:cxn>
                  <a:cxn ang="0">
                    <a:pos x="T10" y="T11"/>
                  </a:cxn>
                  <a:cxn ang="0">
                    <a:pos x="T12" y="T13"/>
                  </a:cxn>
                </a:cxnLst>
                <a:rect l="0" t="0" r="r" b="b"/>
                <a:pathLst>
                  <a:path w="168" h="612">
                    <a:moveTo>
                      <a:pt x="83" y="26"/>
                    </a:moveTo>
                    <a:lnTo>
                      <a:pt x="126" y="0"/>
                    </a:lnTo>
                    <a:lnTo>
                      <a:pt x="168" y="26"/>
                    </a:lnTo>
                    <a:lnTo>
                      <a:pt x="43" y="587"/>
                    </a:lnTo>
                    <a:lnTo>
                      <a:pt x="0" y="612"/>
                    </a:lnTo>
                    <a:lnTo>
                      <a:pt x="126" y="49"/>
                    </a:lnTo>
                    <a:lnTo>
                      <a:pt x="83" y="26"/>
                    </a:lnTo>
                    <a:close/>
                  </a:path>
                </a:pathLst>
              </a:custGeom>
              <a:solidFill>
                <a:srgbClr val="543E3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1" name="ís1íďé"/>
              <p:cNvSpPr/>
              <p:nvPr/>
            </p:nvSpPr>
            <p:spPr bwMode="auto">
              <a:xfrm>
                <a:off x="3737" y="1947"/>
                <a:ext cx="168" cy="612"/>
              </a:xfrm>
              <a:custGeom>
                <a:avLst/>
                <a:gdLst>
                  <a:gd name="T0" fmla="*/ 83 w 168"/>
                  <a:gd name="T1" fmla="*/ 26 h 612"/>
                  <a:gd name="T2" fmla="*/ 126 w 168"/>
                  <a:gd name="T3" fmla="*/ 0 h 612"/>
                  <a:gd name="T4" fmla="*/ 168 w 168"/>
                  <a:gd name="T5" fmla="*/ 26 h 612"/>
                  <a:gd name="T6" fmla="*/ 43 w 168"/>
                  <a:gd name="T7" fmla="*/ 587 h 612"/>
                  <a:gd name="T8" fmla="*/ 0 w 168"/>
                  <a:gd name="T9" fmla="*/ 612 h 612"/>
                  <a:gd name="T10" fmla="*/ 126 w 168"/>
                  <a:gd name="T11" fmla="*/ 49 h 612"/>
                  <a:gd name="T12" fmla="*/ 83 w 168"/>
                  <a:gd name="T13" fmla="*/ 26 h 612"/>
                </a:gdLst>
                <a:ahLst/>
                <a:cxnLst>
                  <a:cxn ang="0">
                    <a:pos x="T0" y="T1"/>
                  </a:cxn>
                  <a:cxn ang="0">
                    <a:pos x="T2" y="T3"/>
                  </a:cxn>
                  <a:cxn ang="0">
                    <a:pos x="T4" y="T5"/>
                  </a:cxn>
                  <a:cxn ang="0">
                    <a:pos x="T6" y="T7"/>
                  </a:cxn>
                  <a:cxn ang="0">
                    <a:pos x="T8" y="T9"/>
                  </a:cxn>
                  <a:cxn ang="0">
                    <a:pos x="T10" y="T11"/>
                  </a:cxn>
                  <a:cxn ang="0">
                    <a:pos x="T12" y="T13"/>
                  </a:cxn>
                </a:cxnLst>
                <a:rect l="0" t="0" r="r" b="b"/>
                <a:pathLst>
                  <a:path w="168" h="612">
                    <a:moveTo>
                      <a:pt x="83" y="26"/>
                    </a:moveTo>
                    <a:lnTo>
                      <a:pt x="126" y="0"/>
                    </a:lnTo>
                    <a:lnTo>
                      <a:pt x="168" y="26"/>
                    </a:lnTo>
                    <a:lnTo>
                      <a:pt x="43" y="587"/>
                    </a:lnTo>
                    <a:lnTo>
                      <a:pt x="0" y="612"/>
                    </a:lnTo>
                    <a:lnTo>
                      <a:pt x="126" y="49"/>
                    </a:lnTo>
                    <a:lnTo>
                      <a:pt x="83" y="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2" name="îṡľïdè"/>
              <p:cNvSpPr/>
              <p:nvPr/>
            </p:nvSpPr>
            <p:spPr bwMode="auto">
              <a:xfrm>
                <a:off x="3442" y="1825"/>
                <a:ext cx="168" cy="587"/>
              </a:xfrm>
              <a:custGeom>
                <a:avLst/>
                <a:gdLst>
                  <a:gd name="T0" fmla="*/ 0 w 168"/>
                  <a:gd name="T1" fmla="*/ 563 h 587"/>
                  <a:gd name="T2" fmla="*/ 42 w 168"/>
                  <a:gd name="T3" fmla="*/ 587 h 587"/>
                  <a:gd name="T4" fmla="*/ 168 w 168"/>
                  <a:gd name="T5" fmla="*/ 25 h 587"/>
                  <a:gd name="T6" fmla="*/ 125 w 168"/>
                  <a:gd name="T7" fmla="*/ 0 h 587"/>
                  <a:gd name="T8" fmla="*/ 0 w 168"/>
                  <a:gd name="T9" fmla="*/ 563 h 587"/>
                </a:gdLst>
                <a:ahLst/>
                <a:cxnLst>
                  <a:cxn ang="0">
                    <a:pos x="T0" y="T1"/>
                  </a:cxn>
                  <a:cxn ang="0">
                    <a:pos x="T2" y="T3"/>
                  </a:cxn>
                  <a:cxn ang="0">
                    <a:pos x="T4" y="T5"/>
                  </a:cxn>
                  <a:cxn ang="0">
                    <a:pos x="T6" y="T7"/>
                  </a:cxn>
                  <a:cxn ang="0">
                    <a:pos x="T8" y="T9"/>
                  </a:cxn>
                </a:cxnLst>
                <a:rect l="0" t="0" r="r" b="b"/>
                <a:pathLst>
                  <a:path w="168" h="587">
                    <a:moveTo>
                      <a:pt x="0" y="563"/>
                    </a:moveTo>
                    <a:lnTo>
                      <a:pt x="42" y="587"/>
                    </a:lnTo>
                    <a:lnTo>
                      <a:pt x="168" y="25"/>
                    </a:lnTo>
                    <a:lnTo>
                      <a:pt x="125" y="0"/>
                    </a:lnTo>
                    <a:lnTo>
                      <a:pt x="0" y="563"/>
                    </a:lnTo>
                    <a:close/>
                  </a:path>
                </a:pathLst>
              </a:custGeom>
              <a:solidFill>
                <a:srgbClr val="72594B"/>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3" name="ïṣlïḑe"/>
              <p:cNvSpPr/>
              <p:nvPr/>
            </p:nvSpPr>
            <p:spPr bwMode="auto">
              <a:xfrm>
                <a:off x="3442" y="1825"/>
                <a:ext cx="168" cy="587"/>
              </a:xfrm>
              <a:custGeom>
                <a:avLst/>
                <a:gdLst>
                  <a:gd name="T0" fmla="*/ 0 w 168"/>
                  <a:gd name="T1" fmla="*/ 563 h 587"/>
                  <a:gd name="T2" fmla="*/ 42 w 168"/>
                  <a:gd name="T3" fmla="*/ 587 h 587"/>
                  <a:gd name="T4" fmla="*/ 168 w 168"/>
                  <a:gd name="T5" fmla="*/ 25 h 587"/>
                  <a:gd name="T6" fmla="*/ 125 w 168"/>
                  <a:gd name="T7" fmla="*/ 0 h 587"/>
                  <a:gd name="T8" fmla="*/ 0 w 168"/>
                  <a:gd name="T9" fmla="*/ 563 h 587"/>
                </a:gdLst>
                <a:ahLst/>
                <a:cxnLst>
                  <a:cxn ang="0">
                    <a:pos x="T0" y="T1"/>
                  </a:cxn>
                  <a:cxn ang="0">
                    <a:pos x="T2" y="T3"/>
                  </a:cxn>
                  <a:cxn ang="0">
                    <a:pos x="T4" y="T5"/>
                  </a:cxn>
                  <a:cxn ang="0">
                    <a:pos x="T6" y="T7"/>
                  </a:cxn>
                  <a:cxn ang="0">
                    <a:pos x="T8" y="T9"/>
                  </a:cxn>
                </a:cxnLst>
                <a:rect l="0" t="0" r="r" b="b"/>
                <a:pathLst>
                  <a:path w="168" h="587">
                    <a:moveTo>
                      <a:pt x="0" y="563"/>
                    </a:moveTo>
                    <a:lnTo>
                      <a:pt x="42" y="587"/>
                    </a:lnTo>
                    <a:lnTo>
                      <a:pt x="168" y="25"/>
                    </a:lnTo>
                    <a:lnTo>
                      <a:pt x="125" y="0"/>
                    </a:lnTo>
                    <a:lnTo>
                      <a:pt x="0" y="56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4" name="îṥliḑé"/>
              <p:cNvSpPr/>
              <p:nvPr/>
            </p:nvSpPr>
            <p:spPr bwMode="auto">
              <a:xfrm>
                <a:off x="3567" y="1825"/>
                <a:ext cx="2" cy="2"/>
              </a:xfrm>
              <a:custGeom>
                <a:avLst/>
                <a:gdLst>
                  <a:gd name="T0" fmla="*/ 2 w 2"/>
                  <a:gd name="T1" fmla="*/ 0 h 2"/>
                  <a:gd name="T2" fmla="*/ 0 w 2"/>
                  <a:gd name="T3" fmla="*/ 0 h 2"/>
                  <a:gd name="T4" fmla="*/ 2 w 2"/>
                  <a:gd name="T5" fmla="*/ 2 h 2"/>
                  <a:gd name="T6" fmla="*/ 2 w 2"/>
                  <a:gd name="T7" fmla="*/ 0 h 2"/>
                </a:gdLst>
                <a:ahLst/>
                <a:cxnLst>
                  <a:cxn ang="0">
                    <a:pos x="T0" y="T1"/>
                  </a:cxn>
                  <a:cxn ang="0">
                    <a:pos x="T2" y="T3"/>
                  </a:cxn>
                  <a:cxn ang="0">
                    <a:pos x="T4" y="T5"/>
                  </a:cxn>
                  <a:cxn ang="0">
                    <a:pos x="T6" y="T7"/>
                  </a:cxn>
                </a:cxnLst>
                <a:rect l="0" t="0" r="r" b="b"/>
                <a:pathLst>
                  <a:path w="2" h="2">
                    <a:moveTo>
                      <a:pt x="2" y="0"/>
                    </a:moveTo>
                    <a:lnTo>
                      <a:pt x="0" y="0"/>
                    </a:lnTo>
                    <a:lnTo>
                      <a:pt x="2" y="2"/>
                    </a:lnTo>
                    <a:lnTo>
                      <a:pt x="2" y="0"/>
                    </a:lnTo>
                    <a:close/>
                  </a:path>
                </a:pathLst>
              </a:custGeom>
              <a:solidFill>
                <a:srgbClr val="A08171"/>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5" name="íŝļïḑè"/>
              <p:cNvSpPr/>
              <p:nvPr/>
            </p:nvSpPr>
            <p:spPr bwMode="auto">
              <a:xfrm>
                <a:off x="3567" y="1825"/>
                <a:ext cx="2" cy="2"/>
              </a:xfrm>
              <a:custGeom>
                <a:avLst/>
                <a:gdLst>
                  <a:gd name="T0" fmla="*/ 2 w 2"/>
                  <a:gd name="T1" fmla="*/ 0 h 2"/>
                  <a:gd name="T2" fmla="*/ 0 w 2"/>
                  <a:gd name="T3" fmla="*/ 0 h 2"/>
                  <a:gd name="T4" fmla="*/ 2 w 2"/>
                  <a:gd name="T5" fmla="*/ 2 h 2"/>
                  <a:gd name="T6" fmla="*/ 2 w 2"/>
                  <a:gd name="T7" fmla="*/ 0 h 2"/>
                </a:gdLst>
                <a:ahLst/>
                <a:cxnLst>
                  <a:cxn ang="0">
                    <a:pos x="T0" y="T1"/>
                  </a:cxn>
                  <a:cxn ang="0">
                    <a:pos x="T2" y="T3"/>
                  </a:cxn>
                  <a:cxn ang="0">
                    <a:pos x="T4" y="T5"/>
                  </a:cxn>
                  <a:cxn ang="0">
                    <a:pos x="T6" y="T7"/>
                  </a:cxn>
                </a:cxnLst>
                <a:rect l="0" t="0" r="r" b="b"/>
                <a:pathLst>
                  <a:path w="2" h="2">
                    <a:moveTo>
                      <a:pt x="2" y="0"/>
                    </a:moveTo>
                    <a:lnTo>
                      <a:pt x="0" y="0"/>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6" name="ïśḷiḓê"/>
              <p:cNvSpPr/>
              <p:nvPr/>
            </p:nvSpPr>
            <p:spPr bwMode="auto">
              <a:xfrm>
                <a:off x="3820" y="1947"/>
                <a:ext cx="85" cy="49"/>
              </a:xfrm>
              <a:custGeom>
                <a:avLst/>
                <a:gdLst>
                  <a:gd name="T0" fmla="*/ 43 w 85"/>
                  <a:gd name="T1" fmla="*/ 0 h 49"/>
                  <a:gd name="T2" fmla="*/ 7 w 85"/>
                  <a:gd name="T3" fmla="*/ 22 h 49"/>
                  <a:gd name="T4" fmla="*/ 0 w 85"/>
                  <a:gd name="T5" fmla="*/ 26 h 49"/>
                  <a:gd name="T6" fmla="*/ 43 w 85"/>
                  <a:gd name="T7" fmla="*/ 49 h 49"/>
                  <a:gd name="T8" fmla="*/ 85 w 85"/>
                  <a:gd name="T9" fmla="*/ 26 h 49"/>
                  <a:gd name="T10" fmla="*/ 43 w 85"/>
                  <a:gd name="T11" fmla="*/ 0 h 49"/>
                </a:gdLst>
                <a:ahLst/>
                <a:cxnLst>
                  <a:cxn ang="0">
                    <a:pos x="T0" y="T1"/>
                  </a:cxn>
                  <a:cxn ang="0">
                    <a:pos x="T2" y="T3"/>
                  </a:cxn>
                  <a:cxn ang="0">
                    <a:pos x="T4" y="T5"/>
                  </a:cxn>
                  <a:cxn ang="0">
                    <a:pos x="T6" y="T7"/>
                  </a:cxn>
                  <a:cxn ang="0">
                    <a:pos x="T8" y="T9"/>
                  </a:cxn>
                  <a:cxn ang="0">
                    <a:pos x="T10" y="T11"/>
                  </a:cxn>
                </a:cxnLst>
                <a:rect l="0" t="0" r="r" b="b"/>
                <a:pathLst>
                  <a:path w="85" h="49">
                    <a:moveTo>
                      <a:pt x="43" y="0"/>
                    </a:moveTo>
                    <a:lnTo>
                      <a:pt x="7" y="22"/>
                    </a:lnTo>
                    <a:lnTo>
                      <a:pt x="0" y="26"/>
                    </a:lnTo>
                    <a:lnTo>
                      <a:pt x="43" y="49"/>
                    </a:lnTo>
                    <a:lnTo>
                      <a:pt x="85" y="26"/>
                    </a:lnTo>
                    <a:lnTo>
                      <a:pt x="43" y="0"/>
                    </a:lnTo>
                    <a:close/>
                  </a:path>
                </a:pathLst>
              </a:custGeom>
              <a:solidFill>
                <a:srgbClr val="A08171"/>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7" name="íś1îḓe"/>
              <p:cNvSpPr/>
              <p:nvPr/>
            </p:nvSpPr>
            <p:spPr bwMode="auto">
              <a:xfrm>
                <a:off x="3820" y="1947"/>
                <a:ext cx="85" cy="49"/>
              </a:xfrm>
              <a:custGeom>
                <a:avLst/>
                <a:gdLst>
                  <a:gd name="T0" fmla="*/ 43 w 85"/>
                  <a:gd name="T1" fmla="*/ 0 h 49"/>
                  <a:gd name="T2" fmla="*/ 7 w 85"/>
                  <a:gd name="T3" fmla="*/ 22 h 49"/>
                  <a:gd name="T4" fmla="*/ 0 w 85"/>
                  <a:gd name="T5" fmla="*/ 26 h 49"/>
                  <a:gd name="T6" fmla="*/ 43 w 85"/>
                  <a:gd name="T7" fmla="*/ 49 h 49"/>
                  <a:gd name="T8" fmla="*/ 85 w 85"/>
                  <a:gd name="T9" fmla="*/ 26 h 49"/>
                  <a:gd name="T10" fmla="*/ 43 w 85"/>
                  <a:gd name="T11" fmla="*/ 0 h 49"/>
                </a:gdLst>
                <a:ahLst/>
                <a:cxnLst>
                  <a:cxn ang="0">
                    <a:pos x="T0" y="T1"/>
                  </a:cxn>
                  <a:cxn ang="0">
                    <a:pos x="T2" y="T3"/>
                  </a:cxn>
                  <a:cxn ang="0">
                    <a:pos x="T4" y="T5"/>
                  </a:cxn>
                  <a:cxn ang="0">
                    <a:pos x="T6" y="T7"/>
                  </a:cxn>
                  <a:cxn ang="0">
                    <a:pos x="T8" y="T9"/>
                  </a:cxn>
                  <a:cxn ang="0">
                    <a:pos x="T10" y="T11"/>
                  </a:cxn>
                </a:cxnLst>
                <a:rect l="0" t="0" r="r" b="b"/>
                <a:pathLst>
                  <a:path w="85" h="49">
                    <a:moveTo>
                      <a:pt x="43" y="0"/>
                    </a:moveTo>
                    <a:lnTo>
                      <a:pt x="7" y="22"/>
                    </a:lnTo>
                    <a:lnTo>
                      <a:pt x="0" y="26"/>
                    </a:lnTo>
                    <a:lnTo>
                      <a:pt x="43" y="49"/>
                    </a:lnTo>
                    <a:lnTo>
                      <a:pt x="85" y="26"/>
                    </a:lnTo>
                    <a:lnTo>
                      <a:pt x="4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8" name="ïşľídè"/>
              <p:cNvSpPr/>
              <p:nvPr/>
            </p:nvSpPr>
            <p:spPr bwMode="auto">
              <a:xfrm>
                <a:off x="3311" y="2146"/>
                <a:ext cx="263" cy="1043"/>
              </a:xfrm>
              <a:custGeom>
                <a:avLst/>
                <a:gdLst>
                  <a:gd name="T0" fmla="*/ 180 w 263"/>
                  <a:gd name="T1" fmla="*/ 23 h 1043"/>
                  <a:gd name="T2" fmla="*/ 221 w 263"/>
                  <a:gd name="T3" fmla="*/ 0 h 1043"/>
                  <a:gd name="T4" fmla="*/ 263 w 263"/>
                  <a:gd name="T5" fmla="*/ 23 h 1043"/>
                  <a:gd name="T6" fmla="*/ 42 w 263"/>
                  <a:gd name="T7" fmla="*/ 1017 h 1043"/>
                  <a:gd name="T8" fmla="*/ 0 w 263"/>
                  <a:gd name="T9" fmla="*/ 1043 h 1043"/>
                  <a:gd name="T10" fmla="*/ 222 w 263"/>
                  <a:gd name="T11" fmla="*/ 49 h 1043"/>
                  <a:gd name="T12" fmla="*/ 180 w 263"/>
                  <a:gd name="T13" fmla="*/ 23 h 1043"/>
                </a:gdLst>
                <a:ahLst/>
                <a:cxnLst>
                  <a:cxn ang="0">
                    <a:pos x="T0" y="T1"/>
                  </a:cxn>
                  <a:cxn ang="0">
                    <a:pos x="T2" y="T3"/>
                  </a:cxn>
                  <a:cxn ang="0">
                    <a:pos x="T4" y="T5"/>
                  </a:cxn>
                  <a:cxn ang="0">
                    <a:pos x="T6" y="T7"/>
                  </a:cxn>
                  <a:cxn ang="0">
                    <a:pos x="T8" y="T9"/>
                  </a:cxn>
                  <a:cxn ang="0">
                    <a:pos x="T10" y="T11"/>
                  </a:cxn>
                  <a:cxn ang="0">
                    <a:pos x="T12" y="T13"/>
                  </a:cxn>
                </a:cxnLst>
                <a:rect l="0" t="0" r="r" b="b"/>
                <a:pathLst>
                  <a:path w="263" h="1043">
                    <a:moveTo>
                      <a:pt x="180" y="23"/>
                    </a:moveTo>
                    <a:lnTo>
                      <a:pt x="221" y="0"/>
                    </a:lnTo>
                    <a:lnTo>
                      <a:pt x="263" y="23"/>
                    </a:lnTo>
                    <a:lnTo>
                      <a:pt x="42" y="1017"/>
                    </a:lnTo>
                    <a:lnTo>
                      <a:pt x="0" y="1043"/>
                    </a:lnTo>
                    <a:lnTo>
                      <a:pt x="222" y="49"/>
                    </a:lnTo>
                    <a:lnTo>
                      <a:pt x="180" y="23"/>
                    </a:lnTo>
                    <a:close/>
                  </a:path>
                </a:pathLst>
              </a:custGeom>
              <a:solidFill>
                <a:srgbClr val="543E3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9" name="íṧľïḋé"/>
              <p:cNvSpPr/>
              <p:nvPr/>
            </p:nvSpPr>
            <p:spPr bwMode="auto">
              <a:xfrm>
                <a:off x="3311" y="2146"/>
                <a:ext cx="263" cy="1043"/>
              </a:xfrm>
              <a:custGeom>
                <a:avLst/>
                <a:gdLst>
                  <a:gd name="T0" fmla="*/ 180 w 263"/>
                  <a:gd name="T1" fmla="*/ 23 h 1043"/>
                  <a:gd name="T2" fmla="*/ 221 w 263"/>
                  <a:gd name="T3" fmla="*/ 0 h 1043"/>
                  <a:gd name="T4" fmla="*/ 263 w 263"/>
                  <a:gd name="T5" fmla="*/ 23 h 1043"/>
                  <a:gd name="T6" fmla="*/ 42 w 263"/>
                  <a:gd name="T7" fmla="*/ 1017 h 1043"/>
                  <a:gd name="T8" fmla="*/ 0 w 263"/>
                  <a:gd name="T9" fmla="*/ 1043 h 1043"/>
                  <a:gd name="T10" fmla="*/ 222 w 263"/>
                  <a:gd name="T11" fmla="*/ 49 h 1043"/>
                  <a:gd name="T12" fmla="*/ 180 w 263"/>
                  <a:gd name="T13" fmla="*/ 23 h 1043"/>
                </a:gdLst>
                <a:ahLst/>
                <a:cxnLst>
                  <a:cxn ang="0">
                    <a:pos x="T0" y="T1"/>
                  </a:cxn>
                  <a:cxn ang="0">
                    <a:pos x="T2" y="T3"/>
                  </a:cxn>
                  <a:cxn ang="0">
                    <a:pos x="T4" y="T5"/>
                  </a:cxn>
                  <a:cxn ang="0">
                    <a:pos x="T6" y="T7"/>
                  </a:cxn>
                  <a:cxn ang="0">
                    <a:pos x="T8" y="T9"/>
                  </a:cxn>
                  <a:cxn ang="0">
                    <a:pos x="T10" y="T11"/>
                  </a:cxn>
                  <a:cxn ang="0">
                    <a:pos x="T12" y="T13"/>
                  </a:cxn>
                </a:cxnLst>
                <a:rect l="0" t="0" r="r" b="b"/>
                <a:pathLst>
                  <a:path w="263" h="1043">
                    <a:moveTo>
                      <a:pt x="180" y="23"/>
                    </a:moveTo>
                    <a:lnTo>
                      <a:pt x="221" y="0"/>
                    </a:lnTo>
                    <a:lnTo>
                      <a:pt x="263" y="23"/>
                    </a:lnTo>
                    <a:lnTo>
                      <a:pt x="42" y="1017"/>
                    </a:lnTo>
                    <a:lnTo>
                      <a:pt x="0" y="1043"/>
                    </a:lnTo>
                    <a:lnTo>
                      <a:pt x="222" y="49"/>
                    </a:lnTo>
                    <a:lnTo>
                      <a:pt x="180" y="2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0" name="isļíďe"/>
              <p:cNvSpPr/>
              <p:nvPr/>
            </p:nvSpPr>
            <p:spPr bwMode="auto">
              <a:xfrm>
                <a:off x="3472" y="2305"/>
                <a:ext cx="253" cy="195"/>
              </a:xfrm>
              <a:custGeom>
                <a:avLst/>
                <a:gdLst>
                  <a:gd name="T0" fmla="*/ 0 w 253"/>
                  <a:gd name="T1" fmla="*/ 0 h 195"/>
                  <a:gd name="T2" fmla="*/ 0 w 253"/>
                  <a:gd name="T3" fmla="*/ 49 h 195"/>
                  <a:gd name="T4" fmla="*/ 253 w 253"/>
                  <a:gd name="T5" fmla="*/ 195 h 195"/>
                  <a:gd name="T6" fmla="*/ 253 w 253"/>
                  <a:gd name="T7" fmla="*/ 146 h 195"/>
                  <a:gd name="T8" fmla="*/ 0 w 253"/>
                  <a:gd name="T9" fmla="*/ 0 h 195"/>
                </a:gdLst>
                <a:ahLst/>
                <a:cxnLst>
                  <a:cxn ang="0">
                    <a:pos x="T0" y="T1"/>
                  </a:cxn>
                  <a:cxn ang="0">
                    <a:pos x="T2" y="T3"/>
                  </a:cxn>
                  <a:cxn ang="0">
                    <a:pos x="T4" y="T5"/>
                  </a:cxn>
                  <a:cxn ang="0">
                    <a:pos x="T6" y="T7"/>
                  </a:cxn>
                  <a:cxn ang="0">
                    <a:pos x="T8" y="T9"/>
                  </a:cxn>
                </a:cxnLst>
                <a:rect l="0" t="0" r="r" b="b"/>
                <a:pathLst>
                  <a:path w="253" h="195">
                    <a:moveTo>
                      <a:pt x="0" y="0"/>
                    </a:moveTo>
                    <a:lnTo>
                      <a:pt x="0" y="49"/>
                    </a:lnTo>
                    <a:lnTo>
                      <a:pt x="253" y="195"/>
                    </a:lnTo>
                    <a:lnTo>
                      <a:pt x="253" y="146"/>
                    </a:lnTo>
                    <a:lnTo>
                      <a:pt x="0" y="0"/>
                    </a:lnTo>
                    <a:close/>
                  </a:path>
                </a:pathLst>
              </a:custGeom>
              <a:solidFill>
                <a:srgbClr val="72594B"/>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1" name="ïṣḻïďê"/>
              <p:cNvSpPr/>
              <p:nvPr/>
            </p:nvSpPr>
            <p:spPr bwMode="auto">
              <a:xfrm>
                <a:off x="3472" y="2305"/>
                <a:ext cx="253" cy="195"/>
              </a:xfrm>
              <a:custGeom>
                <a:avLst/>
                <a:gdLst>
                  <a:gd name="T0" fmla="*/ 0 w 253"/>
                  <a:gd name="T1" fmla="*/ 0 h 195"/>
                  <a:gd name="T2" fmla="*/ 0 w 253"/>
                  <a:gd name="T3" fmla="*/ 49 h 195"/>
                  <a:gd name="T4" fmla="*/ 253 w 253"/>
                  <a:gd name="T5" fmla="*/ 195 h 195"/>
                  <a:gd name="T6" fmla="*/ 253 w 253"/>
                  <a:gd name="T7" fmla="*/ 146 h 195"/>
                  <a:gd name="T8" fmla="*/ 0 w 253"/>
                  <a:gd name="T9" fmla="*/ 0 h 195"/>
                </a:gdLst>
                <a:ahLst/>
                <a:cxnLst>
                  <a:cxn ang="0">
                    <a:pos x="T0" y="T1"/>
                  </a:cxn>
                  <a:cxn ang="0">
                    <a:pos x="T2" y="T3"/>
                  </a:cxn>
                  <a:cxn ang="0">
                    <a:pos x="T4" y="T5"/>
                  </a:cxn>
                  <a:cxn ang="0">
                    <a:pos x="T6" y="T7"/>
                  </a:cxn>
                  <a:cxn ang="0">
                    <a:pos x="T8" y="T9"/>
                  </a:cxn>
                </a:cxnLst>
                <a:rect l="0" t="0" r="r" b="b"/>
                <a:pathLst>
                  <a:path w="253" h="195">
                    <a:moveTo>
                      <a:pt x="0" y="0"/>
                    </a:moveTo>
                    <a:lnTo>
                      <a:pt x="0" y="49"/>
                    </a:lnTo>
                    <a:lnTo>
                      <a:pt x="253" y="195"/>
                    </a:lnTo>
                    <a:lnTo>
                      <a:pt x="253" y="146"/>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2" name="îŝḻíḍè"/>
              <p:cNvSpPr/>
              <p:nvPr/>
            </p:nvSpPr>
            <p:spPr bwMode="auto">
              <a:xfrm>
                <a:off x="3406" y="2670"/>
                <a:ext cx="255" cy="183"/>
              </a:xfrm>
              <a:custGeom>
                <a:avLst/>
                <a:gdLst>
                  <a:gd name="T0" fmla="*/ 20 w 255"/>
                  <a:gd name="T1" fmla="*/ 0 h 183"/>
                  <a:gd name="T2" fmla="*/ 0 w 255"/>
                  <a:gd name="T3" fmla="*/ 35 h 183"/>
                  <a:gd name="T4" fmla="*/ 255 w 255"/>
                  <a:gd name="T5" fmla="*/ 183 h 183"/>
                  <a:gd name="T6" fmla="*/ 253 w 255"/>
                  <a:gd name="T7" fmla="*/ 134 h 183"/>
                  <a:gd name="T8" fmla="*/ 20 w 255"/>
                  <a:gd name="T9" fmla="*/ 0 h 183"/>
                </a:gdLst>
                <a:ahLst/>
                <a:cxnLst>
                  <a:cxn ang="0">
                    <a:pos x="T0" y="T1"/>
                  </a:cxn>
                  <a:cxn ang="0">
                    <a:pos x="T2" y="T3"/>
                  </a:cxn>
                  <a:cxn ang="0">
                    <a:pos x="T4" y="T5"/>
                  </a:cxn>
                  <a:cxn ang="0">
                    <a:pos x="T6" y="T7"/>
                  </a:cxn>
                  <a:cxn ang="0">
                    <a:pos x="T8" y="T9"/>
                  </a:cxn>
                </a:cxnLst>
                <a:rect l="0" t="0" r="r" b="b"/>
                <a:pathLst>
                  <a:path w="255" h="183">
                    <a:moveTo>
                      <a:pt x="20" y="0"/>
                    </a:moveTo>
                    <a:lnTo>
                      <a:pt x="0" y="35"/>
                    </a:lnTo>
                    <a:lnTo>
                      <a:pt x="255" y="183"/>
                    </a:lnTo>
                    <a:lnTo>
                      <a:pt x="253" y="134"/>
                    </a:lnTo>
                    <a:lnTo>
                      <a:pt x="20" y="0"/>
                    </a:lnTo>
                    <a:close/>
                  </a:path>
                </a:pathLst>
              </a:custGeom>
              <a:solidFill>
                <a:srgbClr val="72594B"/>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3" name="ïşḻiḋé"/>
              <p:cNvSpPr/>
              <p:nvPr/>
            </p:nvSpPr>
            <p:spPr bwMode="auto">
              <a:xfrm>
                <a:off x="3406" y="2670"/>
                <a:ext cx="255" cy="183"/>
              </a:xfrm>
              <a:custGeom>
                <a:avLst/>
                <a:gdLst>
                  <a:gd name="T0" fmla="*/ 20 w 255"/>
                  <a:gd name="T1" fmla="*/ 0 h 183"/>
                  <a:gd name="T2" fmla="*/ 0 w 255"/>
                  <a:gd name="T3" fmla="*/ 35 h 183"/>
                  <a:gd name="T4" fmla="*/ 255 w 255"/>
                  <a:gd name="T5" fmla="*/ 183 h 183"/>
                  <a:gd name="T6" fmla="*/ 253 w 255"/>
                  <a:gd name="T7" fmla="*/ 134 h 183"/>
                  <a:gd name="T8" fmla="*/ 20 w 255"/>
                  <a:gd name="T9" fmla="*/ 0 h 183"/>
                </a:gdLst>
                <a:ahLst/>
                <a:cxnLst>
                  <a:cxn ang="0">
                    <a:pos x="T0" y="T1"/>
                  </a:cxn>
                  <a:cxn ang="0">
                    <a:pos x="T2" y="T3"/>
                  </a:cxn>
                  <a:cxn ang="0">
                    <a:pos x="T4" y="T5"/>
                  </a:cxn>
                  <a:cxn ang="0">
                    <a:pos x="T6" y="T7"/>
                  </a:cxn>
                  <a:cxn ang="0">
                    <a:pos x="T8" y="T9"/>
                  </a:cxn>
                </a:cxnLst>
                <a:rect l="0" t="0" r="r" b="b"/>
                <a:pathLst>
                  <a:path w="255" h="183">
                    <a:moveTo>
                      <a:pt x="20" y="0"/>
                    </a:moveTo>
                    <a:lnTo>
                      <a:pt x="0" y="35"/>
                    </a:lnTo>
                    <a:lnTo>
                      <a:pt x="255" y="183"/>
                    </a:lnTo>
                    <a:lnTo>
                      <a:pt x="253" y="134"/>
                    </a:lnTo>
                    <a:lnTo>
                      <a:pt x="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4" name="i$ļiḑé"/>
              <p:cNvSpPr/>
              <p:nvPr/>
            </p:nvSpPr>
            <p:spPr bwMode="auto">
              <a:xfrm>
                <a:off x="3363" y="2843"/>
                <a:ext cx="255" cy="179"/>
              </a:xfrm>
              <a:custGeom>
                <a:avLst/>
                <a:gdLst>
                  <a:gd name="T0" fmla="*/ 26 w 255"/>
                  <a:gd name="T1" fmla="*/ 0 h 179"/>
                  <a:gd name="T2" fmla="*/ 0 w 255"/>
                  <a:gd name="T3" fmla="*/ 34 h 179"/>
                  <a:gd name="T4" fmla="*/ 255 w 255"/>
                  <a:gd name="T5" fmla="*/ 179 h 179"/>
                  <a:gd name="T6" fmla="*/ 255 w 255"/>
                  <a:gd name="T7" fmla="*/ 132 h 179"/>
                  <a:gd name="T8" fmla="*/ 26 w 255"/>
                  <a:gd name="T9" fmla="*/ 0 h 179"/>
                </a:gdLst>
                <a:ahLst/>
                <a:cxnLst>
                  <a:cxn ang="0">
                    <a:pos x="T0" y="T1"/>
                  </a:cxn>
                  <a:cxn ang="0">
                    <a:pos x="T2" y="T3"/>
                  </a:cxn>
                  <a:cxn ang="0">
                    <a:pos x="T4" y="T5"/>
                  </a:cxn>
                  <a:cxn ang="0">
                    <a:pos x="T6" y="T7"/>
                  </a:cxn>
                  <a:cxn ang="0">
                    <a:pos x="T8" y="T9"/>
                  </a:cxn>
                </a:cxnLst>
                <a:rect l="0" t="0" r="r" b="b"/>
                <a:pathLst>
                  <a:path w="255" h="179">
                    <a:moveTo>
                      <a:pt x="26" y="0"/>
                    </a:moveTo>
                    <a:lnTo>
                      <a:pt x="0" y="34"/>
                    </a:lnTo>
                    <a:lnTo>
                      <a:pt x="255" y="179"/>
                    </a:lnTo>
                    <a:lnTo>
                      <a:pt x="255" y="132"/>
                    </a:lnTo>
                    <a:lnTo>
                      <a:pt x="26" y="0"/>
                    </a:lnTo>
                    <a:close/>
                  </a:path>
                </a:pathLst>
              </a:custGeom>
              <a:solidFill>
                <a:srgbClr val="72594B"/>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5" name="iS1iďé"/>
              <p:cNvSpPr/>
              <p:nvPr/>
            </p:nvSpPr>
            <p:spPr bwMode="auto">
              <a:xfrm>
                <a:off x="3363" y="2843"/>
                <a:ext cx="255" cy="179"/>
              </a:xfrm>
              <a:custGeom>
                <a:avLst/>
                <a:gdLst>
                  <a:gd name="T0" fmla="*/ 26 w 255"/>
                  <a:gd name="T1" fmla="*/ 0 h 179"/>
                  <a:gd name="T2" fmla="*/ 0 w 255"/>
                  <a:gd name="T3" fmla="*/ 34 h 179"/>
                  <a:gd name="T4" fmla="*/ 255 w 255"/>
                  <a:gd name="T5" fmla="*/ 179 h 179"/>
                  <a:gd name="T6" fmla="*/ 255 w 255"/>
                  <a:gd name="T7" fmla="*/ 132 h 179"/>
                  <a:gd name="T8" fmla="*/ 26 w 255"/>
                  <a:gd name="T9" fmla="*/ 0 h 179"/>
                </a:gdLst>
                <a:ahLst/>
                <a:cxnLst>
                  <a:cxn ang="0">
                    <a:pos x="T0" y="T1"/>
                  </a:cxn>
                  <a:cxn ang="0">
                    <a:pos x="T2" y="T3"/>
                  </a:cxn>
                  <a:cxn ang="0">
                    <a:pos x="T4" y="T5"/>
                  </a:cxn>
                  <a:cxn ang="0">
                    <a:pos x="T6" y="T7"/>
                  </a:cxn>
                  <a:cxn ang="0">
                    <a:pos x="T8" y="T9"/>
                  </a:cxn>
                </a:cxnLst>
                <a:rect l="0" t="0" r="r" b="b"/>
                <a:pathLst>
                  <a:path w="255" h="179">
                    <a:moveTo>
                      <a:pt x="26" y="0"/>
                    </a:moveTo>
                    <a:lnTo>
                      <a:pt x="0" y="34"/>
                    </a:lnTo>
                    <a:lnTo>
                      <a:pt x="255" y="179"/>
                    </a:lnTo>
                    <a:lnTo>
                      <a:pt x="255" y="132"/>
                    </a:lnTo>
                    <a:lnTo>
                      <a:pt x="2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6" name="íşľiḓe"/>
              <p:cNvSpPr/>
              <p:nvPr/>
            </p:nvSpPr>
            <p:spPr bwMode="auto">
              <a:xfrm>
                <a:off x="3457" y="2495"/>
                <a:ext cx="231" cy="178"/>
              </a:xfrm>
              <a:custGeom>
                <a:avLst/>
                <a:gdLst>
                  <a:gd name="T0" fmla="*/ 8 w 231"/>
                  <a:gd name="T1" fmla="*/ 0 h 178"/>
                  <a:gd name="T2" fmla="*/ 0 w 231"/>
                  <a:gd name="T3" fmla="*/ 44 h 178"/>
                  <a:gd name="T4" fmla="*/ 231 w 231"/>
                  <a:gd name="T5" fmla="*/ 178 h 178"/>
                  <a:gd name="T6" fmla="*/ 229 w 231"/>
                  <a:gd name="T7" fmla="*/ 129 h 178"/>
                  <a:gd name="T8" fmla="*/ 8 w 231"/>
                  <a:gd name="T9" fmla="*/ 0 h 178"/>
                </a:gdLst>
                <a:ahLst/>
                <a:cxnLst>
                  <a:cxn ang="0">
                    <a:pos x="T0" y="T1"/>
                  </a:cxn>
                  <a:cxn ang="0">
                    <a:pos x="T2" y="T3"/>
                  </a:cxn>
                  <a:cxn ang="0">
                    <a:pos x="T4" y="T5"/>
                  </a:cxn>
                  <a:cxn ang="0">
                    <a:pos x="T6" y="T7"/>
                  </a:cxn>
                  <a:cxn ang="0">
                    <a:pos x="T8" y="T9"/>
                  </a:cxn>
                </a:cxnLst>
                <a:rect l="0" t="0" r="r" b="b"/>
                <a:pathLst>
                  <a:path w="231" h="178">
                    <a:moveTo>
                      <a:pt x="8" y="0"/>
                    </a:moveTo>
                    <a:lnTo>
                      <a:pt x="0" y="44"/>
                    </a:lnTo>
                    <a:lnTo>
                      <a:pt x="231" y="178"/>
                    </a:lnTo>
                    <a:lnTo>
                      <a:pt x="229" y="129"/>
                    </a:lnTo>
                    <a:lnTo>
                      <a:pt x="8" y="0"/>
                    </a:lnTo>
                    <a:close/>
                  </a:path>
                </a:pathLst>
              </a:custGeom>
              <a:solidFill>
                <a:srgbClr val="72594B"/>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7" name="iSḻîḓè"/>
              <p:cNvSpPr/>
              <p:nvPr/>
            </p:nvSpPr>
            <p:spPr bwMode="auto">
              <a:xfrm>
                <a:off x="3457" y="2495"/>
                <a:ext cx="231" cy="178"/>
              </a:xfrm>
              <a:custGeom>
                <a:avLst/>
                <a:gdLst>
                  <a:gd name="T0" fmla="*/ 8 w 231"/>
                  <a:gd name="T1" fmla="*/ 0 h 178"/>
                  <a:gd name="T2" fmla="*/ 0 w 231"/>
                  <a:gd name="T3" fmla="*/ 44 h 178"/>
                  <a:gd name="T4" fmla="*/ 231 w 231"/>
                  <a:gd name="T5" fmla="*/ 178 h 178"/>
                  <a:gd name="T6" fmla="*/ 229 w 231"/>
                  <a:gd name="T7" fmla="*/ 129 h 178"/>
                  <a:gd name="T8" fmla="*/ 8 w 231"/>
                  <a:gd name="T9" fmla="*/ 0 h 178"/>
                </a:gdLst>
                <a:ahLst/>
                <a:cxnLst>
                  <a:cxn ang="0">
                    <a:pos x="T0" y="T1"/>
                  </a:cxn>
                  <a:cxn ang="0">
                    <a:pos x="T2" y="T3"/>
                  </a:cxn>
                  <a:cxn ang="0">
                    <a:pos x="T4" y="T5"/>
                  </a:cxn>
                  <a:cxn ang="0">
                    <a:pos x="T6" y="T7"/>
                  </a:cxn>
                  <a:cxn ang="0">
                    <a:pos x="T8" y="T9"/>
                  </a:cxn>
                </a:cxnLst>
                <a:rect l="0" t="0" r="r" b="b"/>
                <a:pathLst>
                  <a:path w="231" h="178">
                    <a:moveTo>
                      <a:pt x="8" y="0"/>
                    </a:moveTo>
                    <a:lnTo>
                      <a:pt x="0" y="44"/>
                    </a:lnTo>
                    <a:lnTo>
                      <a:pt x="231" y="178"/>
                    </a:lnTo>
                    <a:lnTo>
                      <a:pt x="229" y="129"/>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8" name="íSľïde"/>
              <p:cNvSpPr/>
              <p:nvPr/>
            </p:nvSpPr>
            <p:spPr bwMode="auto">
              <a:xfrm>
                <a:off x="3321" y="3014"/>
                <a:ext cx="255" cy="180"/>
              </a:xfrm>
              <a:custGeom>
                <a:avLst/>
                <a:gdLst>
                  <a:gd name="T0" fmla="*/ 29 w 255"/>
                  <a:gd name="T1" fmla="*/ 0 h 180"/>
                  <a:gd name="T2" fmla="*/ 0 w 255"/>
                  <a:gd name="T3" fmla="*/ 34 h 180"/>
                  <a:gd name="T4" fmla="*/ 255 w 255"/>
                  <a:gd name="T5" fmla="*/ 180 h 180"/>
                  <a:gd name="T6" fmla="*/ 255 w 255"/>
                  <a:gd name="T7" fmla="*/ 131 h 180"/>
                  <a:gd name="T8" fmla="*/ 29 w 255"/>
                  <a:gd name="T9" fmla="*/ 0 h 180"/>
                </a:gdLst>
                <a:ahLst/>
                <a:cxnLst>
                  <a:cxn ang="0">
                    <a:pos x="T0" y="T1"/>
                  </a:cxn>
                  <a:cxn ang="0">
                    <a:pos x="T2" y="T3"/>
                  </a:cxn>
                  <a:cxn ang="0">
                    <a:pos x="T4" y="T5"/>
                  </a:cxn>
                  <a:cxn ang="0">
                    <a:pos x="T6" y="T7"/>
                  </a:cxn>
                  <a:cxn ang="0">
                    <a:pos x="T8" y="T9"/>
                  </a:cxn>
                </a:cxnLst>
                <a:rect l="0" t="0" r="r" b="b"/>
                <a:pathLst>
                  <a:path w="255" h="180">
                    <a:moveTo>
                      <a:pt x="29" y="0"/>
                    </a:moveTo>
                    <a:lnTo>
                      <a:pt x="0" y="34"/>
                    </a:lnTo>
                    <a:lnTo>
                      <a:pt x="255" y="180"/>
                    </a:lnTo>
                    <a:lnTo>
                      <a:pt x="255" y="131"/>
                    </a:lnTo>
                    <a:lnTo>
                      <a:pt x="29" y="0"/>
                    </a:lnTo>
                    <a:close/>
                  </a:path>
                </a:pathLst>
              </a:custGeom>
              <a:solidFill>
                <a:srgbClr val="72594B"/>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9" name="ïşḻïḍé"/>
              <p:cNvSpPr/>
              <p:nvPr/>
            </p:nvSpPr>
            <p:spPr bwMode="auto">
              <a:xfrm>
                <a:off x="3321" y="3014"/>
                <a:ext cx="255" cy="180"/>
              </a:xfrm>
              <a:custGeom>
                <a:avLst/>
                <a:gdLst>
                  <a:gd name="T0" fmla="*/ 29 w 255"/>
                  <a:gd name="T1" fmla="*/ 0 h 180"/>
                  <a:gd name="T2" fmla="*/ 0 w 255"/>
                  <a:gd name="T3" fmla="*/ 34 h 180"/>
                  <a:gd name="T4" fmla="*/ 255 w 255"/>
                  <a:gd name="T5" fmla="*/ 180 h 180"/>
                  <a:gd name="T6" fmla="*/ 255 w 255"/>
                  <a:gd name="T7" fmla="*/ 131 h 180"/>
                  <a:gd name="T8" fmla="*/ 29 w 255"/>
                  <a:gd name="T9" fmla="*/ 0 h 180"/>
                </a:gdLst>
                <a:ahLst/>
                <a:cxnLst>
                  <a:cxn ang="0">
                    <a:pos x="T0" y="T1"/>
                  </a:cxn>
                  <a:cxn ang="0">
                    <a:pos x="T2" y="T3"/>
                  </a:cxn>
                  <a:cxn ang="0">
                    <a:pos x="T4" y="T5"/>
                  </a:cxn>
                  <a:cxn ang="0">
                    <a:pos x="T6" y="T7"/>
                  </a:cxn>
                  <a:cxn ang="0">
                    <a:pos x="T8" y="T9"/>
                  </a:cxn>
                </a:cxnLst>
                <a:rect l="0" t="0" r="r" b="b"/>
                <a:pathLst>
                  <a:path w="255" h="180">
                    <a:moveTo>
                      <a:pt x="29" y="0"/>
                    </a:moveTo>
                    <a:lnTo>
                      <a:pt x="0" y="34"/>
                    </a:lnTo>
                    <a:lnTo>
                      <a:pt x="255" y="180"/>
                    </a:lnTo>
                    <a:lnTo>
                      <a:pt x="255" y="131"/>
                    </a:lnTo>
                    <a:lnTo>
                      <a:pt x="2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0" name="íŝ1iďê"/>
              <p:cNvSpPr/>
              <p:nvPr/>
            </p:nvSpPr>
            <p:spPr bwMode="auto">
              <a:xfrm>
                <a:off x="3350" y="2990"/>
                <a:ext cx="268" cy="204"/>
              </a:xfrm>
              <a:custGeom>
                <a:avLst/>
                <a:gdLst>
                  <a:gd name="T0" fmla="*/ 0 w 268"/>
                  <a:gd name="T1" fmla="*/ 24 h 204"/>
                  <a:gd name="T2" fmla="*/ 42 w 268"/>
                  <a:gd name="T3" fmla="*/ 0 h 204"/>
                  <a:gd name="T4" fmla="*/ 268 w 268"/>
                  <a:gd name="T5" fmla="*/ 131 h 204"/>
                  <a:gd name="T6" fmla="*/ 268 w 268"/>
                  <a:gd name="T7" fmla="*/ 178 h 204"/>
                  <a:gd name="T8" fmla="*/ 226 w 268"/>
                  <a:gd name="T9" fmla="*/ 204 h 204"/>
                  <a:gd name="T10" fmla="*/ 226 w 268"/>
                  <a:gd name="T11" fmla="*/ 155 h 204"/>
                  <a:gd name="T12" fmla="*/ 0 w 268"/>
                  <a:gd name="T13" fmla="*/ 24 h 204"/>
                </a:gdLst>
                <a:ahLst/>
                <a:cxnLst>
                  <a:cxn ang="0">
                    <a:pos x="T0" y="T1"/>
                  </a:cxn>
                  <a:cxn ang="0">
                    <a:pos x="T2" y="T3"/>
                  </a:cxn>
                  <a:cxn ang="0">
                    <a:pos x="T4" y="T5"/>
                  </a:cxn>
                  <a:cxn ang="0">
                    <a:pos x="T6" y="T7"/>
                  </a:cxn>
                  <a:cxn ang="0">
                    <a:pos x="T8" y="T9"/>
                  </a:cxn>
                  <a:cxn ang="0">
                    <a:pos x="T10" y="T11"/>
                  </a:cxn>
                  <a:cxn ang="0">
                    <a:pos x="T12" y="T13"/>
                  </a:cxn>
                </a:cxnLst>
                <a:rect l="0" t="0" r="r" b="b"/>
                <a:pathLst>
                  <a:path w="268" h="204">
                    <a:moveTo>
                      <a:pt x="0" y="24"/>
                    </a:moveTo>
                    <a:lnTo>
                      <a:pt x="42" y="0"/>
                    </a:lnTo>
                    <a:lnTo>
                      <a:pt x="268" y="131"/>
                    </a:lnTo>
                    <a:lnTo>
                      <a:pt x="268" y="178"/>
                    </a:lnTo>
                    <a:lnTo>
                      <a:pt x="226" y="204"/>
                    </a:lnTo>
                    <a:lnTo>
                      <a:pt x="226" y="155"/>
                    </a:lnTo>
                    <a:lnTo>
                      <a:pt x="0" y="24"/>
                    </a:lnTo>
                    <a:close/>
                  </a:path>
                </a:pathLst>
              </a:custGeom>
              <a:solidFill>
                <a:srgbClr val="543E3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1" name="îṥḷíďè"/>
              <p:cNvSpPr/>
              <p:nvPr/>
            </p:nvSpPr>
            <p:spPr bwMode="auto">
              <a:xfrm>
                <a:off x="3350" y="2990"/>
                <a:ext cx="268" cy="204"/>
              </a:xfrm>
              <a:custGeom>
                <a:avLst/>
                <a:gdLst>
                  <a:gd name="T0" fmla="*/ 0 w 268"/>
                  <a:gd name="T1" fmla="*/ 24 h 204"/>
                  <a:gd name="T2" fmla="*/ 42 w 268"/>
                  <a:gd name="T3" fmla="*/ 0 h 204"/>
                  <a:gd name="T4" fmla="*/ 268 w 268"/>
                  <a:gd name="T5" fmla="*/ 131 h 204"/>
                  <a:gd name="T6" fmla="*/ 268 w 268"/>
                  <a:gd name="T7" fmla="*/ 178 h 204"/>
                  <a:gd name="T8" fmla="*/ 226 w 268"/>
                  <a:gd name="T9" fmla="*/ 204 h 204"/>
                  <a:gd name="T10" fmla="*/ 226 w 268"/>
                  <a:gd name="T11" fmla="*/ 155 h 204"/>
                  <a:gd name="T12" fmla="*/ 0 w 268"/>
                  <a:gd name="T13" fmla="*/ 24 h 204"/>
                </a:gdLst>
                <a:ahLst/>
                <a:cxnLst>
                  <a:cxn ang="0">
                    <a:pos x="T0" y="T1"/>
                  </a:cxn>
                  <a:cxn ang="0">
                    <a:pos x="T2" y="T3"/>
                  </a:cxn>
                  <a:cxn ang="0">
                    <a:pos x="T4" y="T5"/>
                  </a:cxn>
                  <a:cxn ang="0">
                    <a:pos x="T6" y="T7"/>
                  </a:cxn>
                  <a:cxn ang="0">
                    <a:pos x="T8" y="T9"/>
                  </a:cxn>
                  <a:cxn ang="0">
                    <a:pos x="T10" y="T11"/>
                  </a:cxn>
                  <a:cxn ang="0">
                    <a:pos x="T12" y="T13"/>
                  </a:cxn>
                </a:cxnLst>
                <a:rect l="0" t="0" r="r" b="b"/>
                <a:pathLst>
                  <a:path w="268" h="204">
                    <a:moveTo>
                      <a:pt x="0" y="24"/>
                    </a:moveTo>
                    <a:lnTo>
                      <a:pt x="42" y="0"/>
                    </a:lnTo>
                    <a:lnTo>
                      <a:pt x="268" y="131"/>
                    </a:lnTo>
                    <a:lnTo>
                      <a:pt x="268" y="178"/>
                    </a:lnTo>
                    <a:lnTo>
                      <a:pt x="226" y="204"/>
                    </a:lnTo>
                    <a:lnTo>
                      <a:pt x="226" y="155"/>
                    </a:lnTo>
                    <a:lnTo>
                      <a:pt x="0" y="2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2" name="išlïde"/>
              <p:cNvSpPr/>
              <p:nvPr/>
            </p:nvSpPr>
            <p:spPr bwMode="auto">
              <a:xfrm>
                <a:off x="3472" y="2281"/>
                <a:ext cx="296" cy="219"/>
              </a:xfrm>
              <a:custGeom>
                <a:avLst/>
                <a:gdLst>
                  <a:gd name="T0" fmla="*/ 0 w 296"/>
                  <a:gd name="T1" fmla="*/ 24 h 219"/>
                  <a:gd name="T2" fmla="*/ 41 w 296"/>
                  <a:gd name="T3" fmla="*/ 0 h 219"/>
                  <a:gd name="T4" fmla="*/ 296 w 296"/>
                  <a:gd name="T5" fmla="*/ 146 h 219"/>
                  <a:gd name="T6" fmla="*/ 296 w 296"/>
                  <a:gd name="T7" fmla="*/ 195 h 219"/>
                  <a:gd name="T8" fmla="*/ 253 w 296"/>
                  <a:gd name="T9" fmla="*/ 219 h 219"/>
                  <a:gd name="T10" fmla="*/ 253 w 296"/>
                  <a:gd name="T11" fmla="*/ 170 h 219"/>
                  <a:gd name="T12" fmla="*/ 0 w 296"/>
                  <a:gd name="T13" fmla="*/ 24 h 219"/>
                </a:gdLst>
                <a:ahLst/>
                <a:cxnLst>
                  <a:cxn ang="0">
                    <a:pos x="T0" y="T1"/>
                  </a:cxn>
                  <a:cxn ang="0">
                    <a:pos x="T2" y="T3"/>
                  </a:cxn>
                  <a:cxn ang="0">
                    <a:pos x="T4" y="T5"/>
                  </a:cxn>
                  <a:cxn ang="0">
                    <a:pos x="T6" y="T7"/>
                  </a:cxn>
                  <a:cxn ang="0">
                    <a:pos x="T8" y="T9"/>
                  </a:cxn>
                  <a:cxn ang="0">
                    <a:pos x="T10" y="T11"/>
                  </a:cxn>
                  <a:cxn ang="0">
                    <a:pos x="T12" y="T13"/>
                  </a:cxn>
                </a:cxnLst>
                <a:rect l="0" t="0" r="r" b="b"/>
                <a:pathLst>
                  <a:path w="296" h="219">
                    <a:moveTo>
                      <a:pt x="0" y="24"/>
                    </a:moveTo>
                    <a:lnTo>
                      <a:pt x="41" y="0"/>
                    </a:lnTo>
                    <a:lnTo>
                      <a:pt x="296" y="146"/>
                    </a:lnTo>
                    <a:lnTo>
                      <a:pt x="296" y="195"/>
                    </a:lnTo>
                    <a:lnTo>
                      <a:pt x="253" y="219"/>
                    </a:lnTo>
                    <a:lnTo>
                      <a:pt x="253" y="170"/>
                    </a:lnTo>
                    <a:lnTo>
                      <a:pt x="0" y="24"/>
                    </a:lnTo>
                    <a:close/>
                  </a:path>
                </a:pathLst>
              </a:custGeom>
              <a:solidFill>
                <a:srgbClr val="543E3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3" name="îṩļiḓé"/>
              <p:cNvSpPr/>
              <p:nvPr/>
            </p:nvSpPr>
            <p:spPr bwMode="auto">
              <a:xfrm>
                <a:off x="3472" y="2281"/>
                <a:ext cx="296" cy="219"/>
              </a:xfrm>
              <a:custGeom>
                <a:avLst/>
                <a:gdLst>
                  <a:gd name="T0" fmla="*/ 0 w 296"/>
                  <a:gd name="T1" fmla="*/ 24 h 219"/>
                  <a:gd name="T2" fmla="*/ 41 w 296"/>
                  <a:gd name="T3" fmla="*/ 0 h 219"/>
                  <a:gd name="T4" fmla="*/ 296 w 296"/>
                  <a:gd name="T5" fmla="*/ 146 h 219"/>
                  <a:gd name="T6" fmla="*/ 296 w 296"/>
                  <a:gd name="T7" fmla="*/ 195 h 219"/>
                  <a:gd name="T8" fmla="*/ 253 w 296"/>
                  <a:gd name="T9" fmla="*/ 219 h 219"/>
                  <a:gd name="T10" fmla="*/ 253 w 296"/>
                  <a:gd name="T11" fmla="*/ 170 h 219"/>
                  <a:gd name="T12" fmla="*/ 0 w 296"/>
                  <a:gd name="T13" fmla="*/ 24 h 219"/>
                </a:gdLst>
                <a:ahLst/>
                <a:cxnLst>
                  <a:cxn ang="0">
                    <a:pos x="T0" y="T1"/>
                  </a:cxn>
                  <a:cxn ang="0">
                    <a:pos x="T2" y="T3"/>
                  </a:cxn>
                  <a:cxn ang="0">
                    <a:pos x="T4" y="T5"/>
                  </a:cxn>
                  <a:cxn ang="0">
                    <a:pos x="T6" y="T7"/>
                  </a:cxn>
                  <a:cxn ang="0">
                    <a:pos x="T8" y="T9"/>
                  </a:cxn>
                  <a:cxn ang="0">
                    <a:pos x="T10" y="T11"/>
                  </a:cxn>
                  <a:cxn ang="0">
                    <a:pos x="T12" y="T13"/>
                  </a:cxn>
                </a:cxnLst>
                <a:rect l="0" t="0" r="r" b="b"/>
                <a:pathLst>
                  <a:path w="296" h="219">
                    <a:moveTo>
                      <a:pt x="0" y="24"/>
                    </a:moveTo>
                    <a:lnTo>
                      <a:pt x="41" y="0"/>
                    </a:lnTo>
                    <a:lnTo>
                      <a:pt x="296" y="146"/>
                    </a:lnTo>
                    <a:lnTo>
                      <a:pt x="296" y="195"/>
                    </a:lnTo>
                    <a:lnTo>
                      <a:pt x="253" y="219"/>
                    </a:lnTo>
                    <a:lnTo>
                      <a:pt x="253" y="170"/>
                    </a:lnTo>
                    <a:lnTo>
                      <a:pt x="0" y="2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4" name="isḻïḋe"/>
              <p:cNvSpPr/>
              <p:nvPr/>
            </p:nvSpPr>
            <p:spPr bwMode="auto">
              <a:xfrm>
                <a:off x="3465" y="2471"/>
                <a:ext cx="264" cy="202"/>
              </a:xfrm>
              <a:custGeom>
                <a:avLst/>
                <a:gdLst>
                  <a:gd name="T0" fmla="*/ 0 w 264"/>
                  <a:gd name="T1" fmla="*/ 24 h 202"/>
                  <a:gd name="T2" fmla="*/ 43 w 264"/>
                  <a:gd name="T3" fmla="*/ 0 h 202"/>
                  <a:gd name="T4" fmla="*/ 264 w 264"/>
                  <a:gd name="T5" fmla="*/ 127 h 202"/>
                  <a:gd name="T6" fmla="*/ 264 w 264"/>
                  <a:gd name="T7" fmla="*/ 177 h 202"/>
                  <a:gd name="T8" fmla="*/ 223 w 264"/>
                  <a:gd name="T9" fmla="*/ 202 h 202"/>
                  <a:gd name="T10" fmla="*/ 221 w 264"/>
                  <a:gd name="T11" fmla="*/ 153 h 202"/>
                  <a:gd name="T12" fmla="*/ 0 w 264"/>
                  <a:gd name="T13" fmla="*/ 24 h 202"/>
                </a:gdLst>
                <a:ahLst/>
                <a:cxnLst>
                  <a:cxn ang="0">
                    <a:pos x="T0" y="T1"/>
                  </a:cxn>
                  <a:cxn ang="0">
                    <a:pos x="T2" y="T3"/>
                  </a:cxn>
                  <a:cxn ang="0">
                    <a:pos x="T4" y="T5"/>
                  </a:cxn>
                  <a:cxn ang="0">
                    <a:pos x="T6" y="T7"/>
                  </a:cxn>
                  <a:cxn ang="0">
                    <a:pos x="T8" y="T9"/>
                  </a:cxn>
                  <a:cxn ang="0">
                    <a:pos x="T10" y="T11"/>
                  </a:cxn>
                  <a:cxn ang="0">
                    <a:pos x="T12" y="T13"/>
                  </a:cxn>
                </a:cxnLst>
                <a:rect l="0" t="0" r="r" b="b"/>
                <a:pathLst>
                  <a:path w="264" h="202">
                    <a:moveTo>
                      <a:pt x="0" y="24"/>
                    </a:moveTo>
                    <a:lnTo>
                      <a:pt x="43" y="0"/>
                    </a:lnTo>
                    <a:lnTo>
                      <a:pt x="264" y="127"/>
                    </a:lnTo>
                    <a:lnTo>
                      <a:pt x="264" y="177"/>
                    </a:lnTo>
                    <a:lnTo>
                      <a:pt x="223" y="202"/>
                    </a:lnTo>
                    <a:lnTo>
                      <a:pt x="221" y="153"/>
                    </a:lnTo>
                    <a:lnTo>
                      <a:pt x="0" y="24"/>
                    </a:lnTo>
                    <a:close/>
                  </a:path>
                </a:pathLst>
              </a:custGeom>
              <a:solidFill>
                <a:srgbClr val="543E3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5" name="îṡļîḑê"/>
              <p:cNvSpPr/>
              <p:nvPr/>
            </p:nvSpPr>
            <p:spPr bwMode="auto">
              <a:xfrm>
                <a:off x="3465" y="2471"/>
                <a:ext cx="264" cy="202"/>
              </a:xfrm>
              <a:custGeom>
                <a:avLst/>
                <a:gdLst>
                  <a:gd name="T0" fmla="*/ 0 w 264"/>
                  <a:gd name="T1" fmla="*/ 24 h 202"/>
                  <a:gd name="T2" fmla="*/ 43 w 264"/>
                  <a:gd name="T3" fmla="*/ 0 h 202"/>
                  <a:gd name="T4" fmla="*/ 264 w 264"/>
                  <a:gd name="T5" fmla="*/ 127 h 202"/>
                  <a:gd name="T6" fmla="*/ 264 w 264"/>
                  <a:gd name="T7" fmla="*/ 177 h 202"/>
                  <a:gd name="T8" fmla="*/ 223 w 264"/>
                  <a:gd name="T9" fmla="*/ 202 h 202"/>
                  <a:gd name="T10" fmla="*/ 221 w 264"/>
                  <a:gd name="T11" fmla="*/ 153 h 202"/>
                  <a:gd name="T12" fmla="*/ 0 w 264"/>
                  <a:gd name="T13" fmla="*/ 24 h 202"/>
                </a:gdLst>
                <a:ahLst/>
                <a:cxnLst>
                  <a:cxn ang="0">
                    <a:pos x="T0" y="T1"/>
                  </a:cxn>
                  <a:cxn ang="0">
                    <a:pos x="T2" y="T3"/>
                  </a:cxn>
                  <a:cxn ang="0">
                    <a:pos x="T4" y="T5"/>
                  </a:cxn>
                  <a:cxn ang="0">
                    <a:pos x="T6" y="T7"/>
                  </a:cxn>
                  <a:cxn ang="0">
                    <a:pos x="T8" y="T9"/>
                  </a:cxn>
                  <a:cxn ang="0">
                    <a:pos x="T10" y="T11"/>
                  </a:cxn>
                  <a:cxn ang="0">
                    <a:pos x="T12" y="T13"/>
                  </a:cxn>
                </a:cxnLst>
                <a:rect l="0" t="0" r="r" b="b"/>
                <a:pathLst>
                  <a:path w="264" h="202">
                    <a:moveTo>
                      <a:pt x="0" y="24"/>
                    </a:moveTo>
                    <a:lnTo>
                      <a:pt x="43" y="0"/>
                    </a:lnTo>
                    <a:lnTo>
                      <a:pt x="264" y="127"/>
                    </a:lnTo>
                    <a:lnTo>
                      <a:pt x="264" y="177"/>
                    </a:lnTo>
                    <a:lnTo>
                      <a:pt x="223" y="202"/>
                    </a:lnTo>
                    <a:lnTo>
                      <a:pt x="221" y="153"/>
                    </a:lnTo>
                    <a:lnTo>
                      <a:pt x="0" y="2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6" name="ïşlïďe"/>
              <p:cNvSpPr/>
              <p:nvPr/>
            </p:nvSpPr>
            <p:spPr bwMode="auto">
              <a:xfrm>
                <a:off x="3426" y="2644"/>
                <a:ext cx="276" cy="209"/>
              </a:xfrm>
              <a:custGeom>
                <a:avLst/>
                <a:gdLst>
                  <a:gd name="T0" fmla="*/ 0 w 276"/>
                  <a:gd name="T1" fmla="*/ 26 h 209"/>
                  <a:gd name="T2" fmla="*/ 43 w 276"/>
                  <a:gd name="T3" fmla="*/ 0 h 209"/>
                  <a:gd name="T4" fmla="*/ 276 w 276"/>
                  <a:gd name="T5" fmla="*/ 136 h 209"/>
                  <a:gd name="T6" fmla="*/ 276 w 276"/>
                  <a:gd name="T7" fmla="*/ 183 h 209"/>
                  <a:gd name="T8" fmla="*/ 235 w 276"/>
                  <a:gd name="T9" fmla="*/ 209 h 209"/>
                  <a:gd name="T10" fmla="*/ 233 w 276"/>
                  <a:gd name="T11" fmla="*/ 160 h 209"/>
                  <a:gd name="T12" fmla="*/ 0 w 276"/>
                  <a:gd name="T13" fmla="*/ 26 h 209"/>
                </a:gdLst>
                <a:ahLst/>
                <a:cxnLst>
                  <a:cxn ang="0">
                    <a:pos x="T0" y="T1"/>
                  </a:cxn>
                  <a:cxn ang="0">
                    <a:pos x="T2" y="T3"/>
                  </a:cxn>
                  <a:cxn ang="0">
                    <a:pos x="T4" y="T5"/>
                  </a:cxn>
                  <a:cxn ang="0">
                    <a:pos x="T6" y="T7"/>
                  </a:cxn>
                  <a:cxn ang="0">
                    <a:pos x="T8" y="T9"/>
                  </a:cxn>
                  <a:cxn ang="0">
                    <a:pos x="T10" y="T11"/>
                  </a:cxn>
                  <a:cxn ang="0">
                    <a:pos x="T12" y="T13"/>
                  </a:cxn>
                </a:cxnLst>
                <a:rect l="0" t="0" r="r" b="b"/>
                <a:pathLst>
                  <a:path w="276" h="209">
                    <a:moveTo>
                      <a:pt x="0" y="26"/>
                    </a:moveTo>
                    <a:lnTo>
                      <a:pt x="43" y="0"/>
                    </a:lnTo>
                    <a:lnTo>
                      <a:pt x="276" y="136"/>
                    </a:lnTo>
                    <a:lnTo>
                      <a:pt x="276" y="183"/>
                    </a:lnTo>
                    <a:lnTo>
                      <a:pt x="235" y="209"/>
                    </a:lnTo>
                    <a:lnTo>
                      <a:pt x="233" y="160"/>
                    </a:lnTo>
                    <a:lnTo>
                      <a:pt x="0" y="26"/>
                    </a:lnTo>
                    <a:close/>
                  </a:path>
                </a:pathLst>
              </a:custGeom>
              <a:solidFill>
                <a:srgbClr val="543E3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7" name="îS1iďe"/>
              <p:cNvSpPr/>
              <p:nvPr/>
            </p:nvSpPr>
            <p:spPr bwMode="auto">
              <a:xfrm>
                <a:off x="3426" y="2644"/>
                <a:ext cx="276" cy="209"/>
              </a:xfrm>
              <a:custGeom>
                <a:avLst/>
                <a:gdLst>
                  <a:gd name="T0" fmla="*/ 0 w 276"/>
                  <a:gd name="T1" fmla="*/ 26 h 209"/>
                  <a:gd name="T2" fmla="*/ 43 w 276"/>
                  <a:gd name="T3" fmla="*/ 0 h 209"/>
                  <a:gd name="T4" fmla="*/ 276 w 276"/>
                  <a:gd name="T5" fmla="*/ 136 h 209"/>
                  <a:gd name="T6" fmla="*/ 276 w 276"/>
                  <a:gd name="T7" fmla="*/ 183 h 209"/>
                  <a:gd name="T8" fmla="*/ 235 w 276"/>
                  <a:gd name="T9" fmla="*/ 209 h 209"/>
                  <a:gd name="T10" fmla="*/ 233 w 276"/>
                  <a:gd name="T11" fmla="*/ 160 h 209"/>
                  <a:gd name="T12" fmla="*/ 0 w 276"/>
                  <a:gd name="T13" fmla="*/ 26 h 209"/>
                </a:gdLst>
                <a:ahLst/>
                <a:cxnLst>
                  <a:cxn ang="0">
                    <a:pos x="T0" y="T1"/>
                  </a:cxn>
                  <a:cxn ang="0">
                    <a:pos x="T2" y="T3"/>
                  </a:cxn>
                  <a:cxn ang="0">
                    <a:pos x="T4" y="T5"/>
                  </a:cxn>
                  <a:cxn ang="0">
                    <a:pos x="T6" y="T7"/>
                  </a:cxn>
                  <a:cxn ang="0">
                    <a:pos x="T8" y="T9"/>
                  </a:cxn>
                  <a:cxn ang="0">
                    <a:pos x="T10" y="T11"/>
                  </a:cxn>
                  <a:cxn ang="0">
                    <a:pos x="T12" y="T13"/>
                  </a:cxn>
                </a:cxnLst>
                <a:rect l="0" t="0" r="r" b="b"/>
                <a:pathLst>
                  <a:path w="276" h="209">
                    <a:moveTo>
                      <a:pt x="0" y="26"/>
                    </a:moveTo>
                    <a:lnTo>
                      <a:pt x="43" y="0"/>
                    </a:lnTo>
                    <a:lnTo>
                      <a:pt x="276" y="136"/>
                    </a:lnTo>
                    <a:lnTo>
                      <a:pt x="276" y="183"/>
                    </a:lnTo>
                    <a:lnTo>
                      <a:pt x="235" y="209"/>
                    </a:lnTo>
                    <a:lnTo>
                      <a:pt x="233" y="160"/>
                    </a:lnTo>
                    <a:lnTo>
                      <a:pt x="0" y="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8" name="ïşḻïḋê"/>
              <p:cNvSpPr/>
              <p:nvPr/>
            </p:nvSpPr>
            <p:spPr bwMode="auto">
              <a:xfrm>
                <a:off x="3389" y="2819"/>
                <a:ext cx="272" cy="203"/>
              </a:xfrm>
              <a:custGeom>
                <a:avLst/>
                <a:gdLst>
                  <a:gd name="T0" fmla="*/ 0 w 272"/>
                  <a:gd name="T1" fmla="*/ 24 h 203"/>
                  <a:gd name="T2" fmla="*/ 41 w 272"/>
                  <a:gd name="T3" fmla="*/ 0 h 203"/>
                  <a:gd name="T4" fmla="*/ 272 w 272"/>
                  <a:gd name="T5" fmla="*/ 131 h 203"/>
                  <a:gd name="T6" fmla="*/ 272 w 272"/>
                  <a:gd name="T7" fmla="*/ 180 h 203"/>
                  <a:gd name="T8" fmla="*/ 229 w 272"/>
                  <a:gd name="T9" fmla="*/ 203 h 203"/>
                  <a:gd name="T10" fmla="*/ 229 w 272"/>
                  <a:gd name="T11" fmla="*/ 156 h 203"/>
                  <a:gd name="T12" fmla="*/ 0 w 272"/>
                  <a:gd name="T13" fmla="*/ 24 h 203"/>
                </a:gdLst>
                <a:ahLst/>
                <a:cxnLst>
                  <a:cxn ang="0">
                    <a:pos x="T0" y="T1"/>
                  </a:cxn>
                  <a:cxn ang="0">
                    <a:pos x="T2" y="T3"/>
                  </a:cxn>
                  <a:cxn ang="0">
                    <a:pos x="T4" y="T5"/>
                  </a:cxn>
                  <a:cxn ang="0">
                    <a:pos x="T6" y="T7"/>
                  </a:cxn>
                  <a:cxn ang="0">
                    <a:pos x="T8" y="T9"/>
                  </a:cxn>
                  <a:cxn ang="0">
                    <a:pos x="T10" y="T11"/>
                  </a:cxn>
                  <a:cxn ang="0">
                    <a:pos x="T12" y="T13"/>
                  </a:cxn>
                </a:cxnLst>
                <a:rect l="0" t="0" r="r" b="b"/>
                <a:pathLst>
                  <a:path w="272" h="203">
                    <a:moveTo>
                      <a:pt x="0" y="24"/>
                    </a:moveTo>
                    <a:lnTo>
                      <a:pt x="41" y="0"/>
                    </a:lnTo>
                    <a:lnTo>
                      <a:pt x="272" y="131"/>
                    </a:lnTo>
                    <a:lnTo>
                      <a:pt x="272" y="180"/>
                    </a:lnTo>
                    <a:lnTo>
                      <a:pt x="229" y="203"/>
                    </a:lnTo>
                    <a:lnTo>
                      <a:pt x="229" y="156"/>
                    </a:lnTo>
                    <a:lnTo>
                      <a:pt x="0" y="24"/>
                    </a:lnTo>
                    <a:close/>
                  </a:path>
                </a:pathLst>
              </a:custGeom>
              <a:solidFill>
                <a:srgbClr val="543E3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9" name="iśḻîďé"/>
              <p:cNvSpPr/>
              <p:nvPr/>
            </p:nvSpPr>
            <p:spPr bwMode="auto">
              <a:xfrm>
                <a:off x="3389" y="2819"/>
                <a:ext cx="272" cy="203"/>
              </a:xfrm>
              <a:custGeom>
                <a:avLst/>
                <a:gdLst>
                  <a:gd name="T0" fmla="*/ 0 w 272"/>
                  <a:gd name="T1" fmla="*/ 24 h 203"/>
                  <a:gd name="T2" fmla="*/ 41 w 272"/>
                  <a:gd name="T3" fmla="*/ 0 h 203"/>
                  <a:gd name="T4" fmla="*/ 272 w 272"/>
                  <a:gd name="T5" fmla="*/ 131 h 203"/>
                  <a:gd name="T6" fmla="*/ 272 w 272"/>
                  <a:gd name="T7" fmla="*/ 180 h 203"/>
                  <a:gd name="T8" fmla="*/ 229 w 272"/>
                  <a:gd name="T9" fmla="*/ 203 h 203"/>
                  <a:gd name="T10" fmla="*/ 229 w 272"/>
                  <a:gd name="T11" fmla="*/ 156 h 203"/>
                  <a:gd name="T12" fmla="*/ 0 w 272"/>
                  <a:gd name="T13" fmla="*/ 24 h 203"/>
                </a:gdLst>
                <a:ahLst/>
                <a:cxnLst>
                  <a:cxn ang="0">
                    <a:pos x="T0" y="T1"/>
                  </a:cxn>
                  <a:cxn ang="0">
                    <a:pos x="T2" y="T3"/>
                  </a:cxn>
                  <a:cxn ang="0">
                    <a:pos x="T4" y="T5"/>
                  </a:cxn>
                  <a:cxn ang="0">
                    <a:pos x="T6" y="T7"/>
                  </a:cxn>
                  <a:cxn ang="0">
                    <a:pos x="T8" y="T9"/>
                  </a:cxn>
                  <a:cxn ang="0">
                    <a:pos x="T10" y="T11"/>
                  </a:cxn>
                  <a:cxn ang="0">
                    <a:pos x="T12" y="T13"/>
                  </a:cxn>
                </a:cxnLst>
                <a:rect l="0" t="0" r="r" b="b"/>
                <a:pathLst>
                  <a:path w="272" h="203">
                    <a:moveTo>
                      <a:pt x="0" y="24"/>
                    </a:moveTo>
                    <a:lnTo>
                      <a:pt x="41" y="0"/>
                    </a:lnTo>
                    <a:lnTo>
                      <a:pt x="272" y="131"/>
                    </a:lnTo>
                    <a:lnTo>
                      <a:pt x="272" y="180"/>
                    </a:lnTo>
                    <a:lnTo>
                      <a:pt x="229" y="203"/>
                    </a:lnTo>
                    <a:lnTo>
                      <a:pt x="229" y="156"/>
                    </a:lnTo>
                    <a:lnTo>
                      <a:pt x="0" y="2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00" name="ïšlîḓé"/>
              <p:cNvSpPr/>
              <p:nvPr/>
            </p:nvSpPr>
            <p:spPr bwMode="auto">
              <a:xfrm>
                <a:off x="3504" y="2300"/>
                <a:ext cx="264" cy="200"/>
              </a:xfrm>
              <a:custGeom>
                <a:avLst/>
                <a:gdLst>
                  <a:gd name="T0" fmla="*/ 41 w 264"/>
                  <a:gd name="T1" fmla="*/ 0 h 200"/>
                  <a:gd name="T2" fmla="*/ 0 w 264"/>
                  <a:gd name="T3" fmla="*/ 24 h 200"/>
                  <a:gd name="T4" fmla="*/ 221 w 264"/>
                  <a:gd name="T5" fmla="*/ 151 h 200"/>
                  <a:gd name="T6" fmla="*/ 221 w 264"/>
                  <a:gd name="T7" fmla="*/ 200 h 200"/>
                  <a:gd name="T8" fmla="*/ 264 w 264"/>
                  <a:gd name="T9" fmla="*/ 176 h 200"/>
                  <a:gd name="T10" fmla="*/ 264 w 264"/>
                  <a:gd name="T11" fmla="*/ 127 h 200"/>
                  <a:gd name="T12" fmla="*/ 41 w 264"/>
                  <a:gd name="T13" fmla="*/ 0 h 200"/>
                </a:gdLst>
                <a:ahLst/>
                <a:cxnLst>
                  <a:cxn ang="0">
                    <a:pos x="T0" y="T1"/>
                  </a:cxn>
                  <a:cxn ang="0">
                    <a:pos x="T2" y="T3"/>
                  </a:cxn>
                  <a:cxn ang="0">
                    <a:pos x="T4" y="T5"/>
                  </a:cxn>
                  <a:cxn ang="0">
                    <a:pos x="T6" y="T7"/>
                  </a:cxn>
                  <a:cxn ang="0">
                    <a:pos x="T8" y="T9"/>
                  </a:cxn>
                  <a:cxn ang="0">
                    <a:pos x="T10" y="T11"/>
                  </a:cxn>
                  <a:cxn ang="0">
                    <a:pos x="T12" y="T13"/>
                  </a:cxn>
                </a:cxnLst>
                <a:rect l="0" t="0" r="r" b="b"/>
                <a:pathLst>
                  <a:path w="264" h="200">
                    <a:moveTo>
                      <a:pt x="41" y="0"/>
                    </a:moveTo>
                    <a:lnTo>
                      <a:pt x="0" y="24"/>
                    </a:lnTo>
                    <a:lnTo>
                      <a:pt x="221" y="151"/>
                    </a:lnTo>
                    <a:lnTo>
                      <a:pt x="221" y="200"/>
                    </a:lnTo>
                    <a:lnTo>
                      <a:pt x="264" y="176"/>
                    </a:lnTo>
                    <a:lnTo>
                      <a:pt x="264" y="127"/>
                    </a:lnTo>
                    <a:lnTo>
                      <a:pt x="41" y="0"/>
                    </a:lnTo>
                    <a:close/>
                  </a:path>
                </a:pathLst>
              </a:custGeom>
              <a:solidFill>
                <a:srgbClr val="A08171"/>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01" name="îṡľíḓe"/>
              <p:cNvSpPr/>
              <p:nvPr/>
            </p:nvSpPr>
            <p:spPr bwMode="auto">
              <a:xfrm>
                <a:off x="3504" y="2300"/>
                <a:ext cx="264" cy="200"/>
              </a:xfrm>
              <a:custGeom>
                <a:avLst/>
                <a:gdLst>
                  <a:gd name="T0" fmla="*/ 41 w 264"/>
                  <a:gd name="T1" fmla="*/ 0 h 200"/>
                  <a:gd name="T2" fmla="*/ 0 w 264"/>
                  <a:gd name="T3" fmla="*/ 24 h 200"/>
                  <a:gd name="T4" fmla="*/ 221 w 264"/>
                  <a:gd name="T5" fmla="*/ 151 h 200"/>
                  <a:gd name="T6" fmla="*/ 221 w 264"/>
                  <a:gd name="T7" fmla="*/ 200 h 200"/>
                  <a:gd name="T8" fmla="*/ 264 w 264"/>
                  <a:gd name="T9" fmla="*/ 176 h 200"/>
                  <a:gd name="T10" fmla="*/ 264 w 264"/>
                  <a:gd name="T11" fmla="*/ 127 h 200"/>
                  <a:gd name="T12" fmla="*/ 41 w 264"/>
                  <a:gd name="T13" fmla="*/ 0 h 200"/>
                </a:gdLst>
                <a:ahLst/>
                <a:cxnLst>
                  <a:cxn ang="0">
                    <a:pos x="T0" y="T1"/>
                  </a:cxn>
                  <a:cxn ang="0">
                    <a:pos x="T2" y="T3"/>
                  </a:cxn>
                  <a:cxn ang="0">
                    <a:pos x="T4" y="T5"/>
                  </a:cxn>
                  <a:cxn ang="0">
                    <a:pos x="T6" y="T7"/>
                  </a:cxn>
                  <a:cxn ang="0">
                    <a:pos x="T8" y="T9"/>
                  </a:cxn>
                  <a:cxn ang="0">
                    <a:pos x="T10" y="T11"/>
                  </a:cxn>
                  <a:cxn ang="0">
                    <a:pos x="T12" y="T13"/>
                  </a:cxn>
                </a:cxnLst>
                <a:rect l="0" t="0" r="r" b="b"/>
                <a:pathLst>
                  <a:path w="264" h="200">
                    <a:moveTo>
                      <a:pt x="41" y="0"/>
                    </a:moveTo>
                    <a:lnTo>
                      <a:pt x="0" y="24"/>
                    </a:lnTo>
                    <a:lnTo>
                      <a:pt x="221" y="151"/>
                    </a:lnTo>
                    <a:lnTo>
                      <a:pt x="221" y="200"/>
                    </a:lnTo>
                    <a:lnTo>
                      <a:pt x="264" y="176"/>
                    </a:lnTo>
                    <a:lnTo>
                      <a:pt x="264" y="127"/>
                    </a:lnTo>
                    <a:lnTo>
                      <a:pt x="4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02" name="iŝļíḍé"/>
              <p:cNvSpPr/>
              <p:nvPr/>
            </p:nvSpPr>
            <p:spPr bwMode="auto">
              <a:xfrm>
                <a:off x="3465" y="2471"/>
                <a:ext cx="264" cy="202"/>
              </a:xfrm>
              <a:custGeom>
                <a:avLst/>
                <a:gdLst>
                  <a:gd name="T0" fmla="*/ 43 w 264"/>
                  <a:gd name="T1" fmla="*/ 0 h 202"/>
                  <a:gd name="T2" fmla="*/ 0 w 264"/>
                  <a:gd name="T3" fmla="*/ 24 h 202"/>
                  <a:gd name="T4" fmla="*/ 221 w 264"/>
                  <a:gd name="T5" fmla="*/ 153 h 202"/>
                  <a:gd name="T6" fmla="*/ 223 w 264"/>
                  <a:gd name="T7" fmla="*/ 202 h 202"/>
                  <a:gd name="T8" fmla="*/ 264 w 264"/>
                  <a:gd name="T9" fmla="*/ 177 h 202"/>
                  <a:gd name="T10" fmla="*/ 264 w 264"/>
                  <a:gd name="T11" fmla="*/ 127 h 202"/>
                  <a:gd name="T12" fmla="*/ 252 w 264"/>
                  <a:gd name="T13" fmla="*/ 121 h 202"/>
                  <a:gd name="T14" fmla="*/ 43 w 264"/>
                  <a:gd name="T15" fmla="*/ 0 h 2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4" h="202">
                    <a:moveTo>
                      <a:pt x="43" y="0"/>
                    </a:moveTo>
                    <a:lnTo>
                      <a:pt x="0" y="24"/>
                    </a:lnTo>
                    <a:lnTo>
                      <a:pt x="221" y="153"/>
                    </a:lnTo>
                    <a:lnTo>
                      <a:pt x="223" y="202"/>
                    </a:lnTo>
                    <a:lnTo>
                      <a:pt x="264" y="177"/>
                    </a:lnTo>
                    <a:lnTo>
                      <a:pt x="264" y="127"/>
                    </a:lnTo>
                    <a:lnTo>
                      <a:pt x="252" y="121"/>
                    </a:lnTo>
                    <a:lnTo>
                      <a:pt x="43" y="0"/>
                    </a:lnTo>
                    <a:close/>
                  </a:path>
                </a:pathLst>
              </a:custGeom>
              <a:solidFill>
                <a:srgbClr val="A08171"/>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03" name="íS1ïďè"/>
              <p:cNvSpPr/>
              <p:nvPr/>
            </p:nvSpPr>
            <p:spPr bwMode="auto">
              <a:xfrm>
                <a:off x="3465" y="2471"/>
                <a:ext cx="264" cy="202"/>
              </a:xfrm>
              <a:custGeom>
                <a:avLst/>
                <a:gdLst>
                  <a:gd name="T0" fmla="*/ 43 w 264"/>
                  <a:gd name="T1" fmla="*/ 0 h 202"/>
                  <a:gd name="T2" fmla="*/ 0 w 264"/>
                  <a:gd name="T3" fmla="*/ 24 h 202"/>
                  <a:gd name="T4" fmla="*/ 221 w 264"/>
                  <a:gd name="T5" fmla="*/ 153 h 202"/>
                  <a:gd name="T6" fmla="*/ 223 w 264"/>
                  <a:gd name="T7" fmla="*/ 202 h 202"/>
                  <a:gd name="T8" fmla="*/ 264 w 264"/>
                  <a:gd name="T9" fmla="*/ 177 h 202"/>
                  <a:gd name="T10" fmla="*/ 264 w 264"/>
                  <a:gd name="T11" fmla="*/ 127 h 202"/>
                  <a:gd name="T12" fmla="*/ 252 w 264"/>
                  <a:gd name="T13" fmla="*/ 121 h 202"/>
                  <a:gd name="T14" fmla="*/ 43 w 264"/>
                  <a:gd name="T15" fmla="*/ 0 h 2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4" h="202">
                    <a:moveTo>
                      <a:pt x="43" y="0"/>
                    </a:moveTo>
                    <a:lnTo>
                      <a:pt x="0" y="24"/>
                    </a:lnTo>
                    <a:lnTo>
                      <a:pt x="221" y="153"/>
                    </a:lnTo>
                    <a:lnTo>
                      <a:pt x="223" y="202"/>
                    </a:lnTo>
                    <a:lnTo>
                      <a:pt x="264" y="177"/>
                    </a:lnTo>
                    <a:lnTo>
                      <a:pt x="264" y="127"/>
                    </a:lnTo>
                    <a:lnTo>
                      <a:pt x="252" y="121"/>
                    </a:lnTo>
                    <a:lnTo>
                      <a:pt x="4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04" name="iš1îḍe"/>
              <p:cNvSpPr/>
              <p:nvPr/>
            </p:nvSpPr>
            <p:spPr bwMode="auto">
              <a:xfrm>
                <a:off x="3426" y="2644"/>
                <a:ext cx="276" cy="209"/>
              </a:xfrm>
              <a:custGeom>
                <a:avLst/>
                <a:gdLst>
                  <a:gd name="T0" fmla="*/ 43 w 276"/>
                  <a:gd name="T1" fmla="*/ 0 h 209"/>
                  <a:gd name="T2" fmla="*/ 43 w 276"/>
                  <a:gd name="T3" fmla="*/ 2 h 209"/>
                  <a:gd name="T4" fmla="*/ 0 w 276"/>
                  <a:gd name="T5" fmla="*/ 26 h 209"/>
                  <a:gd name="T6" fmla="*/ 233 w 276"/>
                  <a:gd name="T7" fmla="*/ 160 h 209"/>
                  <a:gd name="T8" fmla="*/ 235 w 276"/>
                  <a:gd name="T9" fmla="*/ 209 h 209"/>
                  <a:gd name="T10" fmla="*/ 276 w 276"/>
                  <a:gd name="T11" fmla="*/ 183 h 209"/>
                  <a:gd name="T12" fmla="*/ 276 w 276"/>
                  <a:gd name="T13" fmla="*/ 148 h 209"/>
                  <a:gd name="T14" fmla="*/ 276 w 276"/>
                  <a:gd name="T15" fmla="*/ 136 h 209"/>
                  <a:gd name="T16" fmla="*/ 43 w 276"/>
                  <a:gd name="T17" fmla="*/ 0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6" h="209">
                    <a:moveTo>
                      <a:pt x="43" y="0"/>
                    </a:moveTo>
                    <a:lnTo>
                      <a:pt x="43" y="2"/>
                    </a:lnTo>
                    <a:lnTo>
                      <a:pt x="0" y="26"/>
                    </a:lnTo>
                    <a:lnTo>
                      <a:pt x="233" y="160"/>
                    </a:lnTo>
                    <a:lnTo>
                      <a:pt x="235" y="209"/>
                    </a:lnTo>
                    <a:lnTo>
                      <a:pt x="276" y="183"/>
                    </a:lnTo>
                    <a:lnTo>
                      <a:pt x="276" y="148"/>
                    </a:lnTo>
                    <a:lnTo>
                      <a:pt x="276" y="136"/>
                    </a:lnTo>
                    <a:lnTo>
                      <a:pt x="43" y="0"/>
                    </a:lnTo>
                    <a:close/>
                  </a:path>
                </a:pathLst>
              </a:custGeom>
              <a:solidFill>
                <a:srgbClr val="A08171"/>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05" name="iṩ1íďe"/>
              <p:cNvSpPr/>
              <p:nvPr/>
            </p:nvSpPr>
            <p:spPr bwMode="auto">
              <a:xfrm>
                <a:off x="3426" y="2644"/>
                <a:ext cx="276" cy="209"/>
              </a:xfrm>
              <a:custGeom>
                <a:avLst/>
                <a:gdLst>
                  <a:gd name="T0" fmla="*/ 43 w 276"/>
                  <a:gd name="T1" fmla="*/ 0 h 209"/>
                  <a:gd name="T2" fmla="*/ 43 w 276"/>
                  <a:gd name="T3" fmla="*/ 2 h 209"/>
                  <a:gd name="T4" fmla="*/ 0 w 276"/>
                  <a:gd name="T5" fmla="*/ 26 h 209"/>
                  <a:gd name="T6" fmla="*/ 233 w 276"/>
                  <a:gd name="T7" fmla="*/ 160 h 209"/>
                  <a:gd name="T8" fmla="*/ 235 w 276"/>
                  <a:gd name="T9" fmla="*/ 209 h 209"/>
                  <a:gd name="T10" fmla="*/ 276 w 276"/>
                  <a:gd name="T11" fmla="*/ 183 h 209"/>
                  <a:gd name="T12" fmla="*/ 276 w 276"/>
                  <a:gd name="T13" fmla="*/ 148 h 209"/>
                  <a:gd name="T14" fmla="*/ 276 w 276"/>
                  <a:gd name="T15" fmla="*/ 136 h 209"/>
                  <a:gd name="T16" fmla="*/ 43 w 276"/>
                  <a:gd name="T17" fmla="*/ 0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6" h="209">
                    <a:moveTo>
                      <a:pt x="43" y="0"/>
                    </a:moveTo>
                    <a:lnTo>
                      <a:pt x="43" y="2"/>
                    </a:lnTo>
                    <a:lnTo>
                      <a:pt x="0" y="26"/>
                    </a:lnTo>
                    <a:lnTo>
                      <a:pt x="233" y="160"/>
                    </a:lnTo>
                    <a:lnTo>
                      <a:pt x="235" y="209"/>
                    </a:lnTo>
                    <a:lnTo>
                      <a:pt x="276" y="183"/>
                    </a:lnTo>
                    <a:lnTo>
                      <a:pt x="276" y="148"/>
                    </a:lnTo>
                    <a:lnTo>
                      <a:pt x="276" y="136"/>
                    </a:lnTo>
                    <a:lnTo>
                      <a:pt x="4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06" name="ïSlîḍé"/>
              <p:cNvSpPr/>
              <p:nvPr/>
            </p:nvSpPr>
            <p:spPr bwMode="auto">
              <a:xfrm>
                <a:off x="3389" y="2819"/>
                <a:ext cx="272" cy="203"/>
              </a:xfrm>
              <a:custGeom>
                <a:avLst/>
                <a:gdLst>
                  <a:gd name="T0" fmla="*/ 41 w 272"/>
                  <a:gd name="T1" fmla="*/ 0 h 203"/>
                  <a:gd name="T2" fmla="*/ 0 w 272"/>
                  <a:gd name="T3" fmla="*/ 24 h 203"/>
                  <a:gd name="T4" fmla="*/ 229 w 272"/>
                  <a:gd name="T5" fmla="*/ 156 h 203"/>
                  <a:gd name="T6" fmla="*/ 229 w 272"/>
                  <a:gd name="T7" fmla="*/ 203 h 203"/>
                  <a:gd name="T8" fmla="*/ 272 w 272"/>
                  <a:gd name="T9" fmla="*/ 180 h 203"/>
                  <a:gd name="T10" fmla="*/ 272 w 272"/>
                  <a:gd name="T11" fmla="*/ 131 h 203"/>
                  <a:gd name="T12" fmla="*/ 177 w 272"/>
                  <a:gd name="T13" fmla="*/ 76 h 203"/>
                  <a:gd name="T14" fmla="*/ 41 w 272"/>
                  <a:gd name="T15" fmla="*/ 0 h 2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2" h="203">
                    <a:moveTo>
                      <a:pt x="41" y="0"/>
                    </a:moveTo>
                    <a:lnTo>
                      <a:pt x="0" y="24"/>
                    </a:lnTo>
                    <a:lnTo>
                      <a:pt x="229" y="156"/>
                    </a:lnTo>
                    <a:lnTo>
                      <a:pt x="229" y="203"/>
                    </a:lnTo>
                    <a:lnTo>
                      <a:pt x="272" y="180"/>
                    </a:lnTo>
                    <a:lnTo>
                      <a:pt x="272" y="131"/>
                    </a:lnTo>
                    <a:lnTo>
                      <a:pt x="177" y="76"/>
                    </a:lnTo>
                    <a:lnTo>
                      <a:pt x="41" y="0"/>
                    </a:lnTo>
                    <a:close/>
                  </a:path>
                </a:pathLst>
              </a:custGeom>
              <a:solidFill>
                <a:srgbClr val="A08171"/>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07" name="ïṣ1ïḓé"/>
              <p:cNvSpPr/>
              <p:nvPr/>
            </p:nvSpPr>
            <p:spPr bwMode="auto">
              <a:xfrm>
                <a:off x="3389" y="2819"/>
                <a:ext cx="272" cy="203"/>
              </a:xfrm>
              <a:custGeom>
                <a:avLst/>
                <a:gdLst>
                  <a:gd name="T0" fmla="*/ 41 w 272"/>
                  <a:gd name="T1" fmla="*/ 0 h 203"/>
                  <a:gd name="T2" fmla="*/ 0 w 272"/>
                  <a:gd name="T3" fmla="*/ 24 h 203"/>
                  <a:gd name="T4" fmla="*/ 229 w 272"/>
                  <a:gd name="T5" fmla="*/ 156 h 203"/>
                  <a:gd name="T6" fmla="*/ 229 w 272"/>
                  <a:gd name="T7" fmla="*/ 203 h 203"/>
                  <a:gd name="T8" fmla="*/ 272 w 272"/>
                  <a:gd name="T9" fmla="*/ 180 h 203"/>
                  <a:gd name="T10" fmla="*/ 272 w 272"/>
                  <a:gd name="T11" fmla="*/ 131 h 203"/>
                  <a:gd name="T12" fmla="*/ 177 w 272"/>
                  <a:gd name="T13" fmla="*/ 76 h 203"/>
                  <a:gd name="T14" fmla="*/ 41 w 272"/>
                  <a:gd name="T15" fmla="*/ 0 h 2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2" h="203">
                    <a:moveTo>
                      <a:pt x="41" y="0"/>
                    </a:moveTo>
                    <a:lnTo>
                      <a:pt x="0" y="24"/>
                    </a:lnTo>
                    <a:lnTo>
                      <a:pt x="229" y="156"/>
                    </a:lnTo>
                    <a:lnTo>
                      <a:pt x="229" y="203"/>
                    </a:lnTo>
                    <a:lnTo>
                      <a:pt x="272" y="180"/>
                    </a:lnTo>
                    <a:lnTo>
                      <a:pt x="272" y="131"/>
                    </a:lnTo>
                    <a:lnTo>
                      <a:pt x="177" y="76"/>
                    </a:lnTo>
                    <a:lnTo>
                      <a:pt x="4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08" name="íšḻidê"/>
              <p:cNvSpPr/>
              <p:nvPr/>
            </p:nvSpPr>
            <p:spPr bwMode="auto">
              <a:xfrm>
                <a:off x="3350" y="2990"/>
                <a:ext cx="268" cy="204"/>
              </a:xfrm>
              <a:custGeom>
                <a:avLst/>
                <a:gdLst>
                  <a:gd name="T0" fmla="*/ 42 w 268"/>
                  <a:gd name="T1" fmla="*/ 0 h 204"/>
                  <a:gd name="T2" fmla="*/ 0 w 268"/>
                  <a:gd name="T3" fmla="*/ 24 h 204"/>
                  <a:gd name="T4" fmla="*/ 226 w 268"/>
                  <a:gd name="T5" fmla="*/ 155 h 204"/>
                  <a:gd name="T6" fmla="*/ 226 w 268"/>
                  <a:gd name="T7" fmla="*/ 204 h 204"/>
                  <a:gd name="T8" fmla="*/ 268 w 268"/>
                  <a:gd name="T9" fmla="*/ 178 h 204"/>
                  <a:gd name="T10" fmla="*/ 268 w 268"/>
                  <a:gd name="T11" fmla="*/ 131 h 204"/>
                  <a:gd name="T12" fmla="*/ 42 w 268"/>
                  <a:gd name="T13" fmla="*/ 0 h 204"/>
                </a:gdLst>
                <a:ahLst/>
                <a:cxnLst>
                  <a:cxn ang="0">
                    <a:pos x="T0" y="T1"/>
                  </a:cxn>
                  <a:cxn ang="0">
                    <a:pos x="T2" y="T3"/>
                  </a:cxn>
                  <a:cxn ang="0">
                    <a:pos x="T4" y="T5"/>
                  </a:cxn>
                  <a:cxn ang="0">
                    <a:pos x="T6" y="T7"/>
                  </a:cxn>
                  <a:cxn ang="0">
                    <a:pos x="T8" y="T9"/>
                  </a:cxn>
                  <a:cxn ang="0">
                    <a:pos x="T10" y="T11"/>
                  </a:cxn>
                  <a:cxn ang="0">
                    <a:pos x="T12" y="T13"/>
                  </a:cxn>
                </a:cxnLst>
                <a:rect l="0" t="0" r="r" b="b"/>
                <a:pathLst>
                  <a:path w="268" h="204">
                    <a:moveTo>
                      <a:pt x="42" y="0"/>
                    </a:moveTo>
                    <a:lnTo>
                      <a:pt x="0" y="24"/>
                    </a:lnTo>
                    <a:lnTo>
                      <a:pt x="226" y="155"/>
                    </a:lnTo>
                    <a:lnTo>
                      <a:pt x="226" y="204"/>
                    </a:lnTo>
                    <a:lnTo>
                      <a:pt x="268" y="178"/>
                    </a:lnTo>
                    <a:lnTo>
                      <a:pt x="268" y="131"/>
                    </a:lnTo>
                    <a:lnTo>
                      <a:pt x="42" y="0"/>
                    </a:lnTo>
                    <a:close/>
                  </a:path>
                </a:pathLst>
              </a:custGeom>
              <a:solidFill>
                <a:srgbClr val="A08171"/>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09" name="î$ḻïḑê"/>
              <p:cNvSpPr/>
              <p:nvPr/>
            </p:nvSpPr>
            <p:spPr bwMode="auto">
              <a:xfrm>
                <a:off x="3350" y="2990"/>
                <a:ext cx="268" cy="204"/>
              </a:xfrm>
              <a:custGeom>
                <a:avLst/>
                <a:gdLst>
                  <a:gd name="T0" fmla="*/ 42 w 268"/>
                  <a:gd name="T1" fmla="*/ 0 h 204"/>
                  <a:gd name="T2" fmla="*/ 0 w 268"/>
                  <a:gd name="T3" fmla="*/ 24 h 204"/>
                  <a:gd name="T4" fmla="*/ 226 w 268"/>
                  <a:gd name="T5" fmla="*/ 155 h 204"/>
                  <a:gd name="T6" fmla="*/ 226 w 268"/>
                  <a:gd name="T7" fmla="*/ 204 h 204"/>
                  <a:gd name="T8" fmla="*/ 268 w 268"/>
                  <a:gd name="T9" fmla="*/ 178 h 204"/>
                  <a:gd name="T10" fmla="*/ 268 w 268"/>
                  <a:gd name="T11" fmla="*/ 131 h 204"/>
                  <a:gd name="T12" fmla="*/ 42 w 268"/>
                  <a:gd name="T13" fmla="*/ 0 h 204"/>
                </a:gdLst>
                <a:ahLst/>
                <a:cxnLst>
                  <a:cxn ang="0">
                    <a:pos x="T0" y="T1"/>
                  </a:cxn>
                  <a:cxn ang="0">
                    <a:pos x="T2" y="T3"/>
                  </a:cxn>
                  <a:cxn ang="0">
                    <a:pos x="T4" y="T5"/>
                  </a:cxn>
                  <a:cxn ang="0">
                    <a:pos x="T6" y="T7"/>
                  </a:cxn>
                  <a:cxn ang="0">
                    <a:pos x="T8" y="T9"/>
                  </a:cxn>
                  <a:cxn ang="0">
                    <a:pos x="T10" y="T11"/>
                  </a:cxn>
                  <a:cxn ang="0">
                    <a:pos x="T12" y="T13"/>
                  </a:cxn>
                </a:cxnLst>
                <a:rect l="0" t="0" r="r" b="b"/>
                <a:pathLst>
                  <a:path w="268" h="204">
                    <a:moveTo>
                      <a:pt x="42" y="0"/>
                    </a:moveTo>
                    <a:lnTo>
                      <a:pt x="0" y="24"/>
                    </a:lnTo>
                    <a:lnTo>
                      <a:pt x="226" y="155"/>
                    </a:lnTo>
                    <a:lnTo>
                      <a:pt x="226" y="204"/>
                    </a:lnTo>
                    <a:lnTo>
                      <a:pt x="268" y="178"/>
                    </a:lnTo>
                    <a:lnTo>
                      <a:pt x="268" y="131"/>
                    </a:lnTo>
                    <a:lnTo>
                      <a:pt x="4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10" name="íSḻiḋè"/>
              <p:cNvSpPr/>
              <p:nvPr/>
            </p:nvSpPr>
            <p:spPr bwMode="auto">
              <a:xfrm>
                <a:off x="3566" y="2291"/>
                <a:ext cx="263" cy="1044"/>
              </a:xfrm>
              <a:custGeom>
                <a:avLst/>
                <a:gdLst>
                  <a:gd name="T0" fmla="*/ 178 w 263"/>
                  <a:gd name="T1" fmla="*/ 26 h 1044"/>
                  <a:gd name="T2" fmla="*/ 220 w 263"/>
                  <a:gd name="T3" fmla="*/ 0 h 1044"/>
                  <a:gd name="T4" fmla="*/ 263 w 263"/>
                  <a:gd name="T5" fmla="*/ 26 h 1044"/>
                  <a:gd name="T6" fmla="*/ 42 w 263"/>
                  <a:gd name="T7" fmla="*/ 1020 h 1044"/>
                  <a:gd name="T8" fmla="*/ 0 w 263"/>
                  <a:gd name="T9" fmla="*/ 1044 h 1044"/>
                  <a:gd name="T10" fmla="*/ 220 w 263"/>
                  <a:gd name="T11" fmla="*/ 50 h 1044"/>
                  <a:gd name="T12" fmla="*/ 178 w 263"/>
                  <a:gd name="T13" fmla="*/ 26 h 1044"/>
                </a:gdLst>
                <a:ahLst/>
                <a:cxnLst>
                  <a:cxn ang="0">
                    <a:pos x="T0" y="T1"/>
                  </a:cxn>
                  <a:cxn ang="0">
                    <a:pos x="T2" y="T3"/>
                  </a:cxn>
                  <a:cxn ang="0">
                    <a:pos x="T4" y="T5"/>
                  </a:cxn>
                  <a:cxn ang="0">
                    <a:pos x="T6" y="T7"/>
                  </a:cxn>
                  <a:cxn ang="0">
                    <a:pos x="T8" y="T9"/>
                  </a:cxn>
                  <a:cxn ang="0">
                    <a:pos x="T10" y="T11"/>
                  </a:cxn>
                  <a:cxn ang="0">
                    <a:pos x="T12" y="T13"/>
                  </a:cxn>
                </a:cxnLst>
                <a:rect l="0" t="0" r="r" b="b"/>
                <a:pathLst>
                  <a:path w="263" h="1044">
                    <a:moveTo>
                      <a:pt x="178" y="26"/>
                    </a:moveTo>
                    <a:lnTo>
                      <a:pt x="220" y="0"/>
                    </a:lnTo>
                    <a:lnTo>
                      <a:pt x="263" y="26"/>
                    </a:lnTo>
                    <a:lnTo>
                      <a:pt x="42" y="1020"/>
                    </a:lnTo>
                    <a:lnTo>
                      <a:pt x="0" y="1044"/>
                    </a:lnTo>
                    <a:lnTo>
                      <a:pt x="220" y="50"/>
                    </a:lnTo>
                    <a:lnTo>
                      <a:pt x="178" y="26"/>
                    </a:lnTo>
                    <a:close/>
                  </a:path>
                </a:pathLst>
              </a:custGeom>
              <a:solidFill>
                <a:srgbClr val="543E3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11" name="iṥḷîḋè"/>
              <p:cNvSpPr/>
              <p:nvPr/>
            </p:nvSpPr>
            <p:spPr bwMode="auto">
              <a:xfrm>
                <a:off x="3270" y="2083"/>
                <a:ext cx="287" cy="1106"/>
              </a:xfrm>
              <a:custGeom>
                <a:avLst/>
                <a:gdLst>
                  <a:gd name="T0" fmla="*/ 0 w 287"/>
                  <a:gd name="T1" fmla="*/ 1080 h 1106"/>
                  <a:gd name="T2" fmla="*/ 42 w 287"/>
                  <a:gd name="T3" fmla="*/ 1106 h 1106"/>
                  <a:gd name="T4" fmla="*/ 287 w 287"/>
                  <a:gd name="T5" fmla="*/ 0 h 1106"/>
                  <a:gd name="T6" fmla="*/ 221 w 287"/>
                  <a:gd name="T7" fmla="*/ 86 h 1106"/>
                  <a:gd name="T8" fmla="*/ 0 w 287"/>
                  <a:gd name="T9" fmla="*/ 1080 h 1106"/>
                </a:gdLst>
                <a:ahLst/>
                <a:cxnLst>
                  <a:cxn ang="0">
                    <a:pos x="T0" y="T1"/>
                  </a:cxn>
                  <a:cxn ang="0">
                    <a:pos x="T2" y="T3"/>
                  </a:cxn>
                  <a:cxn ang="0">
                    <a:pos x="T4" y="T5"/>
                  </a:cxn>
                  <a:cxn ang="0">
                    <a:pos x="T6" y="T7"/>
                  </a:cxn>
                  <a:cxn ang="0">
                    <a:pos x="T8" y="T9"/>
                  </a:cxn>
                </a:cxnLst>
                <a:rect l="0" t="0" r="r" b="b"/>
                <a:pathLst>
                  <a:path w="287" h="1106">
                    <a:moveTo>
                      <a:pt x="0" y="1080"/>
                    </a:moveTo>
                    <a:lnTo>
                      <a:pt x="42" y="1106"/>
                    </a:lnTo>
                    <a:lnTo>
                      <a:pt x="287" y="0"/>
                    </a:lnTo>
                    <a:lnTo>
                      <a:pt x="221" y="86"/>
                    </a:lnTo>
                    <a:lnTo>
                      <a:pt x="0" y="1080"/>
                    </a:lnTo>
                    <a:close/>
                  </a:path>
                </a:pathLst>
              </a:custGeom>
              <a:solidFill>
                <a:srgbClr val="72594B"/>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12" name="íşḷîďè"/>
              <p:cNvSpPr/>
              <p:nvPr/>
            </p:nvSpPr>
            <p:spPr bwMode="auto">
              <a:xfrm>
                <a:off x="3518" y="2137"/>
                <a:ext cx="253" cy="195"/>
              </a:xfrm>
              <a:custGeom>
                <a:avLst/>
                <a:gdLst>
                  <a:gd name="T0" fmla="*/ 0 w 253"/>
                  <a:gd name="T1" fmla="*/ 0 h 195"/>
                  <a:gd name="T2" fmla="*/ 0 w 253"/>
                  <a:gd name="T3" fmla="*/ 49 h 195"/>
                  <a:gd name="T4" fmla="*/ 253 w 253"/>
                  <a:gd name="T5" fmla="*/ 195 h 195"/>
                  <a:gd name="T6" fmla="*/ 253 w 253"/>
                  <a:gd name="T7" fmla="*/ 146 h 195"/>
                  <a:gd name="T8" fmla="*/ 0 w 253"/>
                  <a:gd name="T9" fmla="*/ 0 h 195"/>
                </a:gdLst>
                <a:ahLst/>
                <a:cxnLst>
                  <a:cxn ang="0">
                    <a:pos x="T0" y="T1"/>
                  </a:cxn>
                  <a:cxn ang="0">
                    <a:pos x="T2" y="T3"/>
                  </a:cxn>
                  <a:cxn ang="0">
                    <a:pos x="T4" y="T5"/>
                  </a:cxn>
                  <a:cxn ang="0">
                    <a:pos x="T6" y="T7"/>
                  </a:cxn>
                  <a:cxn ang="0">
                    <a:pos x="T8" y="T9"/>
                  </a:cxn>
                </a:cxnLst>
                <a:rect l="0" t="0" r="r" b="b"/>
                <a:pathLst>
                  <a:path w="253" h="195">
                    <a:moveTo>
                      <a:pt x="0" y="0"/>
                    </a:moveTo>
                    <a:lnTo>
                      <a:pt x="0" y="49"/>
                    </a:lnTo>
                    <a:lnTo>
                      <a:pt x="253" y="195"/>
                    </a:lnTo>
                    <a:lnTo>
                      <a:pt x="253" y="146"/>
                    </a:lnTo>
                    <a:lnTo>
                      <a:pt x="0" y="0"/>
                    </a:lnTo>
                    <a:close/>
                  </a:path>
                </a:pathLst>
              </a:custGeom>
              <a:solidFill>
                <a:srgbClr val="72594B"/>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13" name="i$1îḍé"/>
              <p:cNvSpPr/>
              <p:nvPr/>
            </p:nvSpPr>
            <p:spPr bwMode="auto">
              <a:xfrm>
                <a:off x="3523" y="2168"/>
                <a:ext cx="301" cy="1167"/>
              </a:xfrm>
              <a:custGeom>
                <a:avLst/>
                <a:gdLst>
                  <a:gd name="T0" fmla="*/ 0 w 301"/>
                  <a:gd name="T1" fmla="*/ 1143 h 1167"/>
                  <a:gd name="T2" fmla="*/ 43 w 301"/>
                  <a:gd name="T3" fmla="*/ 1167 h 1167"/>
                  <a:gd name="T4" fmla="*/ 301 w 301"/>
                  <a:gd name="T5" fmla="*/ 0 h 1167"/>
                  <a:gd name="T6" fmla="*/ 221 w 301"/>
                  <a:gd name="T7" fmla="*/ 149 h 1167"/>
                  <a:gd name="T8" fmla="*/ 0 w 301"/>
                  <a:gd name="T9" fmla="*/ 1143 h 1167"/>
                </a:gdLst>
                <a:ahLst/>
                <a:cxnLst>
                  <a:cxn ang="0">
                    <a:pos x="T0" y="T1"/>
                  </a:cxn>
                  <a:cxn ang="0">
                    <a:pos x="T2" y="T3"/>
                  </a:cxn>
                  <a:cxn ang="0">
                    <a:pos x="T4" y="T5"/>
                  </a:cxn>
                  <a:cxn ang="0">
                    <a:pos x="T6" y="T7"/>
                  </a:cxn>
                  <a:cxn ang="0">
                    <a:pos x="T8" y="T9"/>
                  </a:cxn>
                </a:cxnLst>
                <a:rect l="0" t="0" r="r" b="b"/>
                <a:pathLst>
                  <a:path w="301" h="1167">
                    <a:moveTo>
                      <a:pt x="0" y="1143"/>
                    </a:moveTo>
                    <a:lnTo>
                      <a:pt x="43" y="1167"/>
                    </a:lnTo>
                    <a:lnTo>
                      <a:pt x="301" y="0"/>
                    </a:lnTo>
                    <a:lnTo>
                      <a:pt x="221" y="149"/>
                    </a:lnTo>
                    <a:lnTo>
                      <a:pt x="0" y="1143"/>
                    </a:lnTo>
                    <a:close/>
                  </a:path>
                </a:pathLst>
              </a:custGeom>
              <a:solidFill>
                <a:srgbClr val="72594B"/>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14" name="íšľiďê"/>
              <p:cNvSpPr/>
              <p:nvPr/>
            </p:nvSpPr>
            <p:spPr bwMode="auto">
              <a:xfrm>
                <a:off x="3511" y="2280"/>
                <a:ext cx="38" cy="25"/>
              </a:xfrm>
              <a:custGeom>
                <a:avLst/>
                <a:gdLst>
                  <a:gd name="T0" fmla="*/ 26 w 38"/>
                  <a:gd name="T1" fmla="*/ 25 h 25"/>
                  <a:gd name="T2" fmla="*/ 34 w 38"/>
                  <a:gd name="T3" fmla="*/ 20 h 25"/>
                  <a:gd name="T4" fmla="*/ 38 w 38"/>
                  <a:gd name="T5" fmla="*/ 11 h 25"/>
                  <a:gd name="T6" fmla="*/ 2 w 38"/>
                  <a:gd name="T7" fmla="*/ 0 h 25"/>
                  <a:gd name="T8" fmla="*/ 0 w 38"/>
                  <a:gd name="T9" fmla="*/ 10 h 25"/>
                  <a:gd name="T10" fmla="*/ 26 w 38"/>
                  <a:gd name="T11" fmla="*/ 25 h 25"/>
                </a:gdLst>
                <a:ahLst/>
                <a:cxnLst>
                  <a:cxn ang="0">
                    <a:pos x="T0" y="T1"/>
                  </a:cxn>
                  <a:cxn ang="0">
                    <a:pos x="T2" y="T3"/>
                  </a:cxn>
                  <a:cxn ang="0">
                    <a:pos x="T4" y="T5"/>
                  </a:cxn>
                  <a:cxn ang="0">
                    <a:pos x="T6" y="T7"/>
                  </a:cxn>
                  <a:cxn ang="0">
                    <a:pos x="T8" y="T9"/>
                  </a:cxn>
                  <a:cxn ang="0">
                    <a:pos x="T10" y="T11"/>
                  </a:cxn>
                </a:cxnLst>
                <a:rect l="0" t="0" r="r" b="b"/>
                <a:pathLst>
                  <a:path w="38" h="25">
                    <a:moveTo>
                      <a:pt x="26" y="25"/>
                    </a:moveTo>
                    <a:lnTo>
                      <a:pt x="34" y="20"/>
                    </a:lnTo>
                    <a:lnTo>
                      <a:pt x="38" y="11"/>
                    </a:lnTo>
                    <a:lnTo>
                      <a:pt x="2" y="0"/>
                    </a:lnTo>
                    <a:lnTo>
                      <a:pt x="0" y="10"/>
                    </a:lnTo>
                    <a:lnTo>
                      <a:pt x="26" y="25"/>
                    </a:lnTo>
                    <a:close/>
                  </a:path>
                </a:pathLst>
              </a:custGeom>
              <a:solidFill>
                <a:srgbClr val="543E3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15" name="isľídè"/>
              <p:cNvSpPr/>
              <p:nvPr/>
            </p:nvSpPr>
            <p:spPr bwMode="auto">
              <a:xfrm>
                <a:off x="3695" y="1973"/>
                <a:ext cx="168" cy="586"/>
              </a:xfrm>
              <a:custGeom>
                <a:avLst/>
                <a:gdLst>
                  <a:gd name="T0" fmla="*/ 0 w 168"/>
                  <a:gd name="T1" fmla="*/ 561 h 586"/>
                  <a:gd name="T2" fmla="*/ 42 w 168"/>
                  <a:gd name="T3" fmla="*/ 586 h 586"/>
                  <a:gd name="T4" fmla="*/ 168 w 168"/>
                  <a:gd name="T5" fmla="*/ 23 h 586"/>
                  <a:gd name="T6" fmla="*/ 125 w 168"/>
                  <a:gd name="T7" fmla="*/ 0 h 586"/>
                  <a:gd name="T8" fmla="*/ 0 w 168"/>
                  <a:gd name="T9" fmla="*/ 561 h 586"/>
                </a:gdLst>
                <a:ahLst/>
                <a:cxnLst>
                  <a:cxn ang="0">
                    <a:pos x="T0" y="T1"/>
                  </a:cxn>
                  <a:cxn ang="0">
                    <a:pos x="T2" y="T3"/>
                  </a:cxn>
                  <a:cxn ang="0">
                    <a:pos x="T4" y="T5"/>
                  </a:cxn>
                  <a:cxn ang="0">
                    <a:pos x="T6" y="T7"/>
                  </a:cxn>
                  <a:cxn ang="0">
                    <a:pos x="T8" y="T9"/>
                  </a:cxn>
                </a:cxnLst>
                <a:rect l="0" t="0" r="r" b="b"/>
                <a:pathLst>
                  <a:path w="168" h="586">
                    <a:moveTo>
                      <a:pt x="0" y="561"/>
                    </a:moveTo>
                    <a:lnTo>
                      <a:pt x="42" y="586"/>
                    </a:lnTo>
                    <a:lnTo>
                      <a:pt x="168" y="23"/>
                    </a:lnTo>
                    <a:lnTo>
                      <a:pt x="125" y="0"/>
                    </a:lnTo>
                    <a:lnTo>
                      <a:pt x="0" y="561"/>
                    </a:lnTo>
                    <a:close/>
                  </a:path>
                </a:pathLst>
              </a:custGeom>
              <a:solidFill>
                <a:srgbClr val="72594B"/>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16" name="ïŝľïďe"/>
              <p:cNvSpPr/>
              <p:nvPr/>
            </p:nvSpPr>
            <p:spPr bwMode="auto">
              <a:xfrm>
                <a:off x="3554" y="1569"/>
                <a:ext cx="100" cy="52"/>
              </a:xfrm>
              <a:custGeom>
                <a:avLst/>
                <a:gdLst>
                  <a:gd name="T0" fmla="*/ 0 w 100"/>
                  <a:gd name="T1" fmla="*/ 27 h 52"/>
                  <a:gd name="T2" fmla="*/ 7 w 100"/>
                  <a:gd name="T3" fmla="*/ 24 h 52"/>
                  <a:gd name="T4" fmla="*/ 49 w 100"/>
                  <a:gd name="T5" fmla="*/ 0 h 52"/>
                  <a:gd name="T6" fmla="*/ 57 w 100"/>
                  <a:gd name="T7" fmla="*/ 3 h 52"/>
                  <a:gd name="T8" fmla="*/ 100 w 100"/>
                  <a:gd name="T9" fmla="*/ 29 h 52"/>
                  <a:gd name="T10" fmla="*/ 57 w 100"/>
                  <a:gd name="T11" fmla="*/ 52 h 52"/>
                  <a:gd name="T12" fmla="*/ 15 w 100"/>
                  <a:gd name="T13" fmla="*/ 29 h 52"/>
                  <a:gd name="T14" fmla="*/ 15 w 100"/>
                  <a:gd name="T15" fmla="*/ 29 h 52"/>
                  <a:gd name="T16" fmla="*/ 13 w 100"/>
                  <a:gd name="T17" fmla="*/ 27 h 52"/>
                  <a:gd name="T18" fmla="*/ 1 w 100"/>
                  <a:gd name="T19" fmla="*/ 32 h 52"/>
                  <a:gd name="T20" fmla="*/ 0 w 100"/>
                  <a:gd name="T21" fmla="*/ 27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0" h="52">
                    <a:moveTo>
                      <a:pt x="0" y="27"/>
                    </a:moveTo>
                    <a:lnTo>
                      <a:pt x="7" y="24"/>
                    </a:lnTo>
                    <a:lnTo>
                      <a:pt x="49" y="0"/>
                    </a:lnTo>
                    <a:lnTo>
                      <a:pt x="57" y="3"/>
                    </a:lnTo>
                    <a:lnTo>
                      <a:pt x="100" y="29"/>
                    </a:lnTo>
                    <a:lnTo>
                      <a:pt x="57" y="52"/>
                    </a:lnTo>
                    <a:lnTo>
                      <a:pt x="15" y="29"/>
                    </a:lnTo>
                    <a:lnTo>
                      <a:pt x="15" y="29"/>
                    </a:lnTo>
                    <a:lnTo>
                      <a:pt x="13" y="27"/>
                    </a:lnTo>
                    <a:lnTo>
                      <a:pt x="1" y="32"/>
                    </a:lnTo>
                    <a:lnTo>
                      <a:pt x="0" y="27"/>
                    </a:lnTo>
                    <a:close/>
                  </a:path>
                </a:pathLst>
              </a:custGeom>
              <a:solidFill>
                <a:srgbClr val="008FB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17" name="ïŝļíḓe"/>
              <p:cNvSpPr/>
              <p:nvPr/>
            </p:nvSpPr>
            <p:spPr bwMode="auto">
              <a:xfrm>
                <a:off x="3554" y="1569"/>
                <a:ext cx="100" cy="52"/>
              </a:xfrm>
              <a:custGeom>
                <a:avLst/>
                <a:gdLst>
                  <a:gd name="T0" fmla="*/ 0 w 100"/>
                  <a:gd name="T1" fmla="*/ 27 h 52"/>
                  <a:gd name="T2" fmla="*/ 7 w 100"/>
                  <a:gd name="T3" fmla="*/ 24 h 52"/>
                  <a:gd name="T4" fmla="*/ 49 w 100"/>
                  <a:gd name="T5" fmla="*/ 0 h 52"/>
                  <a:gd name="T6" fmla="*/ 57 w 100"/>
                  <a:gd name="T7" fmla="*/ 3 h 52"/>
                  <a:gd name="T8" fmla="*/ 100 w 100"/>
                  <a:gd name="T9" fmla="*/ 29 h 52"/>
                  <a:gd name="T10" fmla="*/ 57 w 100"/>
                  <a:gd name="T11" fmla="*/ 52 h 52"/>
                  <a:gd name="T12" fmla="*/ 15 w 100"/>
                  <a:gd name="T13" fmla="*/ 29 h 52"/>
                  <a:gd name="T14" fmla="*/ 15 w 100"/>
                  <a:gd name="T15" fmla="*/ 29 h 52"/>
                  <a:gd name="T16" fmla="*/ 13 w 100"/>
                  <a:gd name="T17" fmla="*/ 27 h 52"/>
                  <a:gd name="T18" fmla="*/ 1 w 100"/>
                  <a:gd name="T19" fmla="*/ 32 h 52"/>
                  <a:gd name="T20" fmla="*/ 0 w 100"/>
                  <a:gd name="T21" fmla="*/ 27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0" h="52">
                    <a:moveTo>
                      <a:pt x="0" y="27"/>
                    </a:moveTo>
                    <a:lnTo>
                      <a:pt x="7" y="24"/>
                    </a:lnTo>
                    <a:lnTo>
                      <a:pt x="49" y="0"/>
                    </a:lnTo>
                    <a:lnTo>
                      <a:pt x="57" y="3"/>
                    </a:lnTo>
                    <a:lnTo>
                      <a:pt x="100" y="29"/>
                    </a:lnTo>
                    <a:lnTo>
                      <a:pt x="57" y="52"/>
                    </a:lnTo>
                    <a:lnTo>
                      <a:pt x="15" y="29"/>
                    </a:lnTo>
                    <a:lnTo>
                      <a:pt x="15" y="29"/>
                    </a:lnTo>
                    <a:lnTo>
                      <a:pt x="13" y="27"/>
                    </a:lnTo>
                    <a:lnTo>
                      <a:pt x="1" y="32"/>
                    </a:lnTo>
                    <a:lnTo>
                      <a:pt x="0" y="2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18" name="iSlíḑè"/>
              <p:cNvSpPr/>
              <p:nvPr/>
            </p:nvSpPr>
            <p:spPr bwMode="auto">
              <a:xfrm>
                <a:off x="3554" y="1569"/>
                <a:ext cx="100" cy="52"/>
              </a:xfrm>
              <a:custGeom>
                <a:avLst/>
                <a:gdLst>
                  <a:gd name="T0" fmla="*/ 93 w 100"/>
                  <a:gd name="T1" fmla="*/ 25 h 52"/>
                  <a:gd name="T2" fmla="*/ 100 w 100"/>
                  <a:gd name="T3" fmla="*/ 29 h 52"/>
                  <a:gd name="T4" fmla="*/ 93 w 100"/>
                  <a:gd name="T5" fmla="*/ 25 h 52"/>
                  <a:gd name="T6" fmla="*/ 49 w 100"/>
                  <a:gd name="T7" fmla="*/ 0 h 52"/>
                  <a:gd name="T8" fmla="*/ 7 w 100"/>
                  <a:gd name="T9" fmla="*/ 24 h 52"/>
                  <a:gd name="T10" fmla="*/ 0 w 100"/>
                  <a:gd name="T11" fmla="*/ 27 h 52"/>
                  <a:gd name="T12" fmla="*/ 1 w 100"/>
                  <a:gd name="T13" fmla="*/ 32 h 52"/>
                  <a:gd name="T14" fmla="*/ 13 w 100"/>
                  <a:gd name="T15" fmla="*/ 27 h 52"/>
                  <a:gd name="T16" fmla="*/ 15 w 100"/>
                  <a:gd name="T17" fmla="*/ 29 h 52"/>
                  <a:gd name="T18" fmla="*/ 15 w 100"/>
                  <a:gd name="T19" fmla="*/ 29 h 52"/>
                  <a:gd name="T20" fmla="*/ 57 w 100"/>
                  <a:gd name="T21" fmla="*/ 52 h 52"/>
                  <a:gd name="T22" fmla="*/ 57 w 100"/>
                  <a:gd name="T23" fmla="*/ 3 h 52"/>
                  <a:gd name="T24" fmla="*/ 86 w 100"/>
                  <a:gd name="T25" fmla="*/ 22 h 52"/>
                  <a:gd name="T26" fmla="*/ 86 w 100"/>
                  <a:gd name="T27" fmla="*/ 22 h 52"/>
                  <a:gd name="T28" fmla="*/ 57 w 100"/>
                  <a:gd name="T29" fmla="*/ 3 h 52"/>
                  <a:gd name="T30" fmla="*/ 49 w 100"/>
                  <a:gd name="T3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0" h="52">
                    <a:moveTo>
                      <a:pt x="93" y="25"/>
                    </a:moveTo>
                    <a:lnTo>
                      <a:pt x="100" y="29"/>
                    </a:lnTo>
                    <a:lnTo>
                      <a:pt x="93" y="25"/>
                    </a:lnTo>
                    <a:close/>
                    <a:moveTo>
                      <a:pt x="49" y="0"/>
                    </a:moveTo>
                    <a:lnTo>
                      <a:pt x="7" y="24"/>
                    </a:lnTo>
                    <a:lnTo>
                      <a:pt x="0" y="27"/>
                    </a:lnTo>
                    <a:lnTo>
                      <a:pt x="1" y="32"/>
                    </a:lnTo>
                    <a:lnTo>
                      <a:pt x="13" y="27"/>
                    </a:lnTo>
                    <a:lnTo>
                      <a:pt x="15" y="29"/>
                    </a:lnTo>
                    <a:lnTo>
                      <a:pt x="15" y="29"/>
                    </a:lnTo>
                    <a:lnTo>
                      <a:pt x="57" y="52"/>
                    </a:lnTo>
                    <a:lnTo>
                      <a:pt x="57" y="3"/>
                    </a:lnTo>
                    <a:lnTo>
                      <a:pt x="86" y="22"/>
                    </a:lnTo>
                    <a:lnTo>
                      <a:pt x="86" y="22"/>
                    </a:lnTo>
                    <a:lnTo>
                      <a:pt x="57" y="3"/>
                    </a:lnTo>
                    <a:lnTo>
                      <a:pt x="49" y="0"/>
                    </a:lnTo>
                    <a:close/>
                  </a:path>
                </a:pathLst>
              </a:custGeom>
              <a:solidFill>
                <a:srgbClr val="008FB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19" name="ïşļiďè"/>
              <p:cNvSpPr/>
              <p:nvPr/>
            </p:nvSpPr>
            <p:spPr bwMode="auto">
              <a:xfrm>
                <a:off x="3554" y="1569"/>
                <a:ext cx="100" cy="52"/>
              </a:xfrm>
              <a:custGeom>
                <a:avLst/>
                <a:gdLst>
                  <a:gd name="T0" fmla="*/ 93 w 100"/>
                  <a:gd name="T1" fmla="*/ 25 h 52"/>
                  <a:gd name="T2" fmla="*/ 100 w 100"/>
                  <a:gd name="T3" fmla="*/ 29 h 52"/>
                  <a:gd name="T4" fmla="*/ 93 w 100"/>
                  <a:gd name="T5" fmla="*/ 25 h 52"/>
                  <a:gd name="T6" fmla="*/ 49 w 100"/>
                  <a:gd name="T7" fmla="*/ 0 h 52"/>
                  <a:gd name="T8" fmla="*/ 7 w 100"/>
                  <a:gd name="T9" fmla="*/ 24 h 52"/>
                  <a:gd name="T10" fmla="*/ 0 w 100"/>
                  <a:gd name="T11" fmla="*/ 27 h 52"/>
                  <a:gd name="T12" fmla="*/ 1 w 100"/>
                  <a:gd name="T13" fmla="*/ 32 h 52"/>
                  <a:gd name="T14" fmla="*/ 13 w 100"/>
                  <a:gd name="T15" fmla="*/ 27 h 52"/>
                  <a:gd name="T16" fmla="*/ 15 w 100"/>
                  <a:gd name="T17" fmla="*/ 29 h 52"/>
                  <a:gd name="T18" fmla="*/ 15 w 100"/>
                  <a:gd name="T19" fmla="*/ 29 h 52"/>
                  <a:gd name="T20" fmla="*/ 57 w 100"/>
                  <a:gd name="T21" fmla="*/ 52 h 52"/>
                  <a:gd name="T22" fmla="*/ 57 w 100"/>
                  <a:gd name="T23" fmla="*/ 3 h 52"/>
                  <a:gd name="T24" fmla="*/ 86 w 100"/>
                  <a:gd name="T25" fmla="*/ 22 h 52"/>
                  <a:gd name="T26" fmla="*/ 86 w 100"/>
                  <a:gd name="T27" fmla="*/ 22 h 52"/>
                  <a:gd name="T28" fmla="*/ 57 w 100"/>
                  <a:gd name="T29" fmla="*/ 3 h 52"/>
                  <a:gd name="T30" fmla="*/ 49 w 100"/>
                  <a:gd name="T3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0" h="52">
                    <a:moveTo>
                      <a:pt x="93" y="25"/>
                    </a:moveTo>
                    <a:lnTo>
                      <a:pt x="100" y="29"/>
                    </a:lnTo>
                    <a:lnTo>
                      <a:pt x="93" y="25"/>
                    </a:lnTo>
                    <a:moveTo>
                      <a:pt x="49" y="0"/>
                    </a:moveTo>
                    <a:lnTo>
                      <a:pt x="7" y="24"/>
                    </a:lnTo>
                    <a:lnTo>
                      <a:pt x="0" y="27"/>
                    </a:lnTo>
                    <a:lnTo>
                      <a:pt x="1" y="32"/>
                    </a:lnTo>
                    <a:lnTo>
                      <a:pt x="13" y="27"/>
                    </a:lnTo>
                    <a:lnTo>
                      <a:pt x="15" y="29"/>
                    </a:lnTo>
                    <a:lnTo>
                      <a:pt x="15" y="29"/>
                    </a:lnTo>
                    <a:lnTo>
                      <a:pt x="57" y="52"/>
                    </a:lnTo>
                    <a:lnTo>
                      <a:pt x="57" y="3"/>
                    </a:lnTo>
                    <a:lnTo>
                      <a:pt x="86" y="22"/>
                    </a:lnTo>
                    <a:lnTo>
                      <a:pt x="86" y="22"/>
                    </a:lnTo>
                    <a:lnTo>
                      <a:pt x="57" y="3"/>
                    </a:lnTo>
                    <a:lnTo>
                      <a:pt x="4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20" name="ïšḷïḍe"/>
              <p:cNvSpPr/>
              <p:nvPr/>
            </p:nvSpPr>
            <p:spPr bwMode="auto">
              <a:xfrm>
                <a:off x="3569" y="1598"/>
                <a:ext cx="127" cy="364"/>
              </a:xfrm>
              <a:custGeom>
                <a:avLst/>
                <a:gdLst>
                  <a:gd name="T0" fmla="*/ 127 w 127"/>
                  <a:gd name="T1" fmla="*/ 73 h 364"/>
                  <a:gd name="T2" fmla="*/ 127 w 127"/>
                  <a:gd name="T3" fmla="*/ 364 h 364"/>
                  <a:gd name="T4" fmla="*/ 0 w 127"/>
                  <a:gd name="T5" fmla="*/ 291 h 364"/>
                  <a:gd name="T6" fmla="*/ 0 w 127"/>
                  <a:gd name="T7" fmla="*/ 0 h 364"/>
                  <a:gd name="T8" fmla="*/ 127 w 127"/>
                  <a:gd name="T9" fmla="*/ 73 h 364"/>
                </a:gdLst>
                <a:ahLst/>
                <a:cxnLst>
                  <a:cxn ang="0">
                    <a:pos x="T0" y="T1"/>
                  </a:cxn>
                  <a:cxn ang="0">
                    <a:pos x="T2" y="T3"/>
                  </a:cxn>
                  <a:cxn ang="0">
                    <a:pos x="T4" y="T5"/>
                  </a:cxn>
                  <a:cxn ang="0">
                    <a:pos x="T6" y="T7"/>
                  </a:cxn>
                  <a:cxn ang="0">
                    <a:pos x="T8" y="T9"/>
                  </a:cxn>
                </a:cxnLst>
                <a:rect l="0" t="0" r="r" b="b"/>
                <a:pathLst>
                  <a:path w="127" h="364">
                    <a:moveTo>
                      <a:pt x="127" y="73"/>
                    </a:moveTo>
                    <a:lnTo>
                      <a:pt x="127" y="364"/>
                    </a:lnTo>
                    <a:lnTo>
                      <a:pt x="0" y="291"/>
                    </a:lnTo>
                    <a:lnTo>
                      <a:pt x="0" y="0"/>
                    </a:lnTo>
                    <a:lnTo>
                      <a:pt x="127" y="73"/>
                    </a:lnTo>
                    <a:close/>
                  </a:path>
                </a:pathLst>
              </a:custGeom>
              <a:solidFill>
                <a:srgbClr val="00C1D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21" name="ïSḻíḓè"/>
              <p:cNvSpPr/>
              <p:nvPr/>
            </p:nvSpPr>
            <p:spPr bwMode="auto">
              <a:xfrm>
                <a:off x="3569" y="1598"/>
                <a:ext cx="127" cy="364"/>
              </a:xfrm>
              <a:custGeom>
                <a:avLst/>
                <a:gdLst>
                  <a:gd name="T0" fmla="*/ 127 w 127"/>
                  <a:gd name="T1" fmla="*/ 73 h 364"/>
                  <a:gd name="T2" fmla="*/ 127 w 127"/>
                  <a:gd name="T3" fmla="*/ 364 h 364"/>
                  <a:gd name="T4" fmla="*/ 0 w 127"/>
                  <a:gd name="T5" fmla="*/ 291 h 364"/>
                  <a:gd name="T6" fmla="*/ 0 w 127"/>
                  <a:gd name="T7" fmla="*/ 0 h 364"/>
                  <a:gd name="T8" fmla="*/ 127 w 127"/>
                  <a:gd name="T9" fmla="*/ 73 h 364"/>
                </a:gdLst>
                <a:ahLst/>
                <a:cxnLst>
                  <a:cxn ang="0">
                    <a:pos x="T0" y="T1"/>
                  </a:cxn>
                  <a:cxn ang="0">
                    <a:pos x="T2" y="T3"/>
                  </a:cxn>
                  <a:cxn ang="0">
                    <a:pos x="T4" y="T5"/>
                  </a:cxn>
                  <a:cxn ang="0">
                    <a:pos x="T6" y="T7"/>
                  </a:cxn>
                  <a:cxn ang="0">
                    <a:pos x="T8" y="T9"/>
                  </a:cxn>
                </a:cxnLst>
                <a:rect l="0" t="0" r="r" b="b"/>
                <a:pathLst>
                  <a:path w="127" h="364">
                    <a:moveTo>
                      <a:pt x="127" y="73"/>
                    </a:moveTo>
                    <a:lnTo>
                      <a:pt x="127" y="364"/>
                    </a:lnTo>
                    <a:lnTo>
                      <a:pt x="0" y="291"/>
                    </a:lnTo>
                    <a:lnTo>
                      <a:pt x="0" y="0"/>
                    </a:lnTo>
                    <a:lnTo>
                      <a:pt x="127" y="7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24" name="iṩľïḑé"/>
              <p:cNvSpPr/>
              <p:nvPr/>
            </p:nvSpPr>
            <p:spPr bwMode="auto">
              <a:xfrm>
                <a:off x="3610" y="1572"/>
                <a:ext cx="127" cy="367"/>
              </a:xfrm>
              <a:custGeom>
                <a:avLst/>
                <a:gdLst>
                  <a:gd name="T0" fmla="*/ 127 w 127"/>
                  <a:gd name="T1" fmla="*/ 73 h 367"/>
                  <a:gd name="T2" fmla="*/ 127 w 127"/>
                  <a:gd name="T3" fmla="*/ 367 h 367"/>
                  <a:gd name="T4" fmla="*/ 0 w 127"/>
                  <a:gd name="T5" fmla="*/ 294 h 367"/>
                  <a:gd name="T6" fmla="*/ 1 w 127"/>
                  <a:gd name="T7" fmla="*/ 0 h 367"/>
                  <a:gd name="T8" fmla="*/ 127 w 127"/>
                  <a:gd name="T9" fmla="*/ 73 h 367"/>
                </a:gdLst>
                <a:ahLst/>
                <a:cxnLst>
                  <a:cxn ang="0">
                    <a:pos x="T0" y="T1"/>
                  </a:cxn>
                  <a:cxn ang="0">
                    <a:pos x="T2" y="T3"/>
                  </a:cxn>
                  <a:cxn ang="0">
                    <a:pos x="T4" y="T5"/>
                  </a:cxn>
                  <a:cxn ang="0">
                    <a:pos x="T6" y="T7"/>
                  </a:cxn>
                  <a:cxn ang="0">
                    <a:pos x="T8" y="T9"/>
                  </a:cxn>
                </a:cxnLst>
                <a:rect l="0" t="0" r="r" b="b"/>
                <a:pathLst>
                  <a:path w="127" h="367">
                    <a:moveTo>
                      <a:pt x="127" y="73"/>
                    </a:moveTo>
                    <a:lnTo>
                      <a:pt x="127" y="367"/>
                    </a:lnTo>
                    <a:lnTo>
                      <a:pt x="0" y="294"/>
                    </a:lnTo>
                    <a:lnTo>
                      <a:pt x="1" y="0"/>
                    </a:lnTo>
                    <a:lnTo>
                      <a:pt x="127" y="73"/>
                    </a:lnTo>
                    <a:close/>
                  </a:path>
                </a:pathLst>
              </a:custGeom>
              <a:solidFill>
                <a:srgbClr val="00C1D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25" name="iš1iďê"/>
              <p:cNvSpPr/>
              <p:nvPr/>
            </p:nvSpPr>
            <p:spPr bwMode="auto">
              <a:xfrm>
                <a:off x="3610" y="1572"/>
                <a:ext cx="127" cy="367"/>
              </a:xfrm>
              <a:custGeom>
                <a:avLst/>
                <a:gdLst>
                  <a:gd name="T0" fmla="*/ 127 w 127"/>
                  <a:gd name="T1" fmla="*/ 73 h 367"/>
                  <a:gd name="T2" fmla="*/ 127 w 127"/>
                  <a:gd name="T3" fmla="*/ 367 h 367"/>
                  <a:gd name="T4" fmla="*/ 0 w 127"/>
                  <a:gd name="T5" fmla="*/ 294 h 367"/>
                  <a:gd name="T6" fmla="*/ 1 w 127"/>
                  <a:gd name="T7" fmla="*/ 0 h 367"/>
                  <a:gd name="T8" fmla="*/ 127 w 127"/>
                  <a:gd name="T9" fmla="*/ 73 h 367"/>
                </a:gdLst>
                <a:ahLst/>
                <a:cxnLst>
                  <a:cxn ang="0">
                    <a:pos x="T0" y="T1"/>
                  </a:cxn>
                  <a:cxn ang="0">
                    <a:pos x="T2" y="T3"/>
                  </a:cxn>
                  <a:cxn ang="0">
                    <a:pos x="T4" y="T5"/>
                  </a:cxn>
                  <a:cxn ang="0">
                    <a:pos x="T6" y="T7"/>
                  </a:cxn>
                  <a:cxn ang="0">
                    <a:pos x="T8" y="T9"/>
                  </a:cxn>
                </a:cxnLst>
                <a:rect l="0" t="0" r="r" b="b"/>
                <a:pathLst>
                  <a:path w="127" h="367">
                    <a:moveTo>
                      <a:pt x="127" y="73"/>
                    </a:moveTo>
                    <a:lnTo>
                      <a:pt x="127" y="367"/>
                    </a:lnTo>
                    <a:lnTo>
                      <a:pt x="0" y="294"/>
                    </a:lnTo>
                    <a:lnTo>
                      <a:pt x="1" y="0"/>
                    </a:lnTo>
                    <a:lnTo>
                      <a:pt x="127" y="7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26" name="íṣļiḑe"/>
              <p:cNvSpPr/>
              <p:nvPr/>
            </p:nvSpPr>
            <p:spPr bwMode="auto">
              <a:xfrm>
                <a:off x="3630" y="1925"/>
                <a:ext cx="66" cy="331"/>
              </a:xfrm>
              <a:custGeom>
                <a:avLst/>
                <a:gdLst>
                  <a:gd name="T0" fmla="*/ 66 w 66"/>
                  <a:gd name="T1" fmla="*/ 37 h 331"/>
                  <a:gd name="T2" fmla="*/ 66 w 66"/>
                  <a:gd name="T3" fmla="*/ 331 h 331"/>
                  <a:gd name="T4" fmla="*/ 0 w 66"/>
                  <a:gd name="T5" fmla="*/ 294 h 331"/>
                  <a:gd name="T6" fmla="*/ 0 w 66"/>
                  <a:gd name="T7" fmla="*/ 0 h 331"/>
                  <a:gd name="T8" fmla="*/ 66 w 66"/>
                  <a:gd name="T9" fmla="*/ 37 h 331"/>
                </a:gdLst>
                <a:ahLst/>
                <a:cxnLst>
                  <a:cxn ang="0">
                    <a:pos x="T0" y="T1"/>
                  </a:cxn>
                  <a:cxn ang="0">
                    <a:pos x="T2" y="T3"/>
                  </a:cxn>
                  <a:cxn ang="0">
                    <a:pos x="T4" y="T5"/>
                  </a:cxn>
                  <a:cxn ang="0">
                    <a:pos x="T6" y="T7"/>
                  </a:cxn>
                  <a:cxn ang="0">
                    <a:pos x="T8" y="T9"/>
                  </a:cxn>
                </a:cxnLst>
                <a:rect l="0" t="0" r="r" b="b"/>
                <a:pathLst>
                  <a:path w="66" h="331">
                    <a:moveTo>
                      <a:pt x="66" y="37"/>
                    </a:moveTo>
                    <a:lnTo>
                      <a:pt x="66" y="331"/>
                    </a:lnTo>
                    <a:lnTo>
                      <a:pt x="0" y="294"/>
                    </a:lnTo>
                    <a:lnTo>
                      <a:pt x="0" y="0"/>
                    </a:lnTo>
                    <a:lnTo>
                      <a:pt x="66" y="37"/>
                    </a:lnTo>
                    <a:close/>
                  </a:path>
                </a:pathLst>
              </a:custGeom>
              <a:solidFill>
                <a:srgbClr val="54565A"/>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27" name="ïṥḷïḓe"/>
              <p:cNvSpPr/>
              <p:nvPr/>
            </p:nvSpPr>
            <p:spPr bwMode="auto">
              <a:xfrm>
                <a:off x="3569" y="1889"/>
                <a:ext cx="61" cy="330"/>
              </a:xfrm>
              <a:custGeom>
                <a:avLst/>
                <a:gdLst>
                  <a:gd name="T0" fmla="*/ 61 w 61"/>
                  <a:gd name="T1" fmla="*/ 36 h 330"/>
                  <a:gd name="T2" fmla="*/ 61 w 61"/>
                  <a:gd name="T3" fmla="*/ 330 h 330"/>
                  <a:gd name="T4" fmla="*/ 0 w 61"/>
                  <a:gd name="T5" fmla="*/ 294 h 330"/>
                  <a:gd name="T6" fmla="*/ 0 w 61"/>
                  <a:gd name="T7" fmla="*/ 0 h 330"/>
                  <a:gd name="T8" fmla="*/ 61 w 61"/>
                  <a:gd name="T9" fmla="*/ 36 h 330"/>
                </a:gdLst>
                <a:ahLst/>
                <a:cxnLst>
                  <a:cxn ang="0">
                    <a:pos x="T0" y="T1"/>
                  </a:cxn>
                  <a:cxn ang="0">
                    <a:pos x="T2" y="T3"/>
                  </a:cxn>
                  <a:cxn ang="0">
                    <a:pos x="T4" y="T5"/>
                  </a:cxn>
                  <a:cxn ang="0">
                    <a:pos x="T6" y="T7"/>
                  </a:cxn>
                  <a:cxn ang="0">
                    <a:pos x="T8" y="T9"/>
                  </a:cxn>
                </a:cxnLst>
                <a:rect l="0" t="0" r="r" b="b"/>
                <a:pathLst>
                  <a:path w="61" h="330">
                    <a:moveTo>
                      <a:pt x="61" y="36"/>
                    </a:moveTo>
                    <a:lnTo>
                      <a:pt x="61" y="330"/>
                    </a:lnTo>
                    <a:lnTo>
                      <a:pt x="0" y="294"/>
                    </a:lnTo>
                    <a:lnTo>
                      <a:pt x="0" y="0"/>
                    </a:lnTo>
                    <a:lnTo>
                      <a:pt x="61" y="36"/>
                    </a:lnTo>
                    <a:close/>
                  </a:path>
                </a:pathLst>
              </a:custGeom>
              <a:solidFill>
                <a:srgbClr val="54565A"/>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12" name="íšlíḍé"/>
              <p:cNvSpPr/>
              <p:nvPr/>
            </p:nvSpPr>
            <p:spPr bwMode="auto">
              <a:xfrm>
                <a:off x="3696" y="1645"/>
                <a:ext cx="41" cy="294"/>
              </a:xfrm>
              <a:custGeom>
                <a:avLst/>
                <a:gdLst>
                  <a:gd name="T0" fmla="*/ 41 w 41"/>
                  <a:gd name="T1" fmla="*/ 0 h 294"/>
                  <a:gd name="T2" fmla="*/ 41 w 41"/>
                  <a:gd name="T3" fmla="*/ 294 h 294"/>
                  <a:gd name="T4" fmla="*/ 0 w 41"/>
                  <a:gd name="T5" fmla="*/ 270 h 294"/>
                  <a:gd name="T6" fmla="*/ 0 w 41"/>
                  <a:gd name="T7" fmla="*/ 26 h 294"/>
                  <a:gd name="T8" fmla="*/ 41 w 41"/>
                  <a:gd name="T9" fmla="*/ 0 h 294"/>
                </a:gdLst>
                <a:ahLst/>
                <a:cxnLst>
                  <a:cxn ang="0">
                    <a:pos x="T0" y="T1"/>
                  </a:cxn>
                  <a:cxn ang="0">
                    <a:pos x="T2" y="T3"/>
                  </a:cxn>
                  <a:cxn ang="0">
                    <a:pos x="T4" y="T5"/>
                  </a:cxn>
                  <a:cxn ang="0">
                    <a:pos x="T6" y="T7"/>
                  </a:cxn>
                  <a:cxn ang="0">
                    <a:pos x="T8" y="T9"/>
                  </a:cxn>
                </a:cxnLst>
                <a:rect l="0" t="0" r="r" b="b"/>
                <a:pathLst>
                  <a:path w="41" h="294">
                    <a:moveTo>
                      <a:pt x="41" y="0"/>
                    </a:moveTo>
                    <a:lnTo>
                      <a:pt x="41" y="294"/>
                    </a:lnTo>
                    <a:lnTo>
                      <a:pt x="0" y="270"/>
                    </a:lnTo>
                    <a:lnTo>
                      <a:pt x="0" y="26"/>
                    </a:lnTo>
                    <a:lnTo>
                      <a:pt x="41" y="0"/>
                    </a:lnTo>
                    <a:close/>
                  </a:path>
                </a:pathLst>
              </a:custGeom>
              <a:solidFill>
                <a:srgbClr val="008FB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13" name="íšľiḍe"/>
              <p:cNvSpPr/>
              <p:nvPr/>
            </p:nvSpPr>
            <p:spPr bwMode="auto">
              <a:xfrm>
                <a:off x="3696" y="1645"/>
                <a:ext cx="41" cy="294"/>
              </a:xfrm>
              <a:custGeom>
                <a:avLst/>
                <a:gdLst>
                  <a:gd name="T0" fmla="*/ 41 w 41"/>
                  <a:gd name="T1" fmla="*/ 0 h 294"/>
                  <a:gd name="T2" fmla="*/ 41 w 41"/>
                  <a:gd name="T3" fmla="*/ 294 h 294"/>
                  <a:gd name="T4" fmla="*/ 0 w 41"/>
                  <a:gd name="T5" fmla="*/ 270 h 294"/>
                  <a:gd name="T6" fmla="*/ 0 w 41"/>
                  <a:gd name="T7" fmla="*/ 26 h 294"/>
                  <a:gd name="T8" fmla="*/ 41 w 41"/>
                  <a:gd name="T9" fmla="*/ 0 h 294"/>
                </a:gdLst>
                <a:ahLst/>
                <a:cxnLst>
                  <a:cxn ang="0">
                    <a:pos x="T0" y="T1"/>
                  </a:cxn>
                  <a:cxn ang="0">
                    <a:pos x="T2" y="T3"/>
                  </a:cxn>
                  <a:cxn ang="0">
                    <a:pos x="T4" y="T5"/>
                  </a:cxn>
                  <a:cxn ang="0">
                    <a:pos x="T6" y="T7"/>
                  </a:cxn>
                  <a:cxn ang="0">
                    <a:pos x="T8" y="T9"/>
                  </a:cxn>
                </a:cxnLst>
                <a:rect l="0" t="0" r="r" b="b"/>
                <a:pathLst>
                  <a:path w="41" h="294">
                    <a:moveTo>
                      <a:pt x="41" y="0"/>
                    </a:moveTo>
                    <a:lnTo>
                      <a:pt x="41" y="294"/>
                    </a:lnTo>
                    <a:lnTo>
                      <a:pt x="0" y="270"/>
                    </a:lnTo>
                    <a:lnTo>
                      <a:pt x="0" y="26"/>
                    </a:lnTo>
                    <a:lnTo>
                      <a:pt x="4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14" name="ïšlïḋê"/>
              <p:cNvSpPr/>
              <p:nvPr/>
            </p:nvSpPr>
            <p:spPr bwMode="auto">
              <a:xfrm>
                <a:off x="3695" y="1915"/>
                <a:ext cx="42" cy="47"/>
              </a:xfrm>
              <a:custGeom>
                <a:avLst/>
                <a:gdLst>
                  <a:gd name="T0" fmla="*/ 0 w 42"/>
                  <a:gd name="T1" fmla="*/ 0 h 47"/>
                  <a:gd name="T2" fmla="*/ 1 w 42"/>
                  <a:gd name="T3" fmla="*/ 0 h 47"/>
                  <a:gd name="T4" fmla="*/ 42 w 42"/>
                  <a:gd name="T5" fmla="*/ 24 h 47"/>
                  <a:gd name="T6" fmla="*/ 1 w 42"/>
                  <a:gd name="T7" fmla="*/ 47 h 47"/>
                  <a:gd name="T8" fmla="*/ 0 w 42"/>
                  <a:gd name="T9" fmla="*/ 0 h 47"/>
                </a:gdLst>
                <a:ahLst/>
                <a:cxnLst>
                  <a:cxn ang="0">
                    <a:pos x="T0" y="T1"/>
                  </a:cxn>
                  <a:cxn ang="0">
                    <a:pos x="T2" y="T3"/>
                  </a:cxn>
                  <a:cxn ang="0">
                    <a:pos x="T4" y="T5"/>
                  </a:cxn>
                  <a:cxn ang="0">
                    <a:pos x="T6" y="T7"/>
                  </a:cxn>
                  <a:cxn ang="0">
                    <a:pos x="T8" y="T9"/>
                  </a:cxn>
                </a:cxnLst>
                <a:rect l="0" t="0" r="r" b="b"/>
                <a:pathLst>
                  <a:path w="42" h="47">
                    <a:moveTo>
                      <a:pt x="0" y="0"/>
                    </a:moveTo>
                    <a:lnTo>
                      <a:pt x="1" y="0"/>
                    </a:lnTo>
                    <a:lnTo>
                      <a:pt x="42" y="24"/>
                    </a:lnTo>
                    <a:lnTo>
                      <a:pt x="1" y="47"/>
                    </a:lnTo>
                    <a:lnTo>
                      <a:pt x="0" y="0"/>
                    </a:lnTo>
                    <a:close/>
                  </a:path>
                </a:pathLst>
              </a:custGeom>
              <a:solidFill>
                <a:srgbClr val="008FB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15" name="íŝḻïḍê"/>
              <p:cNvSpPr/>
              <p:nvPr/>
            </p:nvSpPr>
            <p:spPr bwMode="auto">
              <a:xfrm>
                <a:off x="3618" y="1918"/>
                <a:ext cx="24" cy="307"/>
              </a:xfrm>
              <a:custGeom>
                <a:avLst/>
                <a:gdLst>
                  <a:gd name="T0" fmla="*/ 0 w 24"/>
                  <a:gd name="T1" fmla="*/ 294 h 307"/>
                  <a:gd name="T2" fmla="*/ 24 w 24"/>
                  <a:gd name="T3" fmla="*/ 307 h 307"/>
                  <a:gd name="T4" fmla="*/ 24 w 24"/>
                  <a:gd name="T5" fmla="*/ 14 h 307"/>
                  <a:gd name="T6" fmla="*/ 0 w 24"/>
                  <a:gd name="T7" fmla="*/ 0 h 307"/>
                  <a:gd name="T8" fmla="*/ 0 w 24"/>
                  <a:gd name="T9" fmla="*/ 294 h 307"/>
                </a:gdLst>
                <a:ahLst/>
                <a:cxnLst>
                  <a:cxn ang="0">
                    <a:pos x="T0" y="T1"/>
                  </a:cxn>
                  <a:cxn ang="0">
                    <a:pos x="T2" y="T3"/>
                  </a:cxn>
                  <a:cxn ang="0">
                    <a:pos x="T4" y="T5"/>
                  </a:cxn>
                  <a:cxn ang="0">
                    <a:pos x="T6" y="T7"/>
                  </a:cxn>
                  <a:cxn ang="0">
                    <a:pos x="T8" y="T9"/>
                  </a:cxn>
                </a:cxnLst>
                <a:rect l="0" t="0" r="r" b="b"/>
                <a:pathLst>
                  <a:path w="24" h="307">
                    <a:moveTo>
                      <a:pt x="0" y="294"/>
                    </a:moveTo>
                    <a:lnTo>
                      <a:pt x="24" y="307"/>
                    </a:lnTo>
                    <a:lnTo>
                      <a:pt x="24" y="14"/>
                    </a:lnTo>
                    <a:lnTo>
                      <a:pt x="0" y="0"/>
                    </a:lnTo>
                    <a:lnTo>
                      <a:pt x="0" y="294"/>
                    </a:lnTo>
                    <a:close/>
                  </a:path>
                </a:pathLst>
              </a:custGeom>
              <a:solidFill>
                <a:srgbClr val="332E2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16" name="îṧļïḑe"/>
              <p:cNvSpPr/>
              <p:nvPr/>
            </p:nvSpPr>
            <p:spPr bwMode="auto">
              <a:xfrm>
                <a:off x="3696" y="1671"/>
                <a:ext cx="169" cy="95"/>
              </a:xfrm>
              <a:custGeom>
                <a:avLst/>
                <a:gdLst>
                  <a:gd name="T0" fmla="*/ 0 w 99"/>
                  <a:gd name="T1" fmla="*/ 0 h 56"/>
                  <a:gd name="T2" fmla="*/ 45 w 99"/>
                  <a:gd name="T3" fmla="*/ 37 h 56"/>
                  <a:gd name="T4" fmla="*/ 54 w 99"/>
                  <a:gd name="T5" fmla="*/ 38 h 56"/>
                  <a:gd name="T6" fmla="*/ 99 w 99"/>
                  <a:gd name="T7" fmla="*/ 11 h 56"/>
                  <a:gd name="T8" fmla="*/ 99 w 99"/>
                  <a:gd name="T9" fmla="*/ 28 h 56"/>
                  <a:gd name="T10" fmla="*/ 54 w 99"/>
                  <a:gd name="T11" fmla="*/ 54 h 56"/>
                  <a:gd name="T12" fmla="*/ 45 w 99"/>
                  <a:gd name="T13" fmla="*/ 53 h 56"/>
                  <a:gd name="T14" fmla="*/ 0 w 99"/>
                  <a:gd name="T15" fmla="*/ 17 h 56"/>
                  <a:gd name="T16" fmla="*/ 0 w 99"/>
                  <a:gd name="T17"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56">
                    <a:moveTo>
                      <a:pt x="0" y="0"/>
                    </a:moveTo>
                    <a:cubicBezTo>
                      <a:pt x="45" y="37"/>
                      <a:pt x="45" y="37"/>
                      <a:pt x="45" y="37"/>
                    </a:cubicBezTo>
                    <a:cubicBezTo>
                      <a:pt x="47" y="39"/>
                      <a:pt x="51" y="39"/>
                      <a:pt x="54" y="38"/>
                    </a:cubicBezTo>
                    <a:cubicBezTo>
                      <a:pt x="99" y="11"/>
                      <a:pt x="99" y="11"/>
                      <a:pt x="99" y="11"/>
                    </a:cubicBezTo>
                    <a:cubicBezTo>
                      <a:pt x="99" y="28"/>
                      <a:pt x="99" y="28"/>
                      <a:pt x="99" y="28"/>
                    </a:cubicBezTo>
                    <a:cubicBezTo>
                      <a:pt x="54" y="54"/>
                      <a:pt x="54" y="54"/>
                      <a:pt x="54" y="54"/>
                    </a:cubicBezTo>
                    <a:cubicBezTo>
                      <a:pt x="51" y="56"/>
                      <a:pt x="47" y="55"/>
                      <a:pt x="45" y="53"/>
                    </a:cubicBezTo>
                    <a:cubicBezTo>
                      <a:pt x="0" y="17"/>
                      <a:pt x="0" y="17"/>
                      <a:pt x="0" y="17"/>
                    </a:cubicBezTo>
                    <a:cubicBezTo>
                      <a:pt x="0" y="0"/>
                      <a:pt x="0" y="0"/>
                      <a:pt x="0" y="0"/>
                    </a:cubicBezTo>
                  </a:path>
                </a:pathLst>
              </a:custGeom>
              <a:solidFill>
                <a:srgbClr val="00C1D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17" name="íSļíḍé"/>
              <p:cNvSpPr/>
              <p:nvPr/>
            </p:nvSpPr>
            <p:spPr bwMode="auto">
              <a:xfrm>
                <a:off x="3611" y="1598"/>
                <a:ext cx="126" cy="73"/>
              </a:xfrm>
              <a:custGeom>
                <a:avLst/>
                <a:gdLst>
                  <a:gd name="T0" fmla="*/ 43 w 126"/>
                  <a:gd name="T1" fmla="*/ 0 h 73"/>
                  <a:gd name="T2" fmla="*/ 126 w 126"/>
                  <a:gd name="T3" fmla="*/ 47 h 73"/>
                  <a:gd name="T4" fmla="*/ 85 w 126"/>
                  <a:gd name="T5" fmla="*/ 73 h 73"/>
                  <a:gd name="T6" fmla="*/ 0 w 126"/>
                  <a:gd name="T7" fmla="*/ 23 h 73"/>
                  <a:gd name="T8" fmla="*/ 43 w 126"/>
                  <a:gd name="T9" fmla="*/ 0 h 73"/>
                </a:gdLst>
                <a:ahLst/>
                <a:cxnLst>
                  <a:cxn ang="0">
                    <a:pos x="T0" y="T1"/>
                  </a:cxn>
                  <a:cxn ang="0">
                    <a:pos x="T2" y="T3"/>
                  </a:cxn>
                  <a:cxn ang="0">
                    <a:pos x="T4" y="T5"/>
                  </a:cxn>
                  <a:cxn ang="0">
                    <a:pos x="T6" y="T7"/>
                  </a:cxn>
                  <a:cxn ang="0">
                    <a:pos x="T8" y="T9"/>
                  </a:cxn>
                </a:cxnLst>
                <a:rect l="0" t="0" r="r" b="b"/>
                <a:pathLst>
                  <a:path w="126" h="73">
                    <a:moveTo>
                      <a:pt x="43" y="0"/>
                    </a:moveTo>
                    <a:lnTo>
                      <a:pt x="126" y="47"/>
                    </a:lnTo>
                    <a:lnTo>
                      <a:pt x="85" y="73"/>
                    </a:lnTo>
                    <a:lnTo>
                      <a:pt x="0" y="23"/>
                    </a:lnTo>
                    <a:lnTo>
                      <a:pt x="43" y="0"/>
                    </a:lnTo>
                    <a:close/>
                  </a:path>
                </a:pathLst>
              </a:custGeom>
              <a:solidFill>
                <a:srgbClr val="008FB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18" name="íṣľíďe"/>
              <p:cNvSpPr/>
              <p:nvPr/>
            </p:nvSpPr>
            <p:spPr bwMode="auto">
              <a:xfrm>
                <a:off x="3611" y="1598"/>
                <a:ext cx="126" cy="73"/>
              </a:xfrm>
              <a:custGeom>
                <a:avLst/>
                <a:gdLst>
                  <a:gd name="T0" fmla="*/ 43 w 126"/>
                  <a:gd name="T1" fmla="*/ 0 h 73"/>
                  <a:gd name="T2" fmla="*/ 126 w 126"/>
                  <a:gd name="T3" fmla="*/ 47 h 73"/>
                  <a:gd name="T4" fmla="*/ 85 w 126"/>
                  <a:gd name="T5" fmla="*/ 73 h 73"/>
                  <a:gd name="T6" fmla="*/ 0 w 126"/>
                  <a:gd name="T7" fmla="*/ 23 h 73"/>
                  <a:gd name="T8" fmla="*/ 43 w 126"/>
                  <a:gd name="T9" fmla="*/ 0 h 73"/>
                </a:gdLst>
                <a:ahLst/>
                <a:cxnLst>
                  <a:cxn ang="0">
                    <a:pos x="T0" y="T1"/>
                  </a:cxn>
                  <a:cxn ang="0">
                    <a:pos x="T2" y="T3"/>
                  </a:cxn>
                  <a:cxn ang="0">
                    <a:pos x="T4" y="T5"/>
                  </a:cxn>
                  <a:cxn ang="0">
                    <a:pos x="T6" y="T7"/>
                  </a:cxn>
                  <a:cxn ang="0">
                    <a:pos x="T8" y="T9"/>
                  </a:cxn>
                </a:cxnLst>
                <a:rect l="0" t="0" r="r" b="b"/>
                <a:pathLst>
                  <a:path w="126" h="73">
                    <a:moveTo>
                      <a:pt x="43" y="0"/>
                    </a:moveTo>
                    <a:lnTo>
                      <a:pt x="126" y="47"/>
                    </a:lnTo>
                    <a:lnTo>
                      <a:pt x="85" y="73"/>
                    </a:lnTo>
                    <a:lnTo>
                      <a:pt x="0" y="23"/>
                    </a:lnTo>
                    <a:lnTo>
                      <a:pt x="4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19" name="íṩlíḋé"/>
              <p:cNvSpPr/>
              <p:nvPr/>
            </p:nvSpPr>
            <p:spPr bwMode="auto">
              <a:xfrm>
                <a:off x="3696" y="1645"/>
                <a:ext cx="169" cy="92"/>
              </a:xfrm>
              <a:custGeom>
                <a:avLst/>
                <a:gdLst>
                  <a:gd name="T0" fmla="*/ 74 w 99"/>
                  <a:gd name="T1" fmla="*/ 12 h 54"/>
                  <a:gd name="T2" fmla="*/ 99 w 99"/>
                  <a:gd name="T3" fmla="*/ 26 h 54"/>
                  <a:gd name="T4" fmla="*/ 54 w 99"/>
                  <a:gd name="T5" fmla="*/ 53 h 54"/>
                  <a:gd name="T6" fmla="*/ 45 w 99"/>
                  <a:gd name="T7" fmla="*/ 52 h 54"/>
                  <a:gd name="T8" fmla="*/ 0 w 99"/>
                  <a:gd name="T9" fmla="*/ 15 h 54"/>
                  <a:gd name="T10" fmla="*/ 24 w 99"/>
                  <a:gd name="T11" fmla="*/ 0 h 54"/>
                  <a:gd name="T12" fmla="*/ 45 w 99"/>
                  <a:gd name="T13" fmla="*/ 22 h 54"/>
                  <a:gd name="T14" fmla="*/ 54 w 99"/>
                  <a:gd name="T15" fmla="*/ 23 h 54"/>
                  <a:gd name="T16" fmla="*/ 74 w 99"/>
                  <a:gd name="T17" fmla="*/ 1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54">
                    <a:moveTo>
                      <a:pt x="74" y="12"/>
                    </a:moveTo>
                    <a:cubicBezTo>
                      <a:pt x="99" y="26"/>
                      <a:pt x="99" y="26"/>
                      <a:pt x="99" y="26"/>
                    </a:cubicBezTo>
                    <a:cubicBezTo>
                      <a:pt x="54" y="53"/>
                      <a:pt x="54" y="53"/>
                      <a:pt x="54" y="53"/>
                    </a:cubicBezTo>
                    <a:cubicBezTo>
                      <a:pt x="51" y="54"/>
                      <a:pt x="47" y="54"/>
                      <a:pt x="45" y="52"/>
                    </a:cubicBezTo>
                    <a:cubicBezTo>
                      <a:pt x="0" y="15"/>
                      <a:pt x="0" y="15"/>
                      <a:pt x="0" y="15"/>
                    </a:cubicBezTo>
                    <a:cubicBezTo>
                      <a:pt x="24" y="0"/>
                      <a:pt x="24" y="0"/>
                      <a:pt x="24" y="0"/>
                    </a:cubicBezTo>
                    <a:cubicBezTo>
                      <a:pt x="45" y="22"/>
                      <a:pt x="45" y="22"/>
                      <a:pt x="45" y="22"/>
                    </a:cubicBezTo>
                    <a:cubicBezTo>
                      <a:pt x="47" y="25"/>
                      <a:pt x="51" y="25"/>
                      <a:pt x="54" y="23"/>
                    </a:cubicBezTo>
                    <a:cubicBezTo>
                      <a:pt x="74" y="12"/>
                      <a:pt x="74" y="12"/>
                      <a:pt x="74" y="12"/>
                    </a:cubicBezTo>
                  </a:path>
                </a:pathLst>
              </a:custGeom>
              <a:solidFill>
                <a:srgbClr val="008FB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20" name="ïşľïḓe"/>
              <p:cNvSpPr/>
              <p:nvPr/>
            </p:nvSpPr>
            <p:spPr bwMode="auto">
              <a:xfrm>
                <a:off x="3640" y="1591"/>
                <a:ext cx="14" cy="7"/>
              </a:xfrm>
              <a:custGeom>
                <a:avLst/>
                <a:gdLst>
                  <a:gd name="T0" fmla="*/ 0 w 14"/>
                  <a:gd name="T1" fmla="*/ 0 h 7"/>
                  <a:gd name="T2" fmla="*/ 0 w 14"/>
                  <a:gd name="T3" fmla="*/ 0 h 7"/>
                  <a:gd name="T4" fmla="*/ 14 w 14"/>
                  <a:gd name="T5" fmla="*/ 7 h 7"/>
                  <a:gd name="T6" fmla="*/ 14 w 14"/>
                  <a:gd name="T7" fmla="*/ 7 h 7"/>
                  <a:gd name="T8" fmla="*/ 7 w 14"/>
                  <a:gd name="T9" fmla="*/ 3 h 7"/>
                  <a:gd name="T10" fmla="*/ 0 w 14"/>
                  <a:gd name="T11" fmla="*/ 0 h 7"/>
                </a:gdLst>
                <a:ahLst/>
                <a:cxnLst>
                  <a:cxn ang="0">
                    <a:pos x="T0" y="T1"/>
                  </a:cxn>
                  <a:cxn ang="0">
                    <a:pos x="T2" y="T3"/>
                  </a:cxn>
                  <a:cxn ang="0">
                    <a:pos x="T4" y="T5"/>
                  </a:cxn>
                  <a:cxn ang="0">
                    <a:pos x="T6" y="T7"/>
                  </a:cxn>
                  <a:cxn ang="0">
                    <a:pos x="T8" y="T9"/>
                  </a:cxn>
                  <a:cxn ang="0">
                    <a:pos x="T10" y="T11"/>
                  </a:cxn>
                </a:cxnLst>
                <a:rect l="0" t="0" r="r" b="b"/>
                <a:pathLst>
                  <a:path w="14" h="7">
                    <a:moveTo>
                      <a:pt x="0" y="0"/>
                    </a:moveTo>
                    <a:lnTo>
                      <a:pt x="0" y="0"/>
                    </a:lnTo>
                    <a:lnTo>
                      <a:pt x="14" y="7"/>
                    </a:lnTo>
                    <a:lnTo>
                      <a:pt x="14" y="7"/>
                    </a:lnTo>
                    <a:lnTo>
                      <a:pt x="7" y="3"/>
                    </a:lnTo>
                    <a:lnTo>
                      <a:pt x="0" y="0"/>
                    </a:lnTo>
                    <a:close/>
                  </a:path>
                </a:pathLst>
              </a:custGeom>
              <a:solidFill>
                <a:srgbClr val="008FB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21" name="iṥľíḓé"/>
              <p:cNvSpPr/>
              <p:nvPr/>
            </p:nvSpPr>
            <p:spPr bwMode="auto">
              <a:xfrm>
                <a:off x="3640" y="1591"/>
                <a:ext cx="14" cy="7"/>
              </a:xfrm>
              <a:custGeom>
                <a:avLst/>
                <a:gdLst>
                  <a:gd name="T0" fmla="*/ 0 w 14"/>
                  <a:gd name="T1" fmla="*/ 0 h 7"/>
                  <a:gd name="T2" fmla="*/ 0 w 14"/>
                  <a:gd name="T3" fmla="*/ 0 h 7"/>
                  <a:gd name="T4" fmla="*/ 14 w 14"/>
                  <a:gd name="T5" fmla="*/ 7 h 7"/>
                  <a:gd name="T6" fmla="*/ 14 w 14"/>
                  <a:gd name="T7" fmla="*/ 7 h 7"/>
                  <a:gd name="T8" fmla="*/ 7 w 14"/>
                  <a:gd name="T9" fmla="*/ 3 h 7"/>
                  <a:gd name="T10" fmla="*/ 0 w 14"/>
                  <a:gd name="T11" fmla="*/ 0 h 7"/>
                </a:gdLst>
                <a:ahLst/>
                <a:cxnLst>
                  <a:cxn ang="0">
                    <a:pos x="T0" y="T1"/>
                  </a:cxn>
                  <a:cxn ang="0">
                    <a:pos x="T2" y="T3"/>
                  </a:cxn>
                  <a:cxn ang="0">
                    <a:pos x="T4" y="T5"/>
                  </a:cxn>
                  <a:cxn ang="0">
                    <a:pos x="T6" y="T7"/>
                  </a:cxn>
                  <a:cxn ang="0">
                    <a:pos x="T8" y="T9"/>
                  </a:cxn>
                  <a:cxn ang="0">
                    <a:pos x="T10" y="T11"/>
                  </a:cxn>
                </a:cxnLst>
                <a:rect l="0" t="0" r="r" b="b"/>
                <a:pathLst>
                  <a:path w="14" h="7">
                    <a:moveTo>
                      <a:pt x="0" y="0"/>
                    </a:moveTo>
                    <a:lnTo>
                      <a:pt x="0" y="0"/>
                    </a:lnTo>
                    <a:lnTo>
                      <a:pt x="14" y="7"/>
                    </a:lnTo>
                    <a:lnTo>
                      <a:pt x="14" y="7"/>
                    </a:lnTo>
                    <a:lnTo>
                      <a:pt x="7" y="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22" name="iṩľiḑè"/>
              <p:cNvSpPr/>
              <p:nvPr/>
            </p:nvSpPr>
            <p:spPr bwMode="auto">
              <a:xfrm>
                <a:off x="3611" y="1591"/>
                <a:ext cx="43" cy="30"/>
              </a:xfrm>
              <a:custGeom>
                <a:avLst/>
                <a:gdLst>
                  <a:gd name="T0" fmla="*/ 29 w 43"/>
                  <a:gd name="T1" fmla="*/ 0 h 30"/>
                  <a:gd name="T2" fmla="*/ 0 w 43"/>
                  <a:gd name="T3" fmla="*/ 30 h 30"/>
                  <a:gd name="T4" fmla="*/ 43 w 43"/>
                  <a:gd name="T5" fmla="*/ 7 h 30"/>
                  <a:gd name="T6" fmla="*/ 29 w 43"/>
                  <a:gd name="T7" fmla="*/ 0 h 30"/>
                </a:gdLst>
                <a:ahLst/>
                <a:cxnLst>
                  <a:cxn ang="0">
                    <a:pos x="T0" y="T1"/>
                  </a:cxn>
                  <a:cxn ang="0">
                    <a:pos x="T2" y="T3"/>
                  </a:cxn>
                  <a:cxn ang="0">
                    <a:pos x="T4" y="T5"/>
                  </a:cxn>
                  <a:cxn ang="0">
                    <a:pos x="T6" y="T7"/>
                  </a:cxn>
                </a:cxnLst>
                <a:rect l="0" t="0" r="r" b="b"/>
                <a:pathLst>
                  <a:path w="43" h="30">
                    <a:moveTo>
                      <a:pt x="29" y="0"/>
                    </a:moveTo>
                    <a:lnTo>
                      <a:pt x="0" y="30"/>
                    </a:lnTo>
                    <a:lnTo>
                      <a:pt x="43" y="7"/>
                    </a:lnTo>
                    <a:lnTo>
                      <a:pt x="29" y="0"/>
                    </a:lnTo>
                    <a:close/>
                  </a:path>
                </a:pathLst>
              </a:custGeom>
              <a:solidFill>
                <a:srgbClr val="50C8E1"/>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23" name="îṣľîḍé"/>
              <p:cNvSpPr/>
              <p:nvPr/>
            </p:nvSpPr>
            <p:spPr bwMode="auto">
              <a:xfrm>
                <a:off x="3611" y="1591"/>
                <a:ext cx="43" cy="30"/>
              </a:xfrm>
              <a:custGeom>
                <a:avLst/>
                <a:gdLst>
                  <a:gd name="T0" fmla="*/ 29 w 43"/>
                  <a:gd name="T1" fmla="*/ 0 h 30"/>
                  <a:gd name="T2" fmla="*/ 0 w 43"/>
                  <a:gd name="T3" fmla="*/ 30 h 30"/>
                  <a:gd name="T4" fmla="*/ 43 w 43"/>
                  <a:gd name="T5" fmla="*/ 7 h 30"/>
                  <a:gd name="T6" fmla="*/ 29 w 43"/>
                  <a:gd name="T7" fmla="*/ 0 h 30"/>
                </a:gdLst>
                <a:ahLst/>
                <a:cxnLst>
                  <a:cxn ang="0">
                    <a:pos x="T0" y="T1"/>
                  </a:cxn>
                  <a:cxn ang="0">
                    <a:pos x="T2" y="T3"/>
                  </a:cxn>
                  <a:cxn ang="0">
                    <a:pos x="T4" y="T5"/>
                  </a:cxn>
                  <a:cxn ang="0">
                    <a:pos x="T6" y="T7"/>
                  </a:cxn>
                </a:cxnLst>
                <a:rect l="0" t="0" r="r" b="b"/>
                <a:pathLst>
                  <a:path w="43" h="30">
                    <a:moveTo>
                      <a:pt x="29" y="0"/>
                    </a:moveTo>
                    <a:lnTo>
                      <a:pt x="0" y="30"/>
                    </a:lnTo>
                    <a:lnTo>
                      <a:pt x="43" y="7"/>
                    </a:lnTo>
                    <a:lnTo>
                      <a:pt x="2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24" name="îşḷïḑe"/>
              <p:cNvSpPr/>
              <p:nvPr/>
            </p:nvSpPr>
            <p:spPr bwMode="auto">
              <a:xfrm>
                <a:off x="3611" y="1591"/>
                <a:ext cx="43" cy="30"/>
              </a:xfrm>
              <a:custGeom>
                <a:avLst/>
                <a:gdLst>
                  <a:gd name="T0" fmla="*/ 29 w 43"/>
                  <a:gd name="T1" fmla="*/ 0 h 30"/>
                  <a:gd name="T2" fmla="*/ 0 w 43"/>
                  <a:gd name="T3" fmla="*/ 30 h 30"/>
                  <a:gd name="T4" fmla="*/ 43 w 43"/>
                  <a:gd name="T5" fmla="*/ 7 h 30"/>
                  <a:gd name="T6" fmla="*/ 29 w 43"/>
                  <a:gd name="T7" fmla="*/ 0 h 30"/>
                </a:gdLst>
                <a:ahLst/>
                <a:cxnLst>
                  <a:cxn ang="0">
                    <a:pos x="T0" y="T1"/>
                  </a:cxn>
                  <a:cxn ang="0">
                    <a:pos x="T2" y="T3"/>
                  </a:cxn>
                  <a:cxn ang="0">
                    <a:pos x="T4" y="T5"/>
                  </a:cxn>
                  <a:cxn ang="0">
                    <a:pos x="T6" y="T7"/>
                  </a:cxn>
                </a:cxnLst>
                <a:rect l="0" t="0" r="r" b="b"/>
                <a:pathLst>
                  <a:path w="43" h="30">
                    <a:moveTo>
                      <a:pt x="29" y="0"/>
                    </a:moveTo>
                    <a:lnTo>
                      <a:pt x="0" y="30"/>
                    </a:lnTo>
                    <a:lnTo>
                      <a:pt x="43" y="7"/>
                    </a:lnTo>
                    <a:lnTo>
                      <a:pt x="29"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25" name="îśļïdé"/>
              <p:cNvSpPr/>
              <p:nvPr/>
            </p:nvSpPr>
            <p:spPr bwMode="auto">
              <a:xfrm>
                <a:off x="3611" y="1591"/>
                <a:ext cx="43" cy="30"/>
              </a:xfrm>
              <a:custGeom>
                <a:avLst/>
                <a:gdLst>
                  <a:gd name="T0" fmla="*/ 29 w 43"/>
                  <a:gd name="T1" fmla="*/ 0 h 30"/>
                  <a:gd name="T2" fmla="*/ 0 w 43"/>
                  <a:gd name="T3" fmla="*/ 30 h 30"/>
                  <a:gd name="T4" fmla="*/ 43 w 43"/>
                  <a:gd name="T5" fmla="*/ 7 h 30"/>
                  <a:gd name="T6" fmla="*/ 29 w 43"/>
                  <a:gd name="T7" fmla="*/ 0 h 30"/>
                </a:gdLst>
                <a:ahLst/>
                <a:cxnLst>
                  <a:cxn ang="0">
                    <a:pos x="T0" y="T1"/>
                  </a:cxn>
                  <a:cxn ang="0">
                    <a:pos x="T2" y="T3"/>
                  </a:cxn>
                  <a:cxn ang="0">
                    <a:pos x="T4" y="T5"/>
                  </a:cxn>
                  <a:cxn ang="0">
                    <a:pos x="T6" y="T7"/>
                  </a:cxn>
                </a:cxnLst>
                <a:rect l="0" t="0" r="r" b="b"/>
                <a:pathLst>
                  <a:path w="43" h="30">
                    <a:moveTo>
                      <a:pt x="29" y="0"/>
                    </a:moveTo>
                    <a:lnTo>
                      <a:pt x="0" y="30"/>
                    </a:lnTo>
                    <a:lnTo>
                      <a:pt x="43" y="7"/>
                    </a:lnTo>
                    <a:lnTo>
                      <a:pt x="2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26" name="ïṥľîḋê"/>
              <p:cNvSpPr/>
              <p:nvPr/>
            </p:nvSpPr>
            <p:spPr bwMode="auto">
              <a:xfrm>
                <a:off x="3611" y="1598"/>
                <a:ext cx="126" cy="73"/>
              </a:xfrm>
              <a:custGeom>
                <a:avLst/>
                <a:gdLst>
                  <a:gd name="T0" fmla="*/ 43 w 126"/>
                  <a:gd name="T1" fmla="*/ 0 h 73"/>
                  <a:gd name="T2" fmla="*/ 43 w 126"/>
                  <a:gd name="T3" fmla="*/ 0 h 73"/>
                  <a:gd name="T4" fmla="*/ 0 w 126"/>
                  <a:gd name="T5" fmla="*/ 23 h 73"/>
                  <a:gd name="T6" fmla="*/ 85 w 126"/>
                  <a:gd name="T7" fmla="*/ 73 h 73"/>
                  <a:gd name="T8" fmla="*/ 85 w 126"/>
                  <a:gd name="T9" fmla="*/ 73 h 73"/>
                  <a:gd name="T10" fmla="*/ 85 w 126"/>
                  <a:gd name="T11" fmla="*/ 73 h 73"/>
                  <a:gd name="T12" fmla="*/ 126 w 126"/>
                  <a:gd name="T13" fmla="*/ 47 h 73"/>
                  <a:gd name="T14" fmla="*/ 43 w 126"/>
                  <a:gd name="T15" fmla="*/ 0 h 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73">
                    <a:moveTo>
                      <a:pt x="43" y="0"/>
                    </a:moveTo>
                    <a:lnTo>
                      <a:pt x="43" y="0"/>
                    </a:lnTo>
                    <a:lnTo>
                      <a:pt x="0" y="23"/>
                    </a:lnTo>
                    <a:lnTo>
                      <a:pt x="85" y="73"/>
                    </a:lnTo>
                    <a:lnTo>
                      <a:pt x="85" y="73"/>
                    </a:lnTo>
                    <a:lnTo>
                      <a:pt x="85" y="73"/>
                    </a:lnTo>
                    <a:lnTo>
                      <a:pt x="126" y="47"/>
                    </a:lnTo>
                    <a:lnTo>
                      <a:pt x="43" y="0"/>
                    </a:lnTo>
                    <a:close/>
                  </a:path>
                </a:pathLst>
              </a:custGeom>
              <a:solidFill>
                <a:srgbClr val="008FB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27" name="íşḻïdé"/>
              <p:cNvSpPr/>
              <p:nvPr/>
            </p:nvSpPr>
            <p:spPr bwMode="auto">
              <a:xfrm>
                <a:off x="3611" y="1598"/>
                <a:ext cx="126" cy="73"/>
              </a:xfrm>
              <a:custGeom>
                <a:avLst/>
                <a:gdLst>
                  <a:gd name="T0" fmla="*/ 43 w 126"/>
                  <a:gd name="T1" fmla="*/ 0 h 73"/>
                  <a:gd name="T2" fmla="*/ 43 w 126"/>
                  <a:gd name="T3" fmla="*/ 0 h 73"/>
                  <a:gd name="T4" fmla="*/ 0 w 126"/>
                  <a:gd name="T5" fmla="*/ 23 h 73"/>
                  <a:gd name="T6" fmla="*/ 85 w 126"/>
                  <a:gd name="T7" fmla="*/ 73 h 73"/>
                  <a:gd name="T8" fmla="*/ 85 w 126"/>
                  <a:gd name="T9" fmla="*/ 73 h 73"/>
                  <a:gd name="T10" fmla="*/ 85 w 126"/>
                  <a:gd name="T11" fmla="*/ 73 h 73"/>
                  <a:gd name="T12" fmla="*/ 126 w 126"/>
                  <a:gd name="T13" fmla="*/ 47 h 73"/>
                  <a:gd name="T14" fmla="*/ 43 w 126"/>
                  <a:gd name="T15" fmla="*/ 0 h 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73">
                    <a:moveTo>
                      <a:pt x="43" y="0"/>
                    </a:moveTo>
                    <a:lnTo>
                      <a:pt x="43" y="0"/>
                    </a:lnTo>
                    <a:lnTo>
                      <a:pt x="0" y="23"/>
                    </a:lnTo>
                    <a:lnTo>
                      <a:pt x="85" y="73"/>
                    </a:lnTo>
                    <a:lnTo>
                      <a:pt x="85" y="73"/>
                    </a:lnTo>
                    <a:lnTo>
                      <a:pt x="85" y="73"/>
                    </a:lnTo>
                    <a:lnTo>
                      <a:pt x="126" y="47"/>
                    </a:lnTo>
                    <a:lnTo>
                      <a:pt x="4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28" name="îśḻïḓé"/>
              <p:cNvSpPr/>
              <p:nvPr/>
            </p:nvSpPr>
            <p:spPr bwMode="auto">
              <a:xfrm>
                <a:off x="3696" y="1645"/>
                <a:ext cx="169" cy="92"/>
              </a:xfrm>
              <a:custGeom>
                <a:avLst/>
                <a:gdLst>
                  <a:gd name="T0" fmla="*/ 24 w 99"/>
                  <a:gd name="T1" fmla="*/ 0 h 54"/>
                  <a:gd name="T2" fmla="*/ 24 w 99"/>
                  <a:gd name="T3" fmla="*/ 0 h 54"/>
                  <a:gd name="T4" fmla="*/ 0 w 99"/>
                  <a:gd name="T5" fmla="*/ 15 h 54"/>
                  <a:gd name="T6" fmla="*/ 45 w 99"/>
                  <a:gd name="T7" fmla="*/ 52 h 54"/>
                  <a:gd name="T8" fmla="*/ 50 w 99"/>
                  <a:gd name="T9" fmla="*/ 54 h 54"/>
                  <a:gd name="T10" fmla="*/ 54 w 99"/>
                  <a:gd name="T11" fmla="*/ 53 h 54"/>
                  <a:gd name="T12" fmla="*/ 99 w 99"/>
                  <a:gd name="T13" fmla="*/ 26 h 54"/>
                  <a:gd name="T14" fmla="*/ 74 w 99"/>
                  <a:gd name="T15" fmla="*/ 12 h 54"/>
                  <a:gd name="T16" fmla="*/ 54 w 99"/>
                  <a:gd name="T17" fmla="*/ 23 h 54"/>
                  <a:gd name="T18" fmla="*/ 50 w 99"/>
                  <a:gd name="T19" fmla="*/ 24 h 54"/>
                  <a:gd name="T20" fmla="*/ 45 w 99"/>
                  <a:gd name="T21" fmla="*/ 22 h 54"/>
                  <a:gd name="T22" fmla="*/ 24 w 99"/>
                  <a:gd name="T23"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54">
                    <a:moveTo>
                      <a:pt x="24" y="0"/>
                    </a:moveTo>
                    <a:cubicBezTo>
                      <a:pt x="24" y="0"/>
                      <a:pt x="24" y="0"/>
                      <a:pt x="24" y="0"/>
                    </a:cubicBezTo>
                    <a:cubicBezTo>
                      <a:pt x="0" y="15"/>
                      <a:pt x="0" y="15"/>
                      <a:pt x="0" y="15"/>
                    </a:cubicBezTo>
                    <a:cubicBezTo>
                      <a:pt x="45" y="52"/>
                      <a:pt x="45" y="52"/>
                      <a:pt x="45" y="52"/>
                    </a:cubicBezTo>
                    <a:cubicBezTo>
                      <a:pt x="46" y="53"/>
                      <a:pt x="48" y="54"/>
                      <a:pt x="50" y="54"/>
                    </a:cubicBezTo>
                    <a:cubicBezTo>
                      <a:pt x="51" y="54"/>
                      <a:pt x="53" y="53"/>
                      <a:pt x="54" y="53"/>
                    </a:cubicBezTo>
                    <a:cubicBezTo>
                      <a:pt x="99" y="26"/>
                      <a:pt x="99" y="26"/>
                      <a:pt x="99" y="26"/>
                    </a:cubicBezTo>
                    <a:cubicBezTo>
                      <a:pt x="74" y="12"/>
                      <a:pt x="74" y="12"/>
                      <a:pt x="74" y="12"/>
                    </a:cubicBezTo>
                    <a:cubicBezTo>
                      <a:pt x="54" y="23"/>
                      <a:pt x="54" y="23"/>
                      <a:pt x="54" y="23"/>
                    </a:cubicBezTo>
                    <a:cubicBezTo>
                      <a:pt x="53" y="24"/>
                      <a:pt x="52" y="24"/>
                      <a:pt x="50" y="24"/>
                    </a:cubicBezTo>
                    <a:cubicBezTo>
                      <a:pt x="48" y="24"/>
                      <a:pt x="46" y="24"/>
                      <a:pt x="45" y="22"/>
                    </a:cubicBezTo>
                    <a:cubicBezTo>
                      <a:pt x="24" y="0"/>
                      <a:pt x="24" y="0"/>
                      <a:pt x="24" y="0"/>
                    </a:cubicBezTo>
                  </a:path>
                </a:pathLst>
              </a:custGeom>
              <a:solidFill>
                <a:srgbClr val="008FB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29" name="i$ļïḍé"/>
              <p:cNvSpPr/>
              <p:nvPr/>
            </p:nvSpPr>
            <p:spPr bwMode="auto">
              <a:xfrm>
                <a:off x="3822" y="1654"/>
                <a:ext cx="65" cy="37"/>
              </a:xfrm>
              <a:custGeom>
                <a:avLst/>
                <a:gdLst>
                  <a:gd name="T0" fmla="*/ 22 w 65"/>
                  <a:gd name="T1" fmla="*/ 0 h 37"/>
                  <a:gd name="T2" fmla="*/ 0 w 65"/>
                  <a:gd name="T3" fmla="*/ 12 h 37"/>
                  <a:gd name="T4" fmla="*/ 43 w 65"/>
                  <a:gd name="T5" fmla="*/ 37 h 37"/>
                  <a:gd name="T6" fmla="*/ 65 w 65"/>
                  <a:gd name="T7" fmla="*/ 23 h 37"/>
                  <a:gd name="T8" fmla="*/ 22 w 65"/>
                  <a:gd name="T9" fmla="*/ 0 h 37"/>
                </a:gdLst>
                <a:ahLst/>
                <a:cxnLst>
                  <a:cxn ang="0">
                    <a:pos x="T0" y="T1"/>
                  </a:cxn>
                  <a:cxn ang="0">
                    <a:pos x="T2" y="T3"/>
                  </a:cxn>
                  <a:cxn ang="0">
                    <a:pos x="T4" y="T5"/>
                  </a:cxn>
                  <a:cxn ang="0">
                    <a:pos x="T6" y="T7"/>
                  </a:cxn>
                  <a:cxn ang="0">
                    <a:pos x="T8" y="T9"/>
                  </a:cxn>
                </a:cxnLst>
                <a:rect l="0" t="0" r="r" b="b"/>
                <a:pathLst>
                  <a:path w="65" h="37">
                    <a:moveTo>
                      <a:pt x="22" y="0"/>
                    </a:moveTo>
                    <a:lnTo>
                      <a:pt x="0" y="12"/>
                    </a:lnTo>
                    <a:lnTo>
                      <a:pt x="43" y="37"/>
                    </a:lnTo>
                    <a:lnTo>
                      <a:pt x="65" y="23"/>
                    </a:lnTo>
                    <a:lnTo>
                      <a:pt x="22" y="0"/>
                    </a:lnTo>
                    <a:close/>
                  </a:path>
                </a:pathLst>
              </a:custGeom>
              <a:solidFill>
                <a:srgbClr val="F0D0B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30" name="íś1íďé"/>
              <p:cNvSpPr/>
              <p:nvPr/>
            </p:nvSpPr>
            <p:spPr bwMode="auto">
              <a:xfrm>
                <a:off x="3865" y="1677"/>
                <a:ext cx="22" cy="41"/>
              </a:xfrm>
              <a:custGeom>
                <a:avLst/>
                <a:gdLst>
                  <a:gd name="T0" fmla="*/ 0 w 22"/>
                  <a:gd name="T1" fmla="*/ 14 h 41"/>
                  <a:gd name="T2" fmla="*/ 22 w 22"/>
                  <a:gd name="T3" fmla="*/ 0 h 41"/>
                  <a:gd name="T4" fmla="*/ 22 w 22"/>
                  <a:gd name="T5" fmla="*/ 29 h 41"/>
                  <a:gd name="T6" fmla="*/ 0 w 22"/>
                  <a:gd name="T7" fmla="*/ 41 h 41"/>
                  <a:gd name="T8" fmla="*/ 0 w 22"/>
                  <a:gd name="T9" fmla="*/ 14 h 41"/>
                </a:gdLst>
                <a:ahLst/>
                <a:cxnLst>
                  <a:cxn ang="0">
                    <a:pos x="T0" y="T1"/>
                  </a:cxn>
                  <a:cxn ang="0">
                    <a:pos x="T2" y="T3"/>
                  </a:cxn>
                  <a:cxn ang="0">
                    <a:pos x="T4" y="T5"/>
                  </a:cxn>
                  <a:cxn ang="0">
                    <a:pos x="T6" y="T7"/>
                  </a:cxn>
                  <a:cxn ang="0">
                    <a:pos x="T8" y="T9"/>
                  </a:cxn>
                </a:cxnLst>
                <a:rect l="0" t="0" r="r" b="b"/>
                <a:pathLst>
                  <a:path w="22" h="41">
                    <a:moveTo>
                      <a:pt x="0" y="14"/>
                    </a:moveTo>
                    <a:lnTo>
                      <a:pt x="22" y="0"/>
                    </a:lnTo>
                    <a:lnTo>
                      <a:pt x="22" y="29"/>
                    </a:lnTo>
                    <a:lnTo>
                      <a:pt x="0" y="41"/>
                    </a:lnTo>
                    <a:lnTo>
                      <a:pt x="0" y="14"/>
                    </a:lnTo>
                    <a:close/>
                  </a:path>
                </a:pathLst>
              </a:custGeom>
              <a:solidFill>
                <a:srgbClr val="F0D0B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31" name="ïṡľïḋe"/>
              <p:cNvSpPr/>
              <p:nvPr/>
            </p:nvSpPr>
            <p:spPr bwMode="auto">
              <a:xfrm>
                <a:off x="3547" y="1856"/>
                <a:ext cx="22" cy="33"/>
              </a:xfrm>
              <a:custGeom>
                <a:avLst/>
                <a:gdLst>
                  <a:gd name="T0" fmla="*/ 22 w 22"/>
                  <a:gd name="T1" fmla="*/ 33 h 33"/>
                  <a:gd name="T2" fmla="*/ 0 w 22"/>
                  <a:gd name="T3" fmla="*/ 22 h 33"/>
                  <a:gd name="T4" fmla="*/ 0 w 22"/>
                  <a:gd name="T5" fmla="*/ 0 h 33"/>
                  <a:gd name="T6" fmla="*/ 22 w 22"/>
                  <a:gd name="T7" fmla="*/ 11 h 33"/>
                  <a:gd name="T8" fmla="*/ 22 w 22"/>
                  <a:gd name="T9" fmla="*/ 33 h 33"/>
                </a:gdLst>
                <a:ahLst/>
                <a:cxnLst>
                  <a:cxn ang="0">
                    <a:pos x="T0" y="T1"/>
                  </a:cxn>
                  <a:cxn ang="0">
                    <a:pos x="T2" y="T3"/>
                  </a:cxn>
                  <a:cxn ang="0">
                    <a:pos x="T4" y="T5"/>
                  </a:cxn>
                  <a:cxn ang="0">
                    <a:pos x="T6" y="T7"/>
                  </a:cxn>
                  <a:cxn ang="0">
                    <a:pos x="T8" y="T9"/>
                  </a:cxn>
                </a:cxnLst>
                <a:rect l="0" t="0" r="r" b="b"/>
                <a:pathLst>
                  <a:path w="22" h="33">
                    <a:moveTo>
                      <a:pt x="22" y="33"/>
                    </a:moveTo>
                    <a:lnTo>
                      <a:pt x="0" y="22"/>
                    </a:lnTo>
                    <a:lnTo>
                      <a:pt x="0" y="0"/>
                    </a:lnTo>
                    <a:lnTo>
                      <a:pt x="22" y="11"/>
                    </a:lnTo>
                    <a:lnTo>
                      <a:pt x="22" y="33"/>
                    </a:lnTo>
                    <a:close/>
                  </a:path>
                </a:pathLst>
              </a:custGeom>
              <a:solidFill>
                <a:srgbClr val="F0D0B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32" name="işľíḋè"/>
              <p:cNvSpPr/>
              <p:nvPr/>
            </p:nvSpPr>
            <p:spPr bwMode="auto">
              <a:xfrm>
                <a:off x="3727" y="2152"/>
                <a:ext cx="42" cy="50"/>
              </a:xfrm>
              <a:custGeom>
                <a:avLst/>
                <a:gdLst>
                  <a:gd name="T0" fmla="*/ 0 w 42"/>
                  <a:gd name="T1" fmla="*/ 50 h 50"/>
                  <a:gd name="T2" fmla="*/ 42 w 42"/>
                  <a:gd name="T3" fmla="*/ 26 h 50"/>
                  <a:gd name="T4" fmla="*/ 0 w 42"/>
                  <a:gd name="T5" fmla="*/ 0 h 50"/>
                  <a:gd name="T6" fmla="*/ 0 w 42"/>
                  <a:gd name="T7" fmla="*/ 50 h 50"/>
                </a:gdLst>
                <a:ahLst/>
                <a:cxnLst>
                  <a:cxn ang="0">
                    <a:pos x="T0" y="T1"/>
                  </a:cxn>
                  <a:cxn ang="0">
                    <a:pos x="T2" y="T3"/>
                  </a:cxn>
                  <a:cxn ang="0">
                    <a:pos x="T4" y="T5"/>
                  </a:cxn>
                  <a:cxn ang="0">
                    <a:pos x="T6" y="T7"/>
                  </a:cxn>
                </a:cxnLst>
                <a:rect l="0" t="0" r="r" b="b"/>
                <a:pathLst>
                  <a:path w="42" h="50">
                    <a:moveTo>
                      <a:pt x="0" y="50"/>
                    </a:moveTo>
                    <a:lnTo>
                      <a:pt x="42" y="26"/>
                    </a:lnTo>
                    <a:lnTo>
                      <a:pt x="0" y="0"/>
                    </a:lnTo>
                    <a:lnTo>
                      <a:pt x="0" y="50"/>
                    </a:lnTo>
                    <a:close/>
                  </a:path>
                </a:pathLst>
              </a:custGeom>
              <a:solidFill>
                <a:srgbClr val="332E2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33" name="îṧḻide"/>
              <p:cNvSpPr/>
              <p:nvPr/>
            </p:nvSpPr>
            <p:spPr bwMode="auto">
              <a:xfrm>
                <a:off x="3696" y="2169"/>
                <a:ext cx="84" cy="87"/>
              </a:xfrm>
              <a:custGeom>
                <a:avLst/>
                <a:gdLst>
                  <a:gd name="T0" fmla="*/ 30 w 49"/>
                  <a:gd name="T1" fmla="*/ 5 h 51"/>
                  <a:gd name="T2" fmla="*/ 0 w 49"/>
                  <a:gd name="T3" fmla="*/ 22 h 51"/>
                  <a:gd name="T4" fmla="*/ 0 w 49"/>
                  <a:gd name="T5" fmla="*/ 51 h 51"/>
                  <a:gd name="T6" fmla="*/ 49 w 49"/>
                  <a:gd name="T7" fmla="*/ 22 h 51"/>
                  <a:gd name="T8" fmla="*/ 49 w 49"/>
                  <a:gd name="T9" fmla="*/ 16 h 51"/>
                  <a:gd name="T10" fmla="*/ 30 w 49"/>
                  <a:gd name="T11" fmla="*/ 5 h 51"/>
                </a:gdLst>
                <a:ahLst/>
                <a:cxnLst>
                  <a:cxn ang="0">
                    <a:pos x="T0" y="T1"/>
                  </a:cxn>
                  <a:cxn ang="0">
                    <a:pos x="T2" y="T3"/>
                  </a:cxn>
                  <a:cxn ang="0">
                    <a:pos x="T4" y="T5"/>
                  </a:cxn>
                  <a:cxn ang="0">
                    <a:pos x="T6" y="T7"/>
                  </a:cxn>
                  <a:cxn ang="0">
                    <a:pos x="T8" y="T9"/>
                  </a:cxn>
                  <a:cxn ang="0">
                    <a:pos x="T10" y="T11"/>
                  </a:cxn>
                </a:cxnLst>
                <a:rect l="0" t="0" r="r" b="b"/>
                <a:pathLst>
                  <a:path w="49" h="51">
                    <a:moveTo>
                      <a:pt x="30" y="5"/>
                    </a:moveTo>
                    <a:cubicBezTo>
                      <a:pt x="0" y="22"/>
                      <a:pt x="0" y="22"/>
                      <a:pt x="0" y="22"/>
                    </a:cubicBezTo>
                    <a:cubicBezTo>
                      <a:pt x="0" y="51"/>
                      <a:pt x="0" y="51"/>
                      <a:pt x="0" y="51"/>
                    </a:cubicBezTo>
                    <a:cubicBezTo>
                      <a:pt x="49" y="22"/>
                      <a:pt x="49" y="22"/>
                      <a:pt x="49" y="22"/>
                    </a:cubicBezTo>
                    <a:cubicBezTo>
                      <a:pt x="49" y="16"/>
                      <a:pt x="49" y="16"/>
                      <a:pt x="49" y="16"/>
                    </a:cubicBezTo>
                    <a:cubicBezTo>
                      <a:pt x="49" y="6"/>
                      <a:pt x="38" y="0"/>
                      <a:pt x="30" y="5"/>
                    </a:cubicBezTo>
                    <a:close/>
                  </a:path>
                </a:pathLst>
              </a:custGeom>
              <a:solidFill>
                <a:srgbClr val="332E2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34" name="iṧľiḑê"/>
              <p:cNvSpPr/>
              <p:nvPr/>
            </p:nvSpPr>
            <p:spPr bwMode="auto">
              <a:xfrm>
                <a:off x="3696" y="1939"/>
                <a:ext cx="41" cy="317"/>
              </a:xfrm>
              <a:custGeom>
                <a:avLst/>
                <a:gdLst>
                  <a:gd name="T0" fmla="*/ 41 w 41"/>
                  <a:gd name="T1" fmla="*/ 0 h 317"/>
                  <a:gd name="T2" fmla="*/ 41 w 41"/>
                  <a:gd name="T3" fmla="*/ 293 h 317"/>
                  <a:gd name="T4" fmla="*/ 0 w 41"/>
                  <a:gd name="T5" fmla="*/ 317 h 317"/>
                  <a:gd name="T6" fmla="*/ 0 w 41"/>
                  <a:gd name="T7" fmla="*/ 23 h 317"/>
                  <a:gd name="T8" fmla="*/ 41 w 41"/>
                  <a:gd name="T9" fmla="*/ 0 h 317"/>
                </a:gdLst>
                <a:ahLst/>
                <a:cxnLst>
                  <a:cxn ang="0">
                    <a:pos x="T0" y="T1"/>
                  </a:cxn>
                  <a:cxn ang="0">
                    <a:pos x="T2" y="T3"/>
                  </a:cxn>
                  <a:cxn ang="0">
                    <a:pos x="T4" y="T5"/>
                  </a:cxn>
                  <a:cxn ang="0">
                    <a:pos x="T6" y="T7"/>
                  </a:cxn>
                  <a:cxn ang="0">
                    <a:pos x="T8" y="T9"/>
                  </a:cxn>
                </a:cxnLst>
                <a:rect l="0" t="0" r="r" b="b"/>
                <a:pathLst>
                  <a:path w="41" h="317">
                    <a:moveTo>
                      <a:pt x="41" y="0"/>
                    </a:moveTo>
                    <a:lnTo>
                      <a:pt x="41" y="293"/>
                    </a:lnTo>
                    <a:lnTo>
                      <a:pt x="0" y="317"/>
                    </a:lnTo>
                    <a:lnTo>
                      <a:pt x="0" y="23"/>
                    </a:lnTo>
                    <a:lnTo>
                      <a:pt x="41" y="0"/>
                    </a:lnTo>
                    <a:close/>
                  </a:path>
                </a:pathLst>
              </a:custGeom>
              <a:solidFill>
                <a:srgbClr val="332E2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35" name="ïSlîḋê"/>
              <p:cNvSpPr/>
              <p:nvPr/>
            </p:nvSpPr>
            <p:spPr bwMode="auto">
              <a:xfrm>
                <a:off x="3595" y="1481"/>
                <a:ext cx="134" cy="173"/>
              </a:xfrm>
              <a:custGeom>
                <a:avLst/>
                <a:gdLst>
                  <a:gd name="T0" fmla="*/ 79 w 79"/>
                  <a:gd name="T1" fmla="*/ 22 h 102"/>
                  <a:gd name="T2" fmla="*/ 40 w 79"/>
                  <a:gd name="T3" fmla="*/ 0 h 102"/>
                  <a:gd name="T4" fmla="*/ 9 w 79"/>
                  <a:gd name="T5" fmla="*/ 17 h 102"/>
                  <a:gd name="T6" fmla="*/ 1 w 79"/>
                  <a:gd name="T7" fmla="*/ 30 h 102"/>
                  <a:gd name="T8" fmla="*/ 0 w 79"/>
                  <a:gd name="T9" fmla="*/ 78 h 102"/>
                  <a:gd name="T10" fmla="*/ 42 w 79"/>
                  <a:gd name="T11" fmla="*/ 102 h 102"/>
                  <a:gd name="T12" fmla="*/ 65 w 79"/>
                  <a:gd name="T13" fmla="*/ 88 h 102"/>
                  <a:gd name="T14" fmla="*/ 79 w 79"/>
                  <a:gd name="T15" fmla="*/ 64 h 102"/>
                  <a:gd name="T16" fmla="*/ 79 w 79"/>
                  <a:gd name="T17" fmla="*/ 2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 h="102">
                    <a:moveTo>
                      <a:pt x="79" y="22"/>
                    </a:moveTo>
                    <a:cubicBezTo>
                      <a:pt x="40" y="0"/>
                      <a:pt x="40" y="0"/>
                      <a:pt x="40" y="0"/>
                    </a:cubicBezTo>
                    <a:cubicBezTo>
                      <a:pt x="9" y="17"/>
                      <a:pt x="9" y="17"/>
                      <a:pt x="9" y="17"/>
                    </a:cubicBezTo>
                    <a:cubicBezTo>
                      <a:pt x="4" y="19"/>
                      <a:pt x="1" y="25"/>
                      <a:pt x="1" y="30"/>
                    </a:cubicBezTo>
                    <a:cubicBezTo>
                      <a:pt x="0" y="78"/>
                      <a:pt x="0" y="78"/>
                      <a:pt x="0" y="78"/>
                    </a:cubicBezTo>
                    <a:cubicBezTo>
                      <a:pt x="42" y="102"/>
                      <a:pt x="42" y="102"/>
                      <a:pt x="42" y="102"/>
                    </a:cubicBezTo>
                    <a:cubicBezTo>
                      <a:pt x="65" y="88"/>
                      <a:pt x="65" y="88"/>
                      <a:pt x="65" y="88"/>
                    </a:cubicBezTo>
                    <a:cubicBezTo>
                      <a:pt x="74" y="83"/>
                      <a:pt x="79" y="74"/>
                      <a:pt x="79" y="64"/>
                    </a:cubicBezTo>
                    <a:lnTo>
                      <a:pt x="79" y="22"/>
                    </a:lnTo>
                    <a:close/>
                  </a:path>
                </a:pathLst>
              </a:custGeom>
              <a:solidFill>
                <a:srgbClr val="21232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36" name="ïš1íḓê"/>
              <p:cNvSpPr/>
              <p:nvPr/>
            </p:nvSpPr>
            <p:spPr bwMode="auto">
              <a:xfrm>
                <a:off x="3679" y="1535"/>
                <a:ext cx="50" cy="110"/>
              </a:xfrm>
              <a:custGeom>
                <a:avLst/>
                <a:gdLst>
                  <a:gd name="T0" fmla="*/ 29 w 29"/>
                  <a:gd name="T1" fmla="*/ 0 h 65"/>
                  <a:gd name="T2" fmla="*/ 8 w 29"/>
                  <a:gd name="T3" fmla="*/ 12 h 65"/>
                  <a:gd name="T4" fmla="*/ 0 w 29"/>
                  <a:gd name="T5" fmla="*/ 26 h 65"/>
                  <a:gd name="T6" fmla="*/ 0 w 29"/>
                  <a:gd name="T7" fmla="*/ 65 h 65"/>
                  <a:gd name="T8" fmla="*/ 15 w 29"/>
                  <a:gd name="T9" fmla="*/ 56 h 65"/>
                  <a:gd name="T10" fmla="*/ 29 w 29"/>
                  <a:gd name="T11" fmla="*/ 32 h 65"/>
                  <a:gd name="T12" fmla="*/ 29 w 29"/>
                  <a:gd name="T13" fmla="*/ 0 h 65"/>
                </a:gdLst>
                <a:ahLst/>
                <a:cxnLst>
                  <a:cxn ang="0">
                    <a:pos x="T0" y="T1"/>
                  </a:cxn>
                  <a:cxn ang="0">
                    <a:pos x="T2" y="T3"/>
                  </a:cxn>
                  <a:cxn ang="0">
                    <a:pos x="T4" y="T5"/>
                  </a:cxn>
                  <a:cxn ang="0">
                    <a:pos x="T6" y="T7"/>
                  </a:cxn>
                  <a:cxn ang="0">
                    <a:pos x="T8" y="T9"/>
                  </a:cxn>
                  <a:cxn ang="0">
                    <a:pos x="T10" y="T11"/>
                  </a:cxn>
                  <a:cxn ang="0">
                    <a:pos x="T12" y="T13"/>
                  </a:cxn>
                </a:cxnLst>
                <a:rect l="0" t="0" r="r" b="b"/>
                <a:pathLst>
                  <a:path w="29" h="65">
                    <a:moveTo>
                      <a:pt x="29" y="0"/>
                    </a:moveTo>
                    <a:cubicBezTo>
                      <a:pt x="8" y="12"/>
                      <a:pt x="8" y="12"/>
                      <a:pt x="8" y="12"/>
                    </a:cubicBezTo>
                    <a:cubicBezTo>
                      <a:pt x="3" y="15"/>
                      <a:pt x="0" y="20"/>
                      <a:pt x="0" y="26"/>
                    </a:cubicBezTo>
                    <a:cubicBezTo>
                      <a:pt x="0" y="65"/>
                      <a:pt x="0" y="65"/>
                      <a:pt x="0" y="65"/>
                    </a:cubicBezTo>
                    <a:cubicBezTo>
                      <a:pt x="15" y="56"/>
                      <a:pt x="15" y="56"/>
                      <a:pt x="15" y="56"/>
                    </a:cubicBezTo>
                    <a:cubicBezTo>
                      <a:pt x="24" y="51"/>
                      <a:pt x="29" y="42"/>
                      <a:pt x="29" y="32"/>
                    </a:cubicBezTo>
                    <a:lnTo>
                      <a:pt x="29" y="0"/>
                    </a:lnTo>
                    <a:close/>
                  </a:path>
                </a:pathLst>
              </a:custGeom>
              <a:solidFill>
                <a:srgbClr val="F0D0B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37" name="išḻïḓê"/>
              <p:cNvSpPr/>
              <p:nvPr/>
            </p:nvSpPr>
            <p:spPr bwMode="auto">
              <a:xfrm>
                <a:off x="3662" y="1472"/>
                <a:ext cx="80" cy="63"/>
              </a:xfrm>
              <a:custGeom>
                <a:avLst/>
                <a:gdLst>
                  <a:gd name="T0" fmla="*/ 7 w 47"/>
                  <a:gd name="T1" fmla="*/ 0 h 37"/>
                  <a:gd name="T2" fmla="*/ 47 w 47"/>
                  <a:gd name="T3" fmla="*/ 23 h 37"/>
                  <a:gd name="T4" fmla="*/ 47 w 47"/>
                  <a:gd name="T5" fmla="*/ 24 h 37"/>
                  <a:gd name="T6" fmla="*/ 39 w 47"/>
                  <a:gd name="T7" fmla="*/ 37 h 37"/>
                  <a:gd name="T8" fmla="*/ 39 w 47"/>
                  <a:gd name="T9" fmla="*/ 27 h 37"/>
                  <a:gd name="T10" fmla="*/ 0 w 47"/>
                  <a:gd name="T11" fmla="*/ 5 h 37"/>
                  <a:gd name="T12" fmla="*/ 7 w 47"/>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47" h="37">
                    <a:moveTo>
                      <a:pt x="7" y="0"/>
                    </a:moveTo>
                    <a:cubicBezTo>
                      <a:pt x="47" y="23"/>
                      <a:pt x="47" y="23"/>
                      <a:pt x="47" y="23"/>
                    </a:cubicBezTo>
                    <a:cubicBezTo>
                      <a:pt x="47" y="24"/>
                      <a:pt x="47" y="24"/>
                      <a:pt x="47" y="24"/>
                    </a:cubicBezTo>
                    <a:cubicBezTo>
                      <a:pt x="47" y="29"/>
                      <a:pt x="44" y="34"/>
                      <a:pt x="39" y="37"/>
                    </a:cubicBezTo>
                    <a:cubicBezTo>
                      <a:pt x="39" y="27"/>
                      <a:pt x="39" y="27"/>
                      <a:pt x="39" y="27"/>
                    </a:cubicBezTo>
                    <a:cubicBezTo>
                      <a:pt x="0" y="5"/>
                      <a:pt x="0" y="5"/>
                      <a:pt x="0" y="5"/>
                    </a:cubicBezTo>
                    <a:lnTo>
                      <a:pt x="7" y="0"/>
                    </a:lnTo>
                    <a:close/>
                  </a:path>
                </a:pathLst>
              </a:custGeom>
              <a:solidFill>
                <a:srgbClr val="21232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38" name="iŝḻidé"/>
              <p:cNvSpPr/>
              <p:nvPr/>
            </p:nvSpPr>
            <p:spPr bwMode="auto">
              <a:xfrm>
                <a:off x="3547" y="1591"/>
                <a:ext cx="22" cy="278"/>
              </a:xfrm>
              <a:custGeom>
                <a:avLst/>
                <a:gdLst>
                  <a:gd name="T0" fmla="*/ 0 w 13"/>
                  <a:gd name="T1" fmla="*/ 156 h 164"/>
                  <a:gd name="T2" fmla="*/ 13 w 13"/>
                  <a:gd name="T3" fmla="*/ 164 h 164"/>
                  <a:gd name="T4" fmla="*/ 13 w 13"/>
                  <a:gd name="T5" fmla="*/ 4 h 164"/>
                  <a:gd name="T6" fmla="*/ 12 w 13"/>
                  <a:gd name="T7" fmla="*/ 3 h 164"/>
                  <a:gd name="T8" fmla="*/ 0 w 13"/>
                  <a:gd name="T9" fmla="*/ 10 h 164"/>
                  <a:gd name="T10" fmla="*/ 0 w 13"/>
                  <a:gd name="T11" fmla="*/ 156 h 164"/>
                </a:gdLst>
                <a:ahLst/>
                <a:cxnLst>
                  <a:cxn ang="0">
                    <a:pos x="T0" y="T1"/>
                  </a:cxn>
                  <a:cxn ang="0">
                    <a:pos x="T2" y="T3"/>
                  </a:cxn>
                  <a:cxn ang="0">
                    <a:pos x="T4" y="T5"/>
                  </a:cxn>
                  <a:cxn ang="0">
                    <a:pos x="T6" y="T7"/>
                  </a:cxn>
                  <a:cxn ang="0">
                    <a:pos x="T8" y="T9"/>
                  </a:cxn>
                  <a:cxn ang="0">
                    <a:pos x="T10" y="T11"/>
                  </a:cxn>
                </a:cxnLst>
                <a:rect l="0" t="0" r="r" b="b"/>
                <a:pathLst>
                  <a:path w="13" h="164">
                    <a:moveTo>
                      <a:pt x="0" y="156"/>
                    </a:moveTo>
                    <a:cubicBezTo>
                      <a:pt x="13" y="164"/>
                      <a:pt x="13" y="164"/>
                      <a:pt x="13" y="164"/>
                    </a:cubicBezTo>
                    <a:cubicBezTo>
                      <a:pt x="13" y="4"/>
                      <a:pt x="13" y="4"/>
                      <a:pt x="13" y="4"/>
                    </a:cubicBezTo>
                    <a:cubicBezTo>
                      <a:pt x="12" y="3"/>
                      <a:pt x="12" y="3"/>
                      <a:pt x="12" y="3"/>
                    </a:cubicBezTo>
                    <a:cubicBezTo>
                      <a:pt x="7" y="0"/>
                      <a:pt x="0" y="4"/>
                      <a:pt x="0" y="10"/>
                    </a:cubicBezTo>
                    <a:lnTo>
                      <a:pt x="0" y="156"/>
                    </a:lnTo>
                    <a:close/>
                  </a:path>
                </a:pathLst>
              </a:custGeom>
              <a:solidFill>
                <a:srgbClr val="00C1D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39" name="ï$1ïḋe"/>
              <p:cNvSpPr/>
              <p:nvPr/>
            </p:nvSpPr>
            <p:spPr bwMode="auto">
              <a:xfrm>
                <a:off x="1692" y="1593"/>
                <a:ext cx="380" cy="218"/>
              </a:xfrm>
              <a:custGeom>
                <a:avLst/>
                <a:gdLst>
                  <a:gd name="T0" fmla="*/ 0 w 380"/>
                  <a:gd name="T1" fmla="*/ 195 h 218"/>
                  <a:gd name="T2" fmla="*/ 339 w 380"/>
                  <a:gd name="T3" fmla="*/ 0 h 218"/>
                  <a:gd name="T4" fmla="*/ 380 w 380"/>
                  <a:gd name="T5" fmla="*/ 23 h 218"/>
                  <a:gd name="T6" fmla="*/ 44 w 380"/>
                  <a:gd name="T7" fmla="*/ 218 h 218"/>
                  <a:gd name="T8" fmla="*/ 0 w 380"/>
                  <a:gd name="T9" fmla="*/ 195 h 218"/>
                </a:gdLst>
                <a:ahLst/>
                <a:cxnLst>
                  <a:cxn ang="0">
                    <a:pos x="T0" y="T1"/>
                  </a:cxn>
                  <a:cxn ang="0">
                    <a:pos x="T2" y="T3"/>
                  </a:cxn>
                  <a:cxn ang="0">
                    <a:pos x="T4" y="T5"/>
                  </a:cxn>
                  <a:cxn ang="0">
                    <a:pos x="T6" y="T7"/>
                  </a:cxn>
                  <a:cxn ang="0">
                    <a:pos x="T8" y="T9"/>
                  </a:cxn>
                </a:cxnLst>
                <a:rect l="0" t="0" r="r" b="b"/>
                <a:pathLst>
                  <a:path w="380" h="218">
                    <a:moveTo>
                      <a:pt x="0" y="195"/>
                    </a:moveTo>
                    <a:lnTo>
                      <a:pt x="339" y="0"/>
                    </a:lnTo>
                    <a:lnTo>
                      <a:pt x="380" y="23"/>
                    </a:lnTo>
                    <a:lnTo>
                      <a:pt x="44" y="218"/>
                    </a:lnTo>
                    <a:lnTo>
                      <a:pt x="0" y="195"/>
                    </a:lnTo>
                    <a:close/>
                  </a:path>
                </a:pathLst>
              </a:custGeom>
              <a:solidFill>
                <a:srgbClr val="5CD2D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40" name="išḷîďe"/>
              <p:cNvSpPr/>
              <p:nvPr/>
            </p:nvSpPr>
            <p:spPr bwMode="auto">
              <a:xfrm>
                <a:off x="1692" y="1593"/>
                <a:ext cx="380" cy="218"/>
              </a:xfrm>
              <a:custGeom>
                <a:avLst/>
                <a:gdLst>
                  <a:gd name="T0" fmla="*/ 0 w 380"/>
                  <a:gd name="T1" fmla="*/ 195 h 218"/>
                  <a:gd name="T2" fmla="*/ 339 w 380"/>
                  <a:gd name="T3" fmla="*/ 0 h 218"/>
                  <a:gd name="T4" fmla="*/ 380 w 380"/>
                  <a:gd name="T5" fmla="*/ 23 h 218"/>
                  <a:gd name="T6" fmla="*/ 44 w 380"/>
                  <a:gd name="T7" fmla="*/ 218 h 218"/>
                  <a:gd name="T8" fmla="*/ 0 w 380"/>
                  <a:gd name="T9" fmla="*/ 195 h 218"/>
                </a:gdLst>
                <a:ahLst/>
                <a:cxnLst>
                  <a:cxn ang="0">
                    <a:pos x="T0" y="T1"/>
                  </a:cxn>
                  <a:cxn ang="0">
                    <a:pos x="T2" y="T3"/>
                  </a:cxn>
                  <a:cxn ang="0">
                    <a:pos x="T4" y="T5"/>
                  </a:cxn>
                  <a:cxn ang="0">
                    <a:pos x="T6" y="T7"/>
                  </a:cxn>
                  <a:cxn ang="0">
                    <a:pos x="T8" y="T9"/>
                  </a:cxn>
                </a:cxnLst>
                <a:rect l="0" t="0" r="r" b="b"/>
                <a:pathLst>
                  <a:path w="380" h="218">
                    <a:moveTo>
                      <a:pt x="0" y="195"/>
                    </a:moveTo>
                    <a:lnTo>
                      <a:pt x="339" y="0"/>
                    </a:lnTo>
                    <a:lnTo>
                      <a:pt x="380" y="23"/>
                    </a:lnTo>
                    <a:lnTo>
                      <a:pt x="44" y="218"/>
                    </a:lnTo>
                    <a:lnTo>
                      <a:pt x="0" y="19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41" name="ïṡḷíḑè"/>
              <p:cNvSpPr/>
              <p:nvPr/>
            </p:nvSpPr>
            <p:spPr bwMode="auto">
              <a:xfrm>
                <a:off x="1692" y="1593"/>
                <a:ext cx="380" cy="218"/>
              </a:xfrm>
              <a:custGeom>
                <a:avLst/>
                <a:gdLst>
                  <a:gd name="T0" fmla="*/ 339 w 380"/>
                  <a:gd name="T1" fmla="*/ 0 h 218"/>
                  <a:gd name="T2" fmla="*/ 0 w 380"/>
                  <a:gd name="T3" fmla="*/ 195 h 218"/>
                  <a:gd name="T4" fmla="*/ 44 w 380"/>
                  <a:gd name="T5" fmla="*/ 218 h 218"/>
                  <a:gd name="T6" fmla="*/ 380 w 380"/>
                  <a:gd name="T7" fmla="*/ 23 h 218"/>
                  <a:gd name="T8" fmla="*/ 339 w 380"/>
                  <a:gd name="T9" fmla="*/ 0 h 218"/>
                </a:gdLst>
                <a:ahLst/>
                <a:cxnLst>
                  <a:cxn ang="0">
                    <a:pos x="T0" y="T1"/>
                  </a:cxn>
                  <a:cxn ang="0">
                    <a:pos x="T2" y="T3"/>
                  </a:cxn>
                  <a:cxn ang="0">
                    <a:pos x="T4" y="T5"/>
                  </a:cxn>
                  <a:cxn ang="0">
                    <a:pos x="T6" y="T7"/>
                  </a:cxn>
                  <a:cxn ang="0">
                    <a:pos x="T8" y="T9"/>
                  </a:cxn>
                </a:cxnLst>
                <a:rect l="0" t="0" r="r" b="b"/>
                <a:pathLst>
                  <a:path w="380" h="218">
                    <a:moveTo>
                      <a:pt x="339" y="0"/>
                    </a:moveTo>
                    <a:lnTo>
                      <a:pt x="0" y="195"/>
                    </a:lnTo>
                    <a:lnTo>
                      <a:pt x="44" y="218"/>
                    </a:lnTo>
                    <a:lnTo>
                      <a:pt x="380" y="23"/>
                    </a:lnTo>
                    <a:lnTo>
                      <a:pt x="339" y="0"/>
                    </a:lnTo>
                    <a:close/>
                  </a:path>
                </a:pathLst>
              </a:custGeom>
              <a:solidFill>
                <a:srgbClr val="9FE5E5"/>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42" name="íṡḻidè"/>
              <p:cNvSpPr/>
              <p:nvPr/>
            </p:nvSpPr>
            <p:spPr bwMode="auto">
              <a:xfrm>
                <a:off x="1692" y="1593"/>
                <a:ext cx="380" cy="218"/>
              </a:xfrm>
              <a:custGeom>
                <a:avLst/>
                <a:gdLst>
                  <a:gd name="T0" fmla="*/ 339 w 380"/>
                  <a:gd name="T1" fmla="*/ 0 h 218"/>
                  <a:gd name="T2" fmla="*/ 0 w 380"/>
                  <a:gd name="T3" fmla="*/ 195 h 218"/>
                  <a:gd name="T4" fmla="*/ 44 w 380"/>
                  <a:gd name="T5" fmla="*/ 218 h 218"/>
                  <a:gd name="T6" fmla="*/ 380 w 380"/>
                  <a:gd name="T7" fmla="*/ 23 h 218"/>
                  <a:gd name="T8" fmla="*/ 339 w 380"/>
                  <a:gd name="T9" fmla="*/ 0 h 218"/>
                </a:gdLst>
                <a:ahLst/>
                <a:cxnLst>
                  <a:cxn ang="0">
                    <a:pos x="T0" y="T1"/>
                  </a:cxn>
                  <a:cxn ang="0">
                    <a:pos x="T2" y="T3"/>
                  </a:cxn>
                  <a:cxn ang="0">
                    <a:pos x="T4" y="T5"/>
                  </a:cxn>
                  <a:cxn ang="0">
                    <a:pos x="T6" y="T7"/>
                  </a:cxn>
                  <a:cxn ang="0">
                    <a:pos x="T8" y="T9"/>
                  </a:cxn>
                </a:cxnLst>
                <a:rect l="0" t="0" r="r" b="b"/>
                <a:pathLst>
                  <a:path w="380" h="218">
                    <a:moveTo>
                      <a:pt x="339" y="0"/>
                    </a:moveTo>
                    <a:lnTo>
                      <a:pt x="0" y="195"/>
                    </a:lnTo>
                    <a:lnTo>
                      <a:pt x="44" y="218"/>
                    </a:lnTo>
                    <a:lnTo>
                      <a:pt x="380" y="23"/>
                    </a:lnTo>
                    <a:lnTo>
                      <a:pt x="33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43" name="iśḻîďê"/>
              <p:cNvSpPr/>
              <p:nvPr/>
            </p:nvSpPr>
            <p:spPr bwMode="auto">
              <a:xfrm>
                <a:off x="2748" y="2079"/>
                <a:ext cx="254" cy="148"/>
              </a:xfrm>
              <a:custGeom>
                <a:avLst/>
                <a:gdLst>
                  <a:gd name="T0" fmla="*/ 0 w 254"/>
                  <a:gd name="T1" fmla="*/ 75 h 148"/>
                  <a:gd name="T2" fmla="*/ 128 w 254"/>
                  <a:gd name="T3" fmla="*/ 0 h 148"/>
                  <a:gd name="T4" fmla="*/ 254 w 254"/>
                  <a:gd name="T5" fmla="*/ 75 h 148"/>
                  <a:gd name="T6" fmla="*/ 128 w 254"/>
                  <a:gd name="T7" fmla="*/ 148 h 148"/>
                  <a:gd name="T8" fmla="*/ 0 w 254"/>
                  <a:gd name="T9" fmla="*/ 75 h 148"/>
                </a:gdLst>
                <a:ahLst/>
                <a:cxnLst>
                  <a:cxn ang="0">
                    <a:pos x="T0" y="T1"/>
                  </a:cxn>
                  <a:cxn ang="0">
                    <a:pos x="T2" y="T3"/>
                  </a:cxn>
                  <a:cxn ang="0">
                    <a:pos x="T4" y="T5"/>
                  </a:cxn>
                  <a:cxn ang="0">
                    <a:pos x="T6" y="T7"/>
                  </a:cxn>
                  <a:cxn ang="0">
                    <a:pos x="T8" y="T9"/>
                  </a:cxn>
                </a:cxnLst>
                <a:rect l="0" t="0" r="r" b="b"/>
                <a:pathLst>
                  <a:path w="254" h="148">
                    <a:moveTo>
                      <a:pt x="0" y="75"/>
                    </a:moveTo>
                    <a:lnTo>
                      <a:pt x="128" y="0"/>
                    </a:lnTo>
                    <a:lnTo>
                      <a:pt x="254" y="75"/>
                    </a:lnTo>
                    <a:lnTo>
                      <a:pt x="128" y="148"/>
                    </a:lnTo>
                    <a:lnTo>
                      <a:pt x="0" y="75"/>
                    </a:lnTo>
                    <a:close/>
                  </a:path>
                </a:pathLst>
              </a:custGeom>
              <a:solidFill>
                <a:srgbClr val="CF3A5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44" name="ïŝ1îḓe"/>
              <p:cNvSpPr/>
              <p:nvPr/>
            </p:nvSpPr>
            <p:spPr bwMode="auto">
              <a:xfrm>
                <a:off x="2748" y="2079"/>
                <a:ext cx="254" cy="148"/>
              </a:xfrm>
              <a:custGeom>
                <a:avLst/>
                <a:gdLst>
                  <a:gd name="T0" fmla="*/ 0 w 254"/>
                  <a:gd name="T1" fmla="*/ 75 h 148"/>
                  <a:gd name="T2" fmla="*/ 128 w 254"/>
                  <a:gd name="T3" fmla="*/ 0 h 148"/>
                  <a:gd name="T4" fmla="*/ 254 w 254"/>
                  <a:gd name="T5" fmla="*/ 75 h 148"/>
                  <a:gd name="T6" fmla="*/ 128 w 254"/>
                  <a:gd name="T7" fmla="*/ 148 h 148"/>
                  <a:gd name="T8" fmla="*/ 0 w 254"/>
                  <a:gd name="T9" fmla="*/ 75 h 148"/>
                </a:gdLst>
                <a:ahLst/>
                <a:cxnLst>
                  <a:cxn ang="0">
                    <a:pos x="T0" y="T1"/>
                  </a:cxn>
                  <a:cxn ang="0">
                    <a:pos x="T2" y="T3"/>
                  </a:cxn>
                  <a:cxn ang="0">
                    <a:pos x="T4" y="T5"/>
                  </a:cxn>
                  <a:cxn ang="0">
                    <a:pos x="T6" y="T7"/>
                  </a:cxn>
                  <a:cxn ang="0">
                    <a:pos x="T8" y="T9"/>
                  </a:cxn>
                </a:cxnLst>
                <a:rect l="0" t="0" r="r" b="b"/>
                <a:pathLst>
                  <a:path w="254" h="148">
                    <a:moveTo>
                      <a:pt x="0" y="75"/>
                    </a:moveTo>
                    <a:lnTo>
                      <a:pt x="128" y="0"/>
                    </a:lnTo>
                    <a:lnTo>
                      <a:pt x="254" y="75"/>
                    </a:lnTo>
                    <a:lnTo>
                      <a:pt x="128" y="148"/>
                    </a:lnTo>
                    <a:lnTo>
                      <a:pt x="0" y="75"/>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45" name="ïsļïḋê"/>
              <p:cNvSpPr/>
              <p:nvPr/>
            </p:nvSpPr>
            <p:spPr bwMode="auto">
              <a:xfrm>
                <a:off x="2876" y="2154"/>
                <a:ext cx="126" cy="219"/>
              </a:xfrm>
              <a:custGeom>
                <a:avLst/>
                <a:gdLst>
                  <a:gd name="T0" fmla="*/ 0 w 126"/>
                  <a:gd name="T1" fmla="*/ 73 h 219"/>
                  <a:gd name="T2" fmla="*/ 126 w 126"/>
                  <a:gd name="T3" fmla="*/ 0 h 219"/>
                  <a:gd name="T4" fmla="*/ 126 w 126"/>
                  <a:gd name="T5" fmla="*/ 146 h 219"/>
                  <a:gd name="T6" fmla="*/ 0 w 126"/>
                  <a:gd name="T7" fmla="*/ 219 h 219"/>
                  <a:gd name="T8" fmla="*/ 0 w 126"/>
                  <a:gd name="T9" fmla="*/ 73 h 219"/>
                </a:gdLst>
                <a:ahLst/>
                <a:cxnLst>
                  <a:cxn ang="0">
                    <a:pos x="T0" y="T1"/>
                  </a:cxn>
                  <a:cxn ang="0">
                    <a:pos x="T2" y="T3"/>
                  </a:cxn>
                  <a:cxn ang="0">
                    <a:pos x="T4" y="T5"/>
                  </a:cxn>
                  <a:cxn ang="0">
                    <a:pos x="T6" y="T7"/>
                  </a:cxn>
                  <a:cxn ang="0">
                    <a:pos x="T8" y="T9"/>
                  </a:cxn>
                </a:cxnLst>
                <a:rect l="0" t="0" r="r" b="b"/>
                <a:pathLst>
                  <a:path w="126" h="219">
                    <a:moveTo>
                      <a:pt x="0" y="73"/>
                    </a:moveTo>
                    <a:lnTo>
                      <a:pt x="126" y="0"/>
                    </a:lnTo>
                    <a:lnTo>
                      <a:pt x="126" y="146"/>
                    </a:lnTo>
                    <a:lnTo>
                      <a:pt x="0" y="219"/>
                    </a:lnTo>
                    <a:lnTo>
                      <a:pt x="0" y="73"/>
                    </a:lnTo>
                    <a:close/>
                  </a:path>
                </a:pathLst>
              </a:custGeom>
              <a:solidFill>
                <a:srgbClr val="D3D1D3"/>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46" name="iṩḻïdè"/>
              <p:cNvSpPr/>
              <p:nvPr/>
            </p:nvSpPr>
            <p:spPr bwMode="auto">
              <a:xfrm>
                <a:off x="2748" y="2154"/>
                <a:ext cx="128" cy="219"/>
              </a:xfrm>
              <a:custGeom>
                <a:avLst/>
                <a:gdLst>
                  <a:gd name="T0" fmla="*/ 0 w 128"/>
                  <a:gd name="T1" fmla="*/ 146 h 219"/>
                  <a:gd name="T2" fmla="*/ 0 w 128"/>
                  <a:gd name="T3" fmla="*/ 0 h 219"/>
                  <a:gd name="T4" fmla="*/ 128 w 128"/>
                  <a:gd name="T5" fmla="*/ 73 h 219"/>
                  <a:gd name="T6" fmla="*/ 128 w 128"/>
                  <a:gd name="T7" fmla="*/ 219 h 219"/>
                  <a:gd name="T8" fmla="*/ 0 w 128"/>
                  <a:gd name="T9" fmla="*/ 146 h 219"/>
                </a:gdLst>
                <a:ahLst/>
                <a:cxnLst>
                  <a:cxn ang="0">
                    <a:pos x="T0" y="T1"/>
                  </a:cxn>
                  <a:cxn ang="0">
                    <a:pos x="T2" y="T3"/>
                  </a:cxn>
                  <a:cxn ang="0">
                    <a:pos x="T4" y="T5"/>
                  </a:cxn>
                  <a:cxn ang="0">
                    <a:pos x="T6" y="T7"/>
                  </a:cxn>
                  <a:cxn ang="0">
                    <a:pos x="T8" y="T9"/>
                  </a:cxn>
                </a:cxnLst>
                <a:rect l="0" t="0" r="r" b="b"/>
                <a:pathLst>
                  <a:path w="128" h="219">
                    <a:moveTo>
                      <a:pt x="0" y="146"/>
                    </a:moveTo>
                    <a:lnTo>
                      <a:pt x="0" y="0"/>
                    </a:lnTo>
                    <a:lnTo>
                      <a:pt x="128" y="73"/>
                    </a:lnTo>
                    <a:lnTo>
                      <a:pt x="128" y="219"/>
                    </a:lnTo>
                    <a:lnTo>
                      <a:pt x="0" y="146"/>
                    </a:lnTo>
                    <a:close/>
                  </a:path>
                </a:pathLst>
              </a:custGeom>
              <a:solidFill>
                <a:srgbClr val="E6E7E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47" name="iṧlîďé"/>
              <p:cNvSpPr/>
              <p:nvPr/>
            </p:nvSpPr>
            <p:spPr bwMode="auto">
              <a:xfrm>
                <a:off x="4609" y="3565"/>
                <a:ext cx="127" cy="221"/>
              </a:xfrm>
              <a:custGeom>
                <a:avLst/>
                <a:gdLst>
                  <a:gd name="T0" fmla="*/ 0 w 127"/>
                  <a:gd name="T1" fmla="*/ 148 h 221"/>
                  <a:gd name="T2" fmla="*/ 0 w 127"/>
                  <a:gd name="T3" fmla="*/ 0 h 221"/>
                  <a:gd name="T4" fmla="*/ 127 w 127"/>
                  <a:gd name="T5" fmla="*/ 75 h 221"/>
                  <a:gd name="T6" fmla="*/ 127 w 127"/>
                  <a:gd name="T7" fmla="*/ 221 h 221"/>
                  <a:gd name="T8" fmla="*/ 0 w 127"/>
                  <a:gd name="T9" fmla="*/ 148 h 221"/>
                </a:gdLst>
                <a:ahLst/>
                <a:cxnLst>
                  <a:cxn ang="0">
                    <a:pos x="T0" y="T1"/>
                  </a:cxn>
                  <a:cxn ang="0">
                    <a:pos x="T2" y="T3"/>
                  </a:cxn>
                  <a:cxn ang="0">
                    <a:pos x="T4" y="T5"/>
                  </a:cxn>
                  <a:cxn ang="0">
                    <a:pos x="T6" y="T7"/>
                  </a:cxn>
                  <a:cxn ang="0">
                    <a:pos x="T8" y="T9"/>
                  </a:cxn>
                </a:cxnLst>
                <a:rect l="0" t="0" r="r" b="b"/>
                <a:pathLst>
                  <a:path w="127" h="221">
                    <a:moveTo>
                      <a:pt x="0" y="148"/>
                    </a:moveTo>
                    <a:lnTo>
                      <a:pt x="0" y="0"/>
                    </a:lnTo>
                    <a:lnTo>
                      <a:pt x="127" y="75"/>
                    </a:lnTo>
                    <a:lnTo>
                      <a:pt x="127" y="221"/>
                    </a:lnTo>
                    <a:lnTo>
                      <a:pt x="0" y="148"/>
                    </a:lnTo>
                    <a:close/>
                  </a:path>
                </a:pathLst>
              </a:custGeom>
              <a:solidFill>
                <a:srgbClr val="76BC21"/>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48" name="îṧ1ïḑê"/>
              <p:cNvSpPr/>
              <p:nvPr/>
            </p:nvSpPr>
            <p:spPr bwMode="auto">
              <a:xfrm>
                <a:off x="4609" y="3565"/>
                <a:ext cx="127" cy="221"/>
              </a:xfrm>
              <a:custGeom>
                <a:avLst/>
                <a:gdLst>
                  <a:gd name="T0" fmla="*/ 0 w 127"/>
                  <a:gd name="T1" fmla="*/ 148 h 221"/>
                  <a:gd name="T2" fmla="*/ 0 w 127"/>
                  <a:gd name="T3" fmla="*/ 0 h 221"/>
                  <a:gd name="T4" fmla="*/ 127 w 127"/>
                  <a:gd name="T5" fmla="*/ 75 h 221"/>
                  <a:gd name="T6" fmla="*/ 127 w 127"/>
                  <a:gd name="T7" fmla="*/ 221 h 221"/>
                  <a:gd name="T8" fmla="*/ 0 w 127"/>
                  <a:gd name="T9" fmla="*/ 148 h 221"/>
                </a:gdLst>
                <a:ahLst/>
                <a:cxnLst>
                  <a:cxn ang="0">
                    <a:pos x="T0" y="T1"/>
                  </a:cxn>
                  <a:cxn ang="0">
                    <a:pos x="T2" y="T3"/>
                  </a:cxn>
                  <a:cxn ang="0">
                    <a:pos x="T4" y="T5"/>
                  </a:cxn>
                  <a:cxn ang="0">
                    <a:pos x="T6" y="T7"/>
                  </a:cxn>
                  <a:cxn ang="0">
                    <a:pos x="T8" y="T9"/>
                  </a:cxn>
                </a:cxnLst>
                <a:rect l="0" t="0" r="r" b="b"/>
                <a:pathLst>
                  <a:path w="127" h="221">
                    <a:moveTo>
                      <a:pt x="0" y="148"/>
                    </a:moveTo>
                    <a:lnTo>
                      <a:pt x="0" y="0"/>
                    </a:lnTo>
                    <a:lnTo>
                      <a:pt x="127" y="75"/>
                    </a:lnTo>
                    <a:lnTo>
                      <a:pt x="127" y="221"/>
                    </a:lnTo>
                    <a:lnTo>
                      <a:pt x="0" y="14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49" name="iṩḻïḓè"/>
              <p:cNvSpPr/>
              <p:nvPr/>
            </p:nvSpPr>
            <p:spPr bwMode="auto">
              <a:xfrm>
                <a:off x="4609" y="3565"/>
                <a:ext cx="127" cy="221"/>
              </a:xfrm>
              <a:custGeom>
                <a:avLst/>
                <a:gdLst>
                  <a:gd name="T0" fmla="*/ 0 w 127"/>
                  <a:gd name="T1" fmla="*/ 0 h 221"/>
                  <a:gd name="T2" fmla="*/ 0 w 127"/>
                  <a:gd name="T3" fmla="*/ 148 h 221"/>
                  <a:gd name="T4" fmla="*/ 127 w 127"/>
                  <a:gd name="T5" fmla="*/ 221 h 221"/>
                  <a:gd name="T6" fmla="*/ 127 w 127"/>
                  <a:gd name="T7" fmla="*/ 75 h 221"/>
                  <a:gd name="T8" fmla="*/ 0 w 127"/>
                  <a:gd name="T9" fmla="*/ 0 h 221"/>
                </a:gdLst>
                <a:ahLst/>
                <a:cxnLst>
                  <a:cxn ang="0">
                    <a:pos x="T0" y="T1"/>
                  </a:cxn>
                  <a:cxn ang="0">
                    <a:pos x="T2" y="T3"/>
                  </a:cxn>
                  <a:cxn ang="0">
                    <a:pos x="T4" y="T5"/>
                  </a:cxn>
                  <a:cxn ang="0">
                    <a:pos x="T6" y="T7"/>
                  </a:cxn>
                  <a:cxn ang="0">
                    <a:pos x="T8" y="T9"/>
                  </a:cxn>
                </a:cxnLst>
                <a:rect l="0" t="0" r="r" b="b"/>
                <a:pathLst>
                  <a:path w="127" h="221">
                    <a:moveTo>
                      <a:pt x="0" y="0"/>
                    </a:moveTo>
                    <a:lnTo>
                      <a:pt x="0" y="148"/>
                    </a:lnTo>
                    <a:lnTo>
                      <a:pt x="127" y="221"/>
                    </a:lnTo>
                    <a:lnTo>
                      <a:pt x="127" y="75"/>
                    </a:lnTo>
                    <a:lnTo>
                      <a:pt x="0" y="0"/>
                    </a:lnTo>
                    <a:close/>
                  </a:path>
                </a:pathLst>
              </a:custGeom>
              <a:solidFill>
                <a:srgbClr val="8ABF6B"/>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50" name="i$ļïḑè"/>
              <p:cNvSpPr/>
              <p:nvPr/>
            </p:nvSpPr>
            <p:spPr bwMode="auto">
              <a:xfrm>
                <a:off x="4609" y="3565"/>
                <a:ext cx="127" cy="221"/>
              </a:xfrm>
              <a:custGeom>
                <a:avLst/>
                <a:gdLst>
                  <a:gd name="T0" fmla="*/ 0 w 127"/>
                  <a:gd name="T1" fmla="*/ 0 h 221"/>
                  <a:gd name="T2" fmla="*/ 0 w 127"/>
                  <a:gd name="T3" fmla="*/ 148 h 221"/>
                  <a:gd name="T4" fmla="*/ 127 w 127"/>
                  <a:gd name="T5" fmla="*/ 221 h 221"/>
                  <a:gd name="T6" fmla="*/ 127 w 127"/>
                  <a:gd name="T7" fmla="*/ 75 h 221"/>
                  <a:gd name="T8" fmla="*/ 0 w 127"/>
                  <a:gd name="T9" fmla="*/ 0 h 221"/>
                </a:gdLst>
                <a:ahLst/>
                <a:cxnLst>
                  <a:cxn ang="0">
                    <a:pos x="T0" y="T1"/>
                  </a:cxn>
                  <a:cxn ang="0">
                    <a:pos x="T2" y="T3"/>
                  </a:cxn>
                  <a:cxn ang="0">
                    <a:pos x="T4" y="T5"/>
                  </a:cxn>
                  <a:cxn ang="0">
                    <a:pos x="T6" y="T7"/>
                  </a:cxn>
                  <a:cxn ang="0">
                    <a:pos x="T8" y="T9"/>
                  </a:cxn>
                </a:cxnLst>
                <a:rect l="0" t="0" r="r" b="b"/>
                <a:pathLst>
                  <a:path w="127" h="221">
                    <a:moveTo>
                      <a:pt x="0" y="0"/>
                    </a:moveTo>
                    <a:lnTo>
                      <a:pt x="0" y="148"/>
                    </a:lnTo>
                    <a:lnTo>
                      <a:pt x="127" y="221"/>
                    </a:lnTo>
                    <a:lnTo>
                      <a:pt x="127" y="7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51" name="îṥ1idé"/>
              <p:cNvSpPr/>
              <p:nvPr/>
            </p:nvSpPr>
            <p:spPr bwMode="auto">
              <a:xfrm>
                <a:off x="4609" y="3492"/>
                <a:ext cx="255" cy="148"/>
              </a:xfrm>
              <a:custGeom>
                <a:avLst/>
                <a:gdLst>
                  <a:gd name="T0" fmla="*/ 0 w 255"/>
                  <a:gd name="T1" fmla="*/ 73 h 148"/>
                  <a:gd name="T2" fmla="*/ 127 w 255"/>
                  <a:gd name="T3" fmla="*/ 0 h 148"/>
                  <a:gd name="T4" fmla="*/ 255 w 255"/>
                  <a:gd name="T5" fmla="*/ 73 h 148"/>
                  <a:gd name="T6" fmla="*/ 127 w 255"/>
                  <a:gd name="T7" fmla="*/ 148 h 148"/>
                  <a:gd name="T8" fmla="*/ 0 w 255"/>
                  <a:gd name="T9" fmla="*/ 73 h 148"/>
                </a:gdLst>
                <a:ahLst/>
                <a:cxnLst>
                  <a:cxn ang="0">
                    <a:pos x="T0" y="T1"/>
                  </a:cxn>
                  <a:cxn ang="0">
                    <a:pos x="T2" y="T3"/>
                  </a:cxn>
                  <a:cxn ang="0">
                    <a:pos x="T4" y="T5"/>
                  </a:cxn>
                  <a:cxn ang="0">
                    <a:pos x="T6" y="T7"/>
                  </a:cxn>
                  <a:cxn ang="0">
                    <a:pos x="T8" y="T9"/>
                  </a:cxn>
                </a:cxnLst>
                <a:rect l="0" t="0" r="r" b="b"/>
                <a:pathLst>
                  <a:path w="255" h="148">
                    <a:moveTo>
                      <a:pt x="0" y="73"/>
                    </a:moveTo>
                    <a:lnTo>
                      <a:pt x="127" y="0"/>
                    </a:lnTo>
                    <a:lnTo>
                      <a:pt x="255" y="73"/>
                    </a:lnTo>
                    <a:lnTo>
                      <a:pt x="127" y="148"/>
                    </a:lnTo>
                    <a:lnTo>
                      <a:pt x="0" y="73"/>
                    </a:lnTo>
                    <a:close/>
                  </a:path>
                </a:pathLst>
              </a:custGeom>
              <a:solidFill>
                <a:srgbClr val="A2D45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52" name="íṩlîḑe"/>
              <p:cNvSpPr/>
              <p:nvPr/>
            </p:nvSpPr>
            <p:spPr bwMode="auto">
              <a:xfrm>
                <a:off x="4609" y="3492"/>
                <a:ext cx="255" cy="148"/>
              </a:xfrm>
              <a:custGeom>
                <a:avLst/>
                <a:gdLst>
                  <a:gd name="T0" fmla="*/ 0 w 255"/>
                  <a:gd name="T1" fmla="*/ 73 h 148"/>
                  <a:gd name="T2" fmla="*/ 127 w 255"/>
                  <a:gd name="T3" fmla="*/ 0 h 148"/>
                  <a:gd name="T4" fmla="*/ 255 w 255"/>
                  <a:gd name="T5" fmla="*/ 73 h 148"/>
                  <a:gd name="T6" fmla="*/ 127 w 255"/>
                  <a:gd name="T7" fmla="*/ 148 h 148"/>
                  <a:gd name="T8" fmla="*/ 0 w 255"/>
                  <a:gd name="T9" fmla="*/ 73 h 148"/>
                </a:gdLst>
                <a:ahLst/>
                <a:cxnLst>
                  <a:cxn ang="0">
                    <a:pos x="T0" y="T1"/>
                  </a:cxn>
                  <a:cxn ang="0">
                    <a:pos x="T2" y="T3"/>
                  </a:cxn>
                  <a:cxn ang="0">
                    <a:pos x="T4" y="T5"/>
                  </a:cxn>
                  <a:cxn ang="0">
                    <a:pos x="T6" y="T7"/>
                  </a:cxn>
                  <a:cxn ang="0">
                    <a:pos x="T8" y="T9"/>
                  </a:cxn>
                </a:cxnLst>
                <a:rect l="0" t="0" r="r" b="b"/>
                <a:pathLst>
                  <a:path w="255" h="148">
                    <a:moveTo>
                      <a:pt x="0" y="73"/>
                    </a:moveTo>
                    <a:lnTo>
                      <a:pt x="127" y="0"/>
                    </a:lnTo>
                    <a:lnTo>
                      <a:pt x="255" y="73"/>
                    </a:lnTo>
                    <a:lnTo>
                      <a:pt x="127" y="148"/>
                    </a:lnTo>
                    <a:lnTo>
                      <a:pt x="0" y="7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53" name="îśḻíďe"/>
              <p:cNvSpPr/>
              <p:nvPr/>
            </p:nvSpPr>
            <p:spPr bwMode="auto">
              <a:xfrm>
                <a:off x="4609" y="3492"/>
                <a:ext cx="255" cy="148"/>
              </a:xfrm>
              <a:custGeom>
                <a:avLst/>
                <a:gdLst>
                  <a:gd name="T0" fmla="*/ 127 w 255"/>
                  <a:gd name="T1" fmla="*/ 0 h 148"/>
                  <a:gd name="T2" fmla="*/ 0 w 255"/>
                  <a:gd name="T3" fmla="*/ 73 h 148"/>
                  <a:gd name="T4" fmla="*/ 127 w 255"/>
                  <a:gd name="T5" fmla="*/ 148 h 148"/>
                  <a:gd name="T6" fmla="*/ 255 w 255"/>
                  <a:gd name="T7" fmla="*/ 73 h 148"/>
                  <a:gd name="T8" fmla="*/ 127 w 255"/>
                  <a:gd name="T9" fmla="*/ 0 h 148"/>
                </a:gdLst>
                <a:ahLst/>
                <a:cxnLst>
                  <a:cxn ang="0">
                    <a:pos x="T0" y="T1"/>
                  </a:cxn>
                  <a:cxn ang="0">
                    <a:pos x="T2" y="T3"/>
                  </a:cxn>
                  <a:cxn ang="0">
                    <a:pos x="T4" y="T5"/>
                  </a:cxn>
                  <a:cxn ang="0">
                    <a:pos x="T6" y="T7"/>
                  </a:cxn>
                  <a:cxn ang="0">
                    <a:pos x="T8" y="T9"/>
                  </a:cxn>
                </a:cxnLst>
                <a:rect l="0" t="0" r="r" b="b"/>
                <a:pathLst>
                  <a:path w="255" h="148">
                    <a:moveTo>
                      <a:pt x="127" y="0"/>
                    </a:moveTo>
                    <a:lnTo>
                      <a:pt x="0" y="73"/>
                    </a:lnTo>
                    <a:lnTo>
                      <a:pt x="127" y="148"/>
                    </a:lnTo>
                    <a:lnTo>
                      <a:pt x="255" y="73"/>
                    </a:lnTo>
                    <a:lnTo>
                      <a:pt x="127" y="0"/>
                    </a:lnTo>
                    <a:close/>
                  </a:path>
                </a:pathLst>
              </a:custGeom>
              <a:solidFill>
                <a:srgbClr val="ADD97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54" name="ïSļîḑê"/>
              <p:cNvSpPr/>
              <p:nvPr/>
            </p:nvSpPr>
            <p:spPr bwMode="auto">
              <a:xfrm>
                <a:off x="4609" y="3492"/>
                <a:ext cx="255" cy="148"/>
              </a:xfrm>
              <a:custGeom>
                <a:avLst/>
                <a:gdLst>
                  <a:gd name="T0" fmla="*/ 127 w 255"/>
                  <a:gd name="T1" fmla="*/ 0 h 148"/>
                  <a:gd name="T2" fmla="*/ 0 w 255"/>
                  <a:gd name="T3" fmla="*/ 73 h 148"/>
                  <a:gd name="T4" fmla="*/ 127 w 255"/>
                  <a:gd name="T5" fmla="*/ 148 h 148"/>
                  <a:gd name="T6" fmla="*/ 255 w 255"/>
                  <a:gd name="T7" fmla="*/ 73 h 148"/>
                  <a:gd name="T8" fmla="*/ 127 w 255"/>
                  <a:gd name="T9" fmla="*/ 0 h 148"/>
                </a:gdLst>
                <a:ahLst/>
                <a:cxnLst>
                  <a:cxn ang="0">
                    <a:pos x="T0" y="T1"/>
                  </a:cxn>
                  <a:cxn ang="0">
                    <a:pos x="T2" y="T3"/>
                  </a:cxn>
                  <a:cxn ang="0">
                    <a:pos x="T4" y="T5"/>
                  </a:cxn>
                  <a:cxn ang="0">
                    <a:pos x="T6" y="T7"/>
                  </a:cxn>
                  <a:cxn ang="0">
                    <a:pos x="T8" y="T9"/>
                  </a:cxn>
                </a:cxnLst>
                <a:rect l="0" t="0" r="r" b="b"/>
                <a:pathLst>
                  <a:path w="255" h="148">
                    <a:moveTo>
                      <a:pt x="127" y="0"/>
                    </a:moveTo>
                    <a:lnTo>
                      <a:pt x="0" y="73"/>
                    </a:lnTo>
                    <a:lnTo>
                      <a:pt x="127" y="148"/>
                    </a:lnTo>
                    <a:lnTo>
                      <a:pt x="255" y="73"/>
                    </a:lnTo>
                    <a:lnTo>
                      <a:pt x="1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55" name="ï$ḷîḑê"/>
              <p:cNvSpPr/>
              <p:nvPr/>
            </p:nvSpPr>
            <p:spPr bwMode="auto">
              <a:xfrm>
                <a:off x="4736" y="3565"/>
                <a:ext cx="128" cy="221"/>
              </a:xfrm>
              <a:custGeom>
                <a:avLst/>
                <a:gdLst>
                  <a:gd name="T0" fmla="*/ 0 w 128"/>
                  <a:gd name="T1" fmla="*/ 75 h 221"/>
                  <a:gd name="T2" fmla="*/ 128 w 128"/>
                  <a:gd name="T3" fmla="*/ 0 h 221"/>
                  <a:gd name="T4" fmla="*/ 128 w 128"/>
                  <a:gd name="T5" fmla="*/ 148 h 221"/>
                  <a:gd name="T6" fmla="*/ 0 w 128"/>
                  <a:gd name="T7" fmla="*/ 221 h 221"/>
                  <a:gd name="T8" fmla="*/ 0 w 128"/>
                  <a:gd name="T9" fmla="*/ 75 h 221"/>
                </a:gdLst>
                <a:ahLst/>
                <a:cxnLst>
                  <a:cxn ang="0">
                    <a:pos x="T0" y="T1"/>
                  </a:cxn>
                  <a:cxn ang="0">
                    <a:pos x="T2" y="T3"/>
                  </a:cxn>
                  <a:cxn ang="0">
                    <a:pos x="T4" y="T5"/>
                  </a:cxn>
                  <a:cxn ang="0">
                    <a:pos x="T6" y="T7"/>
                  </a:cxn>
                  <a:cxn ang="0">
                    <a:pos x="T8" y="T9"/>
                  </a:cxn>
                </a:cxnLst>
                <a:rect l="0" t="0" r="r" b="b"/>
                <a:pathLst>
                  <a:path w="128" h="221">
                    <a:moveTo>
                      <a:pt x="0" y="75"/>
                    </a:moveTo>
                    <a:lnTo>
                      <a:pt x="128" y="0"/>
                    </a:lnTo>
                    <a:lnTo>
                      <a:pt x="128" y="148"/>
                    </a:lnTo>
                    <a:lnTo>
                      <a:pt x="0" y="221"/>
                    </a:lnTo>
                    <a:lnTo>
                      <a:pt x="0" y="75"/>
                    </a:lnTo>
                    <a:close/>
                  </a:path>
                </a:pathLst>
              </a:custGeom>
              <a:solidFill>
                <a:srgbClr val="00A19B"/>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56" name="ïślïďè"/>
              <p:cNvSpPr/>
              <p:nvPr/>
            </p:nvSpPr>
            <p:spPr bwMode="auto">
              <a:xfrm>
                <a:off x="4736" y="3565"/>
                <a:ext cx="128" cy="221"/>
              </a:xfrm>
              <a:custGeom>
                <a:avLst/>
                <a:gdLst>
                  <a:gd name="T0" fmla="*/ 0 w 128"/>
                  <a:gd name="T1" fmla="*/ 75 h 221"/>
                  <a:gd name="T2" fmla="*/ 128 w 128"/>
                  <a:gd name="T3" fmla="*/ 0 h 221"/>
                  <a:gd name="T4" fmla="*/ 128 w 128"/>
                  <a:gd name="T5" fmla="*/ 148 h 221"/>
                  <a:gd name="T6" fmla="*/ 0 w 128"/>
                  <a:gd name="T7" fmla="*/ 221 h 221"/>
                  <a:gd name="T8" fmla="*/ 0 w 128"/>
                  <a:gd name="T9" fmla="*/ 75 h 221"/>
                </a:gdLst>
                <a:ahLst/>
                <a:cxnLst>
                  <a:cxn ang="0">
                    <a:pos x="T0" y="T1"/>
                  </a:cxn>
                  <a:cxn ang="0">
                    <a:pos x="T2" y="T3"/>
                  </a:cxn>
                  <a:cxn ang="0">
                    <a:pos x="T4" y="T5"/>
                  </a:cxn>
                  <a:cxn ang="0">
                    <a:pos x="T6" y="T7"/>
                  </a:cxn>
                  <a:cxn ang="0">
                    <a:pos x="T8" y="T9"/>
                  </a:cxn>
                </a:cxnLst>
                <a:rect l="0" t="0" r="r" b="b"/>
                <a:pathLst>
                  <a:path w="128" h="221">
                    <a:moveTo>
                      <a:pt x="0" y="75"/>
                    </a:moveTo>
                    <a:lnTo>
                      <a:pt x="128" y="0"/>
                    </a:lnTo>
                    <a:lnTo>
                      <a:pt x="128" y="148"/>
                    </a:lnTo>
                    <a:lnTo>
                      <a:pt x="0" y="221"/>
                    </a:lnTo>
                    <a:lnTo>
                      <a:pt x="0" y="75"/>
                    </a:lnTo>
                    <a:close/>
                  </a:path>
                </a:pathLst>
              </a:custGeom>
              <a:solidFill>
                <a:srgbClr val="76BC21"/>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57" name="îṣḷîḍe"/>
              <p:cNvSpPr/>
              <p:nvPr/>
            </p:nvSpPr>
            <p:spPr bwMode="auto">
              <a:xfrm>
                <a:off x="4736" y="3565"/>
                <a:ext cx="128" cy="221"/>
              </a:xfrm>
              <a:custGeom>
                <a:avLst/>
                <a:gdLst>
                  <a:gd name="T0" fmla="*/ 0 w 128"/>
                  <a:gd name="T1" fmla="*/ 75 h 221"/>
                  <a:gd name="T2" fmla="*/ 128 w 128"/>
                  <a:gd name="T3" fmla="*/ 0 h 221"/>
                  <a:gd name="T4" fmla="*/ 128 w 128"/>
                  <a:gd name="T5" fmla="*/ 148 h 221"/>
                  <a:gd name="T6" fmla="*/ 0 w 128"/>
                  <a:gd name="T7" fmla="*/ 221 h 221"/>
                  <a:gd name="T8" fmla="*/ 0 w 128"/>
                  <a:gd name="T9" fmla="*/ 75 h 221"/>
                </a:gdLst>
                <a:ahLst/>
                <a:cxnLst>
                  <a:cxn ang="0">
                    <a:pos x="T0" y="T1"/>
                  </a:cxn>
                  <a:cxn ang="0">
                    <a:pos x="T2" y="T3"/>
                  </a:cxn>
                  <a:cxn ang="0">
                    <a:pos x="T4" y="T5"/>
                  </a:cxn>
                  <a:cxn ang="0">
                    <a:pos x="T6" y="T7"/>
                  </a:cxn>
                  <a:cxn ang="0">
                    <a:pos x="T8" y="T9"/>
                  </a:cxn>
                </a:cxnLst>
                <a:rect l="0" t="0" r="r" b="b"/>
                <a:pathLst>
                  <a:path w="128" h="221">
                    <a:moveTo>
                      <a:pt x="0" y="75"/>
                    </a:moveTo>
                    <a:lnTo>
                      <a:pt x="128" y="0"/>
                    </a:lnTo>
                    <a:lnTo>
                      <a:pt x="128" y="148"/>
                    </a:lnTo>
                    <a:lnTo>
                      <a:pt x="0" y="221"/>
                    </a:lnTo>
                    <a:lnTo>
                      <a:pt x="0" y="75"/>
                    </a:lnTo>
                    <a:close/>
                  </a:path>
                </a:pathLst>
              </a:custGeom>
              <a:solidFill>
                <a:srgbClr val="76BC21"/>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58" name="îŝḻïdè"/>
              <p:cNvSpPr/>
              <p:nvPr/>
            </p:nvSpPr>
            <p:spPr bwMode="auto">
              <a:xfrm>
                <a:off x="5327" y="3884"/>
                <a:ext cx="677" cy="390"/>
              </a:xfrm>
              <a:custGeom>
                <a:avLst/>
                <a:gdLst>
                  <a:gd name="T0" fmla="*/ 0 w 677"/>
                  <a:gd name="T1" fmla="*/ 195 h 390"/>
                  <a:gd name="T2" fmla="*/ 340 w 677"/>
                  <a:gd name="T3" fmla="*/ 0 h 390"/>
                  <a:gd name="T4" fmla="*/ 677 w 677"/>
                  <a:gd name="T5" fmla="*/ 195 h 390"/>
                  <a:gd name="T6" fmla="*/ 339 w 677"/>
                  <a:gd name="T7" fmla="*/ 390 h 390"/>
                  <a:gd name="T8" fmla="*/ 0 w 677"/>
                  <a:gd name="T9" fmla="*/ 195 h 390"/>
                </a:gdLst>
                <a:ahLst/>
                <a:cxnLst>
                  <a:cxn ang="0">
                    <a:pos x="T0" y="T1"/>
                  </a:cxn>
                  <a:cxn ang="0">
                    <a:pos x="T2" y="T3"/>
                  </a:cxn>
                  <a:cxn ang="0">
                    <a:pos x="T4" y="T5"/>
                  </a:cxn>
                  <a:cxn ang="0">
                    <a:pos x="T6" y="T7"/>
                  </a:cxn>
                  <a:cxn ang="0">
                    <a:pos x="T8" y="T9"/>
                  </a:cxn>
                </a:cxnLst>
                <a:rect l="0" t="0" r="r" b="b"/>
                <a:pathLst>
                  <a:path w="677" h="390">
                    <a:moveTo>
                      <a:pt x="0" y="195"/>
                    </a:moveTo>
                    <a:lnTo>
                      <a:pt x="340" y="0"/>
                    </a:lnTo>
                    <a:lnTo>
                      <a:pt x="677" y="195"/>
                    </a:lnTo>
                    <a:lnTo>
                      <a:pt x="339" y="390"/>
                    </a:lnTo>
                    <a:lnTo>
                      <a:pt x="0" y="195"/>
                    </a:lnTo>
                    <a:close/>
                  </a:path>
                </a:pathLst>
              </a:custGeom>
              <a:solidFill>
                <a:srgbClr val="FB5373"/>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59" name="íṧlíďé"/>
              <p:cNvSpPr/>
              <p:nvPr/>
            </p:nvSpPr>
            <p:spPr bwMode="auto">
              <a:xfrm>
                <a:off x="5327" y="3884"/>
                <a:ext cx="677" cy="390"/>
              </a:xfrm>
              <a:custGeom>
                <a:avLst/>
                <a:gdLst>
                  <a:gd name="T0" fmla="*/ 0 w 677"/>
                  <a:gd name="T1" fmla="*/ 195 h 390"/>
                  <a:gd name="T2" fmla="*/ 340 w 677"/>
                  <a:gd name="T3" fmla="*/ 0 h 390"/>
                  <a:gd name="T4" fmla="*/ 677 w 677"/>
                  <a:gd name="T5" fmla="*/ 195 h 390"/>
                  <a:gd name="T6" fmla="*/ 339 w 677"/>
                  <a:gd name="T7" fmla="*/ 390 h 390"/>
                  <a:gd name="T8" fmla="*/ 0 w 677"/>
                  <a:gd name="T9" fmla="*/ 195 h 390"/>
                </a:gdLst>
                <a:ahLst/>
                <a:cxnLst>
                  <a:cxn ang="0">
                    <a:pos x="T0" y="T1"/>
                  </a:cxn>
                  <a:cxn ang="0">
                    <a:pos x="T2" y="T3"/>
                  </a:cxn>
                  <a:cxn ang="0">
                    <a:pos x="T4" y="T5"/>
                  </a:cxn>
                  <a:cxn ang="0">
                    <a:pos x="T6" y="T7"/>
                  </a:cxn>
                  <a:cxn ang="0">
                    <a:pos x="T8" y="T9"/>
                  </a:cxn>
                </a:cxnLst>
                <a:rect l="0" t="0" r="r" b="b"/>
                <a:pathLst>
                  <a:path w="677" h="390">
                    <a:moveTo>
                      <a:pt x="0" y="195"/>
                    </a:moveTo>
                    <a:lnTo>
                      <a:pt x="340" y="0"/>
                    </a:lnTo>
                    <a:lnTo>
                      <a:pt x="677" y="195"/>
                    </a:lnTo>
                    <a:lnTo>
                      <a:pt x="339" y="390"/>
                    </a:lnTo>
                    <a:lnTo>
                      <a:pt x="0" y="19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60" name="ïSḻidê"/>
              <p:cNvSpPr/>
              <p:nvPr/>
            </p:nvSpPr>
            <p:spPr bwMode="auto">
              <a:xfrm>
                <a:off x="5327" y="4079"/>
                <a:ext cx="677" cy="243"/>
              </a:xfrm>
              <a:custGeom>
                <a:avLst/>
                <a:gdLst>
                  <a:gd name="T0" fmla="*/ 0 w 677"/>
                  <a:gd name="T1" fmla="*/ 0 h 243"/>
                  <a:gd name="T2" fmla="*/ 0 w 677"/>
                  <a:gd name="T3" fmla="*/ 48 h 243"/>
                  <a:gd name="T4" fmla="*/ 339 w 677"/>
                  <a:gd name="T5" fmla="*/ 243 h 243"/>
                  <a:gd name="T6" fmla="*/ 677 w 677"/>
                  <a:gd name="T7" fmla="*/ 48 h 243"/>
                  <a:gd name="T8" fmla="*/ 677 w 677"/>
                  <a:gd name="T9" fmla="*/ 0 h 243"/>
                  <a:gd name="T10" fmla="*/ 339 w 677"/>
                  <a:gd name="T11" fmla="*/ 195 h 243"/>
                  <a:gd name="T12" fmla="*/ 0 w 677"/>
                  <a:gd name="T13" fmla="*/ 0 h 243"/>
                </a:gdLst>
                <a:ahLst/>
                <a:cxnLst>
                  <a:cxn ang="0">
                    <a:pos x="T0" y="T1"/>
                  </a:cxn>
                  <a:cxn ang="0">
                    <a:pos x="T2" y="T3"/>
                  </a:cxn>
                  <a:cxn ang="0">
                    <a:pos x="T4" y="T5"/>
                  </a:cxn>
                  <a:cxn ang="0">
                    <a:pos x="T6" y="T7"/>
                  </a:cxn>
                  <a:cxn ang="0">
                    <a:pos x="T8" y="T9"/>
                  </a:cxn>
                  <a:cxn ang="0">
                    <a:pos x="T10" y="T11"/>
                  </a:cxn>
                  <a:cxn ang="0">
                    <a:pos x="T12" y="T13"/>
                  </a:cxn>
                </a:cxnLst>
                <a:rect l="0" t="0" r="r" b="b"/>
                <a:pathLst>
                  <a:path w="677" h="243">
                    <a:moveTo>
                      <a:pt x="0" y="0"/>
                    </a:moveTo>
                    <a:lnTo>
                      <a:pt x="0" y="48"/>
                    </a:lnTo>
                    <a:lnTo>
                      <a:pt x="339" y="243"/>
                    </a:lnTo>
                    <a:lnTo>
                      <a:pt x="677" y="48"/>
                    </a:lnTo>
                    <a:lnTo>
                      <a:pt x="677" y="0"/>
                    </a:lnTo>
                    <a:lnTo>
                      <a:pt x="339" y="195"/>
                    </a:lnTo>
                    <a:lnTo>
                      <a:pt x="0" y="0"/>
                    </a:lnTo>
                    <a:close/>
                  </a:path>
                </a:pathLst>
              </a:custGeom>
              <a:solidFill>
                <a:srgbClr val="CE0E2D"/>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61" name="ïṧḻíḑè"/>
              <p:cNvSpPr/>
              <p:nvPr/>
            </p:nvSpPr>
            <p:spPr bwMode="auto">
              <a:xfrm>
                <a:off x="5327" y="4079"/>
                <a:ext cx="677" cy="243"/>
              </a:xfrm>
              <a:custGeom>
                <a:avLst/>
                <a:gdLst>
                  <a:gd name="T0" fmla="*/ 0 w 677"/>
                  <a:gd name="T1" fmla="*/ 0 h 243"/>
                  <a:gd name="T2" fmla="*/ 0 w 677"/>
                  <a:gd name="T3" fmla="*/ 48 h 243"/>
                  <a:gd name="T4" fmla="*/ 339 w 677"/>
                  <a:gd name="T5" fmla="*/ 243 h 243"/>
                  <a:gd name="T6" fmla="*/ 677 w 677"/>
                  <a:gd name="T7" fmla="*/ 48 h 243"/>
                  <a:gd name="T8" fmla="*/ 677 w 677"/>
                  <a:gd name="T9" fmla="*/ 0 h 243"/>
                  <a:gd name="T10" fmla="*/ 339 w 677"/>
                  <a:gd name="T11" fmla="*/ 195 h 243"/>
                  <a:gd name="T12" fmla="*/ 0 w 677"/>
                  <a:gd name="T13" fmla="*/ 0 h 243"/>
                </a:gdLst>
                <a:ahLst/>
                <a:cxnLst>
                  <a:cxn ang="0">
                    <a:pos x="T0" y="T1"/>
                  </a:cxn>
                  <a:cxn ang="0">
                    <a:pos x="T2" y="T3"/>
                  </a:cxn>
                  <a:cxn ang="0">
                    <a:pos x="T4" y="T5"/>
                  </a:cxn>
                  <a:cxn ang="0">
                    <a:pos x="T6" y="T7"/>
                  </a:cxn>
                  <a:cxn ang="0">
                    <a:pos x="T8" y="T9"/>
                  </a:cxn>
                  <a:cxn ang="0">
                    <a:pos x="T10" y="T11"/>
                  </a:cxn>
                  <a:cxn ang="0">
                    <a:pos x="T12" y="T13"/>
                  </a:cxn>
                </a:cxnLst>
                <a:rect l="0" t="0" r="r" b="b"/>
                <a:pathLst>
                  <a:path w="677" h="243">
                    <a:moveTo>
                      <a:pt x="0" y="0"/>
                    </a:moveTo>
                    <a:lnTo>
                      <a:pt x="0" y="48"/>
                    </a:lnTo>
                    <a:lnTo>
                      <a:pt x="339" y="243"/>
                    </a:lnTo>
                    <a:lnTo>
                      <a:pt x="677" y="48"/>
                    </a:lnTo>
                    <a:lnTo>
                      <a:pt x="677" y="0"/>
                    </a:lnTo>
                    <a:lnTo>
                      <a:pt x="339" y="19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62" name="ïşľîḓè"/>
              <p:cNvSpPr/>
              <p:nvPr/>
            </p:nvSpPr>
            <p:spPr bwMode="auto">
              <a:xfrm>
                <a:off x="2495" y="2420"/>
                <a:ext cx="678" cy="390"/>
              </a:xfrm>
              <a:custGeom>
                <a:avLst/>
                <a:gdLst>
                  <a:gd name="T0" fmla="*/ 0 w 678"/>
                  <a:gd name="T1" fmla="*/ 195 h 390"/>
                  <a:gd name="T2" fmla="*/ 340 w 678"/>
                  <a:gd name="T3" fmla="*/ 0 h 390"/>
                  <a:gd name="T4" fmla="*/ 678 w 678"/>
                  <a:gd name="T5" fmla="*/ 195 h 390"/>
                  <a:gd name="T6" fmla="*/ 340 w 678"/>
                  <a:gd name="T7" fmla="*/ 390 h 390"/>
                  <a:gd name="T8" fmla="*/ 0 w 678"/>
                  <a:gd name="T9" fmla="*/ 195 h 390"/>
                </a:gdLst>
                <a:ahLst/>
                <a:cxnLst>
                  <a:cxn ang="0">
                    <a:pos x="T0" y="T1"/>
                  </a:cxn>
                  <a:cxn ang="0">
                    <a:pos x="T2" y="T3"/>
                  </a:cxn>
                  <a:cxn ang="0">
                    <a:pos x="T4" y="T5"/>
                  </a:cxn>
                  <a:cxn ang="0">
                    <a:pos x="T6" y="T7"/>
                  </a:cxn>
                  <a:cxn ang="0">
                    <a:pos x="T8" y="T9"/>
                  </a:cxn>
                </a:cxnLst>
                <a:rect l="0" t="0" r="r" b="b"/>
                <a:pathLst>
                  <a:path w="678" h="390">
                    <a:moveTo>
                      <a:pt x="0" y="195"/>
                    </a:moveTo>
                    <a:lnTo>
                      <a:pt x="340" y="0"/>
                    </a:lnTo>
                    <a:lnTo>
                      <a:pt x="678" y="195"/>
                    </a:lnTo>
                    <a:lnTo>
                      <a:pt x="340" y="390"/>
                    </a:lnTo>
                    <a:lnTo>
                      <a:pt x="0" y="195"/>
                    </a:lnTo>
                    <a:close/>
                  </a:path>
                </a:pathLst>
              </a:custGeom>
              <a:solidFill>
                <a:srgbClr val="F2C06B"/>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63" name="íṡļîďê"/>
              <p:cNvSpPr/>
              <p:nvPr/>
            </p:nvSpPr>
            <p:spPr bwMode="auto">
              <a:xfrm>
                <a:off x="2495" y="2420"/>
                <a:ext cx="678" cy="390"/>
              </a:xfrm>
              <a:custGeom>
                <a:avLst/>
                <a:gdLst>
                  <a:gd name="T0" fmla="*/ 0 w 678"/>
                  <a:gd name="T1" fmla="*/ 195 h 390"/>
                  <a:gd name="T2" fmla="*/ 340 w 678"/>
                  <a:gd name="T3" fmla="*/ 0 h 390"/>
                  <a:gd name="T4" fmla="*/ 678 w 678"/>
                  <a:gd name="T5" fmla="*/ 195 h 390"/>
                  <a:gd name="T6" fmla="*/ 340 w 678"/>
                  <a:gd name="T7" fmla="*/ 390 h 390"/>
                  <a:gd name="T8" fmla="*/ 0 w 678"/>
                  <a:gd name="T9" fmla="*/ 195 h 390"/>
                </a:gdLst>
                <a:ahLst/>
                <a:cxnLst>
                  <a:cxn ang="0">
                    <a:pos x="T0" y="T1"/>
                  </a:cxn>
                  <a:cxn ang="0">
                    <a:pos x="T2" y="T3"/>
                  </a:cxn>
                  <a:cxn ang="0">
                    <a:pos x="T4" y="T5"/>
                  </a:cxn>
                  <a:cxn ang="0">
                    <a:pos x="T6" y="T7"/>
                  </a:cxn>
                  <a:cxn ang="0">
                    <a:pos x="T8" y="T9"/>
                  </a:cxn>
                </a:cxnLst>
                <a:rect l="0" t="0" r="r" b="b"/>
                <a:pathLst>
                  <a:path w="678" h="390">
                    <a:moveTo>
                      <a:pt x="0" y="195"/>
                    </a:moveTo>
                    <a:lnTo>
                      <a:pt x="340" y="0"/>
                    </a:lnTo>
                    <a:lnTo>
                      <a:pt x="678" y="195"/>
                    </a:lnTo>
                    <a:lnTo>
                      <a:pt x="340" y="390"/>
                    </a:lnTo>
                    <a:lnTo>
                      <a:pt x="0" y="19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64" name="i$1iḋê"/>
              <p:cNvSpPr/>
              <p:nvPr/>
            </p:nvSpPr>
            <p:spPr bwMode="auto">
              <a:xfrm>
                <a:off x="2495" y="2420"/>
                <a:ext cx="678" cy="390"/>
              </a:xfrm>
              <a:custGeom>
                <a:avLst/>
                <a:gdLst>
                  <a:gd name="T0" fmla="*/ 340 w 678"/>
                  <a:gd name="T1" fmla="*/ 0 h 390"/>
                  <a:gd name="T2" fmla="*/ 0 w 678"/>
                  <a:gd name="T3" fmla="*/ 195 h 390"/>
                  <a:gd name="T4" fmla="*/ 340 w 678"/>
                  <a:gd name="T5" fmla="*/ 390 h 390"/>
                  <a:gd name="T6" fmla="*/ 678 w 678"/>
                  <a:gd name="T7" fmla="*/ 195 h 390"/>
                  <a:gd name="T8" fmla="*/ 340 w 678"/>
                  <a:gd name="T9" fmla="*/ 0 h 390"/>
                </a:gdLst>
                <a:ahLst/>
                <a:cxnLst>
                  <a:cxn ang="0">
                    <a:pos x="T0" y="T1"/>
                  </a:cxn>
                  <a:cxn ang="0">
                    <a:pos x="T2" y="T3"/>
                  </a:cxn>
                  <a:cxn ang="0">
                    <a:pos x="T4" y="T5"/>
                  </a:cxn>
                  <a:cxn ang="0">
                    <a:pos x="T6" y="T7"/>
                  </a:cxn>
                  <a:cxn ang="0">
                    <a:pos x="T8" y="T9"/>
                  </a:cxn>
                </a:cxnLst>
                <a:rect l="0" t="0" r="r" b="b"/>
                <a:pathLst>
                  <a:path w="678" h="390">
                    <a:moveTo>
                      <a:pt x="340" y="0"/>
                    </a:moveTo>
                    <a:lnTo>
                      <a:pt x="0" y="195"/>
                    </a:lnTo>
                    <a:lnTo>
                      <a:pt x="340" y="390"/>
                    </a:lnTo>
                    <a:lnTo>
                      <a:pt x="678" y="195"/>
                    </a:lnTo>
                    <a:lnTo>
                      <a:pt x="340" y="0"/>
                    </a:lnTo>
                    <a:close/>
                  </a:path>
                </a:pathLst>
              </a:custGeom>
              <a:solidFill>
                <a:srgbClr val="F8DAA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65" name="îṩľîďê"/>
              <p:cNvSpPr/>
              <p:nvPr/>
            </p:nvSpPr>
            <p:spPr bwMode="auto">
              <a:xfrm>
                <a:off x="2495" y="2420"/>
                <a:ext cx="678" cy="390"/>
              </a:xfrm>
              <a:custGeom>
                <a:avLst/>
                <a:gdLst>
                  <a:gd name="T0" fmla="*/ 340 w 678"/>
                  <a:gd name="T1" fmla="*/ 0 h 390"/>
                  <a:gd name="T2" fmla="*/ 0 w 678"/>
                  <a:gd name="T3" fmla="*/ 195 h 390"/>
                  <a:gd name="T4" fmla="*/ 340 w 678"/>
                  <a:gd name="T5" fmla="*/ 390 h 390"/>
                  <a:gd name="T6" fmla="*/ 678 w 678"/>
                  <a:gd name="T7" fmla="*/ 195 h 390"/>
                  <a:gd name="T8" fmla="*/ 340 w 678"/>
                  <a:gd name="T9" fmla="*/ 0 h 390"/>
                </a:gdLst>
                <a:ahLst/>
                <a:cxnLst>
                  <a:cxn ang="0">
                    <a:pos x="T0" y="T1"/>
                  </a:cxn>
                  <a:cxn ang="0">
                    <a:pos x="T2" y="T3"/>
                  </a:cxn>
                  <a:cxn ang="0">
                    <a:pos x="T4" y="T5"/>
                  </a:cxn>
                  <a:cxn ang="0">
                    <a:pos x="T6" y="T7"/>
                  </a:cxn>
                  <a:cxn ang="0">
                    <a:pos x="T8" y="T9"/>
                  </a:cxn>
                </a:cxnLst>
                <a:rect l="0" t="0" r="r" b="b"/>
                <a:pathLst>
                  <a:path w="678" h="390">
                    <a:moveTo>
                      <a:pt x="340" y="0"/>
                    </a:moveTo>
                    <a:lnTo>
                      <a:pt x="0" y="195"/>
                    </a:lnTo>
                    <a:lnTo>
                      <a:pt x="340" y="390"/>
                    </a:lnTo>
                    <a:lnTo>
                      <a:pt x="678" y="195"/>
                    </a:lnTo>
                    <a:lnTo>
                      <a:pt x="34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66" name="íṡļïḑé"/>
              <p:cNvSpPr/>
              <p:nvPr/>
            </p:nvSpPr>
            <p:spPr bwMode="auto">
              <a:xfrm>
                <a:off x="2495" y="2615"/>
                <a:ext cx="678" cy="245"/>
              </a:xfrm>
              <a:custGeom>
                <a:avLst/>
                <a:gdLst>
                  <a:gd name="T0" fmla="*/ 0 w 678"/>
                  <a:gd name="T1" fmla="*/ 0 h 245"/>
                  <a:gd name="T2" fmla="*/ 0 w 678"/>
                  <a:gd name="T3" fmla="*/ 48 h 245"/>
                  <a:gd name="T4" fmla="*/ 340 w 678"/>
                  <a:gd name="T5" fmla="*/ 245 h 245"/>
                  <a:gd name="T6" fmla="*/ 678 w 678"/>
                  <a:gd name="T7" fmla="*/ 48 h 245"/>
                  <a:gd name="T8" fmla="*/ 678 w 678"/>
                  <a:gd name="T9" fmla="*/ 0 h 245"/>
                  <a:gd name="T10" fmla="*/ 340 w 678"/>
                  <a:gd name="T11" fmla="*/ 195 h 245"/>
                  <a:gd name="T12" fmla="*/ 0 w 678"/>
                  <a:gd name="T13" fmla="*/ 0 h 245"/>
                </a:gdLst>
                <a:ahLst/>
                <a:cxnLst>
                  <a:cxn ang="0">
                    <a:pos x="T0" y="T1"/>
                  </a:cxn>
                  <a:cxn ang="0">
                    <a:pos x="T2" y="T3"/>
                  </a:cxn>
                  <a:cxn ang="0">
                    <a:pos x="T4" y="T5"/>
                  </a:cxn>
                  <a:cxn ang="0">
                    <a:pos x="T6" y="T7"/>
                  </a:cxn>
                  <a:cxn ang="0">
                    <a:pos x="T8" y="T9"/>
                  </a:cxn>
                  <a:cxn ang="0">
                    <a:pos x="T10" y="T11"/>
                  </a:cxn>
                  <a:cxn ang="0">
                    <a:pos x="T12" y="T13"/>
                  </a:cxn>
                </a:cxnLst>
                <a:rect l="0" t="0" r="r" b="b"/>
                <a:pathLst>
                  <a:path w="678" h="245">
                    <a:moveTo>
                      <a:pt x="0" y="0"/>
                    </a:moveTo>
                    <a:lnTo>
                      <a:pt x="0" y="48"/>
                    </a:lnTo>
                    <a:lnTo>
                      <a:pt x="340" y="245"/>
                    </a:lnTo>
                    <a:lnTo>
                      <a:pt x="678" y="48"/>
                    </a:lnTo>
                    <a:lnTo>
                      <a:pt x="678" y="0"/>
                    </a:lnTo>
                    <a:lnTo>
                      <a:pt x="340" y="195"/>
                    </a:lnTo>
                    <a:lnTo>
                      <a:pt x="0" y="0"/>
                    </a:lnTo>
                    <a:close/>
                  </a:path>
                </a:pathLst>
              </a:custGeom>
              <a:solidFill>
                <a:srgbClr val="F2C06B"/>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67" name="iṡ1îḓe"/>
              <p:cNvSpPr/>
              <p:nvPr/>
            </p:nvSpPr>
            <p:spPr bwMode="auto">
              <a:xfrm>
                <a:off x="2495" y="2615"/>
                <a:ext cx="678" cy="245"/>
              </a:xfrm>
              <a:custGeom>
                <a:avLst/>
                <a:gdLst>
                  <a:gd name="T0" fmla="*/ 0 w 678"/>
                  <a:gd name="T1" fmla="*/ 0 h 245"/>
                  <a:gd name="T2" fmla="*/ 0 w 678"/>
                  <a:gd name="T3" fmla="*/ 48 h 245"/>
                  <a:gd name="T4" fmla="*/ 340 w 678"/>
                  <a:gd name="T5" fmla="*/ 245 h 245"/>
                  <a:gd name="T6" fmla="*/ 678 w 678"/>
                  <a:gd name="T7" fmla="*/ 48 h 245"/>
                  <a:gd name="T8" fmla="*/ 678 w 678"/>
                  <a:gd name="T9" fmla="*/ 0 h 245"/>
                  <a:gd name="T10" fmla="*/ 340 w 678"/>
                  <a:gd name="T11" fmla="*/ 195 h 245"/>
                  <a:gd name="T12" fmla="*/ 0 w 678"/>
                  <a:gd name="T13" fmla="*/ 0 h 245"/>
                </a:gdLst>
                <a:ahLst/>
                <a:cxnLst>
                  <a:cxn ang="0">
                    <a:pos x="T0" y="T1"/>
                  </a:cxn>
                  <a:cxn ang="0">
                    <a:pos x="T2" y="T3"/>
                  </a:cxn>
                  <a:cxn ang="0">
                    <a:pos x="T4" y="T5"/>
                  </a:cxn>
                  <a:cxn ang="0">
                    <a:pos x="T6" y="T7"/>
                  </a:cxn>
                  <a:cxn ang="0">
                    <a:pos x="T8" y="T9"/>
                  </a:cxn>
                  <a:cxn ang="0">
                    <a:pos x="T10" y="T11"/>
                  </a:cxn>
                  <a:cxn ang="0">
                    <a:pos x="T12" y="T13"/>
                  </a:cxn>
                </a:cxnLst>
                <a:rect l="0" t="0" r="r" b="b"/>
                <a:pathLst>
                  <a:path w="678" h="245">
                    <a:moveTo>
                      <a:pt x="0" y="0"/>
                    </a:moveTo>
                    <a:lnTo>
                      <a:pt x="0" y="48"/>
                    </a:lnTo>
                    <a:lnTo>
                      <a:pt x="340" y="245"/>
                    </a:lnTo>
                    <a:lnTo>
                      <a:pt x="678" y="48"/>
                    </a:lnTo>
                    <a:lnTo>
                      <a:pt x="678" y="0"/>
                    </a:lnTo>
                    <a:lnTo>
                      <a:pt x="340" y="19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68" name="išḻïdé"/>
              <p:cNvSpPr/>
              <p:nvPr/>
            </p:nvSpPr>
            <p:spPr bwMode="auto">
              <a:xfrm>
                <a:off x="2704" y="2534"/>
                <a:ext cx="153" cy="93"/>
              </a:xfrm>
              <a:custGeom>
                <a:avLst/>
                <a:gdLst>
                  <a:gd name="T0" fmla="*/ 70 w 90"/>
                  <a:gd name="T1" fmla="*/ 44 h 55"/>
                  <a:gd name="T2" fmla="*/ 0 w 90"/>
                  <a:gd name="T3" fmla="*/ 55 h 55"/>
                  <a:gd name="T4" fmla="*/ 1 w 90"/>
                  <a:gd name="T5" fmla="*/ 54 h 55"/>
                  <a:gd name="T6" fmla="*/ 89 w 90"/>
                  <a:gd name="T7" fmla="*/ 0 h 55"/>
                  <a:gd name="T8" fmla="*/ 90 w 90"/>
                  <a:gd name="T9" fmla="*/ 0 h 55"/>
                  <a:gd name="T10" fmla="*/ 75 w 90"/>
                  <a:gd name="T11" fmla="*/ 41 h 55"/>
                  <a:gd name="T12" fmla="*/ 70 w 90"/>
                  <a:gd name="T13" fmla="*/ 44 h 55"/>
                </a:gdLst>
                <a:ahLst/>
                <a:cxnLst>
                  <a:cxn ang="0">
                    <a:pos x="T0" y="T1"/>
                  </a:cxn>
                  <a:cxn ang="0">
                    <a:pos x="T2" y="T3"/>
                  </a:cxn>
                  <a:cxn ang="0">
                    <a:pos x="T4" y="T5"/>
                  </a:cxn>
                  <a:cxn ang="0">
                    <a:pos x="T6" y="T7"/>
                  </a:cxn>
                  <a:cxn ang="0">
                    <a:pos x="T8" y="T9"/>
                  </a:cxn>
                  <a:cxn ang="0">
                    <a:pos x="T10" y="T11"/>
                  </a:cxn>
                  <a:cxn ang="0">
                    <a:pos x="T12" y="T13"/>
                  </a:cxn>
                </a:cxnLst>
                <a:rect l="0" t="0" r="r" b="b"/>
                <a:pathLst>
                  <a:path w="90" h="55">
                    <a:moveTo>
                      <a:pt x="70" y="44"/>
                    </a:moveTo>
                    <a:cubicBezTo>
                      <a:pt x="0" y="55"/>
                      <a:pt x="0" y="55"/>
                      <a:pt x="0" y="55"/>
                    </a:cubicBezTo>
                    <a:cubicBezTo>
                      <a:pt x="0" y="55"/>
                      <a:pt x="1" y="55"/>
                      <a:pt x="1" y="54"/>
                    </a:cubicBezTo>
                    <a:cubicBezTo>
                      <a:pt x="89" y="0"/>
                      <a:pt x="89" y="0"/>
                      <a:pt x="89" y="0"/>
                    </a:cubicBezTo>
                    <a:cubicBezTo>
                      <a:pt x="89" y="0"/>
                      <a:pt x="89" y="0"/>
                      <a:pt x="90" y="0"/>
                    </a:cubicBezTo>
                    <a:cubicBezTo>
                      <a:pt x="75" y="41"/>
                      <a:pt x="75" y="41"/>
                      <a:pt x="75" y="41"/>
                    </a:cubicBezTo>
                    <a:cubicBezTo>
                      <a:pt x="74" y="43"/>
                      <a:pt x="72" y="44"/>
                      <a:pt x="70" y="4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69" name="ïś1ïḋê"/>
              <p:cNvSpPr/>
              <p:nvPr/>
            </p:nvSpPr>
            <p:spPr bwMode="auto">
              <a:xfrm>
                <a:off x="2701" y="2534"/>
                <a:ext cx="261" cy="158"/>
              </a:xfrm>
              <a:custGeom>
                <a:avLst/>
                <a:gdLst>
                  <a:gd name="T0" fmla="*/ 104 w 154"/>
                  <a:gd name="T1" fmla="*/ 1 h 93"/>
                  <a:gd name="T2" fmla="*/ 149 w 154"/>
                  <a:gd name="T3" fmla="*/ 28 h 93"/>
                  <a:gd name="T4" fmla="*/ 149 w 154"/>
                  <a:gd name="T5" fmla="*/ 38 h 93"/>
                  <a:gd name="T6" fmla="*/ 64 w 154"/>
                  <a:gd name="T7" fmla="*/ 90 h 93"/>
                  <a:gd name="T8" fmla="*/ 48 w 154"/>
                  <a:gd name="T9" fmla="*/ 91 h 93"/>
                  <a:gd name="T10" fmla="*/ 2 w 154"/>
                  <a:gd name="T11" fmla="*/ 64 h 93"/>
                  <a:gd name="T12" fmla="*/ 0 w 154"/>
                  <a:gd name="T13" fmla="*/ 62 h 93"/>
                  <a:gd name="T14" fmla="*/ 70 w 154"/>
                  <a:gd name="T15" fmla="*/ 52 h 93"/>
                  <a:gd name="T16" fmla="*/ 80 w 154"/>
                  <a:gd name="T17" fmla="*/ 48 h 93"/>
                  <a:gd name="T18" fmla="*/ 85 w 154"/>
                  <a:gd name="T19" fmla="*/ 42 h 93"/>
                  <a:gd name="T20" fmla="*/ 101 w 154"/>
                  <a:gd name="T21" fmla="*/ 0 h 93"/>
                  <a:gd name="T22" fmla="*/ 104 w 154"/>
                  <a:gd name="T23" fmla="*/ 1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4" h="93">
                    <a:moveTo>
                      <a:pt x="104" y="1"/>
                    </a:moveTo>
                    <a:cubicBezTo>
                      <a:pt x="149" y="28"/>
                      <a:pt x="149" y="28"/>
                      <a:pt x="149" y="28"/>
                    </a:cubicBezTo>
                    <a:cubicBezTo>
                      <a:pt x="154" y="30"/>
                      <a:pt x="153" y="35"/>
                      <a:pt x="149" y="38"/>
                    </a:cubicBezTo>
                    <a:cubicBezTo>
                      <a:pt x="64" y="90"/>
                      <a:pt x="64" y="90"/>
                      <a:pt x="64" y="90"/>
                    </a:cubicBezTo>
                    <a:cubicBezTo>
                      <a:pt x="59" y="93"/>
                      <a:pt x="52" y="93"/>
                      <a:pt x="48" y="91"/>
                    </a:cubicBezTo>
                    <a:cubicBezTo>
                      <a:pt x="2" y="64"/>
                      <a:pt x="2" y="64"/>
                      <a:pt x="2" y="64"/>
                    </a:cubicBezTo>
                    <a:cubicBezTo>
                      <a:pt x="1" y="64"/>
                      <a:pt x="1" y="63"/>
                      <a:pt x="0" y="62"/>
                    </a:cubicBezTo>
                    <a:cubicBezTo>
                      <a:pt x="70" y="52"/>
                      <a:pt x="70" y="52"/>
                      <a:pt x="70" y="52"/>
                    </a:cubicBezTo>
                    <a:cubicBezTo>
                      <a:pt x="74" y="51"/>
                      <a:pt x="77" y="50"/>
                      <a:pt x="80" y="48"/>
                    </a:cubicBezTo>
                    <a:cubicBezTo>
                      <a:pt x="83" y="47"/>
                      <a:pt x="84" y="45"/>
                      <a:pt x="85" y="42"/>
                    </a:cubicBezTo>
                    <a:cubicBezTo>
                      <a:pt x="101" y="0"/>
                      <a:pt x="101" y="0"/>
                      <a:pt x="101" y="0"/>
                    </a:cubicBezTo>
                    <a:cubicBezTo>
                      <a:pt x="102" y="0"/>
                      <a:pt x="103" y="1"/>
                      <a:pt x="104" y="1"/>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70" name="ïṣļiḓe"/>
              <p:cNvSpPr/>
              <p:nvPr/>
            </p:nvSpPr>
            <p:spPr bwMode="auto">
              <a:xfrm>
                <a:off x="2835" y="2615"/>
                <a:ext cx="338" cy="245"/>
              </a:xfrm>
              <a:custGeom>
                <a:avLst/>
                <a:gdLst>
                  <a:gd name="T0" fmla="*/ 338 w 338"/>
                  <a:gd name="T1" fmla="*/ 0 h 245"/>
                  <a:gd name="T2" fmla="*/ 338 w 338"/>
                  <a:gd name="T3" fmla="*/ 0 h 245"/>
                  <a:gd name="T4" fmla="*/ 0 w 338"/>
                  <a:gd name="T5" fmla="*/ 195 h 245"/>
                  <a:gd name="T6" fmla="*/ 0 w 338"/>
                  <a:gd name="T7" fmla="*/ 245 h 245"/>
                  <a:gd name="T8" fmla="*/ 338 w 338"/>
                  <a:gd name="T9" fmla="*/ 48 h 245"/>
                  <a:gd name="T10" fmla="*/ 338 w 338"/>
                  <a:gd name="T11" fmla="*/ 0 h 245"/>
                </a:gdLst>
                <a:ahLst/>
                <a:cxnLst>
                  <a:cxn ang="0">
                    <a:pos x="T0" y="T1"/>
                  </a:cxn>
                  <a:cxn ang="0">
                    <a:pos x="T2" y="T3"/>
                  </a:cxn>
                  <a:cxn ang="0">
                    <a:pos x="T4" y="T5"/>
                  </a:cxn>
                  <a:cxn ang="0">
                    <a:pos x="T6" y="T7"/>
                  </a:cxn>
                  <a:cxn ang="0">
                    <a:pos x="T8" y="T9"/>
                  </a:cxn>
                  <a:cxn ang="0">
                    <a:pos x="T10" y="T11"/>
                  </a:cxn>
                </a:cxnLst>
                <a:rect l="0" t="0" r="r" b="b"/>
                <a:pathLst>
                  <a:path w="338" h="245">
                    <a:moveTo>
                      <a:pt x="338" y="0"/>
                    </a:moveTo>
                    <a:lnTo>
                      <a:pt x="338" y="0"/>
                    </a:lnTo>
                    <a:lnTo>
                      <a:pt x="0" y="195"/>
                    </a:lnTo>
                    <a:lnTo>
                      <a:pt x="0" y="245"/>
                    </a:lnTo>
                    <a:lnTo>
                      <a:pt x="338" y="48"/>
                    </a:lnTo>
                    <a:lnTo>
                      <a:pt x="338" y="0"/>
                    </a:lnTo>
                    <a:close/>
                  </a:path>
                </a:pathLst>
              </a:custGeom>
              <a:solidFill>
                <a:srgbClr val="C69F5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71" name="ïṡḻîdè"/>
              <p:cNvSpPr/>
              <p:nvPr/>
            </p:nvSpPr>
            <p:spPr bwMode="auto">
              <a:xfrm>
                <a:off x="2835" y="2615"/>
                <a:ext cx="338" cy="245"/>
              </a:xfrm>
              <a:custGeom>
                <a:avLst/>
                <a:gdLst>
                  <a:gd name="T0" fmla="*/ 338 w 338"/>
                  <a:gd name="T1" fmla="*/ 0 h 245"/>
                  <a:gd name="T2" fmla="*/ 338 w 338"/>
                  <a:gd name="T3" fmla="*/ 0 h 245"/>
                  <a:gd name="T4" fmla="*/ 0 w 338"/>
                  <a:gd name="T5" fmla="*/ 195 h 245"/>
                  <a:gd name="T6" fmla="*/ 0 w 338"/>
                  <a:gd name="T7" fmla="*/ 245 h 245"/>
                  <a:gd name="T8" fmla="*/ 338 w 338"/>
                  <a:gd name="T9" fmla="*/ 48 h 245"/>
                  <a:gd name="T10" fmla="*/ 338 w 338"/>
                  <a:gd name="T11" fmla="*/ 0 h 245"/>
                </a:gdLst>
                <a:ahLst/>
                <a:cxnLst>
                  <a:cxn ang="0">
                    <a:pos x="T0" y="T1"/>
                  </a:cxn>
                  <a:cxn ang="0">
                    <a:pos x="T2" y="T3"/>
                  </a:cxn>
                  <a:cxn ang="0">
                    <a:pos x="T4" y="T5"/>
                  </a:cxn>
                  <a:cxn ang="0">
                    <a:pos x="T6" y="T7"/>
                  </a:cxn>
                  <a:cxn ang="0">
                    <a:pos x="T8" y="T9"/>
                  </a:cxn>
                  <a:cxn ang="0">
                    <a:pos x="T10" y="T11"/>
                  </a:cxn>
                </a:cxnLst>
                <a:rect l="0" t="0" r="r" b="b"/>
                <a:pathLst>
                  <a:path w="338" h="245">
                    <a:moveTo>
                      <a:pt x="338" y="0"/>
                    </a:moveTo>
                    <a:lnTo>
                      <a:pt x="338" y="0"/>
                    </a:lnTo>
                    <a:lnTo>
                      <a:pt x="0" y="195"/>
                    </a:lnTo>
                    <a:lnTo>
                      <a:pt x="0" y="245"/>
                    </a:lnTo>
                    <a:lnTo>
                      <a:pt x="338" y="48"/>
                    </a:lnTo>
                    <a:lnTo>
                      <a:pt x="33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72" name="ïṡḷiḋé"/>
              <p:cNvSpPr/>
              <p:nvPr/>
            </p:nvSpPr>
            <p:spPr bwMode="auto">
              <a:xfrm>
                <a:off x="5327" y="4105"/>
                <a:ext cx="339" cy="217"/>
              </a:xfrm>
              <a:custGeom>
                <a:avLst/>
                <a:gdLst>
                  <a:gd name="T0" fmla="*/ 0 w 339"/>
                  <a:gd name="T1" fmla="*/ 0 h 217"/>
                  <a:gd name="T2" fmla="*/ 0 w 339"/>
                  <a:gd name="T3" fmla="*/ 22 h 217"/>
                  <a:gd name="T4" fmla="*/ 339 w 339"/>
                  <a:gd name="T5" fmla="*/ 217 h 217"/>
                  <a:gd name="T6" fmla="*/ 339 w 339"/>
                  <a:gd name="T7" fmla="*/ 217 h 217"/>
                  <a:gd name="T8" fmla="*/ 0 w 339"/>
                  <a:gd name="T9" fmla="*/ 22 h 217"/>
                  <a:gd name="T10" fmla="*/ 0 w 339"/>
                  <a:gd name="T11" fmla="*/ 0 h 217"/>
                  <a:gd name="T12" fmla="*/ 0 w 339"/>
                  <a:gd name="T13" fmla="*/ 0 h 217"/>
                </a:gdLst>
                <a:ahLst/>
                <a:cxnLst>
                  <a:cxn ang="0">
                    <a:pos x="T0" y="T1"/>
                  </a:cxn>
                  <a:cxn ang="0">
                    <a:pos x="T2" y="T3"/>
                  </a:cxn>
                  <a:cxn ang="0">
                    <a:pos x="T4" y="T5"/>
                  </a:cxn>
                  <a:cxn ang="0">
                    <a:pos x="T6" y="T7"/>
                  </a:cxn>
                  <a:cxn ang="0">
                    <a:pos x="T8" y="T9"/>
                  </a:cxn>
                  <a:cxn ang="0">
                    <a:pos x="T10" y="T11"/>
                  </a:cxn>
                  <a:cxn ang="0">
                    <a:pos x="T12" y="T13"/>
                  </a:cxn>
                </a:cxnLst>
                <a:rect l="0" t="0" r="r" b="b"/>
                <a:pathLst>
                  <a:path w="339" h="217">
                    <a:moveTo>
                      <a:pt x="0" y="0"/>
                    </a:moveTo>
                    <a:lnTo>
                      <a:pt x="0" y="22"/>
                    </a:lnTo>
                    <a:lnTo>
                      <a:pt x="339" y="217"/>
                    </a:lnTo>
                    <a:lnTo>
                      <a:pt x="339" y="217"/>
                    </a:lnTo>
                    <a:lnTo>
                      <a:pt x="0" y="22"/>
                    </a:lnTo>
                    <a:lnTo>
                      <a:pt x="0" y="0"/>
                    </a:lnTo>
                    <a:lnTo>
                      <a:pt x="0" y="0"/>
                    </a:lnTo>
                    <a:close/>
                  </a:path>
                </a:pathLst>
              </a:custGeom>
              <a:solidFill>
                <a:srgbClr val="F3F4F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73" name="ïṩľïdè"/>
              <p:cNvSpPr/>
              <p:nvPr/>
            </p:nvSpPr>
            <p:spPr bwMode="auto">
              <a:xfrm>
                <a:off x="5327" y="4105"/>
                <a:ext cx="339" cy="217"/>
              </a:xfrm>
              <a:custGeom>
                <a:avLst/>
                <a:gdLst>
                  <a:gd name="T0" fmla="*/ 0 w 339"/>
                  <a:gd name="T1" fmla="*/ 0 h 217"/>
                  <a:gd name="T2" fmla="*/ 0 w 339"/>
                  <a:gd name="T3" fmla="*/ 22 h 217"/>
                  <a:gd name="T4" fmla="*/ 339 w 339"/>
                  <a:gd name="T5" fmla="*/ 217 h 217"/>
                  <a:gd name="T6" fmla="*/ 339 w 339"/>
                  <a:gd name="T7" fmla="*/ 217 h 217"/>
                  <a:gd name="T8" fmla="*/ 0 w 339"/>
                  <a:gd name="T9" fmla="*/ 22 h 217"/>
                  <a:gd name="T10" fmla="*/ 0 w 339"/>
                  <a:gd name="T11" fmla="*/ 0 h 217"/>
                  <a:gd name="T12" fmla="*/ 0 w 339"/>
                  <a:gd name="T13" fmla="*/ 0 h 217"/>
                </a:gdLst>
                <a:ahLst/>
                <a:cxnLst>
                  <a:cxn ang="0">
                    <a:pos x="T0" y="T1"/>
                  </a:cxn>
                  <a:cxn ang="0">
                    <a:pos x="T2" y="T3"/>
                  </a:cxn>
                  <a:cxn ang="0">
                    <a:pos x="T4" y="T5"/>
                  </a:cxn>
                  <a:cxn ang="0">
                    <a:pos x="T6" y="T7"/>
                  </a:cxn>
                  <a:cxn ang="0">
                    <a:pos x="T8" y="T9"/>
                  </a:cxn>
                  <a:cxn ang="0">
                    <a:pos x="T10" y="T11"/>
                  </a:cxn>
                  <a:cxn ang="0">
                    <a:pos x="T12" y="T13"/>
                  </a:cxn>
                </a:cxnLst>
                <a:rect l="0" t="0" r="r" b="b"/>
                <a:pathLst>
                  <a:path w="339" h="217">
                    <a:moveTo>
                      <a:pt x="0" y="0"/>
                    </a:moveTo>
                    <a:lnTo>
                      <a:pt x="0" y="22"/>
                    </a:lnTo>
                    <a:lnTo>
                      <a:pt x="339" y="217"/>
                    </a:lnTo>
                    <a:lnTo>
                      <a:pt x="339" y="217"/>
                    </a:lnTo>
                    <a:lnTo>
                      <a:pt x="0" y="22"/>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74" name="ïšlïḓé"/>
              <p:cNvSpPr/>
              <p:nvPr/>
            </p:nvSpPr>
            <p:spPr bwMode="auto">
              <a:xfrm>
                <a:off x="5327" y="4105"/>
                <a:ext cx="339" cy="217"/>
              </a:xfrm>
              <a:custGeom>
                <a:avLst/>
                <a:gdLst>
                  <a:gd name="T0" fmla="*/ 0 w 339"/>
                  <a:gd name="T1" fmla="*/ 0 h 217"/>
                  <a:gd name="T2" fmla="*/ 0 w 339"/>
                  <a:gd name="T3" fmla="*/ 22 h 217"/>
                  <a:gd name="T4" fmla="*/ 339 w 339"/>
                  <a:gd name="T5" fmla="*/ 217 h 217"/>
                  <a:gd name="T6" fmla="*/ 339 w 339"/>
                  <a:gd name="T7" fmla="*/ 169 h 217"/>
                  <a:gd name="T8" fmla="*/ 316 w 339"/>
                  <a:gd name="T9" fmla="*/ 181 h 217"/>
                  <a:gd name="T10" fmla="*/ 316 w 339"/>
                  <a:gd name="T11" fmla="*/ 181 h 217"/>
                  <a:gd name="T12" fmla="*/ 316 w 339"/>
                  <a:gd name="T13" fmla="*/ 181 h 217"/>
                  <a:gd name="T14" fmla="*/ 0 w 339"/>
                  <a:gd name="T15" fmla="*/ 0 h 2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9" h="217">
                    <a:moveTo>
                      <a:pt x="0" y="0"/>
                    </a:moveTo>
                    <a:lnTo>
                      <a:pt x="0" y="22"/>
                    </a:lnTo>
                    <a:lnTo>
                      <a:pt x="339" y="217"/>
                    </a:lnTo>
                    <a:lnTo>
                      <a:pt x="339" y="169"/>
                    </a:lnTo>
                    <a:lnTo>
                      <a:pt x="316" y="181"/>
                    </a:lnTo>
                    <a:lnTo>
                      <a:pt x="316" y="181"/>
                    </a:lnTo>
                    <a:lnTo>
                      <a:pt x="316" y="181"/>
                    </a:lnTo>
                    <a:lnTo>
                      <a:pt x="0" y="0"/>
                    </a:lnTo>
                    <a:close/>
                  </a:path>
                </a:pathLst>
              </a:custGeom>
              <a:solidFill>
                <a:srgbClr val="D3575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75" name="ïṡ1ïde"/>
              <p:cNvSpPr/>
              <p:nvPr/>
            </p:nvSpPr>
            <p:spPr bwMode="auto">
              <a:xfrm>
                <a:off x="5327" y="4105"/>
                <a:ext cx="339" cy="217"/>
              </a:xfrm>
              <a:custGeom>
                <a:avLst/>
                <a:gdLst>
                  <a:gd name="T0" fmla="*/ 0 w 339"/>
                  <a:gd name="T1" fmla="*/ 0 h 217"/>
                  <a:gd name="T2" fmla="*/ 0 w 339"/>
                  <a:gd name="T3" fmla="*/ 22 h 217"/>
                  <a:gd name="T4" fmla="*/ 339 w 339"/>
                  <a:gd name="T5" fmla="*/ 217 h 217"/>
                  <a:gd name="T6" fmla="*/ 339 w 339"/>
                  <a:gd name="T7" fmla="*/ 169 h 217"/>
                  <a:gd name="T8" fmla="*/ 316 w 339"/>
                  <a:gd name="T9" fmla="*/ 181 h 217"/>
                  <a:gd name="T10" fmla="*/ 316 w 339"/>
                  <a:gd name="T11" fmla="*/ 181 h 217"/>
                  <a:gd name="T12" fmla="*/ 316 w 339"/>
                  <a:gd name="T13" fmla="*/ 181 h 217"/>
                  <a:gd name="T14" fmla="*/ 0 w 339"/>
                  <a:gd name="T15" fmla="*/ 0 h 2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9" h="217">
                    <a:moveTo>
                      <a:pt x="0" y="0"/>
                    </a:moveTo>
                    <a:lnTo>
                      <a:pt x="0" y="22"/>
                    </a:lnTo>
                    <a:lnTo>
                      <a:pt x="339" y="217"/>
                    </a:lnTo>
                    <a:lnTo>
                      <a:pt x="339" y="169"/>
                    </a:lnTo>
                    <a:lnTo>
                      <a:pt x="316" y="181"/>
                    </a:lnTo>
                    <a:lnTo>
                      <a:pt x="316" y="181"/>
                    </a:lnTo>
                    <a:lnTo>
                      <a:pt x="316" y="18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76" name="i$ḷïḑè"/>
              <p:cNvSpPr/>
              <p:nvPr/>
            </p:nvSpPr>
            <p:spPr bwMode="auto">
              <a:xfrm>
                <a:off x="5305" y="3849"/>
                <a:ext cx="677" cy="388"/>
              </a:xfrm>
              <a:custGeom>
                <a:avLst/>
                <a:gdLst>
                  <a:gd name="T0" fmla="*/ 0 w 677"/>
                  <a:gd name="T1" fmla="*/ 193 h 388"/>
                  <a:gd name="T2" fmla="*/ 340 w 677"/>
                  <a:gd name="T3" fmla="*/ 0 h 388"/>
                  <a:gd name="T4" fmla="*/ 677 w 677"/>
                  <a:gd name="T5" fmla="*/ 193 h 388"/>
                  <a:gd name="T6" fmla="*/ 338 w 677"/>
                  <a:gd name="T7" fmla="*/ 388 h 388"/>
                  <a:gd name="T8" fmla="*/ 0 w 677"/>
                  <a:gd name="T9" fmla="*/ 193 h 388"/>
                </a:gdLst>
                <a:ahLst/>
                <a:cxnLst>
                  <a:cxn ang="0">
                    <a:pos x="T0" y="T1"/>
                  </a:cxn>
                  <a:cxn ang="0">
                    <a:pos x="T2" y="T3"/>
                  </a:cxn>
                  <a:cxn ang="0">
                    <a:pos x="T4" y="T5"/>
                  </a:cxn>
                  <a:cxn ang="0">
                    <a:pos x="T6" y="T7"/>
                  </a:cxn>
                  <a:cxn ang="0">
                    <a:pos x="T8" y="T9"/>
                  </a:cxn>
                </a:cxnLst>
                <a:rect l="0" t="0" r="r" b="b"/>
                <a:pathLst>
                  <a:path w="677" h="388">
                    <a:moveTo>
                      <a:pt x="0" y="193"/>
                    </a:moveTo>
                    <a:lnTo>
                      <a:pt x="340" y="0"/>
                    </a:lnTo>
                    <a:lnTo>
                      <a:pt x="677" y="193"/>
                    </a:lnTo>
                    <a:lnTo>
                      <a:pt x="338" y="388"/>
                    </a:lnTo>
                    <a:lnTo>
                      <a:pt x="0" y="193"/>
                    </a:lnTo>
                    <a:close/>
                  </a:path>
                </a:pathLst>
              </a:custGeom>
              <a:solidFill>
                <a:srgbClr val="416BA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77" name="iṣḷídé"/>
              <p:cNvSpPr/>
              <p:nvPr/>
            </p:nvSpPr>
            <p:spPr bwMode="auto">
              <a:xfrm>
                <a:off x="5305" y="3849"/>
                <a:ext cx="677" cy="388"/>
              </a:xfrm>
              <a:custGeom>
                <a:avLst/>
                <a:gdLst>
                  <a:gd name="T0" fmla="*/ 0 w 677"/>
                  <a:gd name="T1" fmla="*/ 193 h 388"/>
                  <a:gd name="T2" fmla="*/ 340 w 677"/>
                  <a:gd name="T3" fmla="*/ 0 h 388"/>
                  <a:gd name="T4" fmla="*/ 677 w 677"/>
                  <a:gd name="T5" fmla="*/ 193 h 388"/>
                  <a:gd name="T6" fmla="*/ 338 w 677"/>
                  <a:gd name="T7" fmla="*/ 388 h 388"/>
                  <a:gd name="T8" fmla="*/ 0 w 677"/>
                  <a:gd name="T9" fmla="*/ 193 h 388"/>
                </a:gdLst>
                <a:ahLst/>
                <a:cxnLst>
                  <a:cxn ang="0">
                    <a:pos x="T0" y="T1"/>
                  </a:cxn>
                  <a:cxn ang="0">
                    <a:pos x="T2" y="T3"/>
                  </a:cxn>
                  <a:cxn ang="0">
                    <a:pos x="T4" y="T5"/>
                  </a:cxn>
                  <a:cxn ang="0">
                    <a:pos x="T6" y="T7"/>
                  </a:cxn>
                  <a:cxn ang="0">
                    <a:pos x="T8" y="T9"/>
                  </a:cxn>
                </a:cxnLst>
                <a:rect l="0" t="0" r="r" b="b"/>
                <a:pathLst>
                  <a:path w="677" h="388">
                    <a:moveTo>
                      <a:pt x="0" y="193"/>
                    </a:moveTo>
                    <a:lnTo>
                      <a:pt x="340" y="0"/>
                    </a:lnTo>
                    <a:lnTo>
                      <a:pt x="677" y="193"/>
                    </a:lnTo>
                    <a:lnTo>
                      <a:pt x="338" y="388"/>
                    </a:lnTo>
                    <a:lnTo>
                      <a:pt x="0" y="19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78" name="ïš1îḋé"/>
              <p:cNvSpPr/>
              <p:nvPr/>
            </p:nvSpPr>
            <p:spPr bwMode="auto">
              <a:xfrm>
                <a:off x="5305" y="4018"/>
                <a:ext cx="677" cy="219"/>
              </a:xfrm>
              <a:custGeom>
                <a:avLst/>
                <a:gdLst>
                  <a:gd name="T0" fmla="*/ 43 w 677"/>
                  <a:gd name="T1" fmla="*/ 0 h 219"/>
                  <a:gd name="T2" fmla="*/ 0 w 677"/>
                  <a:gd name="T3" fmla="*/ 24 h 219"/>
                  <a:gd name="T4" fmla="*/ 338 w 677"/>
                  <a:gd name="T5" fmla="*/ 219 h 219"/>
                  <a:gd name="T6" fmla="*/ 677 w 677"/>
                  <a:gd name="T7" fmla="*/ 24 h 219"/>
                  <a:gd name="T8" fmla="*/ 677 w 677"/>
                  <a:gd name="T9" fmla="*/ 24 h 219"/>
                  <a:gd name="T10" fmla="*/ 381 w 677"/>
                  <a:gd name="T11" fmla="*/ 195 h 219"/>
                  <a:gd name="T12" fmla="*/ 43 w 677"/>
                  <a:gd name="T13" fmla="*/ 0 h 219"/>
                </a:gdLst>
                <a:ahLst/>
                <a:cxnLst>
                  <a:cxn ang="0">
                    <a:pos x="T0" y="T1"/>
                  </a:cxn>
                  <a:cxn ang="0">
                    <a:pos x="T2" y="T3"/>
                  </a:cxn>
                  <a:cxn ang="0">
                    <a:pos x="T4" y="T5"/>
                  </a:cxn>
                  <a:cxn ang="0">
                    <a:pos x="T6" y="T7"/>
                  </a:cxn>
                  <a:cxn ang="0">
                    <a:pos x="T8" y="T9"/>
                  </a:cxn>
                  <a:cxn ang="0">
                    <a:pos x="T10" y="T11"/>
                  </a:cxn>
                  <a:cxn ang="0">
                    <a:pos x="T12" y="T13"/>
                  </a:cxn>
                </a:cxnLst>
                <a:rect l="0" t="0" r="r" b="b"/>
                <a:pathLst>
                  <a:path w="677" h="219">
                    <a:moveTo>
                      <a:pt x="43" y="0"/>
                    </a:moveTo>
                    <a:lnTo>
                      <a:pt x="0" y="24"/>
                    </a:lnTo>
                    <a:lnTo>
                      <a:pt x="338" y="219"/>
                    </a:lnTo>
                    <a:lnTo>
                      <a:pt x="677" y="24"/>
                    </a:lnTo>
                    <a:lnTo>
                      <a:pt x="677" y="24"/>
                    </a:lnTo>
                    <a:lnTo>
                      <a:pt x="381" y="195"/>
                    </a:lnTo>
                    <a:lnTo>
                      <a:pt x="43" y="0"/>
                    </a:lnTo>
                    <a:close/>
                  </a:path>
                </a:pathLst>
              </a:custGeom>
              <a:solidFill>
                <a:srgbClr val="6883B3"/>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79" name="íSļiḋê"/>
              <p:cNvSpPr/>
              <p:nvPr/>
            </p:nvSpPr>
            <p:spPr bwMode="auto">
              <a:xfrm>
                <a:off x="5305" y="4018"/>
                <a:ext cx="677" cy="219"/>
              </a:xfrm>
              <a:custGeom>
                <a:avLst/>
                <a:gdLst>
                  <a:gd name="T0" fmla="*/ 43 w 677"/>
                  <a:gd name="T1" fmla="*/ 0 h 219"/>
                  <a:gd name="T2" fmla="*/ 0 w 677"/>
                  <a:gd name="T3" fmla="*/ 24 h 219"/>
                  <a:gd name="T4" fmla="*/ 338 w 677"/>
                  <a:gd name="T5" fmla="*/ 219 h 219"/>
                  <a:gd name="T6" fmla="*/ 677 w 677"/>
                  <a:gd name="T7" fmla="*/ 24 h 219"/>
                  <a:gd name="T8" fmla="*/ 677 w 677"/>
                  <a:gd name="T9" fmla="*/ 24 h 219"/>
                  <a:gd name="T10" fmla="*/ 381 w 677"/>
                  <a:gd name="T11" fmla="*/ 195 h 219"/>
                  <a:gd name="T12" fmla="*/ 43 w 677"/>
                  <a:gd name="T13" fmla="*/ 0 h 219"/>
                </a:gdLst>
                <a:ahLst/>
                <a:cxnLst>
                  <a:cxn ang="0">
                    <a:pos x="T0" y="T1"/>
                  </a:cxn>
                  <a:cxn ang="0">
                    <a:pos x="T2" y="T3"/>
                  </a:cxn>
                  <a:cxn ang="0">
                    <a:pos x="T4" y="T5"/>
                  </a:cxn>
                  <a:cxn ang="0">
                    <a:pos x="T6" y="T7"/>
                  </a:cxn>
                  <a:cxn ang="0">
                    <a:pos x="T8" y="T9"/>
                  </a:cxn>
                  <a:cxn ang="0">
                    <a:pos x="T10" y="T11"/>
                  </a:cxn>
                  <a:cxn ang="0">
                    <a:pos x="T12" y="T13"/>
                  </a:cxn>
                </a:cxnLst>
                <a:rect l="0" t="0" r="r" b="b"/>
                <a:pathLst>
                  <a:path w="677" h="219">
                    <a:moveTo>
                      <a:pt x="43" y="0"/>
                    </a:moveTo>
                    <a:lnTo>
                      <a:pt x="0" y="24"/>
                    </a:lnTo>
                    <a:lnTo>
                      <a:pt x="338" y="219"/>
                    </a:lnTo>
                    <a:lnTo>
                      <a:pt x="677" y="24"/>
                    </a:lnTo>
                    <a:lnTo>
                      <a:pt x="677" y="24"/>
                    </a:lnTo>
                    <a:lnTo>
                      <a:pt x="381" y="195"/>
                    </a:lnTo>
                    <a:lnTo>
                      <a:pt x="4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80" name="ïsļíḓé"/>
              <p:cNvSpPr/>
              <p:nvPr/>
            </p:nvSpPr>
            <p:spPr bwMode="auto">
              <a:xfrm>
                <a:off x="5305" y="4042"/>
                <a:ext cx="677" cy="244"/>
              </a:xfrm>
              <a:custGeom>
                <a:avLst/>
                <a:gdLst>
                  <a:gd name="T0" fmla="*/ 0 w 677"/>
                  <a:gd name="T1" fmla="*/ 0 h 244"/>
                  <a:gd name="T2" fmla="*/ 0 w 677"/>
                  <a:gd name="T3" fmla="*/ 49 h 244"/>
                  <a:gd name="T4" fmla="*/ 338 w 677"/>
                  <a:gd name="T5" fmla="*/ 244 h 244"/>
                  <a:gd name="T6" fmla="*/ 677 w 677"/>
                  <a:gd name="T7" fmla="*/ 49 h 244"/>
                  <a:gd name="T8" fmla="*/ 677 w 677"/>
                  <a:gd name="T9" fmla="*/ 0 h 244"/>
                  <a:gd name="T10" fmla="*/ 338 w 677"/>
                  <a:gd name="T11" fmla="*/ 195 h 244"/>
                  <a:gd name="T12" fmla="*/ 0 w 677"/>
                  <a:gd name="T13" fmla="*/ 0 h 244"/>
                </a:gdLst>
                <a:ahLst/>
                <a:cxnLst>
                  <a:cxn ang="0">
                    <a:pos x="T0" y="T1"/>
                  </a:cxn>
                  <a:cxn ang="0">
                    <a:pos x="T2" y="T3"/>
                  </a:cxn>
                  <a:cxn ang="0">
                    <a:pos x="T4" y="T5"/>
                  </a:cxn>
                  <a:cxn ang="0">
                    <a:pos x="T6" y="T7"/>
                  </a:cxn>
                  <a:cxn ang="0">
                    <a:pos x="T8" y="T9"/>
                  </a:cxn>
                  <a:cxn ang="0">
                    <a:pos x="T10" y="T11"/>
                  </a:cxn>
                  <a:cxn ang="0">
                    <a:pos x="T12" y="T13"/>
                  </a:cxn>
                </a:cxnLst>
                <a:rect l="0" t="0" r="r" b="b"/>
                <a:pathLst>
                  <a:path w="677" h="244">
                    <a:moveTo>
                      <a:pt x="0" y="0"/>
                    </a:moveTo>
                    <a:lnTo>
                      <a:pt x="0" y="49"/>
                    </a:lnTo>
                    <a:lnTo>
                      <a:pt x="338" y="244"/>
                    </a:lnTo>
                    <a:lnTo>
                      <a:pt x="677" y="49"/>
                    </a:lnTo>
                    <a:lnTo>
                      <a:pt x="677" y="0"/>
                    </a:lnTo>
                    <a:lnTo>
                      <a:pt x="338" y="195"/>
                    </a:lnTo>
                    <a:lnTo>
                      <a:pt x="0" y="0"/>
                    </a:lnTo>
                    <a:close/>
                  </a:path>
                </a:pathLst>
              </a:custGeom>
              <a:solidFill>
                <a:srgbClr val="1A428A"/>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81" name="íSľîďe"/>
              <p:cNvSpPr/>
              <p:nvPr/>
            </p:nvSpPr>
            <p:spPr bwMode="auto">
              <a:xfrm>
                <a:off x="5305" y="4042"/>
                <a:ext cx="677" cy="244"/>
              </a:xfrm>
              <a:custGeom>
                <a:avLst/>
                <a:gdLst>
                  <a:gd name="T0" fmla="*/ 0 w 677"/>
                  <a:gd name="T1" fmla="*/ 0 h 244"/>
                  <a:gd name="T2" fmla="*/ 0 w 677"/>
                  <a:gd name="T3" fmla="*/ 49 h 244"/>
                  <a:gd name="T4" fmla="*/ 338 w 677"/>
                  <a:gd name="T5" fmla="*/ 244 h 244"/>
                  <a:gd name="T6" fmla="*/ 677 w 677"/>
                  <a:gd name="T7" fmla="*/ 49 h 244"/>
                  <a:gd name="T8" fmla="*/ 677 w 677"/>
                  <a:gd name="T9" fmla="*/ 0 h 244"/>
                  <a:gd name="T10" fmla="*/ 338 w 677"/>
                  <a:gd name="T11" fmla="*/ 195 h 244"/>
                  <a:gd name="T12" fmla="*/ 0 w 677"/>
                  <a:gd name="T13" fmla="*/ 0 h 244"/>
                </a:gdLst>
                <a:ahLst/>
                <a:cxnLst>
                  <a:cxn ang="0">
                    <a:pos x="T0" y="T1"/>
                  </a:cxn>
                  <a:cxn ang="0">
                    <a:pos x="T2" y="T3"/>
                  </a:cxn>
                  <a:cxn ang="0">
                    <a:pos x="T4" y="T5"/>
                  </a:cxn>
                  <a:cxn ang="0">
                    <a:pos x="T6" y="T7"/>
                  </a:cxn>
                  <a:cxn ang="0">
                    <a:pos x="T8" y="T9"/>
                  </a:cxn>
                  <a:cxn ang="0">
                    <a:pos x="T10" y="T11"/>
                  </a:cxn>
                  <a:cxn ang="0">
                    <a:pos x="T12" y="T13"/>
                  </a:cxn>
                </a:cxnLst>
                <a:rect l="0" t="0" r="r" b="b"/>
                <a:pathLst>
                  <a:path w="677" h="244">
                    <a:moveTo>
                      <a:pt x="0" y="0"/>
                    </a:moveTo>
                    <a:lnTo>
                      <a:pt x="0" y="49"/>
                    </a:lnTo>
                    <a:lnTo>
                      <a:pt x="338" y="244"/>
                    </a:lnTo>
                    <a:lnTo>
                      <a:pt x="677" y="49"/>
                    </a:lnTo>
                    <a:lnTo>
                      <a:pt x="677" y="0"/>
                    </a:lnTo>
                    <a:lnTo>
                      <a:pt x="338" y="19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82" name="ïṧḻiḑé"/>
              <p:cNvSpPr/>
              <p:nvPr/>
            </p:nvSpPr>
            <p:spPr bwMode="auto">
              <a:xfrm>
                <a:off x="5348" y="3774"/>
                <a:ext cx="676" cy="390"/>
              </a:xfrm>
              <a:custGeom>
                <a:avLst/>
                <a:gdLst>
                  <a:gd name="T0" fmla="*/ 0 w 676"/>
                  <a:gd name="T1" fmla="*/ 195 h 390"/>
                  <a:gd name="T2" fmla="*/ 340 w 676"/>
                  <a:gd name="T3" fmla="*/ 0 h 390"/>
                  <a:gd name="T4" fmla="*/ 676 w 676"/>
                  <a:gd name="T5" fmla="*/ 195 h 390"/>
                  <a:gd name="T6" fmla="*/ 338 w 676"/>
                  <a:gd name="T7" fmla="*/ 390 h 390"/>
                  <a:gd name="T8" fmla="*/ 0 w 676"/>
                  <a:gd name="T9" fmla="*/ 195 h 390"/>
                </a:gdLst>
                <a:ahLst/>
                <a:cxnLst>
                  <a:cxn ang="0">
                    <a:pos x="T0" y="T1"/>
                  </a:cxn>
                  <a:cxn ang="0">
                    <a:pos x="T2" y="T3"/>
                  </a:cxn>
                  <a:cxn ang="0">
                    <a:pos x="T4" y="T5"/>
                  </a:cxn>
                  <a:cxn ang="0">
                    <a:pos x="T6" y="T7"/>
                  </a:cxn>
                  <a:cxn ang="0">
                    <a:pos x="T8" y="T9"/>
                  </a:cxn>
                </a:cxnLst>
                <a:rect l="0" t="0" r="r" b="b"/>
                <a:pathLst>
                  <a:path w="676" h="390">
                    <a:moveTo>
                      <a:pt x="0" y="195"/>
                    </a:moveTo>
                    <a:lnTo>
                      <a:pt x="340" y="0"/>
                    </a:lnTo>
                    <a:lnTo>
                      <a:pt x="676" y="195"/>
                    </a:lnTo>
                    <a:lnTo>
                      <a:pt x="338" y="390"/>
                    </a:lnTo>
                    <a:lnTo>
                      <a:pt x="0" y="195"/>
                    </a:lnTo>
                    <a:close/>
                  </a:path>
                </a:pathLst>
              </a:custGeom>
              <a:solidFill>
                <a:srgbClr val="10CFC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83" name="îṡḷîdê"/>
              <p:cNvSpPr/>
              <p:nvPr/>
            </p:nvSpPr>
            <p:spPr bwMode="auto">
              <a:xfrm>
                <a:off x="5348" y="3774"/>
                <a:ext cx="676" cy="390"/>
              </a:xfrm>
              <a:custGeom>
                <a:avLst/>
                <a:gdLst>
                  <a:gd name="T0" fmla="*/ 0 w 676"/>
                  <a:gd name="T1" fmla="*/ 195 h 390"/>
                  <a:gd name="T2" fmla="*/ 340 w 676"/>
                  <a:gd name="T3" fmla="*/ 0 h 390"/>
                  <a:gd name="T4" fmla="*/ 676 w 676"/>
                  <a:gd name="T5" fmla="*/ 195 h 390"/>
                  <a:gd name="T6" fmla="*/ 338 w 676"/>
                  <a:gd name="T7" fmla="*/ 390 h 390"/>
                  <a:gd name="T8" fmla="*/ 0 w 676"/>
                  <a:gd name="T9" fmla="*/ 195 h 390"/>
                </a:gdLst>
                <a:ahLst/>
                <a:cxnLst>
                  <a:cxn ang="0">
                    <a:pos x="T0" y="T1"/>
                  </a:cxn>
                  <a:cxn ang="0">
                    <a:pos x="T2" y="T3"/>
                  </a:cxn>
                  <a:cxn ang="0">
                    <a:pos x="T4" y="T5"/>
                  </a:cxn>
                  <a:cxn ang="0">
                    <a:pos x="T6" y="T7"/>
                  </a:cxn>
                  <a:cxn ang="0">
                    <a:pos x="T8" y="T9"/>
                  </a:cxn>
                </a:cxnLst>
                <a:rect l="0" t="0" r="r" b="b"/>
                <a:pathLst>
                  <a:path w="676" h="390">
                    <a:moveTo>
                      <a:pt x="0" y="195"/>
                    </a:moveTo>
                    <a:lnTo>
                      <a:pt x="340" y="0"/>
                    </a:lnTo>
                    <a:lnTo>
                      <a:pt x="676" y="195"/>
                    </a:lnTo>
                    <a:lnTo>
                      <a:pt x="338" y="390"/>
                    </a:lnTo>
                    <a:lnTo>
                      <a:pt x="0" y="19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84" name="îślíḍe"/>
              <p:cNvSpPr/>
              <p:nvPr/>
            </p:nvSpPr>
            <p:spPr bwMode="auto">
              <a:xfrm>
                <a:off x="5348" y="3774"/>
                <a:ext cx="676" cy="390"/>
              </a:xfrm>
              <a:custGeom>
                <a:avLst/>
                <a:gdLst>
                  <a:gd name="T0" fmla="*/ 340 w 676"/>
                  <a:gd name="T1" fmla="*/ 0 h 390"/>
                  <a:gd name="T2" fmla="*/ 0 w 676"/>
                  <a:gd name="T3" fmla="*/ 195 h 390"/>
                  <a:gd name="T4" fmla="*/ 338 w 676"/>
                  <a:gd name="T5" fmla="*/ 390 h 390"/>
                  <a:gd name="T6" fmla="*/ 676 w 676"/>
                  <a:gd name="T7" fmla="*/ 195 h 390"/>
                  <a:gd name="T8" fmla="*/ 340 w 676"/>
                  <a:gd name="T9" fmla="*/ 0 h 390"/>
                </a:gdLst>
                <a:ahLst/>
                <a:cxnLst>
                  <a:cxn ang="0">
                    <a:pos x="T0" y="T1"/>
                  </a:cxn>
                  <a:cxn ang="0">
                    <a:pos x="T2" y="T3"/>
                  </a:cxn>
                  <a:cxn ang="0">
                    <a:pos x="T4" y="T5"/>
                  </a:cxn>
                  <a:cxn ang="0">
                    <a:pos x="T6" y="T7"/>
                  </a:cxn>
                  <a:cxn ang="0">
                    <a:pos x="T8" y="T9"/>
                  </a:cxn>
                </a:cxnLst>
                <a:rect l="0" t="0" r="r" b="b"/>
                <a:pathLst>
                  <a:path w="676" h="390">
                    <a:moveTo>
                      <a:pt x="340" y="0"/>
                    </a:moveTo>
                    <a:lnTo>
                      <a:pt x="0" y="195"/>
                    </a:lnTo>
                    <a:lnTo>
                      <a:pt x="338" y="390"/>
                    </a:lnTo>
                    <a:lnTo>
                      <a:pt x="676" y="195"/>
                    </a:lnTo>
                    <a:lnTo>
                      <a:pt x="340" y="0"/>
                    </a:lnTo>
                    <a:close/>
                  </a:path>
                </a:pathLst>
              </a:custGeom>
              <a:solidFill>
                <a:srgbClr val="71D7D3"/>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85" name="îš1ïḋè"/>
              <p:cNvSpPr/>
              <p:nvPr/>
            </p:nvSpPr>
            <p:spPr bwMode="auto">
              <a:xfrm>
                <a:off x="5348" y="3774"/>
                <a:ext cx="676" cy="390"/>
              </a:xfrm>
              <a:custGeom>
                <a:avLst/>
                <a:gdLst>
                  <a:gd name="T0" fmla="*/ 340 w 676"/>
                  <a:gd name="T1" fmla="*/ 0 h 390"/>
                  <a:gd name="T2" fmla="*/ 0 w 676"/>
                  <a:gd name="T3" fmla="*/ 195 h 390"/>
                  <a:gd name="T4" fmla="*/ 338 w 676"/>
                  <a:gd name="T5" fmla="*/ 390 h 390"/>
                  <a:gd name="T6" fmla="*/ 676 w 676"/>
                  <a:gd name="T7" fmla="*/ 195 h 390"/>
                  <a:gd name="T8" fmla="*/ 340 w 676"/>
                  <a:gd name="T9" fmla="*/ 0 h 390"/>
                </a:gdLst>
                <a:ahLst/>
                <a:cxnLst>
                  <a:cxn ang="0">
                    <a:pos x="T0" y="T1"/>
                  </a:cxn>
                  <a:cxn ang="0">
                    <a:pos x="T2" y="T3"/>
                  </a:cxn>
                  <a:cxn ang="0">
                    <a:pos x="T4" y="T5"/>
                  </a:cxn>
                  <a:cxn ang="0">
                    <a:pos x="T6" y="T7"/>
                  </a:cxn>
                  <a:cxn ang="0">
                    <a:pos x="T8" y="T9"/>
                  </a:cxn>
                </a:cxnLst>
                <a:rect l="0" t="0" r="r" b="b"/>
                <a:pathLst>
                  <a:path w="676" h="390">
                    <a:moveTo>
                      <a:pt x="340" y="0"/>
                    </a:moveTo>
                    <a:lnTo>
                      <a:pt x="0" y="195"/>
                    </a:lnTo>
                    <a:lnTo>
                      <a:pt x="338" y="390"/>
                    </a:lnTo>
                    <a:lnTo>
                      <a:pt x="676" y="195"/>
                    </a:lnTo>
                    <a:lnTo>
                      <a:pt x="34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86" name="ïşḻïde"/>
              <p:cNvSpPr/>
              <p:nvPr/>
            </p:nvSpPr>
            <p:spPr bwMode="auto">
              <a:xfrm>
                <a:off x="5348" y="3969"/>
                <a:ext cx="676" cy="244"/>
              </a:xfrm>
              <a:custGeom>
                <a:avLst/>
                <a:gdLst>
                  <a:gd name="T0" fmla="*/ 0 w 676"/>
                  <a:gd name="T1" fmla="*/ 0 h 244"/>
                  <a:gd name="T2" fmla="*/ 0 w 676"/>
                  <a:gd name="T3" fmla="*/ 49 h 244"/>
                  <a:gd name="T4" fmla="*/ 338 w 676"/>
                  <a:gd name="T5" fmla="*/ 244 h 244"/>
                  <a:gd name="T6" fmla="*/ 676 w 676"/>
                  <a:gd name="T7" fmla="*/ 49 h 244"/>
                  <a:gd name="T8" fmla="*/ 676 w 676"/>
                  <a:gd name="T9" fmla="*/ 0 h 244"/>
                  <a:gd name="T10" fmla="*/ 338 w 676"/>
                  <a:gd name="T11" fmla="*/ 195 h 244"/>
                  <a:gd name="T12" fmla="*/ 0 w 676"/>
                  <a:gd name="T13" fmla="*/ 0 h 244"/>
                </a:gdLst>
                <a:ahLst/>
                <a:cxnLst>
                  <a:cxn ang="0">
                    <a:pos x="T0" y="T1"/>
                  </a:cxn>
                  <a:cxn ang="0">
                    <a:pos x="T2" y="T3"/>
                  </a:cxn>
                  <a:cxn ang="0">
                    <a:pos x="T4" y="T5"/>
                  </a:cxn>
                  <a:cxn ang="0">
                    <a:pos x="T6" y="T7"/>
                  </a:cxn>
                  <a:cxn ang="0">
                    <a:pos x="T8" y="T9"/>
                  </a:cxn>
                  <a:cxn ang="0">
                    <a:pos x="T10" y="T11"/>
                  </a:cxn>
                  <a:cxn ang="0">
                    <a:pos x="T12" y="T13"/>
                  </a:cxn>
                </a:cxnLst>
                <a:rect l="0" t="0" r="r" b="b"/>
                <a:pathLst>
                  <a:path w="676" h="244">
                    <a:moveTo>
                      <a:pt x="0" y="0"/>
                    </a:moveTo>
                    <a:lnTo>
                      <a:pt x="0" y="49"/>
                    </a:lnTo>
                    <a:lnTo>
                      <a:pt x="338" y="244"/>
                    </a:lnTo>
                    <a:lnTo>
                      <a:pt x="676" y="49"/>
                    </a:lnTo>
                    <a:lnTo>
                      <a:pt x="676" y="0"/>
                    </a:lnTo>
                    <a:lnTo>
                      <a:pt x="338" y="195"/>
                    </a:lnTo>
                    <a:lnTo>
                      <a:pt x="0" y="0"/>
                    </a:lnTo>
                    <a:close/>
                  </a:path>
                </a:pathLst>
              </a:custGeom>
              <a:solidFill>
                <a:srgbClr val="00A19B"/>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87" name="ísḻïḑè"/>
              <p:cNvSpPr/>
              <p:nvPr/>
            </p:nvSpPr>
            <p:spPr bwMode="auto">
              <a:xfrm>
                <a:off x="5348" y="3969"/>
                <a:ext cx="676" cy="244"/>
              </a:xfrm>
              <a:custGeom>
                <a:avLst/>
                <a:gdLst>
                  <a:gd name="T0" fmla="*/ 0 w 676"/>
                  <a:gd name="T1" fmla="*/ 0 h 244"/>
                  <a:gd name="T2" fmla="*/ 0 w 676"/>
                  <a:gd name="T3" fmla="*/ 49 h 244"/>
                  <a:gd name="T4" fmla="*/ 338 w 676"/>
                  <a:gd name="T5" fmla="*/ 244 h 244"/>
                  <a:gd name="T6" fmla="*/ 676 w 676"/>
                  <a:gd name="T7" fmla="*/ 49 h 244"/>
                  <a:gd name="T8" fmla="*/ 676 w 676"/>
                  <a:gd name="T9" fmla="*/ 0 h 244"/>
                  <a:gd name="T10" fmla="*/ 338 w 676"/>
                  <a:gd name="T11" fmla="*/ 195 h 244"/>
                  <a:gd name="T12" fmla="*/ 0 w 676"/>
                  <a:gd name="T13" fmla="*/ 0 h 244"/>
                </a:gdLst>
                <a:ahLst/>
                <a:cxnLst>
                  <a:cxn ang="0">
                    <a:pos x="T0" y="T1"/>
                  </a:cxn>
                  <a:cxn ang="0">
                    <a:pos x="T2" y="T3"/>
                  </a:cxn>
                  <a:cxn ang="0">
                    <a:pos x="T4" y="T5"/>
                  </a:cxn>
                  <a:cxn ang="0">
                    <a:pos x="T6" y="T7"/>
                  </a:cxn>
                  <a:cxn ang="0">
                    <a:pos x="T8" y="T9"/>
                  </a:cxn>
                  <a:cxn ang="0">
                    <a:pos x="T10" y="T11"/>
                  </a:cxn>
                  <a:cxn ang="0">
                    <a:pos x="T12" y="T13"/>
                  </a:cxn>
                </a:cxnLst>
                <a:rect l="0" t="0" r="r" b="b"/>
                <a:pathLst>
                  <a:path w="676" h="244">
                    <a:moveTo>
                      <a:pt x="0" y="0"/>
                    </a:moveTo>
                    <a:lnTo>
                      <a:pt x="0" y="49"/>
                    </a:lnTo>
                    <a:lnTo>
                      <a:pt x="338" y="244"/>
                    </a:lnTo>
                    <a:lnTo>
                      <a:pt x="676" y="49"/>
                    </a:lnTo>
                    <a:lnTo>
                      <a:pt x="676" y="0"/>
                    </a:lnTo>
                    <a:lnTo>
                      <a:pt x="338" y="19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88" name="ïṡľïḑê"/>
              <p:cNvSpPr/>
              <p:nvPr/>
            </p:nvSpPr>
            <p:spPr bwMode="auto">
              <a:xfrm>
                <a:off x="5591" y="3891"/>
                <a:ext cx="224" cy="137"/>
              </a:xfrm>
              <a:custGeom>
                <a:avLst/>
                <a:gdLst>
                  <a:gd name="T0" fmla="*/ 131 w 132"/>
                  <a:gd name="T1" fmla="*/ 59 h 81"/>
                  <a:gd name="T2" fmla="*/ 118 w 132"/>
                  <a:gd name="T3" fmla="*/ 42 h 81"/>
                  <a:gd name="T4" fmla="*/ 90 w 132"/>
                  <a:gd name="T5" fmla="*/ 34 h 81"/>
                  <a:gd name="T6" fmla="*/ 79 w 132"/>
                  <a:gd name="T7" fmla="*/ 33 h 81"/>
                  <a:gd name="T8" fmla="*/ 78 w 132"/>
                  <a:gd name="T9" fmla="*/ 26 h 81"/>
                  <a:gd name="T10" fmla="*/ 65 w 132"/>
                  <a:gd name="T11" fmla="*/ 9 h 81"/>
                  <a:gd name="T12" fmla="*/ 37 w 132"/>
                  <a:gd name="T13" fmla="*/ 1 h 81"/>
                  <a:gd name="T14" fmla="*/ 1 w 132"/>
                  <a:gd name="T15" fmla="*/ 22 h 81"/>
                  <a:gd name="T16" fmla="*/ 1 w 132"/>
                  <a:gd name="T17" fmla="*/ 29 h 81"/>
                  <a:gd name="T18" fmla="*/ 2 w 132"/>
                  <a:gd name="T19" fmla="*/ 35 h 81"/>
                  <a:gd name="T20" fmla="*/ 3 w 132"/>
                  <a:gd name="T21" fmla="*/ 43 h 81"/>
                  <a:gd name="T22" fmla="*/ 6 w 132"/>
                  <a:gd name="T23" fmla="*/ 76 h 81"/>
                  <a:gd name="T24" fmla="*/ 59 w 132"/>
                  <a:gd name="T25" fmla="*/ 78 h 81"/>
                  <a:gd name="T26" fmla="*/ 73 w 132"/>
                  <a:gd name="T27" fmla="*/ 79 h 81"/>
                  <a:gd name="T28" fmla="*/ 83 w 132"/>
                  <a:gd name="T29" fmla="*/ 80 h 81"/>
                  <a:gd name="T30" fmla="*/ 94 w 132"/>
                  <a:gd name="T31" fmla="*/ 80 h 81"/>
                  <a:gd name="T32" fmla="*/ 131 w 132"/>
                  <a:gd name="T33" fmla="*/ 5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2" h="81">
                    <a:moveTo>
                      <a:pt x="131" y="59"/>
                    </a:moveTo>
                    <a:cubicBezTo>
                      <a:pt x="131" y="53"/>
                      <a:pt x="126" y="47"/>
                      <a:pt x="118" y="42"/>
                    </a:cubicBezTo>
                    <a:cubicBezTo>
                      <a:pt x="111" y="37"/>
                      <a:pt x="101" y="34"/>
                      <a:pt x="90" y="34"/>
                    </a:cubicBezTo>
                    <a:cubicBezTo>
                      <a:pt x="79" y="33"/>
                      <a:pt x="79" y="33"/>
                      <a:pt x="79" y="33"/>
                    </a:cubicBezTo>
                    <a:cubicBezTo>
                      <a:pt x="78" y="26"/>
                      <a:pt x="78" y="26"/>
                      <a:pt x="78" y="26"/>
                    </a:cubicBezTo>
                    <a:cubicBezTo>
                      <a:pt x="78" y="20"/>
                      <a:pt x="73" y="14"/>
                      <a:pt x="65" y="9"/>
                    </a:cubicBezTo>
                    <a:cubicBezTo>
                      <a:pt x="58" y="5"/>
                      <a:pt x="48" y="2"/>
                      <a:pt x="37" y="1"/>
                    </a:cubicBezTo>
                    <a:cubicBezTo>
                      <a:pt x="16" y="0"/>
                      <a:pt x="0" y="9"/>
                      <a:pt x="1" y="22"/>
                    </a:cubicBezTo>
                    <a:cubicBezTo>
                      <a:pt x="1" y="29"/>
                      <a:pt x="1" y="29"/>
                      <a:pt x="1" y="29"/>
                    </a:cubicBezTo>
                    <a:cubicBezTo>
                      <a:pt x="2" y="35"/>
                      <a:pt x="2" y="35"/>
                      <a:pt x="2" y="35"/>
                    </a:cubicBezTo>
                    <a:cubicBezTo>
                      <a:pt x="3" y="43"/>
                      <a:pt x="3" y="43"/>
                      <a:pt x="3" y="43"/>
                    </a:cubicBezTo>
                    <a:cubicBezTo>
                      <a:pt x="6" y="76"/>
                      <a:pt x="6" y="76"/>
                      <a:pt x="6" y="76"/>
                    </a:cubicBezTo>
                    <a:cubicBezTo>
                      <a:pt x="59" y="78"/>
                      <a:pt x="59" y="78"/>
                      <a:pt x="59" y="78"/>
                    </a:cubicBezTo>
                    <a:cubicBezTo>
                      <a:pt x="73" y="79"/>
                      <a:pt x="73" y="79"/>
                      <a:pt x="73" y="79"/>
                    </a:cubicBezTo>
                    <a:cubicBezTo>
                      <a:pt x="83" y="80"/>
                      <a:pt x="83" y="80"/>
                      <a:pt x="83" y="80"/>
                    </a:cubicBezTo>
                    <a:cubicBezTo>
                      <a:pt x="94" y="80"/>
                      <a:pt x="94" y="80"/>
                      <a:pt x="94" y="80"/>
                    </a:cubicBezTo>
                    <a:cubicBezTo>
                      <a:pt x="116" y="81"/>
                      <a:pt x="132" y="72"/>
                      <a:pt x="131" y="59"/>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89" name="iś1ïḑè"/>
              <p:cNvSpPr/>
              <p:nvPr/>
            </p:nvSpPr>
            <p:spPr bwMode="auto">
              <a:xfrm>
                <a:off x="5348" y="3969"/>
                <a:ext cx="338" cy="244"/>
              </a:xfrm>
              <a:custGeom>
                <a:avLst/>
                <a:gdLst>
                  <a:gd name="T0" fmla="*/ 0 w 338"/>
                  <a:gd name="T1" fmla="*/ 0 h 244"/>
                  <a:gd name="T2" fmla="*/ 0 w 338"/>
                  <a:gd name="T3" fmla="*/ 49 h 244"/>
                  <a:gd name="T4" fmla="*/ 338 w 338"/>
                  <a:gd name="T5" fmla="*/ 244 h 244"/>
                  <a:gd name="T6" fmla="*/ 338 w 338"/>
                  <a:gd name="T7" fmla="*/ 195 h 244"/>
                  <a:gd name="T8" fmla="*/ 0 w 338"/>
                  <a:gd name="T9" fmla="*/ 0 h 244"/>
                </a:gdLst>
                <a:ahLst/>
                <a:cxnLst>
                  <a:cxn ang="0">
                    <a:pos x="T0" y="T1"/>
                  </a:cxn>
                  <a:cxn ang="0">
                    <a:pos x="T2" y="T3"/>
                  </a:cxn>
                  <a:cxn ang="0">
                    <a:pos x="T4" y="T5"/>
                  </a:cxn>
                  <a:cxn ang="0">
                    <a:pos x="T6" y="T7"/>
                  </a:cxn>
                  <a:cxn ang="0">
                    <a:pos x="T8" y="T9"/>
                  </a:cxn>
                </a:cxnLst>
                <a:rect l="0" t="0" r="r" b="b"/>
                <a:pathLst>
                  <a:path w="338" h="244">
                    <a:moveTo>
                      <a:pt x="0" y="0"/>
                    </a:moveTo>
                    <a:lnTo>
                      <a:pt x="0" y="49"/>
                    </a:lnTo>
                    <a:lnTo>
                      <a:pt x="338" y="244"/>
                    </a:lnTo>
                    <a:lnTo>
                      <a:pt x="338" y="195"/>
                    </a:lnTo>
                    <a:lnTo>
                      <a:pt x="0" y="0"/>
                    </a:lnTo>
                    <a:close/>
                  </a:path>
                </a:pathLst>
              </a:custGeom>
              <a:solidFill>
                <a:srgbClr val="14B4B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90" name="îšļíḋe"/>
              <p:cNvSpPr/>
              <p:nvPr/>
            </p:nvSpPr>
            <p:spPr bwMode="auto">
              <a:xfrm>
                <a:off x="5348" y="3969"/>
                <a:ext cx="338" cy="244"/>
              </a:xfrm>
              <a:custGeom>
                <a:avLst/>
                <a:gdLst>
                  <a:gd name="T0" fmla="*/ 0 w 338"/>
                  <a:gd name="T1" fmla="*/ 0 h 244"/>
                  <a:gd name="T2" fmla="*/ 0 w 338"/>
                  <a:gd name="T3" fmla="*/ 49 h 244"/>
                  <a:gd name="T4" fmla="*/ 338 w 338"/>
                  <a:gd name="T5" fmla="*/ 244 h 244"/>
                  <a:gd name="T6" fmla="*/ 338 w 338"/>
                  <a:gd name="T7" fmla="*/ 195 h 244"/>
                  <a:gd name="T8" fmla="*/ 0 w 338"/>
                  <a:gd name="T9" fmla="*/ 0 h 244"/>
                </a:gdLst>
                <a:ahLst/>
                <a:cxnLst>
                  <a:cxn ang="0">
                    <a:pos x="T0" y="T1"/>
                  </a:cxn>
                  <a:cxn ang="0">
                    <a:pos x="T2" y="T3"/>
                  </a:cxn>
                  <a:cxn ang="0">
                    <a:pos x="T4" y="T5"/>
                  </a:cxn>
                  <a:cxn ang="0">
                    <a:pos x="T6" y="T7"/>
                  </a:cxn>
                  <a:cxn ang="0">
                    <a:pos x="T8" y="T9"/>
                  </a:cxn>
                </a:cxnLst>
                <a:rect l="0" t="0" r="r" b="b"/>
                <a:pathLst>
                  <a:path w="338" h="244">
                    <a:moveTo>
                      <a:pt x="0" y="0"/>
                    </a:moveTo>
                    <a:lnTo>
                      <a:pt x="0" y="49"/>
                    </a:lnTo>
                    <a:lnTo>
                      <a:pt x="338" y="244"/>
                    </a:lnTo>
                    <a:lnTo>
                      <a:pt x="338" y="19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91" name="işļíḋé"/>
              <p:cNvSpPr/>
              <p:nvPr/>
            </p:nvSpPr>
            <p:spPr bwMode="auto">
              <a:xfrm>
                <a:off x="5305" y="4042"/>
                <a:ext cx="22" cy="63"/>
              </a:xfrm>
              <a:custGeom>
                <a:avLst/>
                <a:gdLst>
                  <a:gd name="T0" fmla="*/ 0 w 22"/>
                  <a:gd name="T1" fmla="*/ 0 h 63"/>
                  <a:gd name="T2" fmla="*/ 0 w 22"/>
                  <a:gd name="T3" fmla="*/ 49 h 63"/>
                  <a:gd name="T4" fmla="*/ 22 w 22"/>
                  <a:gd name="T5" fmla="*/ 63 h 63"/>
                  <a:gd name="T6" fmla="*/ 22 w 22"/>
                  <a:gd name="T7" fmla="*/ 63 h 63"/>
                  <a:gd name="T8" fmla="*/ 0 w 22"/>
                  <a:gd name="T9" fmla="*/ 49 h 63"/>
                  <a:gd name="T10" fmla="*/ 0 w 22"/>
                  <a:gd name="T11" fmla="*/ 0 h 63"/>
                  <a:gd name="T12" fmla="*/ 0 w 22"/>
                  <a:gd name="T13" fmla="*/ 0 h 63"/>
                </a:gdLst>
                <a:ahLst/>
                <a:cxnLst>
                  <a:cxn ang="0">
                    <a:pos x="T0" y="T1"/>
                  </a:cxn>
                  <a:cxn ang="0">
                    <a:pos x="T2" y="T3"/>
                  </a:cxn>
                  <a:cxn ang="0">
                    <a:pos x="T4" y="T5"/>
                  </a:cxn>
                  <a:cxn ang="0">
                    <a:pos x="T6" y="T7"/>
                  </a:cxn>
                  <a:cxn ang="0">
                    <a:pos x="T8" y="T9"/>
                  </a:cxn>
                  <a:cxn ang="0">
                    <a:pos x="T10" y="T11"/>
                  </a:cxn>
                  <a:cxn ang="0">
                    <a:pos x="T12" y="T13"/>
                  </a:cxn>
                </a:cxnLst>
                <a:rect l="0" t="0" r="r" b="b"/>
                <a:pathLst>
                  <a:path w="22" h="63">
                    <a:moveTo>
                      <a:pt x="0" y="0"/>
                    </a:moveTo>
                    <a:lnTo>
                      <a:pt x="0" y="49"/>
                    </a:lnTo>
                    <a:lnTo>
                      <a:pt x="22" y="63"/>
                    </a:lnTo>
                    <a:lnTo>
                      <a:pt x="22" y="63"/>
                    </a:lnTo>
                    <a:lnTo>
                      <a:pt x="0" y="49"/>
                    </a:lnTo>
                    <a:lnTo>
                      <a:pt x="0" y="0"/>
                    </a:lnTo>
                    <a:lnTo>
                      <a:pt x="0" y="0"/>
                    </a:lnTo>
                    <a:close/>
                  </a:path>
                </a:pathLst>
              </a:custGeom>
              <a:solidFill>
                <a:srgbClr val="F3F4F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92" name="îŝlïdê"/>
              <p:cNvSpPr/>
              <p:nvPr/>
            </p:nvSpPr>
            <p:spPr bwMode="auto">
              <a:xfrm>
                <a:off x="5305" y="4042"/>
                <a:ext cx="22" cy="63"/>
              </a:xfrm>
              <a:custGeom>
                <a:avLst/>
                <a:gdLst>
                  <a:gd name="T0" fmla="*/ 0 w 22"/>
                  <a:gd name="T1" fmla="*/ 0 h 63"/>
                  <a:gd name="T2" fmla="*/ 0 w 22"/>
                  <a:gd name="T3" fmla="*/ 49 h 63"/>
                  <a:gd name="T4" fmla="*/ 22 w 22"/>
                  <a:gd name="T5" fmla="*/ 63 h 63"/>
                  <a:gd name="T6" fmla="*/ 22 w 22"/>
                  <a:gd name="T7" fmla="*/ 63 h 63"/>
                  <a:gd name="T8" fmla="*/ 0 w 22"/>
                  <a:gd name="T9" fmla="*/ 49 h 63"/>
                  <a:gd name="T10" fmla="*/ 0 w 22"/>
                  <a:gd name="T11" fmla="*/ 0 h 63"/>
                  <a:gd name="T12" fmla="*/ 0 w 22"/>
                  <a:gd name="T13" fmla="*/ 0 h 63"/>
                </a:gdLst>
                <a:ahLst/>
                <a:cxnLst>
                  <a:cxn ang="0">
                    <a:pos x="T0" y="T1"/>
                  </a:cxn>
                  <a:cxn ang="0">
                    <a:pos x="T2" y="T3"/>
                  </a:cxn>
                  <a:cxn ang="0">
                    <a:pos x="T4" y="T5"/>
                  </a:cxn>
                  <a:cxn ang="0">
                    <a:pos x="T6" y="T7"/>
                  </a:cxn>
                  <a:cxn ang="0">
                    <a:pos x="T8" y="T9"/>
                  </a:cxn>
                  <a:cxn ang="0">
                    <a:pos x="T10" y="T11"/>
                  </a:cxn>
                  <a:cxn ang="0">
                    <a:pos x="T12" y="T13"/>
                  </a:cxn>
                </a:cxnLst>
                <a:rect l="0" t="0" r="r" b="b"/>
                <a:pathLst>
                  <a:path w="22" h="63">
                    <a:moveTo>
                      <a:pt x="0" y="0"/>
                    </a:moveTo>
                    <a:lnTo>
                      <a:pt x="0" y="49"/>
                    </a:lnTo>
                    <a:lnTo>
                      <a:pt x="22" y="63"/>
                    </a:lnTo>
                    <a:lnTo>
                      <a:pt x="22" y="63"/>
                    </a:lnTo>
                    <a:lnTo>
                      <a:pt x="0" y="49"/>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93" name="ïŝļïḑe"/>
              <p:cNvSpPr/>
              <p:nvPr/>
            </p:nvSpPr>
            <p:spPr bwMode="auto">
              <a:xfrm>
                <a:off x="5327" y="4105"/>
                <a:ext cx="1" cy="1"/>
              </a:xfrm>
              <a:prstGeom prst="rect">
                <a:avLst/>
              </a:prstGeom>
              <a:solidFill>
                <a:srgbClr val="EDEEE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p>
            </p:txBody>
          </p:sp>
          <p:sp>
            <p:nvSpPr>
              <p:cNvPr id="594" name="îṥľiďê"/>
              <p:cNvSpPr/>
              <p:nvPr/>
            </p:nvSpPr>
            <p:spPr bwMode="auto">
              <a:xfrm>
                <a:off x="5327" y="4105"/>
                <a:ext cx="1" cy="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p>
            </p:txBody>
          </p:sp>
          <p:sp>
            <p:nvSpPr>
              <p:cNvPr id="595" name="íşľíḍe"/>
              <p:cNvSpPr/>
              <p:nvPr/>
            </p:nvSpPr>
            <p:spPr bwMode="auto">
              <a:xfrm>
                <a:off x="5327" y="4105"/>
                <a:ext cx="316" cy="181"/>
              </a:xfrm>
              <a:custGeom>
                <a:avLst/>
                <a:gdLst>
                  <a:gd name="T0" fmla="*/ 0 w 316"/>
                  <a:gd name="T1" fmla="*/ 0 h 181"/>
                  <a:gd name="T2" fmla="*/ 0 w 316"/>
                  <a:gd name="T3" fmla="*/ 0 h 181"/>
                  <a:gd name="T4" fmla="*/ 316 w 316"/>
                  <a:gd name="T5" fmla="*/ 181 h 181"/>
                  <a:gd name="T6" fmla="*/ 316 w 316"/>
                  <a:gd name="T7" fmla="*/ 181 h 181"/>
                  <a:gd name="T8" fmla="*/ 0 w 316"/>
                  <a:gd name="T9" fmla="*/ 0 h 181"/>
                </a:gdLst>
                <a:ahLst/>
                <a:cxnLst>
                  <a:cxn ang="0">
                    <a:pos x="T0" y="T1"/>
                  </a:cxn>
                  <a:cxn ang="0">
                    <a:pos x="T2" y="T3"/>
                  </a:cxn>
                  <a:cxn ang="0">
                    <a:pos x="T4" y="T5"/>
                  </a:cxn>
                  <a:cxn ang="0">
                    <a:pos x="T6" y="T7"/>
                  </a:cxn>
                  <a:cxn ang="0">
                    <a:pos x="T8" y="T9"/>
                  </a:cxn>
                </a:cxnLst>
                <a:rect l="0" t="0" r="r" b="b"/>
                <a:pathLst>
                  <a:path w="316" h="181">
                    <a:moveTo>
                      <a:pt x="0" y="0"/>
                    </a:moveTo>
                    <a:lnTo>
                      <a:pt x="0" y="0"/>
                    </a:lnTo>
                    <a:lnTo>
                      <a:pt x="316" y="181"/>
                    </a:lnTo>
                    <a:lnTo>
                      <a:pt x="316" y="181"/>
                    </a:lnTo>
                    <a:lnTo>
                      <a:pt x="0" y="0"/>
                    </a:lnTo>
                    <a:close/>
                  </a:path>
                </a:pathLst>
              </a:custGeom>
              <a:solidFill>
                <a:srgbClr val="DB878B"/>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96" name="íSḻïďé"/>
              <p:cNvSpPr/>
              <p:nvPr/>
            </p:nvSpPr>
            <p:spPr bwMode="auto">
              <a:xfrm>
                <a:off x="5327" y="4105"/>
                <a:ext cx="316" cy="181"/>
              </a:xfrm>
              <a:custGeom>
                <a:avLst/>
                <a:gdLst>
                  <a:gd name="T0" fmla="*/ 0 w 316"/>
                  <a:gd name="T1" fmla="*/ 0 h 181"/>
                  <a:gd name="T2" fmla="*/ 0 w 316"/>
                  <a:gd name="T3" fmla="*/ 0 h 181"/>
                  <a:gd name="T4" fmla="*/ 316 w 316"/>
                  <a:gd name="T5" fmla="*/ 181 h 181"/>
                  <a:gd name="T6" fmla="*/ 316 w 316"/>
                  <a:gd name="T7" fmla="*/ 181 h 181"/>
                  <a:gd name="T8" fmla="*/ 0 w 316"/>
                  <a:gd name="T9" fmla="*/ 0 h 181"/>
                </a:gdLst>
                <a:ahLst/>
                <a:cxnLst>
                  <a:cxn ang="0">
                    <a:pos x="T0" y="T1"/>
                  </a:cxn>
                  <a:cxn ang="0">
                    <a:pos x="T2" y="T3"/>
                  </a:cxn>
                  <a:cxn ang="0">
                    <a:pos x="T4" y="T5"/>
                  </a:cxn>
                  <a:cxn ang="0">
                    <a:pos x="T6" y="T7"/>
                  </a:cxn>
                  <a:cxn ang="0">
                    <a:pos x="T8" y="T9"/>
                  </a:cxn>
                </a:cxnLst>
                <a:rect l="0" t="0" r="r" b="b"/>
                <a:pathLst>
                  <a:path w="316" h="181">
                    <a:moveTo>
                      <a:pt x="0" y="0"/>
                    </a:moveTo>
                    <a:lnTo>
                      <a:pt x="0" y="0"/>
                    </a:lnTo>
                    <a:lnTo>
                      <a:pt x="316" y="181"/>
                    </a:lnTo>
                    <a:lnTo>
                      <a:pt x="316" y="18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97" name="ïṩ1ïḋê"/>
              <p:cNvSpPr/>
              <p:nvPr/>
            </p:nvSpPr>
            <p:spPr bwMode="auto">
              <a:xfrm>
                <a:off x="5327" y="4105"/>
                <a:ext cx="316" cy="181"/>
              </a:xfrm>
              <a:custGeom>
                <a:avLst/>
                <a:gdLst>
                  <a:gd name="T0" fmla="*/ 0 w 316"/>
                  <a:gd name="T1" fmla="*/ 0 h 181"/>
                  <a:gd name="T2" fmla="*/ 0 w 316"/>
                  <a:gd name="T3" fmla="*/ 0 h 181"/>
                  <a:gd name="T4" fmla="*/ 316 w 316"/>
                  <a:gd name="T5" fmla="*/ 181 h 181"/>
                  <a:gd name="T6" fmla="*/ 316 w 316"/>
                  <a:gd name="T7" fmla="*/ 181 h 181"/>
                  <a:gd name="T8" fmla="*/ 0 w 316"/>
                  <a:gd name="T9" fmla="*/ 0 h 181"/>
                </a:gdLst>
                <a:ahLst/>
                <a:cxnLst>
                  <a:cxn ang="0">
                    <a:pos x="T0" y="T1"/>
                  </a:cxn>
                  <a:cxn ang="0">
                    <a:pos x="T2" y="T3"/>
                  </a:cxn>
                  <a:cxn ang="0">
                    <a:pos x="T4" y="T5"/>
                  </a:cxn>
                  <a:cxn ang="0">
                    <a:pos x="T6" y="T7"/>
                  </a:cxn>
                  <a:cxn ang="0">
                    <a:pos x="T8" y="T9"/>
                  </a:cxn>
                </a:cxnLst>
                <a:rect l="0" t="0" r="r" b="b"/>
                <a:pathLst>
                  <a:path w="316" h="181">
                    <a:moveTo>
                      <a:pt x="0" y="0"/>
                    </a:moveTo>
                    <a:lnTo>
                      <a:pt x="0" y="0"/>
                    </a:lnTo>
                    <a:lnTo>
                      <a:pt x="316" y="181"/>
                    </a:lnTo>
                    <a:lnTo>
                      <a:pt x="316" y="181"/>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98" name="î$1iďê"/>
              <p:cNvSpPr/>
              <p:nvPr/>
            </p:nvSpPr>
            <p:spPr bwMode="auto">
              <a:xfrm>
                <a:off x="5327" y="4105"/>
                <a:ext cx="316" cy="181"/>
              </a:xfrm>
              <a:custGeom>
                <a:avLst/>
                <a:gdLst>
                  <a:gd name="T0" fmla="*/ 0 w 316"/>
                  <a:gd name="T1" fmla="*/ 0 h 181"/>
                  <a:gd name="T2" fmla="*/ 0 w 316"/>
                  <a:gd name="T3" fmla="*/ 0 h 181"/>
                  <a:gd name="T4" fmla="*/ 316 w 316"/>
                  <a:gd name="T5" fmla="*/ 181 h 181"/>
                  <a:gd name="T6" fmla="*/ 316 w 316"/>
                  <a:gd name="T7" fmla="*/ 181 h 181"/>
                  <a:gd name="T8" fmla="*/ 0 w 316"/>
                  <a:gd name="T9" fmla="*/ 0 h 181"/>
                </a:gdLst>
                <a:ahLst/>
                <a:cxnLst>
                  <a:cxn ang="0">
                    <a:pos x="T0" y="T1"/>
                  </a:cxn>
                  <a:cxn ang="0">
                    <a:pos x="T2" y="T3"/>
                  </a:cxn>
                  <a:cxn ang="0">
                    <a:pos x="T4" y="T5"/>
                  </a:cxn>
                  <a:cxn ang="0">
                    <a:pos x="T6" y="T7"/>
                  </a:cxn>
                  <a:cxn ang="0">
                    <a:pos x="T8" y="T9"/>
                  </a:cxn>
                </a:cxnLst>
                <a:rect l="0" t="0" r="r" b="b"/>
                <a:pathLst>
                  <a:path w="316" h="181">
                    <a:moveTo>
                      <a:pt x="0" y="0"/>
                    </a:moveTo>
                    <a:lnTo>
                      <a:pt x="0" y="0"/>
                    </a:lnTo>
                    <a:lnTo>
                      <a:pt x="316" y="181"/>
                    </a:lnTo>
                    <a:lnTo>
                      <a:pt x="316" y="18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99" name="ïŝľîḓé"/>
              <p:cNvSpPr/>
              <p:nvPr/>
            </p:nvSpPr>
            <p:spPr bwMode="auto">
              <a:xfrm>
                <a:off x="5305" y="4042"/>
                <a:ext cx="338" cy="244"/>
              </a:xfrm>
              <a:custGeom>
                <a:avLst/>
                <a:gdLst>
                  <a:gd name="T0" fmla="*/ 0 w 338"/>
                  <a:gd name="T1" fmla="*/ 0 h 244"/>
                  <a:gd name="T2" fmla="*/ 0 w 338"/>
                  <a:gd name="T3" fmla="*/ 49 h 244"/>
                  <a:gd name="T4" fmla="*/ 22 w 338"/>
                  <a:gd name="T5" fmla="*/ 63 h 244"/>
                  <a:gd name="T6" fmla="*/ 22 w 338"/>
                  <a:gd name="T7" fmla="*/ 63 h 244"/>
                  <a:gd name="T8" fmla="*/ 338 w 338"/>
                  <a:gd name="T9" fmla="*/ 244 h 244"/>
                  <a:gd name="T10" fmla="*/ 338 w 338"/>
                  <a:gd name="T11" fmla="*/ 195 h 244"/>
                  <a:gd name="T12" fmla="*/ 0 w 338"/>
                  <a:gd name="T13" fmla="*/ 0 h 244"/>
                </a:gdLst>
                <a:ahLst/>
                <a:cxnLst>
                  <a:cxn ang="0">
                    <a:pos x="T0" y="T1"/>
                  </a:cxn>
                  <a:cxn ang="0">
                    <a:pos x="T2" y="T3"/>
                  </a:cxn>
                  <a:cxn ang="0">
                    <a:pos x="T4" y="T5"/>
                  </a:cxn>
                  <a:cxn ang="0">
                    <a:pos x="T6" y="T7"/>
                  </a:cxn>
                  <a:cxn ang="0">
                    <a:pos x="T8" y="T9"/>
                  </a:cxn>
                  <a:cxn ang="0">
                    <a:pos x="T10" y="T11"/>
                  </a:cxn>
                  <a:cxn ang="0">
                    <a:pos x="T12" y="T13"/>
                  </a:cxn>
                </a:cxnLst>
                <a:rect l="0" t="0" r="r" b="b"/>
                <a:pathLst>
                  <a:path w="338" h="244">
                    <a:moveTo>
                      <a:pt x="0" y="0"/>
                    </a:moveTo>
                    <a:lnTo>
                      <a:pt x="0" y="49"/>
                    </a:lnTo>
                    <a:lnTo>
                      <a:pt x="22" y="63"/>
                    </a:lnTo>
                    <a:lnTo>
                      <a:pt x="22" y="63"/>
                    </a:lnTo>
                    <a:lnTo>
                      <a:pt x="338" y="244"/>
                    </a:lnTo>
                    <a:lnTo>
                      <a:pt x="338" y="195"/>
                    </a:lnTo>
                    <a:lnTo>
                      <a:pt x="0" y="0"/>
                    </a:lnTo>
                    <a:close/>
                  </a:path>
                </a:pathLst>
              </a:custGeom>
              <a:solidFill>
                <a:srgbClr val="59699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00" name="ïṧ1îde"/>
              <p:cNvSpPr/>
              <p:nvPr/>
            </p:nvSpPr>
            <p:spPr bwMode="auto">
              <a:xfrm>
                <a:off x="5305" y="4042"/>
                <a:ext cx="338" cy="244"/>
              </a:xfrm>
              <a:custGeom>
                <a:avLst/>
                <a:gdLst>
                  <a:gd name="T0" fmla="*/ 0 w 338"/>
                  <a:gd name="T1" fmla="*/ 0 h 244"/>
                  <a:gd name="T2" fmla="*/ 0 w 338"/>
                  <a:gd name="T3" fmla="*/ 49 h 244"/>
                  <a:gd name="T4" fmla="*/ 22 w 338"/>
                  <a:gd name="T5" fmla="*/ 63 h 244"/>
                  <a:gd name="T6" fmla="*/ 22 w 338"/>
                  <a:gd name="T7" fmla="*/ 63 h 244"/>
                  <a:gd name="T8" fmla="*/ 338 w 338"/>
                  <a:gd name="T9" fmla="*/ 244 h 244"/>
                  <a:gd name="T10" fmla="*/ 338 w 338"/>
                  <a:gd name="T11" fmla="*/ 195 h 244"/>
                  <a:gd name="T12" fmla="*/ 0 w 338"/>
                  <a:gd name="T13" fmla="*/ 0 h 244"/>
                </a:gdLst>
                <a:ahLst/>
                <a:cxnLst>
                  <a:cxn ang="0">
                    <a:pos x="T0" y="T1"/>
                  </a:cxn>
                  <a:cxn ang="0">
                    <a:pos x="T2" y="T3"/>
                  </a:cxn>
                  <a:cxn ang="0">
                    <a:pos x="T4" y="T5"/>
                  </a:cxn>
                  <a:cxn ang="0">
                    <a:pos x="T6" y="T7"/>
                  </a:cxn>
                  <a:cxn ang="0">
                    <a:pos x="T8" y="T9"/>
                  </a:cxn>
                  <a:cxn ang="0">
                    <a:pos x="T10" y="T11"/>
                  </a:cxn>
                  <a:cxn ang="0">
                    <a:pos x="T12" y="T13"/>
                  </a:cxn>
                </a:cxnLst>
                <a:rect l="0" t="0" r="r" b="b"/>
                <a:pathLst>
                  <a:path w="338" h="244">
                    <a:moveTo>
                      <a:pt x="0" y="0"/>
                    </a:moveTo>
                    <a:lnTo>
                      <a:pt x="0" y="49"/>
                    </a:lnTo>
                    <a:lnTo>
                      <a:pt x="22" y="63"/>
                    </a:lnTo>
                    <a:lnTo>
                      <a:pt x="22" y="63"/>
                    </a:lnTo>
                    <a:lnTo>
                      <a:pt x="338" y="244"/>
                    </a:lnTo>
                    <a:lnTo>
                      <a:pt x="338" y="19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grpSp>
        <p:sp>
          <p:nvSpPr>
            <p:cNvPr id="42" name="iślïḍe"/>
            <p:cNvSpPr/>
            <p:nvPr/>
          </p:nvSpPr>
          <p:spPr bwMode="auto">
            <a:xfrm>
              <a:off x="5927230" y="3471997"/>
              <a:ext cx="196899" cy="686804"/>
            </a:xfrm>
            <a:custGeom>
              <a:avLst/>
              <a:gdLst>
                <a:gd name="T0" fmla="*/ 42 w 168"/>
                <a:gd name="T1" fmla="*/ 586 h 586"/>
                <a:gd name="T2" fmla="*/ 0 w 168"/>
                <a:gd name="T3" fmla="*/ 561 h 586"/>
                <a:gd name="T4" fmla="*/ 125 w 168"/>
                <a:gd name="T5" fmla="*/ 0 h 586"/>
                <a:gd name="T6" fmla="*/ 168 w 168"/>
                <a:gd name="T7" fmla="*/ 23 h 586"/>
                <a:gd name="T8" fmla="*/ 42 w 168"/>
                <a:gd name="T9" fmla="*/ 586 h 586"/>
              </a:gdLst>
              <a:ahLst/>
              <a:cxnLst>
                <a:cxn ang="0">
                  <a:pos x="T0" y="T1"/>
                </a:cxn>
                <a:cxn ang="0">
                  <a:pos x="T2" y="T3"/>
                </a:cxn>
                <a:cxn ang="0">
                  <a:pos x="T4" y="T5"/>
                </a:cxn>
                <a:cxn ang="0">
                  <a:pos x="T6" y="T7"/>
                </a:cxn>
                <a:cxn ang="0">
                  <a:pos x="T8" y="T9"/>
                </a:cxn>
              </a:cxnLst>
              <a:rect l="0" t="0" r="r" b="b"/>
              <a:pathLst>
                <a:path w="168" h="586">
                  <a:moveTo>
                    <a:pt x="42" y="586"/>
                  </a:moveTo>
                  <a:lnTo>
                    <a:pt x="0" y="561"/>
                  </a:lnTo>
                  <a:lnTo>
                    <a:pt x="125" y="0"/>
                  </a:lnTo>
                  <a:lnTo>
                    <a:pt x="168" y="23"/>
                  </a:lnTo>
                  <a:lnTo>
                    <a:pt x="42" y="586"/>
                  </a:lnTo>
                  <a:close/>
                </a:path>
              </a:pathLst>
            </a:custGeom>
            <a:solidFill>
              <a:srgbClr val="72594B"/>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gr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extBox 6"/>
          <p:cNvSpPr txBox="1"/>
          <p:nvPr/>
        </p:nvSpPr>
        <p:spPr>
          <a:xfrm>
            <a:off x="547832" y="187607"/>
            <a:ext cx="5548168" cy="461665"/>
          </a:xfrm>
          <a:prstGeom prst="rect">
            <a:avLst/>
          </a:prstGeom>
        </p:spPr>
        <p:txBody>
          <a:bodyPr vert="horz" wrap="square" lIns="0" tIns="0" rIns="0" bIns="0" rtlCol="0" anchor="ctr">
            <a:noAutofit/>
          </a:bodyPr>
          <a:lstStyle>
            <a:defPPr>
              <a:defRPr lang="zh-CN"/>
            </a:defPPr>
            <a:lvl1pPr marL="12700" marR="0" lvl="0" indent="0" fontAlgn="auto">
              <a:lnSpc>
                <a:spcPct val="100000"/>
              </a:lnSpc>
              <a:spcBef>
                <a:spcPts val="100"/>
              </a:spcBef>
              <a:spcAft>
                <a:spcPts val="0"/>
              </a:spcAft>
              <a:buClrTx/>
              <a:buSzTx/>
              <a:buFontTx/>
              <a:buNone/>
              <a:defRPr kumimoji="0" sz="3200" b="1" i="0" u="none" strike="noStrike" cap="none" spc="0" normalizeH="0" baseline="0">
                <a:ln>
                  <a:noFill/>
                </a:ln>
                <a:solidFill>
                  <a:srgbClr val="F05A23"/>
                </a:solidFill>
                <a:effectLst/>
                <a:uLnTx/>
                <a:uFillTx/>
                <a:latin typeface="Arial" panose="020B0604020202090204"/>
                <a:ea typeface="华文楷体" panose="02010600040101010101" pitchFamily="2" charset="-122"/>
              </a:defRPr>
            </a:lvl1pPr>
          </a:lstStyle>
          <a:p>
            <a:pPr marL="12700" marR="0" lvl="0" indent="0" algn="l" defTabSz="914400" rtl="0" eaLnBrk="1" fontAlgn="auto" latinLnBrk="0" hangingPunct="1">
              <a:lnSpc>
                <a:spcPct val="100000"/>
              </a:lnSpc>
              <a:spcBef>
                <a:spcPts val="100"/>
              </a:spcBef>
              <a:spcAft>
                <a:spcPts val="0"/>
              </a:spcAft>
              <a:buClrTx/>
              <a:buSzTx/>
              <a:buFontTx/>
              <a:buNone/>
              <a:defRPr/>
            </a:pPr>
            <a:r>
              <a:rPr kumimoji="0" lang="en-US" altLang="zh-CN" sz="2400" b="1" i="0" u="none" strike="noStrike" kern="1200" cap="none" spc="0" normalizeH="0" baseline="0" noProof="0" dirty="0">
                <a:ln>
                  <a:noFill/>
                </a:ln>
                <a:solidFill>
                  <a:srgbClr val="F05A23"/>
                </a:solidFill>
                <a:effectLst/>
                <a:uLnTx/>
                <a:uFillTx/>
                <a:latin typeface="Arial" panose="020B0604020202090204"/>
                <a:ea typeface="华文楷体" panose="02010600040101010101" pitchFamily="2" charset="-122"/>
                <a:cs typeface="+mn-cs"/>
              </a:rPr>
              <a:t>1</a:t>
            </a:r>
            <a:r>
              <a:rPr kumimoji="0" lang="zh-CN" altLang="en-US" sz="2400" b="1" i="0" u="none" strike="noStrike" kern="1200" cap="none" spc="0" normalizeH="0" baseline="0" noProof="0" dirty="0">
                <a:ln>
                  <a:noFill/>
                </a:ln>
                <a:solidFill>
                  <a:srgbClr val="F05A23"/>
                </a:solidFill>
                <a:effectLst/>
                <a:uLnTx/>
                <a:uFillTx/>
                <a:latin typeface="Arial" panose="020B0604020202090204"/>
                <a:ea typeface="华文楷体" panose="02010600040101010101" pitchFamily="2" charset="-122"/>
                <a:cs typeface="+mn-cs"/>
              </a:rPr>
              <a:t>、</a:t>
            </a:r>
            <a:endParaRPr kumimoji="0" lang="en-US" sz="2400" b="1" i="0" u="none" strike="noStrike" kern="1200" cap="none" spc="0" normalizeH="0" baseline="0" noProof="0" dirty="0">
              <a:ln>
                <a:noFill/>
              </a:ln>
              <a:solidFill>
                <a:srgbClr val="F05A23"/>
              </a:solidFill>
              <a:effectLst/>
              <a:uLnTx/>
              <a:uFillTx/>
              <a:latin typeface="Arial" panose="020B0604020202090204"/>
              <a:ea typeface="华文楷体" panose="02010600040101010101" pitchFamily="2" charset="-122"/>
              <a:cs typeface="+mn-cs"/>
            </a:endParaRPr>
          </a:p>
        </p:txBody>
      </p:sp>
      <p:pic>
        <p:nvPicPr>
          <p:cNvPr id="40" name="图片 39"/>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9949418" y="253211"/>
            <a:ext cx="1837445" cy="501494"/>
          </a:xfrm>
          <a:prstGeom prst="rect">
            <a:avLst/>
          </a:prstGeom>
        </p:spPr>
      </p:pic>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extBox 6"/>
          <p:cNvSpPr txBox="1"/>
          <p:nvPr/>
        </p:nvSpPr>
        <p:spPr>
          <a:xfrm>
            <a:off x="547832" y="187607"/>
            <a:ext cx="5548168" cy="461665"/>
          </a:xfrm>
          <a:prstGeom prst="rect">
            <a:avLst/>
          </a:prstGeom>
        </p:spPr>
        <p:txBody>
          <a:bodyPr vert="horz" wrap="square" lIns="0" tIns="0" rIns="0" bIns="0" rtlCol="0" anchor="ctr">
            <a:noAutofit/>
          </a:bodyPr>
          <a:lstStyle>
            <a:defPPr>
              <a:defRPr lang="zh-CN"/>
            </a:defPPr>
            <a:lvl1pPr marL="12700" marR="0" lvl="0" indent="0" fontAlgn="auto">
              <a:lnSpc>
                <a:spcPct val="100000"/>
              </a:lnSpc>
              <a:spcBef>
                <a:spcPts val="100"/>
              </a:spcBef>
              <a:spcAft>
                <a:spcPts val="0"/>
              </a:spcAft>
              <a:buClrTx/>
              <a:buSzTx/>
              <a:buFontTx/>
              <a:buNone/>
              <a:defRPr kumimoji="0" sz="3200" b="1" i="0" u="none" strike="noStrike" cap="none" spc="0" normalizeH="0" baseline="0">
                <a:ln>
                  <a:noFill/>
                </a:ln>
                <a:solidFill>
                  <a:srgbClr val="F05A23"/>
                </a:solidFill>
                <a:effectLst/>
                <a:uLnTx/>
                <a:uFillTx/>
                <a:latin typeface="Arial" panose="020B0604020202090204"/>
                <a:ea typeface="华文楷体" panose="02010600040101010101" pitchFamily="2" charset="-122"/>
              </a:defRPr>
            </a:lvl1pPr>
          </a:lstStyle>
          <a:p>
            <a:pPr marL="12700" marR="0" lvl="0" indent="0" algn="l" defTabSz="914400" rtl="0" eaLnBrk="1" fontAlgn="auto" latinLnBrk="0" hangingPunct="1">
              <a:lnSpc>
                <a:spcPct val="100000"/>
              </a:lnSpc>
              <a:spcBef>
                <a:spcPts val="100"/>
              </a:spcBef>
              <a:spcAft>
                <a:spcPts val="0"/>
              </a:spcAft>
              <a:buClrTx/>
              <a:buSzTx/>
              <a:buFontTx/>
              <a:buNone/>
              <a:defRPr/>
            </a:pPr>
            <a:r>
              <a:rPr kumimoji="0" lang="en-US" altLang="zh-CN" sz="2400" b="1" i="0" u="none" strike="noStrike" kern="1200" cap="none" spc="0" normalizeH="0" baseline="0" noProof="0" dirty="0">
                <a:ln>
                  <a:noFill/>
                </a:ln>
                <a:solidFill>
                  <a:srgbClr val="F05A23"/>
                </a:solidFill>
                <a:effectLst/>
                <a:uLnTx/>
                <a:uFillTx/>
                <a:latin typeface="Arial" panose="020B0604020202090204"/>
                <a:ea typeface="华文楷体" panose="02010600040101010101" pitchFamily="2" charset="-122"/>
                <a:cs typeface="+mn-cs"/>
              </a:rPr>
              <a:t>2</a:t>
            </a:r>
            <a:r>
              <a:rPr kumimoji="0" lang="zh-CN" altLang="en-US" sz="2400" b="1" i="0" u="none" strike="noStrike" kern="1200" cap="none" spc="0" normalizeH="0" baseline="0" noProof="0" dirty="0">
                <a:ln>
                  <a:noFill/>
                </a:ln>
                <a:solidFill>
                  <a:srgbClr val="F05A23"/>
                </a:solidFill>
                <a:effectLst/>
                <a:uLnTx/>
                <a:uFillTx/>
                <a:latin typeface="Arial" panose="020B0604020202090204"/>
                <a:ea typeface="华文楷体" panose="02010600040101010101" pitchFamily="2" charset="-122"/>
                <a:cs typeface="+mn-cs"/>
              </a:rPr>
              <a:t>、</a:t>
            </a:r>
            <a:endParaRPr kumimoji="0" lang="en-US" sz="2400" b="1" i="0" u="none" strike="noStrike" kern="1200" cap="none" spc="0" normalizeH="0" baseline="0" noProof="0" dirty="0">
              <a:ln>
                <a:noFill/>
              </a:ln>
              <a:solidFill>
                <a:srgbClr val="F05A23"/>
              </a:solidFill>
              <a:effectLst/>
              <a:uLnTx/>
              <a:uFillTx/>
              <a:latin typeface="Arial" panose="020B0604020202090204"/>
              <a:ea typeface="华文楷体" panose="02010600040101010101" pitchFamily="2" charset="-122"/>
              <a:cs typeface="+mn-cs"/>
            </a:endParaRPr>
          </a:p>
        </p:txBody>
      </p:sp>
      <p:pic>
        <p:nvPicPr>
          <p:cNvPr id="40" name="图片 39"/>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9949418" y="253211"/>
            <a:ext cx="1837445" cy="501494"/>
          </a:xfrm>
          <a:prstGeom prst="rect">
            <a:avLst/>
          </a:prstGeom>
        </p:spPr>
      </p:pic>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extBox 6"/>
          <p:cNvSpPr txBox="1"/>
          <p:nvPr/>
        </p:nvSpPr>
        <p:spPr>
          <a:xfrm>
            <a:off x="547832" y="187607"/>
            <a:ext cx="5548168" cy="461665"/>
          </a:xfrm>
          <a:prstGeom prst="rect">
            <a:avLst/>
          </a:prstGeom>
        </p:spPr>
        <p:txBody>
          <a:bodyPr vert="horz" wrap="square" lIns="0" tIns="0" rIns="0" bIns="0" rtlCol="0" anchor="ctr">
            <a:noAutofit/>
          </a:bodyPr>
          <a:lstStyle>
            <a:defPPr>
              <a:defRPr lang="zh-CN"/>
            </a:defPPr>
            <a:lvl1pPr marL="12700" marR="0" lvl="0" indent="0" fontAlgn="auto">
              <a:lnSpc>
                <a:spcPct val="100000"/>
              </a:lnSpc>
              <a:spcBef>
                <a:spcPts val="100"/>
              </a:spcBef>
              <a:spcAft>
                <a:spcPts val="0"/>
              </a:spcAft>
              <a:buClrTx/>
              <a:buSzTx/>
              <a:buFontTx/>
              <a:buNone/>
              <a:defRPr kumimoji="0" sz="3200" b="1" i="0" u="none" strike="noStrike" cap="none" spc="0" normalizeH="0" baseline="0">
                <a:ln>
                  <a:noFill/>
                </a:ln>
                <a:solidFill>
                  <a:srgbClr val="F05A23"/>
                </a:solidFill>
                <a:effectLst/>
                <a:uLnTx/>
                <a:uFillTx/>
                <a:latin typeface="Arial" panose="020B0604020202090204"/>
                <a:ea typeface="华文楷体" panose="02010600040101010101" pitchFamily="2" charset="-122"/>
              </a:defRPr>
            </a:lvl1pPr>
          </a:lstStyle>
          <a:p>
            <a:pPr marL="12700" marR="0" lvl="0" indent="0" algn="l" defTabSz="914400" rtl="0" eaLnBrk="1" fontAlgn="auto" latinLnBrk="0" hangingPunct="1">
              <a:lnSpc>
                <a:spcPct val="100000"/>
              </a:lnSpc>
              <a:spcBef>
                <a:spcPts val="100"/>
              </a:spcBef>
              <a:spcAft>
                <a:spcPts val="0"/>
              </a:spcAft>
              <a:buClrTx/>
              <a:buSzTx/>
              <a:buFontTx/>
              <a:buNone/>
              <a:defRPr/>
            </a:pPr>
            <a:r>
              <a:rPr kumimoji="0" lang="en-US" altLang="zh-CN" sz="2400" b="1" i="0" u="none" strike="noStrike" kern="1200" cap="none" spc="0" normalizeH="0" baseline="0" noProof="0" dirty="0">
                <a:ln>
                  <a:noFill/>
                </a:ln>
                <a:solidFill>
                  <a:srgbClr val="F05A23"/>
                </a:solidFill>
                <a:effectLst/>
                <a:uLnTx/>
                <a:uFillTx/>
                <a:latin typeface="Arial" panose="020B0604020202090204"/>
                <a:ea typeface="华文楷体" panose="02010600040101010101" pitchFamily="2" charset="-122"/>
                <a:cs typeface="+mn-cs"/>
              </a:rPr>
              <a:t>3</a:t>
            </a:r>
            <a:r>
              <a:rPr kumimoji="0" lang="zh-CN" altLang="en-US" sz="2400" b="1" i="0" u="none" strike="noStrike" kern="1200" cap="none" spc="0" normalizeH="0" baseline="0" noProof="0" dirty="0">
                <a:ln>
                  <a:noFill/>
                </a:ln>
                <a:solidFill>
                  <a:srgbClr val="F05A23"/>
                </a:solidFill>
                <a:effectLst/>
                <a:uLnTx/>
                <a:uFillTx/>
                <a:latin typeface="Arial" panose="020B0604020202090204"/>
                <a:ea typeface="华文楷体" panose="02010600040101010101" pitchFamily="2" charset="-122"/>
                <a:cs typeface="+mn-cs"/>
              </a:rPr>
              <a:t>、</a:t>
            </a:r>
            <a:endParaRPr kumimoji="0" lang="en-US" sz="2400" b="1" i="0" u="none" strike="noStrike" kern="1200" cap="none" spc="0" normalizeH="0" baseline="0" noProof="0" dirty="0">
              <a:ln>
                <a:noFill/>
              </a:ln>
              <a:solidFill>
                <a:srgbClr val="F05A23"/>
              </a:solidFill>
              <a:effectLst/>
              <a:uLnTx/>
              <a:uFillTx/>
              <a:latin typeface="Arial" panose="020B0604020202090204"/>
              <a:ea typeface="华文楷体" panose="02010600040101010101" pitchFamily="2" charset="-122"/>
              <a:cs typeface="+mn-cs"/>
            </a:endParaRPr>
          </a:p>
        </p:txBody>
      </p:sp>
      <p:pic>
        <p:nvPicPr>
          <p:cNvPr id="40" name="图片 39"/>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9949418" y="253211"/>
            <a:ext cx="1837445" cy="501494"/>
          </a:xfrm>
          <a:prstGeom prst="rect">
            <a:avLst/>
          </a:prstGeom>
        </p:spPr>
      </p:pic>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直线连接符 3" descr="e7d195523061f1c0d318120d6aeaf1b6ccceb6ba3da59c0775C5DE19DDDEBC09ED96DBD9900D9848D623ECAD1D4904B78047D0015C22C8BE97228BE8B5BFF08FE7A3AE04126DA07312A96C0F69F9BAB71A8D4487C13BBD21E3F9DE587F01A2EC9B24CE25FF0E9B2136662A47C8B58C275121A88EC20F5D58602B203067E5F6C927344A314878098B"/>
          <p:cNvCxnSpPr/>
          <p:nvPr/>
        </p:nvCxnSpPr>
        <p:spPr>
          <a:xfrm>
            <a:off x="725817" y="2640474"/>
            <a:ext cx="10591442" cy="0"/>
          </a:xfrm>
          <a:prstGeom prst="line">
            <a:avLst/>
          </a:prstGeom>
          <a:ln w="50800">
            <a:solidFill>
              <a:schemeClr val="accent1"/>
            </a:solidFill>
          </a:ln>
        </p:spPr>
        <p:style>
          <a:lnRef idx="1">
            <a:schemeClr val="accent1"/>
          </a:lnRef>
          <a:fillRef idx="0">
            <a:schemeClr val="accent1"/>
          </a:fillRef>
          <a:effectRef idx="0">
            <a:schemeClr val="accent1"/>
          </a:effectRef>
          <a:fontRef idx="minor">
            <a:schemeClr val="tx1"/>
          </a:fontRef>
        </p:style>
      </p:cxnSp>
      <p:sp>
        <p:nvSpPr>
          <p:cNvPr id="5" name="PA_文本框 21" descr="e7d195523061f1c0d318120d6aeaf1b6ccceb6ba3da59c0775C5DE19DDDEBC09ED96DBD9900D9848D623ECAD1D4904B78047D0015C22C8BE97228BE8B5BFF08FE7A3AE04126DA07312A96C0F69F9BAB71A8D4487C13BBD21E3F9DE587F01A2EC9B24CE25FF0E9B2136662A47C8B58C275121A88EC20F5D58602B203067E5F6C927344A314878098B"/>
          <p:cNvSpPr txBox="1"/>
          <p:nvPr>
            <p:custDataLst>
              <p:tags r:id="rId1"/>
            </p:custDataLst>
          </p:nvPr>
        </p:nvSpPr>
        <p:spPr>
          <a:xfrm>
            <a:off x="3824523" y="1777629"/>
            <a:ext cx="3849931" cy="461665"/>
          </a:xfrm>
          <a:prstGeom prst="rect">
            <a:avLst/>
          </a:prstGeom>
        </p:spPr>
        <p:txBody>
          <a:bodyPr vert="horz" wrap="square" lIns="0" tIns="0" rIns="0" bIns="0" rtlCol="0" anchor="ctr">
            <a:noAutofit/>
          </a:bodyPr>
          <a:lstStyle>
            <a:defPPr>
              <a:defRPr lang="zh-CN"/>
            </a:defPPr>
            <a:lvl1pPr marL="12700" marR="0" lvl="0" indent="0" fontAlgn="auto">
              <a:lnSpc>
                <a:spcPct val="100000"/>
              </a:lnSpc>
              <a:spcBef>
                <a:spcPts val="100"/>
              </a:spcBef>
              <a:spcAft>
                <a:spcPts val="0"/>
              </a:spcAft>
              <a:buClrTx/>
              <a:buSzTx/>
              <a:buFontTx/>
              <a:buNone/>
              <a:defRPr kumimoji="0" sz="2400" b="1" i="0" u="none" strike="noStrike" cap="none" spc="0" normalizeH="0" baseline="0">
                <a:ln>
                  <a:noFill/>
                </a:ln>
                <a:solidFill>
                  <a:srgbClr val="F05A23"/>
                </a:solidFill>
                <a:effectLst/>
                <a:uLnTx/>
                <a:uFillTx/>
                <a:latin typeface="Arial" panose="020B0604020202090204"/>
                <a:ea typeface="华文楷体" panose="02010600040101010101" pitchFamily="2" charset="-122"/>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vl6pPr>
              <a:defRPr>
                <a:latin typeface="+mn-lt"/>
                <a:ea typeface="+mn-ea"/>
                <a:cs typeface="+mn-cs"/>
              </a:defRPr>
            </a:lvl6pPr>
            <a:lvl7pPr>
              <a:defRPr>
                <a:latin typeface="+mn-lt"/>
                <a:ea typeface="+mn-ea"/>
                <a:cs typeface="+mn-cs"/>
              </a:defRPr>
            </a:lvl7pPr>
            <a:lvl8pPr>
              <a:defRPr>
                <a:latin typeface="+mn-lt"/>
                <a:ea typeface="+mn-ea"/>
                <a:cs typeface="+mn-cs"/>
              </a:defRPr>
            </a:lvl8pPr>
            <a:lvl9pPr>
              <a:defRPr>
                <a:latin typeface="+mn-lt"/>
                <a:ea typeface="+mn-ea"/>
                <a:cs typeface="+mn-cs"/>
              </a:defRPr>
            </a:lvl9pPr>
          </a:lstStyle>
          <a:p>
            <a:pPr marL="12700" marR="0" lvl="0" indent="0" algn="l" defTabSz="914400" rtl="0" eaLnBrk="1" fontAlgn="auto" latinLnBrk="0" hangingPunct="1">
              <a:lnSpc>
                <a:spcPct val="100000"/>
              </a:lnSpc>
              <a:spcBef>
                <a:spcPts val="100"/>
              </a:spcBef>
              <a:spcAft>
                <a:spcPts val="0"/>
              </a:spcAft>
              <a:buClrTx/>
              <a:buSzTx/>
              <a:buFontTx/>
              <a:buNone/>
              <a:defRPr/>
            </a:pPr>
            <a:r>
              <a:rPr kumimoji="0" lang="zh-CN" altLang="en-US" sz="3200" b="1" i="0" u="none" strike="noStrike" kern="1200" cap="none" spc="0" normalizeH="0" baseline="0" noProof="0" dirty="0">
                <a:ln>
                  <a:noFill/>
                </a:ln>
                <a:solidFill>
                  <a:srgbClr val="F05A23"/>
                </a:solidFill>
                <a:effectLst/>
                <a:uLnTx/>
                <a:uFillTx/>
                <a:latin typeface="Arial" panose="020B0604020202090204"/>
                <a:ea typeface="华文楷体" panose="02010600040101010101" pitchFamily="2" charset="-122"/>
                <a:cs typeface="+mn-cs"/>
              </a:rPr>
              <a:t>实操一下：</a:t>
            </a:r>
            <a:endParaRPr kumimoji="0" lang="zh-CN" altLang="en-US" sz="3200" b="1" i="0" u="none" strike="noStrike" kern="1200" cap="none" spc="0" normalizeH="0" baseline="0" noProof="0" dirty="0">
              <a:ln>
                <a:noFill/>
              </a:ln>
              <a:solidFill>
                <a:srgbClr val="F05A23"/>
              </a:solidFill>
              <a:effectLst/>
              <a:uLnTx/>
              <a:uFillTx/>
              <a:latin typeface="Arial" panose="020B0604020202090204"/>
              <a:ea typeface="华文楷体" panose="02010600040101010101" pitchFamily="2" charset="-122"/>
              <a:cs typeface="+mn-cs"/>
            </a:endParaRPr>
          </a:p>
        </p:txBody>
      </p:sp>
      <p:sp>
        <p:nvSpPr>
          <p:cNvPr id="3" name="e7d195523061f1c0" descr="e7d195523061f1c0d318120d6aeaf1b6ccceb6ba3da59c0775C5DE19DDDEBC09ED96DBD9900D9848D623ECAD1D4904B78047D0015C22C8BE97228BE8B5BFF08FE7A3AE04126DA07312A96C0F69F9BAB71A8D4487C13BBD21E3F9DE587F01A2EC9B24CE25FF0E9B2136662A47C8B58C275121A88EC20F5D58602B203067E5F6C927344A314878098B" hidden="1"/>
          <p:cNvSpPr txBox="1"/>
          <p:nvPr/>
        </p:nvSpPr>
        <p:spPr>
          <a:xfrm>
            <a:off x="-355600" y="1803400"/>
            <a:ext cx="262251" cy="1016000"/>
          </a:xfrm>
          <a:prstGeom prst="rect">
            <a:avLst/>
          </a:prstGeom>
          <a:noFill/>
        </p:spPr>
        <p:txBody>
          <a:bodyPr vert="wordArtVert"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00" b="0" i="0" u="none" strike="noStrike" kern="1200" cap="none" spc="0" normalizeH="0" baseline="0" noProof="0">
                <a:ln>
                  <a:noFill/>
                </a:ln>
                <a:solidFill>
                  <a:srgbClr val="000000"/>
                </a:solidFill>
                <a:effectLst/>
                <a:uLnTx/>
                <a:uFillTx/>
                <a:latin typeface="Arial" panose="020B0604020202090204"/>
                <a:ea typeface="微软雅黑"/>
                <a:cs typeface="+mn-cs"/>
              </a:rPr>
              <a:t>e7d195523061f1c0d318120d6aeaf1b6ccceb6ba3da59c0775C5DE19DDDEBC09ED96DBD9900D9848D623ECAD1D4904B78047D0015C22C8BE97228BE8B5BFF08FE7A3AE04126DA07312A96C0F69F9BAB71A8D4487C13BBD21E3F9DE587F01A2EC9B24CE25FF0E9B2136662A47C8B58C275121A88EC20F5D58602B203067E5F6C927344A314878098B</a:t>
            </a:r>
            <a:endParaRPr kumimoji="0" lang="zh-CN" altLang="en-US" sz="100" b="0" i="0" u="none" strike="noStrike" kern="1200" cap="none" spc="0" normalizeH="0" baseline="0" noProof="0">
              <a:ln>
                <a:noFill/>
              </a:ln>
              <a:solidFill>
                <a:srgbClr val="000000"/>
              </a:solidFill>
              <a:effectLst/>
              <a:uLnTx/>
              <a:uFillTx/>
              <a:latin typeface="Arial" panose="020B0604020202090204"/>
              <a:ea typeface="微软雅黑"/>
              <a:cs typeface="+mn-cs"/>
            </a:endParaRPr>
          </a:p>
        </p:txBody>
      </p:sp>
      <p:grpSp>
        <p:nvGrpSpPr>
          <p:cNvPr id="9" name="组合 8"/>
          <p:cNvGrpSpPr/>
          <p:nvPr/>
        </p:nvGrpSpPr>
        <p:grpSpPr>
          <a:xfrm>
            <a:off x="812799" y="551745"/>
            <a:ext cx="2344293" cy="1885528"/>
            <a:chOff x="3207781" y="1105990"/>
            <a:chExt cx="5776438" cy="4646020"/>
          </a:xfrm>
        </p:grpSpPr>
        <p:sp>
          <p:nvSpPr>
            <p:cNvPr id="10" name="任意多边形 4"/>
            <p:cNvSpPr/>
            <p:nvPr/>
          </p:nvSpPr>
          <p:spPr>
            <a:xfrm>
              <a:off x="3598883" y="5220505"/>
              <a:ext cx="5385336" cy="531505"/>
            </a:xfrm>
            <a:custGeom>
              <a:avLst/>
              <a:gdLst>
                <a:gd name="connsiteX0" fmla="*/ -514 w 4756429"/>
                <a:gd name="connsiteY0" fmla="*/ 234476 h 469435"/>
                <a:gd name="connsiteX1" fmla="*/ 2377732 w 4756429"/>
                <a:gd name="connsiteY1" fmla="*/ -210 h 469435"/>
                <a:gd name="connsiteX2" fmla="*/ 4755915 w 4756429"/>
                <a:gd name="connsiteY2" fmla="*/ 234476 h 469435"/>
                <a:gd name="connsiteX3" fmla="*/ 2377732 w 4756429"/>
                <a:gd name="connsiteY3" fmla="*/ 469226 h 469435"/>
                <a:gd name="connsiteX4" fmla="*/ -514 w 4756429"/>
                <a:gd name="connsiteY4" fmla="*/ 234476 h 469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56429" h="469435">
                  <a:moveTo>
                    <a:pt x="-514" y="234476"/>
                  </a:moveTo>
                  <a:cubicBezTo>
                    <a:pt x="-514" y="104871"/>
                    <a:pt x="1064277" y="-210"/>
                    <a:pt x="2377732" y="-210"/>
                  </a:cubicBezTo>
                  <a:cubicBezTo>
                    <a:pt x="3691187" y="-210"/>
                    <a:pt x="4755915" y="104871"/>
                    <a:pt x="4755915" y="234476"/>
                  </a:cubicBezTo>
                  <a:cubicBezTo>
                    <a:pt x="4755915" y="364081"/>
                    <a:pt x="3691187" y="469226"/>
                    <a:pt x="2377732" y="469226"/>
                  </a:cubicBezTo>
                  <a:cubicBezTo>
                    <a:pt x="1064277" y="469226"/>
                    <a:pt x="-514" y="364144"/>
                    <a:pt x="-514" y="234476"/>
                  </a:cubicBezTo>
                  <a:close/>
                </a:path>
              </a:pathLst>
            </a:custGeom>
            <a:solidFill>
              <a:srgbClr val="E8E8E8"/>
            </a:solidFill>
            <a:ln w="63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90204"/>
                <a:ea typeface="微软雅黑"/>
                <a:cs typeface="+mn-cs"/>
              </a:endParaRPr>
            </a:p>
          </p:txBody>
        </p:sp>
        <p:sp>
          <p:nvSpPr>
            <p:cNvPr id="11" name="任意多边形 5"/>
            <p:cNvSpPr/>
            <p:nvPr/>
          </p:nvSpPr>
          <p:spPr>
            <a:xfrm>
              <a:off x="4313321" y="3382454"/>
              <a:ext cx="883608" cy="1118025"/>
            </a:xfrm>
            <a:custGeom>
              <a:avLst/>
              <a:gdLst>
                <a:gd name="connsiteX0" fmla="*/ 304303 w 780419"/>
                <a:gd name="connsiteY0" fmla="*/ 118570 h 987461"/>
                <a:gd name="connsiteX1" fmla="*/ 254240 w 780419"/>
                <a:gd name="connsiteY1" fmla="*/ 127782 h 987461"/>
                <a:gd name="connsiteX2" fmla="*/ 200428 w 780419"/>
                <a:gd name="connsiteY2" fmla="*/ 182038 h 987461"/>
                <a:gd name="connsiteX3" fmla="*/ 189374 w 780419"/>
                <a:gd name="connsiteY3" fmla="*/ 260437 h 987461"/>
                <a:gd name="connsiteX4" fmla="*/ 195727 w 780419"/>
                <a:gd name="connsiteY4" fmla="*/ 517740 h 987461"/>
                <a:gd name="connsiteX5" fmla="*/ 71395 w 780419"/>
                <a:gd name="connsiteY5" fmla="*/ 592835 h 987461"/>
                <a:gd name="connsiteX6" fmla="*/ 24001 w 780419"/>
                <a:gd name="connsiteY6" fmla="*/ 840164 h 987461"/>
                <a:gd name="connsiteX7" fmla="*/ 249411 w 780419"/>
                <a:gd name="connsiteY7" fmla="*/ 982284 h 987461"/>
                <a:gd name="connsiteX8" fmla="*/ 522597 w 780419"/>
                <a:gd name="connsiteY8" fmla="*/ 959286 h 987461"/>
                <a:gd name="connsiteX9" fmla="*/ 699597 w 780419"/>
                <a:gd name="connsiteY9" fmla="*/ 889401 h 987461"/>
                <a:gd name="connsiteX10" fmla="*/ 708555 w 780419"/>
                <a:gd name="connsiteY10" fmla="*/ 575617 h 987461"/>
                <a:gd name="connsiteX11" fmla="*/ 764082 w 780419"/>
                <a:gd name="connsiteY11" fmla="*/ 389088 h 987461"/>
                <a:gd name="connsiteX12" fmla="*/ 606968 w 780419"/>
                <a:gd name="connsiteY12" fmla="*/ 27466 h 987461"/>
                <a:gd name="connsiteX13" fmla="*/ 304303 w 780419"/>
                <a:gd name="connsiteY13" fmla="*/ 118761 h 987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80419" h="987461">
                  <a:moveTo>
                    <a:pt x="304303" y="118570"/>
                  </a:moveTo>
                  <a:cubicBezTo>
                    <a:pt x="307860" y="110184"/>
                    <a:pt x="258432" y="125940"/>
                    <a:pt x="254240" y="127782"/>
                  </a:cubicBezTo>
                  <a:cubicBezTo>
                    <a:pt x="230002" y="138284"/>
                    <a:pt x="210733" y="157712"/>
                    <a:pt x="200428" y="182038"/>
                  </a:cubicBezTo>
                  <a:cubicBezTo>
                    <a:pt x="191299" y="207108"/>
                    <a:pt x="187531" y="233817"/>
                    <a:pt x="189374" y="260437"/>
                  </a:cubicBezTo>
                  <a:cubicBezTo>
                    <a:pt x="191216" y="342393"/>
                    <a:pt x="253985" y="444679"/>
                    <a:pt x="195727" y="517740"/>
                  </a:cubicBezTo>
                  <a:cubicBezTo>
                    <a:pt x="165486" y="555478"/>
                    <a:pt x="111484" y="565706"/>
                    <a:pt x="71395" y="592835"/>
                  </a:cubicBezTo>
                  <a:cubicBezTo>
                    <a:pt x="-4843" y="644295"/>
                    <a:pt x="-20154" y="759351"/>
                    <a:pt x="24001" y="840164"/>
                  </a:cubicBezTo>
                  <a:cubicBezTo>
                    <a:pt x="68155" y="920976"/>
                    <a:pt x="158306" y="968752"/>
                    <a:pt x="249411" y="982284"/>
                  </a:cubicBezTo>
                  <a:cubicBezTo>
                    <a:pt x="340516" y="995816"/>
                    <a:pt x="433081" y="979552"/>
                    <a:pt x="522597" y="959286"/>
                  </a:cubicBezTo>
                  <a:cubicBezTo>
                    <a:pt x="584986" y="945182"/>
                    <a:pt x="648835" y="928092"/>
                    <a:pt x="699597" y="889401"/>
                  </a:cubicBezTo>
                  <a:cubicBezTo>
                    <a:pt x="819354" y="797724"/>
                    <a:pt x="763510" y="682986"/>
                    <a:pt x="708555" y="575617"/>
                  </a:cubicBezTo>
                  <a:cubicBezTo>
                    <a:pt x="673358" y="506876"/>
                    <a:pt x="736509" y="474475"/>
                    <a:pt x="764082" y="389088"/>
                  </a:cubicBezTo>
                  <a:cubicBezTo>
                    <a:pt x="813700" y="235469"/>
                    <a:pt x="742608" y="86360"/>
                    <a:pt x="606968" y="27466"/>
                  </a:cubicBezTo>
                  <a:cubicBezTo>
                    <a:pt x="384225" y="-69039"/>
                    <a:pt x="304747" y="117744"/>
                    <a:pt x="304303" y="118761"/>
                  </a:cubicBezTo>
                  <a:close/>
                </a:path>
              </a:pathLst>
            </a:custGeom>
            <a:solidFill>
              <a:srgbClr val="971D05"/>
            </a:solidFill>
            <a:ln w="63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90204"/>
                <a:ea typeface="微软雅黑"/>
                <a:cs typeface="+mn-cs"/>
              </a:endParaRPr>
            </a:p>
          </p:txBody>
        </p:sp>
        <p:sp>
          <p:nvSpPr>
            <p:cNvPr id="12" name="任意多边形 6"/>
            <p:cNvSpPr/>
            <p:nvPr/>
          </p:nvSpPr>
          <p:spPr>
            <a:xfrm>
              <a:off x="4743753" y="3967018"/>
              <a:ext cx="251762" cy="311178"/>
            </a:xfrm>
            <a:custGeom>
              <a:avLst/>
              <a:gdLst>
                <a:gd name="connsiteX0" fmla="*/ 110730 w 222361"/>
                <a:gd name="connsiteY0" fmla="*/ 274628 h 274838"/>
                <a:gd name="connsiteX1" fmla="*/ 110730 w 222361"/>
                <a:gd name="connsiteY1" fmla="*/ 274628 h 274838"/>
                <a:gd name="connsiteX2" fmla="*/ -514 w 222361"/>
                <a:gd name="connsiteY2" fmla="*/ 126853 h 274838"/>
                <a:gd name="connsiteX3" fmla="*/ -514 w 222361"/>
                <a:gd name="connsiteY3" fmla="*/ -210 h 274838"/>
                <a:gd name="connsiteX4" fmla="*/ 221847 w 222361"/>
                <a:gd name="connsiteY4" fmla="*/ -210 h 274838"/>
                <a:gd name="connsiteX5" fmla="*/ 221847 w 222361"/>
                <a:gd name="connsiteY5" fmla="*/ 126853 h 274838"/>
                <a:gd name="connsiteX6" fmla="*/ 111937 w 222361"/>
                <a:gd name="connsiteY6" fmla="*/ 274628 h 274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2361" h="274838">
                  <a:moveTo>
                    <a:pt x="110730" y="274628"/>
                  </a:moveTo>
                  <a:lnTo>
                    <a:pt x="110730" y="274628"/>
                  </a:lnTo>
                  <a:cubicBezTo>
                    <a:pt x="49358" y="274628"/>
                    <a:pt x="-451" y="163639"/>
                    <a:pt x="-514" y="126853"/>
                  </a:cubicBezTo>
                  <a:lnTo>
                    <a:pt x="-514" y="-210"/>
                  </a:lnTo>
                  <a:lnTo>
                    <a:pt x="221847" y="-210"/>
                  </a:lnTo>
                  <a:lnTo>
                    <a:pt x="221847" y="126853"/>
                  </a:lnTo>
                  <a:cubicBezTo>
                    <a:pt x="221847" y="163448"/>
                    <a:pt x="172991" y="274438"/>
                    <a:pt x="111937" y="274628"/>
                  </a:cubicBezTo>
                  <a:close/>
                </a:path>
              </a:pathLst>
            </a:custGeom>
            <a:solidFill>
              <a:srgbClr val="FF93B1"/>
            </a:solidFill>
            <a:ln w="63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90204"/>
                <a:ea typeface="微软雅黑"/>
                <a:cs typeface="+mn-cs"/>
              </a:endParaRPr>
            </a:p>
          </p:txBody>
        </p:sp>
        <p:sp>
          <p:nvSpPr>
            <p:cNvPr id="13" name="任意多边形 7"/>
            <p:cNvSpPr/>
            <p:nvPr/>
          </p:nvSpPr>
          <p:spPr>
            <a:xfrm>
              <a:off x="4572555" y="3764605"/>
              <a:ext cx="121406" cy="141542"/>
            </a:xfrm>
            <a:custGeom>
              <a:avLst/>
              <a:gdLst>
                <a:gd name="connsiteX0" fmla="*/ 77312 w 107228"/>
                <a:gd name="connsiteY0" fmla="*/ 27741 h 125013"/>
                <a:gd name="connsiteX1" fmla="*/ -514 w 107228"/>
                <a:gd name="connsiteY1" fmla="*/ 46801 h 125013"/>
                <a:gd name="connsiteX2" fmla="*/ 94783 w 107228"/>
                <a:gd name="connsiteY2" fmla="*/ 110332 h 125013"/>
                <a:gd name="connsiteX3" fmla="*/ 77312 w 107228"/>
                <a:gd name="connsiteY3" fmla="*/ 27741 h 125013"/>
              </a:gdLst>
              <a:ahLst/>
              <a:cxnLst>
                <a:cxn ang="0">
                  <a:pos x="connsiteX0" y="connsiteY0"/>
                </a:cxn>
                <a:cxn ang="0">
                  <a:pos x="connsiteX1" y="connsiteY1"/>
                </a:cxn>
                <a:cxn ang="0">
                  <a:pos x="connsiteX2" y="connsiteY2"/>
                </a:cxn>
                <a:cxn ang="0">
                  <a:pos x="connsiteX3" y="connsiteY3"/>
                </a:cxn>
              </a:cxnLst>
              <a:rect l="l" t="t" r="r" b="b"/>
              <a:pathLst>
                <a:path w="107228" h="125013">
                  <a:moveTo>
                    <a:pt x="77312" y="27741"/>
                  </a:moveTo>
                  <a:cubicBezTo>
                    <a:pt x="41226" y="-26515"/>
                    <a:pt x="-514" y="8364"/>
                    <a:pt x="-514" y="46801"/>
                  </a:cubicBezTo>
                  <a:cubicBezTo>
                    <a:pt x="-514" y="102073"/>
                    <a:pt x="60031" y="149722"/>
                    <a:pt x="94783" y="110332"/>
                  </a:cubicBezTo>
                  <a:cubicBezTo>
                    <a:pt x="129535" y="70943"/>
                    <a:pt x="77312" y="27741"/>
                    <a:pt x="77312" y="27741"/>
                  </a:cubicBezTo>
                  <a:close/>
                </a:path>
              </a:pathLst>
            </a:custGeom>
            <a:solidFill>
              <a:srgbClr val="FED0D6"/>
            </a:solidFill>
            <a:ln w="63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90204"/>
                <a:ea typeface="微软雅黑"/>
                <a:cs typeface="+mn-cs"/>
              </a:endParaRPr>
            </a:p>
          </p:txBody>
        </p:sp>
        <p:sp>
          <p:nvSpPr>
            <p:cNvPr id="14" name="任意多边形 8"/>
            <p:cNvSpPr/>
            <p:nvPr/>
          </p:nvSpPr>
          <p:spPr>
            <a:xfrm>
              <a:off x="5034066" y="3764605"/>
              <a:ext cx="121425" cy="141542"/>
            </a:xfrm>
            <a:custGeom>
              <a:avLst/>
              <a:gdLst>
                <a:gd name="connsiteX0" fmla="*/ 28968 w 107245"/>
                <a:gd name="connsiteY0" fmla="*/ 27741 h 125013"/>
                <a:gd name="connsiteX1" fmla="*/ 106731 w 107245"/>
                <a:gd name="connsiteY1" fmla="*/ 46801 h 125013"/>
                <a:gd name="connsiteX2" fmla="*/ 11433 w 107245"/>
                <a:gd name="connsiteY2" fmla="*/ 110332 h 125013"/>
                <a:gd name="connsiteX3" fmla="*/ 28968 w 107245"/>
                <a:gd name="connsiteY3" fmla="*/ 27741 h 125013"/>
              </a:gdLst>
              <a:ahLst/>
              <a:cxnLst>
                <a:cxn ang="0">
                  <a:pos x="connsiteX0" y="connsiteY0"/>
                </a:cxn>
                <a:cxn ang="0">
                  <a:pos x="connsiteX1" y="connsiteY1"/>
                </a:cxn>
                <a:cxn ang="0">
                  <a:pos x="connsiteX2" y="connsiteY2"/>
                </a:cxn>
                <a:cxn ang="0">
                  <a:pos x="connsiteX3" y="connsiteY3"/>
                </a:cxn>
              </a:cxnLst>
              <a:rect l="l" t="t" r="r" b="b"/>
              <a:pathLst>
                <a:path w="107245" h="125013">
                  <a:moveTo>
                    <a:pt x="28968" y="27741"/>
                  </a:moveTo>
                  <a:cubicBezTo>
                    <a:pt x="64927" y="-26515"/>
                    <a:pt x="106731" y="8364"/>
                    <a:pt x="106731" y="46801"/>
                  </a:cubicBezTo>
                  <a:cubicBezTo>
                    <a:pt x="106731" y="102073"/>
                    <a:pt x="46249" y="149722"/>
                    <a:pt x="11433" y="110332"/>
                  </a:cubicBezTo>
                  <a:cubicBezTo>
                    <a:pt x="-23382" y="70943"/>
                    <a:pt x="28968" y="27741"/>
                    <a:pt x="28968" y="27741"/>
                  </a:cubicBezTo>
                  <a:close/>
                </a:path>
              </a:pathLst>
            </a:custGeom>
            <a:solidFill>
              <a:srgbClr val="FED0D6"/>
            </a:solidFill>
            <a:ln w="63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90204"/>
                <a:ea typeface="微软雅黑"/>
                <a:cs typeface="+mn-cs"/>
              </a:endParaRPr>
            </a:p>
          </p:txBody>
        </p:sp>
        <p:sp>
          <p:nvSpPr>
            <p:cNvPr id="15" name="任意多边形 9"/>
            <p:cNvSpPr/>
            <p:nvPr/>
          </p:nvSpPr>
          <p:spPr>
            <a:xfrm>
              <a:off x="4636485" y="3571274"/>
              <a:ext cx="453974" cy="467243"/>
            </a:xfrm>
            <a:custGeom>
              <a:avLst/>
              <a:gdLst>
                <a:gd name="connsiteX0" fmla="*/ 199817 w 400958"/>
                <a:gd name="connsiteY0" fmla="*/ 412468 h 412678"/>
                <a:gd name="connsiteX1" fmla="*/ 6744 w 400958"/>
                <a:gd name="connsiteY1" fmla="*/ 98113 h 412678"/>
                <a:gd name="connsiteX2" fmla="*/ 393207 w 400958"/>
                <a:gd name="connsiteY2" fmla="*/ 98113 h 412678"/>
                <a:gd name="connsiteX3" fmla="*/ 199817 w 400958"/>
                <a:gd name="connsiteY3" fmla="*/ 412468 h 412678"/>
              </a:gdLst>
              <a:ahLst/>
              <a:cxnLst>
                <a:cxn ang="0">
                  <a:pos x="connsiteX0" y="connsiteY0"/>
                </a:cxn>
                <a:cxn ang="0">
                  <a:pos x="connsiteX1" y="connsiteY1"/>
                </a:cxn>
                <a:cxn ang="0">
                  <a:pos x="connsiteX2" y="connsiteY2"/>
                </a:cxn>
                <a:cxn ang="0">
                  <a:pos x="connsiteX3" y="connsiteY3"/>
                </a:cxn>
              </a:cxnLst>
              <a:rect l="l" t="t" r="r" b="b"/>
              <a:pathLst>
                <a:path w="400958" h="412678">
                  <a:moveTo>
                    <a:pt x="199817" y="412468"/>
                  </a:moveTo>
                  <a:cubicBezTo>
                    <a:pt x="57569" y="412468"/>
                    <a:pt x="-26547" y="257387"/>
                    <a:pt x="6744" y="98113"/>
                  </a:cubicBezTo>
                  <a:cubicBezTo>
                    <a:pt x="34063" y="-33016"/>
                    <a:pt x="365762" y="-32953"/>
                    <a:pt x="393207" y="98113"/>
                  </a:cubicBezTo>
                  <a:cubicBezTo>
                    <a:pt x="426434" y="257387"/>
                    <a:pt x="342382" y="412595"/>
                    <a:pt x="199817" y="412468"/>
                  </a:cubicBezTo>
                  <a:close/>
                </a:path>
              </a:pathLst>
            </a:custGeom>
            <a:solidFill>
              <a:srgbClr val="FED0D6"/>
            </a:solidFill>
            <a:ln w="63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90204"/>
                <a:ea typeface="微软雅黑"/>
                <a:cs typeface="+mn-cs"/>
              </a:endParaRPr>
            </a:p>
          </p:txBody>
        </p:sp>
        <p:sp>
          <p:nvSpPr>
            <p:cNvPr id="16" name="任意多边形 10"/>
            <p:cNvSpPr/>
            <p:nvPr/>
          </p:nvSpPr>
          <p:spPr>
            <a:xfrm>
              <a:off x="4757636" y="3487392"/>
              <a:ext cx="367502" cy="234313"/>
            </a:xfrm>
            <a:custGeom>
              <a:avLst/>
              <a:gdLst>
                <a:gd name="connsiteX0" fmla="*/ -514 w 324585"/>
                <a:gd name="connsiteY0" fmla="*/ 31541 h 206950"/>
                <a:gd name="connsiteX1" fmla="*/ 303231 w 324585"/>
                <a:gd name="connsiteY1" fmla="*/ 198693 h 206950"/>
                <a:gd name="connsiteX2" fmla="*/ 184045 w 324585"/>
                <a:gd name="connsiteY2" fmla="*/ 21757 h 206950"/>
                <a:gd name="connsiteX3" fmla="*/ -514 w 324585"/>
                <a:gd name="connsiteY3" fmla="*/ 31541 h 206950"/>
              </a:gdLst>
              <a:ahLst/>
              <a:cxnLst>
                <a:cxn ang="0">
                  <a:pos x="connsiteX0" y="connsiteY0"/>
                </a:cxn>
                <a:cxn ang="0">
                  <a:pos x="connsiteX1" y="connsiteY1"/>
                </a:cxn>
                <a:cxn ang="0">
                  <a:pos x="connsiteX2" y="connsiteY2"/>
                </a:cxn>
                <a:cxn ang="0">
                  <a:pos x="connsiteX3" y="connsiteY3"/>
                </a:cxn>
              </a:cxnLst>
              <a:rect l="l" t="t" r="r" b="b"/>
              <a:pathLst>
                <a:path w="324585" h="206950">
                  <a:moveTo>
                    <a:pt x="-514" y="31541"/>
                  </a:moveTo>
                  <a:cubicBezTo>
                    <a:pt x="-514" y="165911"/>
                    <a:pt x="253612" y="230650"/>
                    <a:pt x="303231" y="198693"/>
                  </a:cubicBezTo>
                  <a:cubicBezTo>
                    <a:pt x="352849" y="166737"/>
                    <a:pt x="314158" y="52951"/>
                    <a:pt x="184045" y="21757"/>
                  </a:cubicBezTo>
                  <a:cubicBezTo>
                    <a:pt x="53932" y="-9437"/>
                    <a:pt x="-197" y="-8484"/>
                    <a:pt x="-514" y="31541"/>
                  </a:cubicBezTo>
                  <a:close/>
                </a:path>
              </a:pathLst>
            </a:custGeom>
            <a:solidFill>
              <a:srgbClr val="971D05"/>
            </a:solidFill>
            <a:ln w="63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90204"/>
                <a:ea typeface="微软雅黑"/>
                <a:cs typeface="+mn-cs"/>
              </a:endParaRPr>
            </a:p>
          </p:txBody>
        </p:sp>
        <p:sp>
          <p:nvSpPr>
            <p:cNvPr id="17" name="任意多边形 11"/>
            <p:cNvSpPr/>
            <p:nvPr/>
          </p:nvSpPr>
          <p:spPr>
            <a:xfrm>
              <a:off x="4592900" y="3508707"/>
              <a:ext cx="173053" cy="238281"/>
            </a:xfrm>
            <a:custGeom>
              <a:avLst/>
              <a:gdLst>
                <a:gd name="connsiteX0" fmla="*/ 145428 w 152844"/>
                <a:gd name="connsiteY0" fmla="*/ 11762 h 210454"/>
                <a:gd name="connsiteX1" fmla="*/ 38759 w 152844"/>
                <a:gd name="connsiteY1" fmla="*/ 209790 h 210454"/>
                <a:gd name="connsiteX2" fmla="*/ 27704 w 152844"/>
                <a:gd name="connsiteY2" fmla="*/ 78089 h 210454"/>
                <a:gd name="connsiteX3" fmla="*/ 145428 w 152844"/>
                <a:gd name="connsiteY3" fmla="*/ 11762 h 210454"/>
              </a:gdLst>
              <a:ahLst/>
              <a:cxnLst>
                <a:cxn ang="0">
                  <a:pos x="connsiteX0" y="connsiteY0"/>
                </a:cxn>
                <a:cxn ang="0">
                  <a:pos x="connsiteX1" y="connsiteY1"/>
                </a:cxn>
                <a:cxn ang="0">
                  <a:pos x="connsiteX2" y="connsiteY2"/>
                </a:cxn>
                <a:cxn ang="0">
                  <a:pos x="connsiteX3" y="connsiteY3"/>
                </a:cxn>
              </a:cxnLst>
              <a:rect l="l" t="t" r="r" b="b"/>
              <a:pathLst>
                <a:path w="152844" h="210454">
                  <a:moveTo>
                    <a:pt x="145428" y="11762"/>
                  </a:moveTo>
                  <a:cubicBezTo>
                    <a:pt x="177703" y="76501"/>
                    <a:pt x="89076" y="219320"/>
                    <a:pt x="38759" y="209790"/>
                  </a:cubicBezTo>
                  <a:cubicBezTo>
                    <a:pt x="-11559" y="200261"/>
                    <a:pt x="-11622" y="144416"/>
                    <a:pt x="27704" y="78089"/>
                  </a:cubicBezTo>
                  <a:cubicBezTo>
                    <a:pt x="67030" y="11762"/>
                    <a:pt x="130117" y="-18987"/>
                    <a:pt x="145428" y="11762"/>
                  </a:cubicBezTo>
                  <a:close/>
                </a:path>
              </a:pathLst>
            </a:custGeom>
            <a:solidFill>
              <a:srgbClr val="971D05"/>
            </a:solidFill>
            <a:ln w="63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90204"/>
                <a:ea typeface="微软雅黑"/>
                <a:cs typeface="+mn-cs"/>
              </a:endParaRPr>
            </a:p>
          </p:txBody>
        </p:sp>
        <p:sp>
          <p:nvSpPr>
            <p:cNvPr id="18" name="任意多边形 12"/>
            <p:cNvSpPr/>
            <p:nvPr/>
          </p:nvSpPr>
          <p:spPr>
            <a:xfrm>
              <a:off x="3612370" y="4281731"/>
              <a:ext cx="915035" cy="627652"/>
            </a:xfrm>
            <a:custGeom>
              <a:avLst/>
              <a:gdLst>
                <a:gd name="connsiteX0" fmla="*/ 797158 w 808176"/>
                <a:gd name="connsiteY0" fmla="*/ 72207 h 554354"/>
                <a:gd name="connsiteX1" fmla="*/ 561011 w 808176"/>
                <a:gd name="connsiteY1" fmla="*/ 325698 h 554354"/>
                <a:gd name="connsiteX2" fmla="*/ 47611 w 808176"/>
                <a:gd name="connsiteY2" fmla="*/ 553523 h 554354"/>
                <a:gd name="connsiteX3" fmla="*/ 47611 w 808176"/>
                <a:gd name="connsiteY3" fmla="*/ 451110 h 554354"/>
                <a:gd name="connsiteX4" fmla="*/ 496844 w 808176"/>
                <a:gd name="connsiteY4" fmla="*/ 243743 h 554354"/>
                <a:gd name="connsiteX5" fmla="*/ 650844 w 808176"/>
                <a:gd name="connsiteY5" fmla="*/ 90123 h 554354"/>
                <a:gd name="connsiteX6" fmla="*/ 699637 w 808176"/>
                <a:gd name="connsiteY6" fmla="*/ 36375 h 554354"/>
                <a:gd name="connsiteX7" fmla="*/ 709866 w 808176"/>
                <a:gd name="connsiteY7" fmla="*/ 18459 h 554354"/>
                <a:gd name="connsiteX8" fmla="*/ 709866 w 808176"/>
                <a:gd name="connsiteY8" fmla="*/ 21000 h 554354"/>
                <a:gd name="connsiteX9" fmla="*/ 797158 w 808176"/>
                <a:gd name="connsiteY9" fmla="*/ 72207 h 554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8176" h="554354">
                  <a:moveTo>
                    <a:pt x="797158" y="72207"/>
                  </a:moveTo>
                  <a:cubicBezTo>
                    <a:pt x="727280" y="164525"/>
                    <a:pt x="648151" y="249460"/>
                    <a:pt x="561011" y="325698"/>
                  </a:cubicBezTo>
                  <a:cubicBezTo>
                    <a:pt x="422385" y="446027"/>
                    <a:pt x="242717" y="563752"/>
                    <a:pt x="47611" y="553523"/>
                  </a:cubicBezTo>
                  <a:cubicBezTo>
                    <a:pt x="-16556" y="548377"/>
                    <a:pt x="-16556" y="446027"/>
                    <a:pt x="47611" y="451110"/>
                  </a:cubicBezTo>
                  <a:cubicBezTo>
                    <a:pt x="219591" y="461339"/>
                    <a:pt x="376197" y="351302"/>
                    <a:pt x="496844" y="243743"/>
                  </a:cubicBezTo>
                  <a:cubicBezTo>
                    <a:pt x="553323" y="197682"/>
                    <a:pt x="602052" y="143871"/>
                    <a:pt x="650844" y="90123"/>
                  </a:cubicBezTo>
                  <a:cubicBezTo>
                    <a:pt x="668824" y="72207"/>
                    <a:pt x="684199" y="54291"/>
                    <a:pt x="699637" y="36375"/>
                  </a:cubicBezTo>
                  <a:cubicBezTo>
                    <a:pt x="703589" y="30727"/>
                    <a:pt x="707013" y="24730"/>
                    <a:pt x="709866" y="18459"/>
                  </a:cubicBezTo>
                  <a:cubicBezTo>
                    <a:pt x="717553" y="10772"/>
                    <a:pt x="702178" y="31165"/>
                    <a:pt x="709866" y="21000"/>
                  </a:cubicBezTo>
                  <a:cubicBezTo>
                    <a:pt x="748366" y="-30206"/>
                    <a:pt x="838199" y="21000"/>
                    <a:pt x="797158" y="72207"/>
                  </a:cubicBezTo>
                  <a:close/>
                </a:path>
              </a:pathLst>
            </a:custGeom>
            <a:solidFill>
              <a:srgbClr val="FED0D6"/>
            </a:solidFill>
            <a:ln w="63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90204"/>
                <a:ea typeface="微软雅黑"/>
                <a:cs typeface="+mn-cs"/>
              </a:endParaRPr>
            </a:p>
          </p:txBody>
        </p:sp>
        <p:sp>
          <p:nvSpPr>
            <p:cNvPr id="19" name="任意多边形 13"/>
            <p:cNvSpPr/>
            <p:nvPr/>
          </p:nvSpPr>
          <p:spPr>
            <a:xfrm>
              <a:off x="5248839" y="3957542"/>
              <a:ext cx="415701" cy="712692"/>
            </a:xfrm>
            <a:custGeom>
              <a:avLst/>
              <a:gdLst>
                <a:gd name="connsiteX0" fmla="*/ 90290 w 367155"/>
                <a:gd name="connsiteY0" fmla="*/ 275691 h 629463"/>
                <a:gd name="connsiteX1" fmla="*/ 229361 w 367155"/>
                <a:gd name="connsiteY1" fmla="*/ 451738 h 629463"/>
                <a:gd name="connsiteX2" fmla="*/ 246959 w 367155"/>
                <a:gd name="connsiteY2" fmla="*/ 471877 h 629463"/>
                <a:gd name="connsiteX3" fmla="*/ 201979 w 367155"/>
                <a:gd name="connsiteY3" fmla="*/ 211016 h 629463"/>
                <a:gd name="connsiteX4" fmla="*/ 194292 w 367155"/>
                <a:gd name="connsiteY4" fmla="*/ 113241 h 629463"/>
                <a:gd name="connsiteX5" fmla="*/ 298420 w 367155"/>
                <a:gd name="connsiteY5" fmla="*/ 6952 h 629463"/>
                <a:gd name="connsiteX6" fmla="*/ 340732 w 367155"/>
                <a:gd name="connsiteY6" fmla="*/ 100280 h 629463"/>
                <a:gd name="connsiteX7" fmla="*/ 314748 w 367155"/>
                <a:gd name="connsiteY7" fmla="*/ 117624 h 629463"/>
                <a:gd name="connsiteX8" fmla="*/ 294544 w 367155"/>
                <a:gd name="connsiteY8" fmla="*/ 135286 h 629463"/>
                <a:gd name="connsiteX9" fmla="*/ 296006 w 367155"/>
                <a:gd name="connsiteY9" fmla="*/ 157077 h 629463"/>
                <a:gd name="connsiteX10" fmla="*/ 320402 w 367155"/>
                <a:gd name="connsiteY10" fmla="*/ 297927 h 629463"/>
                <a:gd name="connsiteX11" fmla="*/ 354518 w 367155"/>
                <a:gd name="connsiteY11" fmla="*/ 572194 h 629463"/>
                <a:gd name="connsiteX12" fmla="*/ 268560 w 367155"/>
                <a:gd name="connsiteY12" fmla="*/ 625243 h 629463"/>
                <a:gd name="connsiteX13" fmla="*/ 170785 w 367155"/>
                <a:gd name="connsiteY13" fmla="*/ 540237 h 629463"/>
                <a:gd name="connsiteX14" fmla="*/ 9668 w 367155"/>
                <a:gd name="connsiteY14" fmla="*/ 340176 h 629463"/>
                <a:gd name="connsiteX15" fmla="*/ 90290 w 367155"/>
                <a:gd name="connsiteY15" fmla="*/ 275437 h 629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67155" h="629463">
                  <a:moveTo>
                    <a:pt x="90290" y="275691"/>
                  </a:moveTo>
                  <a:cubicBezTo>
                    <a:pt x="134762" y="336999"/>
                    <a:pt x="181013" y="394877"/>
                    <a:pt x="229361" y="451738"/>
                  </a:cubicBezTo>
                  <a:cubicBezTo>
                    <a:pt x="235714" y="459997"/>
                    <a:pt x="241432" y="465969"/>
                    <a:pt x="246959" y="471877"/>
                  </a:cubicBezTo>
                  <a:cubicBezTo>
                    <a:pt x="235460" y="384267"/>
                    <a:pt x="213478" y="298626"/>
                    <a:pt x="201979" y="211016"/>
                  </a:cubicBezTo>
                  <a:cubicBezTo>
                    <a:pt x="196325" y="179822"/>
                    <a:pt x="189273" y="146277"/>
                    <a:pt x="194292" y="113241"/>
                  </a:cubicBezTo>
                  <a:cubicBezTo>
                    <a:pt x="199692" y="62923"/>
                    <a:pt x="258395" y="30649"/>
                    <a:pt x="298420" y="6952"/>
                  </a:cubicBezTo>
                  <a:cubicBezTo>
                    <a:pt x="353692" y="-26593"/>
                    <a:pt x="396068" y="66735"/>
                    <a:pt x="340732" y="100280"/>
                  </a:cubicBezTo>
                  <a:cubicBezTo>
                    <a:pt x="351342" y="92593"/>
                    <a:pt x="319449" y="115528"/>
                    <a:pt x="314748" y="117624"/>
                  </a:cubicBezTo>
                  <a:cubicBezTo>
                    <a:pt x="304138" y="125311"/>
                    <a:pt x="296705" y="139924"/>
                    <a:pt x="294544" y="135286"/>
                  </a:cubicBezTo>
                  <a:cubicBezTo>
                    <a:pt x="294544" y="141004"/>
                    <a:pt x="296451" y="145642"/>
                    <a:pt x="296006" y="157077"/>
                  </a:cubicBezTo>
                  <a:cubicBezTo>
                    <a:pt x="303375" y="204409"/>
                    <a:pt x="310682" y="251740"/>
                    <a:pt x="320402" y="297927"/>
                  </a:cubicBezTo>
                  <a:cubicBezTo>
                    <a:pt x="335523" y="381090"/>
                    <a:pt x="369321" y="486744"/>
                    <a:pt x="354518" y="572194"/>
                  </a:cubicBezTo>
                  <a:cubicBezTo>
                    <a:pt x="348165" y="614442"/>
                    <a:pt x="311698" y="639474"/>
                    <a:pt x="268560" y="625243"/>
                  </a:cubicBezTo>
                  <a:cubicBezTo>
                    <a:pt x="230124" y="608915"/>
                    <a:pt x="198358" y="569906"/>
                    <a:pt x="170785" y="540237"/>
                  </a:cubicBezTo>
                  <a:cubicBezTo>
                    <a:pt x="113695" y="476343"/>
                    <a:pt x="59922" y="409571"/>
                    <a:pt x="9668" y="340176"/>
                  </a:cubicBezTo>
                  <a:cubicBezTo>
                    <a:pt x="-28451" y="287127"/>
                    <a:pt x="49821" y="223468"/>
                    <a:pt x="90290" y="275437"/>
                  </a:cubicBezTo>
                  <a:close/>
                </a:path>
              </a:pathLst>
            </a:custGeom>
            <a:solidFill>
              <a:srgbClr val="FED0D6"/>
            </a:solidFill>
            <a:ln w="63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90204"/>
                <a:ea typeface="微软雅黑"/>
                <a:cs typeface="+mn-cs"/>
              </a:endParaRPr>
            </a:p>
          </p:txBody>
        </p:sp>
        <p:sp>
          <p:nvSpPr>
            <p:cNvPr id="20" name="任意多边形 14"/>
            <p:cNvSpPr/>
            <p:nvPr/>
          </p:nvSpPr>
          <p:spPr>
            <a:xfrm>
              <a:off x="4494869" y="4089375"/>
              <a:ext cx="731188" cy="915335"/>
            </a:xfrm>
            <a:custGeom>
              <a:avLst/>
              <a:gdLst>
                <a:gd name="connsiteX0" fmla="*/ -514 w 645799"/>
                <a:gd name="connsiteY0" fmla="*/ 61416 h 808441"/>
                <a:gd name="connsiteX1" fmla="*/ 219877 w 645799"/>
                <a:gd name="connsiteY1" fmla="*/ -210 h 808441"/>
                <a:gd name="connsiteX2" fmla="*/ 333662 w 645799"/>
                <a:gd name="connsiteY2" fmla="*/ 71263 h 808441"/>
                <a:gd name="connsiteX3" fmla="*/ 441666 w 645799"/>
                <a:gd name="connsiteY3" fmla="*/ -210 h 808441"/>
                <a:gd name="connsiteX4" fmla="*/ 481564 w 645799"/>
                <a:gd name="connsiteY4" fmla="*/ 3475 h 808441"/>
                <a:gd name="connsiteX5" fmla="*/ 625527 w 645799"/>
                <a:gd name="connsiteY5" fmla="*/ 23360 h 808441"/>
                <a:gd name="connsiteX6" fmla="*/ 637598 w 645799"/>
                <a:gd name="connsiteY6" fmla="*/ 333459 h 808441"/>
                <a:gd name="connsiteX7" fmla="*/ 645285 w 645799"/>
                <a:gd name="connsiteY7" fmla="*/ 792920 h 808441"/>
                <a:gd name="connsiteX8" fmla="*/ 384488 w 645799"/>
                <a:gd name="connsiteY8" fmla="*/ 808231 h 808441"/>
                <a:gd name="connsiteX9" fmla="*/ 20006 w 645799"/>
                <a:gd name="connsiteY9" fmla="*/ 792920 h 808441"/>
                <a:gd name="connsiteX10" fmla="*/ 27694 w 645799"/>
                <a:gd name="connsiteY10" fmla="*/ 333459 h 808441"/>
                <a:gd name="connsiteX11" fmla="*/ -514 w 645799"/>
                <a:gd name="connsiteY11" fmla="*/ 61416 h 808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45799" h="808441">
                  <a:moveTo>
                    <a:pt x="-514" y="61416"/>
                  </a:moveTo>
                  <a:lnTo>
                    <a:pt x="219877" y="-210"/>
                  </a:lnTo>
                  <a:cubicBezTo>
                    <a:pt x="235252" y="69103"/>
                    <a:pt x="308250" y="71263"/>
                    <a:pt x="333662" y="71263"/>
                  </a:cubicBezTo>
                  <a:cubicBezTo>
                    <a:pt x="365428" y="71263"/>
                    <a:pt x="426292" y="69103"/>
                    <a:pt x="441666" y="-210"/>
                  </a:cubicBezTo>
                  <a:lnTo>
                    <a:pt x="481564" y="3475"/>
                  </a:lnTo>
                  <a:cubicBezTo>
                    <a:pt x="594142" y="14085"/>
                    <a:pt x="625527" y="23360"/>
                    <a:pt x="625527" y="23360"/>
                  </a:cubicBezTo>
                  <a:cubicBezTo>
                    <a:pt x="597382" y="336508"/>
                    <a:pt x="658436" y="258428"/>
                    <a:pt x="637598" y="333459"/>
                  </a:cubicBezTo>
                  <a:cubicBezTo>
                    <a:pt x="581436" y="535045"/>
                    <a:pt x="645285" y="792920"/>
                    <a:pt x="645285" y="792920"/>
                  </a:cubicBezTo>
                  <a:cubicBezTo>
                    <a:pt x="543317" y="808231"/>
                    <a:pt x="455770" y="808231"/>
                    <a:pt x="384488" y="808231"/>
                  </a:cubicBezTo>
                  <a:cubicBezTo>
                    <a:pt x="17401" y="808231"/>
                    <a:pt x="20006" y="792920"/>
                    <a:pt x="20006" y="792920"/>
                  </a:cubicBezTo>
                  <a:cubicBezTo>
                    <a:pt x="20006" y="792920"/>
                    <a:pt x="85889" y="477866"/>
                    <a:pt x="27694" y="333459"/>
                  </a:cubicBezTo>
                  <a:cubicBezTo>
                    <a:pt x="2281" y="269927"/>
                    <a:pt x="-514" y="61416"/>
                    <a:pt x="-514" y="61416"/>
                  </a:cubicBezTo>
                  <a:close/>
                </a:path>
              </a:pathLst>
            </a:custGeom>
            <a:solidFill>
              <a:srgbClr val="BE5ED3"/>
            </a:solidFill>
            <a:ln w="63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90204"/>
                <a:ea typeface="微软雅黑"/>
                <a:cs typeface="+mn-cs"/>
              </a:endParaRPr>
            </a:p>
          </p:txBody>
        </p:sp>
        <p:sp>
          <p:nvSpPr>
            <p:cNvPr id="21" name="任意多边形 15"/>
            <p:cNvSpPr/>
            <p:nvPr/>
          </p:nvSpPr>
          <p:spPr>
            <a:xfrm>
              <a:off x="4736560" y="4414867"/>
              <a:ext cx="302114" cy="302114"/>
            </a:xfrm>
            <a:custGeom>
              <a:avLst/>
              <a:gdLst>
                <a:gd name="connsiteX0" fmla="*/ 266833 w 266833"/>
                <a:gd name="connsiteY0" fmla="*/ 133417 h 266833"/>
                <a:gd name="connsiteX1" fmla="*/ 133417 w 266833"/>
                <a:gd name="connsiteY1" fmla="*/ 266833 h 266833"/>
                <a:gd name="connsiteX2" fmla="*/ 0 w 266833"/>
                <a:gd name="connsiteY2" fmla="*/ 133417 h 266833"/>
                <a:gd name="connsiteX3" fmla="*/ 133417 w 266833"/>
                <a:gd name="connsiteY3" fmla="*/ 0 h 266833"/>
                <a:gd name="connsiteX4" fmla="*/ 266833 w 266833"/>
                <a:gd name="connsiteY4" fmla="*/ 133417 h 2668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833" h="266833">
                  <a:moveTo>
                    <a:pt x="266833" y="133417"/>
                  </a:moveTo>
                  <a:cubicBezTo>
                    <a:pt x="266833" y="207101"/>
                    <a:pt x="207101" y="266833"/>
                    <a:pt x="133417" y="266833"/>
                  </a:cubicBezTo>
                  <a:cubicBezTo>
                    <a:pt x="59733" y="266833"/>
                    <a:pt x="0" y="207101"/>
                    <a:pt x="0" y="133417"/>
                  </a:cubicBezTo>
                  <a:cubicBezTo>
                    <a:pt x="0" y="59733"/>
                    <a:pt x="59733" y="0"/>
                    <a:pt x="133417" y="0"/>
                  </a:cubicBezTo>
                  <a:cubicBezTo>
                    <a:pt x="207101" y="0"/>
                    <a:pt x="266833" y="59733"/>
                    <a:pt x="266833" y="133417"/>
                  </a:cubicBezTo>
                  <a:close/>
                </a:path>
              </a:pathLst>
            </a:custGeom>
            <a:solidFill>
              <a:srgbClr val="FFC545"/>
            </a:solidFill>
            <a:ln w="63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90204"/>
                <a:ea typeface="微软雅黑"/>
                <a:cs typeface="+mn-cs"/>
              </a:endParaRPr>
            </a:p>
          </p:txBody>
        </p:sp>
        <p:sp>
          <p:nvSpPr>
            <p:cNvPr id="22" name="任意多边形 16"/>
            <p:cNvSpPr/>
            <p:nvPr/>
          </p:nvSpPr>
          <p:spPr>
            <a:xfrm>
              <a:off x="4808492" y="4501185"/>
              <a:ext cx="28772" cy="57545"/>
            </a:xfrm>
            <a:custGeom>
              <a:avLst/>
              <a:gdLst>
                <a:gd name="connsiteX0" fmla="*/ 25413 w 25412"/>
                <a:gd name="connsiteY0" fmla="*/ 25413 h 50825"/>
                <a:gd name="connsiteX1" fmla="*/ 12706 w 25412"/>
                <a:gd name="connsiteY1" fmla="*/ 50825 h 50825"/>
                <a:gd name="connsiteX2" fmla="*/ 0 w 25412"/>
                <a:gd name="connsiteY2" fmla="*/ 25413 h 50825"/>
                <a:gd name="connsiteX3" fmla="*/ 12706 w 25412"/>
                <a:gd name="connsiteY3" fmla="*/ 0 h 50825"/>
                <a:gd name="connsiteX4" fmla="*/ 25413 w 25412"/>
                <a:gd name="connsiteY4" fmla="*/ 25413 h 50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12" h="50825">
                  <a:moveTo>
                    <a:pt x="25413" y="25413"/>
                  </a:moveTo>
                  <a:cubicBezTo>
                    <a:pt x="25413" y="39448"/>
                    <a:pt x="19724" y="50825"/>
                    <a:pt x="12706" y="50825"/>
                  </a:cubicBezTo>
                  <a:cubicBezTo>
                    <a:pt x="5689" y="50825"/>
                    <a:pt x="0" y="39448"/>
                    <a:pt x="0" y="25413"/>
                  </a:cubicBezTo>
                  <a:cubicBezTo>
                    <a:pt x="0" y="11378"/>
                    <a:pt x="5689" y="0"/>
                    <a:pt x="12706" y="0"/>
                  </a:cubicBezTo>
                  <a:cubicBezTo>
                    <a:pt x="19724" y="0"/>
                    <a:pt x="25413" y="11378"/>
                    <a:pt x="25413" y="25413"/>
                  </a:cubicBezTo>
                  <a:close/>
                </a:path>
              </a:pathLst>
            </a:custGeom>
            <a:solidFill>
              <a:srgbClr val="00002B"/>
            </a:solidFill>
            <a:ln w="63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90204"/>
                <a:ea typeface="微软雅黑"/>
                <a:cs typeface="+mn-cs"/>
              </a:endParaRPr>
            </a:p>
          </p:txBody>
        </p:sp>
        <p:sp>
          <p:nvSpPr>
            <p:cNvPr id="23" name="任意多边形 17"/>
            <p:cNvSpPr/>
            <p:nvPr/>
          </p:nvSpPr>
          <p:spPr>
            <a:xfrm>
              <a:off x="4937970" y="4501185"/>
              <a:ext cx="28772" cy="57545"/>
            </a:xfrm>
            <a:custGeom>
              <a:avLst/>
              <a:gdLst>
                <a:gd name="connsiteX0" fmla="*/ 25413 w 25412"/>
                <a:gd name="connsiteY0" fmla="*/ 25413 h 50825"/>
                <a:gd name="connsiteX1" fmla="*/ 12706 w 25412"/>
                <a:gd name="connsiteY1" fmla="*/ 50825 h 50825"/>
                <a:gd name="connsiteX2" fmla="*/ 0 w 25412"/>
                <a:gd name="connsiteY2" fmla="*/ 25413 h 50825"/>
                <a:gd name="connsiteX3" fmla="*/ 12706 w 25412"/>
                <a:gd name="connsiteY3" fmla="*/ 0 h 50825"/>
                <a:gd name="connsiteX4" fmla="*/ 25413 w 25412"/>
                <a:gd name="connsiteY4" fmla="*/ 25413 h 50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12" h="50825">
                  <a:moveTo>
                    <a:pt x="25413" y="25413"/>
                  </a:moveTo>
                  <a:cubicBezTo>
                    <a:pt x="25413" y="39448"/>
                    <a:pt x="19724" y="50825"/>
                    <a:pt x="12706" y="50825"/>
                  </a:cubicBezTo>
                  <a:cubicBezTo>
                    <a:pt x="5689" y="50825"/>
                    <a:pt x="0" y="39448"/>
                    <a:pt x="0" y="25413"/>
                  </a:cubicBezTo>
                  <a:cubicBezTo>
                    <a:pt x="0" y="11378"/>
                    <a:pt x="5689" y="0"/>
                    <a:pt x="12706" y="0"/>
                  </a:cubicBezTo>
                  <a:cubicBezTo>
                    <a:pt x="19724" y="0"/>
                    <a:pt x="25413" y="11378"/>
                    <a:pt x="25413" y="25413"/>
                  </a:cubicBezTo>
                  <a:close/>
                </a:path>
              </a:pathLst>
            </a:custGeom>
            <a:solidFill>
              <a:srgbClr val="00002B"/>
            </a:solidFill>
            <a:ln w="63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90204"/>
                <a:ea typeface="微软雅黑"/>
                <a:cs typeface="+mn-cs"/>
              </a:endParaRPr>
            </a:p>
          </p:txBody>
        </p:sp>
        <p:sp>
          <p:nvSpPr>
            <p:cNvPr id="24" name="任意多边形 18"/>
            <p:cNvSpPr/>
            <p:nvPr/>
          </p:nvSpPr>
          <p:spPr>
            <a:xfrm>
              <a:off x="4809355" y="4601890"/>
              <a:ext cx="156524" cy="64640"/>
            </a:xfrm>
            <a:custGeom>
              <a:avLst/>
              <a:gdLst>
                <a:gd name="connsiteX0" fmla="*/ -514 w 138245"/>
                <a:gd name="connsiteY0" fmla="*/ -210 h 57091"/>
                <a:gd name="connsiteX1" fmla="*/ 81924 w 138245"/>
                <a:gd name="connsiteY1" fmla="*/ 55596 h 57091"/>
                <a:gd name="connsiteX2" fmla="*/ 137731 w 138245"/>
                <a:gd name="connsiteY2" fmla="*/ -210 h 57091"/>
              </a:gdLst>
              <a:ahLst/>
              <a:cxnLst>
                <a:cxn ang="0">
                  <a:pos x="connsiteX0" y="connsiteY0"/>
                </a:cxn>
                <a:cxn ang="0">
                  <a:pos x="connsiteX1" y="connsiteY1"/>
                </a:cxn>
                <a:cxn ang="0">
                  <a:pos x="connsiteX2" y="connsiteY2"/>
                </a:cxn>
              </a:cxnLst>
              <a:rect l="l" t="t" r="r" b="b"/>
              <a:pathLst>
                <a:path w="138245" h="57091">
                  <a:moveTo>
                    <a:pt x="-514" y="-210"/>
                  </a:moveTo>
                  <a:cubicBezTo>
                    <a:pt x="6836" y="37966"/>
                    <a:pt x="43748" y="62953"/>
                    <a:pt x="81924" y="55596"/>
                  </a:cubicBezTo>
                  <a:cubicBezTo>
                    <a:pt x="110183" y="50152"/>
                    <a:pt x="132286" y="28055"/>
                    <a:pt x="137731" y="-210"/>
                  </a:cubicBezTo>
                  <a:close/>
                </a:path>
              </a:pathLst>
            </a:custGeom>
            <a:solidFill>
              <a:srgbClr val="E27AA5"/>
            </a:solidFill>
            <a:ln w="63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90204"/>
                <a:ea typeface="微软雅黑"/>
                <a:cs typeface="+mn-cs"/>
              </a:endParaRPr>
            </a:p>
          </p:txBody>
        </p:sp>
        <p:sp>
          <p:nvSpPr>
            <p:cNvPr id="25" name="任意多边形 19"/>
            <p:cNvSpPr/>
            <p:nvPr/>
          </p:nvSpPr>
          <p:spPr>
            <a:xfrm>
              <a:off x="4509837" y="4987374"/>
              <a:ext cx="724245" cy="307437"/>
            </a:xfrm>
            <a:custGeom>
              <a:avLst/>
              <a:gdLst>
                <a:gd name="connsiteX0" fmla="*/ 6214 w 639667"/>
                <a:gd name="connsiteY0" fmla="*/ -210 h 271534"/>
                <a:gd name="connsiteX1" fmla="*/ 632637 w 639667"/>
                <a:gd name="connsiteY1" fmla="*/ -210 h 271534"/>
                <a:gd name="connsiteX2" fmla="*/ 537657 w 639667"/>
                <a:gd name="connsiteY2" fmla="*/ 271325 h 271534"/>
                <a:gd name="connsiteX3" fmla="*/ 101194 w 639667"/>
                <a:gd name="connsiteY3" fmla="*/ 271325 h 271534"/>
                <a:gd name="connsiteX4" fmla="*/ 5897 w 639667"/>
                <a:gd name="connsiteY4" fmla="*/ -210 h 271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9667" h="271534">
                  <a:moveTo>
                    <a:pt x="6214" y="-210"/>
                  </a:moveTo>
                  <a:cubicBezTo>
                    <a:pt x="295029" y="15101"/>
                    <a:pt x="632637" y="-210"/>
                    <a:pt x="632637" y="-210"/>
                  </a:cubicBezTo>
                  <a:cubicBezTo>
                    <a:pt x="632637" y="-210"/>
                    <a:pt x="676283" y="271325"/>
                    <a:pt x="537657" y="271325"/>
                  </a:cubicBezTo>
                  <a:lnTo>
                    <a:pt x="101194" y="271325"/>
                  </a:lnTo>
                  <a:cubicBezTo>
                    <a:pt x="-37432" y="271325"/>
                    <a:pt x="5897" y="-210"/>
                    <a:pt x="5897" y="-210"/>
                  </a:cubicBezTo>
                  <a:close/>
                </a:path>
              </a:pathLst>
            </a:custGeom>
            <a:solidFill>
              <a:srgbClr val="00002B"/>
            </a:solidFill>
            <a:ln w="63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90204"/>
                <a:ea typeface="微软雅黑"/>
                <a:cs typeface="+mn-cs"/>
              </a:endParaRPr>
            </a:p>
          </p:txBody>
        </p:sp>
        <p:sp>
          <p:nvSpPr>
            <p:cNvPr id="26" name="任意多边形 20"/>
            <p:cNvSpPr/>
            <p:nvPr/>
          </p:nvSpPr>
          <p:spPr>
            <a:xfrm>
              <a:off x="5524719" y="5246473"/>
              <a:ext cx="230304" cy="183920"/>
            </a:xfrm>
            <a:custGeom>
              <a:avLst/>
              <a:gdLst>
                <a:gd name="connsiteX0" fmla="*/ 27630 w 203409"/>
                <a:gd name="connsiteY0" fmla="*/ -210 h 162442"/>
                <a:gd name="connsiteX1" fmla="*/ 202787 w 203409"/>
                <a:gd name="connsiteY1" fmla="*/ 97057 h 162442"/>
                <a:gd name="connsiteX2" fmla="*/ -514 w 203409"/>
                <a:gd name="connsiteY2" fmla="*/ 161034 h 162442"/>
                <a:gd name="connsiteX3" fmla="*/ 27630 w 203409"/>
                <a:gd name="connsiteY3" fmla="*/ -210 h 162442"/>
              </a:gdLst>
              <a:ahLst/>
              <a:cxnLst>
                <a:cxn ang="0">
                  <a:pos x="connsiteX0" y="connsiteY0"/>
                </a:cxn>
                <a:cxn ang="0">
                  <a:pos x="connsiteX1" y="connsiteY1"/>
                </a:cxn>
                <a:cxn ang="0">
                  <a:pos x="connsiteX2" y="connsiteY2"/>
                </a:cxn>
                <a:cxn ang="0">
                  <a:pos x="connsiteX3" y="connsiteY3"/>
                </a:cxn>
              </a:cxnLst>
              <a:rect l="l" t="t" r="r" b="b"/>
              <a:pathLst>
                <a:path w="203409" h="162442">
                  <a:moveTo>
                    <a:pt x="27630" y="-210"/>
                  </a:moveTo>
                  <a:cubicBezTo>
                    <a:pt x="27630" y="-210"/>
                    <a:pt x="207933" y="20247"/>
                    <a:pt x="202787" y="97057"/>
                  </a:cubicBezTo>
                  <a:cubicBezTo>
                    <a:pt x="200246" y="176408"/>
                    <a:pt x="-514" y="161034"/>
                    <a:pt x="-514" y="161034"/>
                  </a:cubicBezTo>
                  <a:lnTo>
                    <a:pt x="27630" y="-210"/>
                  </a:lnTo>
                  <a:close/>
                </a:path>
              </a:pathLst>
            </a:custGeom>
            <a:solidFill>
              <a:srgbClr val="00002B"/>
            </a:solidFill>
            <a:ln w="63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90204"/>
                <a:ea typeface="微软雅黑"/>
                <a:cs typeface="+mn-cs"/>
              </a:endParaRPr>
            </a:p>
          </p:txBody>
        </p:sp>
        <p:sp>
          <p:nvSpPr>
            <p:cNvPr id="27" name="任意多边形 21"/>
            <p:cNvSpPr/>
            <p:nvPr/>
          </p:nvSpPr>
          <p:spPr>
            <a:xfrm>
              <a:off x="4100646" y="5006258"/>
              <a:ext cx="1488236" cy="437236"/>
            </a:xfrm>
            <a:custGeom>
              <a:avLst/>
              <a:gdLst>
                <a:gd name="connsiteX0" fmla="*/ 1313924 w 1314438"/>
                <a:gd name="connsiteY0" fmla="*/ 208966 h 386175"/>
                <a:gd name="connsiteX1" fmla="*/ 2820 w 1314438"/>
                <a:gd name="connsiteY1" fmla="*/ 90797 h 386175"/>
                <a:gd name="connsiteX2" fmla="*/ 1293403 w 1314438"/>
                <a:gd name="connsiteY2" fmla="*/ 385966 h 386175"/>
                <a:gd name="connsiteX3" fmla="*/ 1313924 w 1314438"/>
                <a:gd name="connsiteY3" fmla="*/ 208712 h 386175"/>
              </a:gdLst>
              <a:ahLst/>
              <a:cxnLst>
                <a:cxn ang="0">
                  <a:pos x="connsiteX0" y="connsiteY0"/>
                </a:cxn>
                <a:cxn ang="0">
                  <a:pos x="connsiteX1" y="connsiteY1"/>
                </a:cxn>
                <a:cxn ang="0">
                  <a:pos x="connsiteX2" y="connsiteY2"/>
                </a:cxn>
                <a:cxn ang="0">
                  <a:pos x="connsiteX3" y="connsiteY3"/>
                </a:cxn>
              </a:cxnLst>
              <a:rect l="l" t="t" r="r" b="b"/>
              <a:pathLst>
                <a:path w="1314438" h="386175">
                  <a:moveTo>
                    <a:pt x="1313924" y="208966"/>
                  </a:moveTo>
                  <a:cubicBezTo>
                    <a:pt x="1313924" y="208966"/>
                    <a:pt x="82361" y="-168603"/>
                    <a:pt x="2820" y="90797"/>
                  </a:cubicBezTo>
                  <a:cubicBezTo>
                    <a:pt x="-76722" y="347847"/>
                    <a:pt x="1293403" y="385966"/>
                    <a:pt x="1293403" y="385966"/>
                  </a:cubicBezTo>
                  <a:lnTo>
                    <a:pt x="1313924" y="208712"/>
                  </a:lnTo>
                  <a:close/>
                </a:path>
              </a:pathLst>
            </a:custGeom>
            <a:solidFill>
              <a:srgbClr val="1E2160"/>
            </a:solidFill>
            <a:ln w="63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90204"/>
                <a:ea typeface="微软雅黑"/>
                <a:cs typeface="+mn-cs"/>
              </a:endParaRPr>
            </a:p>
          </p:txBody>
        </p:sp>
        <p:sp>
          <p:nvSpPr>
            <p:cNvPr id="28" name="任意多边形 22"/>
            <p:cNvSpPr/>
            <p:nvPr/>
          </p:nvSpPr>
          <p:spPr>
            <a:xfrm>
              <a:off x="4002665" y="5286755"/>
              <a:ext cx="235837" cy="184637"/>
            </a:xfrm>
            <a:custGeom>
              <a:avLst/>
              <a:gdLst>
                <a:gd name="connsiteX0" fmla="*/ 169282 w 208296"/>
                <a:gd name="connsiteY0" fmla="*/ -210 h 163075"/>
                <a:gd name="connsiteX1" fmla="*/ -94 w 208296"/>
                <a:gd name="connsiteY1" fmla="*/ 109382 h 163075"/>
                <a:gd name="connsiteX2" fmla="*/ 207782 w 208296"/>
                <a:gd name="connsiteY2" fmla="*/ 157857 h 163075"/>
                <a:gd name="connsiteX3" fmla="*/ 169282 w 208296"/>
                <a:gd name="connsiteY3" fmla="*/ -210 h 163075"/>
              </a:gdLst>
              <a:ahLst/>
              <a:cxnLst>
                <a:cxn ang="0">
                  <a:pos x="connsiteX0" y="connsiteY0"/>
                </a:cxn>
                <a:cxn ang="0">
                  <a:pos x="connsiteX1" y="connsiteY1"/>
                </a:cxn>
                <a:cxn ang="0">
                  <a:pos x="connsiteX2" y="connsiteY2"/>
                </a:cxn>
                <a:cxn ang="0">
                  <a:pos x="connsiteX3" y="connsiteY3"/>
                </a:cxn>
              </a:cxnLst>
              <a:rect l="l" t="t" r="r" b="b"/>
              <a:pathLst>
                <a:path w="208296" h="163075">
                  <a:moveTo>
                    <a:pt x="169282" y="-210"/>
                  </a:moveTo>
                  <a:cubicBezTo>
                    <a:pt x="169282" y="-210"/>
                    <a:pt x="-10322" y="32890"/>
                    <a:pt x="-94" y="109382"/>
                  </a:cubicBezTo>
                  <a:cubicBezTo>
                    <a:pt x="10135" y="185874"/>
                    <a:pt x="207782" y="157857"/>
                    <a:pt x="207782" y="157857"/>
                  </a:cubicBezTo>
                  <a:lnTo>
                    <a:pt x="169282" y="-210"/>
                  </a:lnTo>
                  <a:close/>
                </a:path>
              </a:pathLst>
            </a:custGeom>
            <a:solidFill>
              <a:srgbClr val="00002B"/>
            </a:solidFill>
            <a:ln w="63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90204"/>
                <a:ea typeface="微软雅黑"/>
                <a:cs typeface="+mn-cs"/>
              </a:endParaRPr>
            </a:p>
          </p:txBody>
        </p:sp>
        <p:sp>
          <p:nvSpPr>
            <p:cNvPr id="29" name="任意多边形 23"/>
            <p:cNvSpPr/>
            <p:nvPr/>
          </p:nvSpPr>
          <p:spPr>
            <a:xfrm>
              <a:off x="4163334" y="4959760"/>
              <a:ext cx="1475212" cy="524448"/>
            </a:xfrm>
            <a:custGeom>
              <a:avLst/>
              <a:gdLst>
                <a:gd name="connsiteX0" fmla="*/ -514 w 1302935"/>
                <a:gd name="connsiteY0" fmla="*/ 288407 h 463202"/>
                <a:gd name="connsiteX1" fmla="*/ 1297439 w 1302935"/>
                <a:gd name="connsiteY1" fmla="*/ 75449 h 463202"/>
                <a:gd name="connsiteX2" fmla="*/ 30298 w 1302935"/>
                <a:gd name="connsiteY2" fmla="*/ 462992 h 463202"/>
                <a:gd name="connsiteX3" fmla="*/ -514 w 1302935"/>
                <a:gd name="connsiteY3" fmla="*/ 288535 h 463202"/>
              </a:gdLst>
              <a:ahLst/>
              <a:cxnLst>
                <a:cxn ang="0">
                  <a:pos x="connsiteX0" y="connsiteY0"/>
                </a:cxn>
                <a:cxn ang="0">
                  <a:pos x="connsiteX1" y="connsiteY1"/>
                </a:cxn>
                <a:cxn ang="0">
                  <a:pos x="connsiteX2" y="connsiteY2"/>
                </a:cxn>
                <a:cxn ang="0">
                  <a:pos x="connsiteX3" y="connsiteY3"/>
                </a:cxn>
              </a:cxnLst>
              <a:rect l="l" t="t" r="r" b="b"/>
              <a:pathLst>
                <a:path w="1302935" h="463202">
                  <a:moveTo>
                    <a:pt x="-514" y="288407"/>
                  </a:moveTo>
                  <a:cubicBezTo>
                    <a:pt x="-514" y="288407"/>
                    <a:pt x="1197376" y="-178551"/>
                    <a:pt x="1297439" y="75449"/>
                  </a:cubicBezTo>
                  <a:cubicBezTo>
                    <a:pt x="1394896" y="326908"/>
                    <a:pt x="30298" y="462992"/>
                    <a:pt x="30298" y="462992"/>
                  </a:cubicBezTo>
                  <a:lnTo>
                    <a:pt x="-514" y="288535"/>
                  </a:lnTo>
                  <a:close/>
                </a:path>
              </a:pathLst>
            </a:custGeom>
            <a:solidFill>
              <a:srgbClr val="2A3072"/>
            </a:solidFill>
            <a:ln w="63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90204"/>
                <a:ea typeface="微软雅黑"/>
                <a:cs typeface="+mn-cs"/>
              </a:endParaRPr>
            </a:p>
          </p:txBody>
        </p:sp>
        <p:sp>
          <p:nvSpPr>
            <p:cNvPr id="30" name="任意多边形 24"/>
            <p:cNvSpPr/>
            <p:nvPr/>
          </p:nvSpPr>
          <p:spPr>
            <a:xfrm>
              <a:off x="4197069" y="4159220"/>
              <a:ext cx="334881" cy="457055"/>
            </a:xfrm>
            <a:custGeom>
              <a:avLst/>
              <a:gdLst>
                <a:gd name="connsiteX0" fmla="*/ 262507 w 295773"/>
                <a:gd name="connsiteY0" fmla="*/ -210 h 403680"/>
                <a:gd name="connsiteX1" fmla="*/ -514 w 295773"/>
                <a:gd name="connsiteY1" fmla="*/ 206522 h 403680"/>
                <a:gd name="connsiteX2" fmla="*/ 151962 w 295773"/>
                <a:gd name="connsiteY2" fmla="*/ 403470 h 403680"/>
                <a:gd name="connsiteX3" fmla="*/ 290969 w 295773"/>
                <a:gd name="connsiteY3" fmla="*/ 272468 h 403680"/>
                <a:gd name="connsiteX4" fmla="*/ 262507 w 295773"/>
                <a:gd name="connsiteY4" fmla="*/ -210 h 4036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5773" h="403680">
                  <a:moveTo>
                    <a:pt x="262507" y="-210"/>
                  </a:moveTo>
                  <a:cubicBezTo>
                    <a:pt x="262507" y="-210"/>
                    <a:pt x="113843" y="47693"/>
                    <a:pt x="-514" y="206522"/>
                  </a:cubicBezTo>
                  <a:lnTo>
                    <a:pt x="151962" y="403470"/>
                  </a:lnTo>
                  <a:cubicBezTo>
                    <a:pt x="151962" y="403470"/>
                    <a:pt x="278326" y="317766"/>
                    <a:pt x="290969" y="272468"/>
                  </a:cubicBezTo>
                  <a:cubicBezTo>
                    <a:pt x="309393" y="206395"/>
                    <a:pt x="262507" y="-210"/>
                    <a:pt x="262507" y="-210"/>
                  </a:cubicBezTo>
                  <a:close/>
                </a:path>
              </a:pathLst>
            </a:custGeom>
            <a:solidFill>
              <a:srgbClr val="BE5ED3"/>
            </a:solidFill>
            <a:ln w="63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90204"/>
                <a:ea typeface="微软雅黑"/>
                <a:cs typeface="+mn-cs"/>
              </a:endParaRPr>
            </a:p>
          </p:txBody>
        </p:sp>
        <p:sp>
          <p:nvSpPr>
            <p:cNvPr id="31" name="任意多边形 25"/>
            <p:cNvSpPr/>
            <p:nvPr/>
          </p:nvSpPr>
          <p:spPr>
            <a:xfrm>
              <a:off x="5168201" y="4116061"/>
              <a:ext cx="316452" cy="449862"/>
            </a:xfrm>
            <a:custGeom>
              <a:avLst/>
              <a:gdLst>
                <a:gd name="connsiteX0" fmla="*/ 30827 w 279496"/>
                <a:gd name="connsiteY0" fmla="*/ -210 h 397327"/>
                <a:gd name="connsiteX1" fmla="*/ 278982 w 279496"/>
                <a:gd name="connsiteY1" fmla="*/ 203092 h 397327"/>
                <a:gd name="connsiteX2" fmla="*/ 134892 w 279496"/>
                <a:gd name="connsiteY2" fmla="*/ 397117 h 397327"/>
                <a:gd name="connsiteX3" fmla="*/ 3508 w 279496"/>
                <a:gd name="connsiteY3" fmla="*/ 268148 h 397327"/>
                <a:gd name="connsiteX4" fmla="*/ 30827 w 279496"/>
                <a:gd name="connsiteY4" fmla="*/ -210 h 3973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496" h="397327">
                  <a:moveTo>
                    <a:pt x="30827" y="-210"/>
                  </a:moveTo>
                  <a:cubicBezTo>
                    <a:pt x="30827" y="-210"/>
                    <a:pt x="161575" y="21899"/>
                    <a:pt x="278982" y="203092"/>
                  </a:cubicBezTo>
                  <a:lnTo>
                    <a:pt x="134892" y="397117"/>
                  </a:lnTo>
                  <a:cubicBezTo>
                    <a:pt x="134892" y="397117"/>
                    <a:pt x="15452" y="312747"/>
                    <a:pt x="3508" y="268148"/>
                  </a:cubicBezTo>
                  <a:cubicBezTo>
                    <a:pt x="-13899" y="203155"/>
                    <a:pt x="30827" y="-210"/>
                    <a:pt x="30827" y="-210"/>
                  </a:cubicBezTo>
                  <a:close/>
                </a:path>
              </a:pathLst>
            </a:custGeom>
            <a:solidFill>
              <a:srgbClr val="BE5ED3"/>
            </a:solidFill>
            <a:ln w="63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90204"/>
                <a:ea typeface="微软雅黑"/>
                <a:cs typeface="+mn-cs"/>
              </a:endParaRPr>
            </a:p>
          </p:txBody>
        </p:sp>
        <p:sp>
          <p:nvSpPr>
            <p:cNvPr id="32" name="任意多边形 26"/>
            <p:cNvSpPr/>
            <p:nvPr/>
          </p:nvSpPr>
          <p:spPr>
            <a:xfrm>
              <a:off x="3207781" y="3560975"/>
              <a:ext cx="1486066" cy="1759003"/>
            </a:xfrm>
            <a:custGeom>
              <a:avLst/>
              <a:gdLst>
                <a:gd name="connsiteX0" fmla="*/ 933471 w 1312521"/>
                <a:gd name="connsiteY0" fmla="*/ 872704 h 1553585"/>
                <a:gd name="connsiteX1" fmla="*/ 1030738 w 1312521"/>
                <a:gd name="connsiteY1" fmla="*/ 1006121 h 1553585"/>
                <a:gd name="connsiteX2" fmla="*/ 1002848 w 1312521"/>
                <a:gd name="connsiteY2" fmla="*/ 1177656 h 1553585"/>
                <a:gd name="connsiteX3" fmla="*/ 831211 w 1312521"/>
                <a:gd name="connsiteY3" fmla="*/ 1152962 h 1553585"/>
                <a:gd name="connsiteX4" fmla="*/ 830677 w 1312521"/>
                <a:gd name="connsiteY4" fmla="*/ 1152244 h 1553585"/>
                <a:gd name="connsiteX5" fmla="*/ 674897 w 1312521"/>
                <a:gd name="connsiteY5" fmla="*/ 940874 h 1553585"/>
                <a:gd name="connsiteX6" fmla="*/ 674008 w 1312521"/>
                <a:gd name="connsiteY6" fmla="*/ 935220 h 1553585"/>
                <a:gd name="connsiteX7" fmla="*/ 669942 w 1312521"/>
                <a:gd name="connsiteY7" fmla="*/ 931217 h 1553585"/>
                <a:gd name="connsiteX8" fmla="*/ 695354 w 1312521"/>
                <a:gd name="connsiteY8" fmla="*/ 758792 h 1553585"/>
                <a:gd name="connsiteX9" fmla="*/ 761046 w 1312521"/>
                <a:gd name="connsiteY9" fmla="*/ 359495 h 1553585"/>
                <a:gd name="connsiteX10" fmla="*/ 364075 w 1312521"/>
                <a:gd name="connsiteY10" fmla="*/ 301001 h 1553585"/>
                <a:gd name="connsiteX11" fmla="*/ 362321 w 1312521"/>
                <a:gd name="connsiteY11" fmla="*/ 302316 h 1553585"/>
                <a:gd name="connsiteX12" fmla="*/ 248727 w 1312521"/>
                <a:gd name="connsiteY12" fmla="*/ 557015 h 1553585"/>
                <a:gd name="connsiteX13" fmla="*/ 137946 w 1312521"/>
                <a:gd name="connsiteY13" fmla="*/ 696670 h 1553585"/>
                <a:gd name="connsiteX14" fmla="*/ 136910 w 1312521"/>
                <a:gd name="connsiteY14" fmla="*/ 696785 h 1553585"/>
                <a:gd name="connsiteX15" fmla="*/ 2668 w 1312521"/>
                <a:gd name="connsiteY15" fmla="*/ 586557 h 1553585"/>
                <a:gd name="connsiteX16" fmla="*/ 216389 w 1312521"/>
                <a:gd name="connsiteY16" fmla="*/ 102509 h 1553585"/>
                <a:gd name="connsiteX17" fmla="*/ 960282 w 1312521"/>
                <a:gd name="connsiteY17" fmla="*/ 215786 h 1553585"/>
                <a:gd name="connsiteX18" fmla="*/ 933471 w 1312521"/>
                <a:gd name="connsiteY18" fmla="*/ 872704 h 1553585"/>
                <a:gd name="connsiteX19" fmla="*/ 1259071 w 1312521"/>
                <a:gd name="connsiteY19" fmla="*/ 1318824 h 1553585"/>
                <a:gd name="connsiteX20" fmla="*/ 1287153 w 1312521"/>
                <a:gd name="connsiteY20" fmla="*/ 1357388 h 1553585"/>
                <a:gd name="connsiteX21" fmla="*/ 1259199 w 1312521"/>
                <a:gd name="connsiteY21" fmla="*/ 1528923 h 1553585"/>
                <a:gd name="connsiteX22" fmla="*/ 1087644 w 1312521"/>
                <a:gd name="connsiteY22" fmla="*/ 1504260 h 1553585"/>
                <a:gd name="connsiteX23" fmla="*/ 1087091 w 1312521"/>
                <a:gd name="connsiteY23" fmla="*/ 1503511 h 1553585"/>
                <a:gd name="connsiteX24" fmla="*/ 1061678 w 1312521"/>
                <a:gd name="connsiteY24" fmla="*/ 1465391 h 1553585"/>
                <a:gd name="connsiteX25" fmla="*/ 1087091 w 1312521"/>
                <a:gd name="connsiteY25" fmla="*/ 1292967 h 1553585"/>
                <a:gd name="connsiteX26" fmla="*/ 1259199 w 1312521"/>
                <a:gd name="connsiteY26" fmla="*/ 1318379 h 1553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312521" h="1553585">
                  <a:moveTo>
                    <a:pt x="933471" y="872704"/>
                  </a:moveTo>
                  <a:lnTo>
                    <a:pt x="1030738" y="1006121"/>
                  </a:lnTo>
                  <a:cubicBezTo>
                    <a:pt x="1071971" y="1062410"/>
                    <a:pt x="1061551" y="1137187"/>
                    <a:pt x="1002848" y="1177656"/>
                  </a:cubicBezTo>
                  <a:cubicBezTo>
                    <a:pt x="948630" y="1218234"/>
                    <a:pt x="871788" y="1207179"/>
                    <a:pt x="831211" y="1152962"/>
                  </a:cubicBezTo>
                  <a:cubicBezTo>
                    <a:pt x="831033" y="1152720"/>
                    <a:pt x="830855" y="1152485"/>
                    <a:pt x="830677" y="1152244"/>
                  </a:cubicBezTo>
                  <a:lnTo>
                    <a:pt x="674897" y="940874"/>
                  </a:lnTo>
                  <a:cubicBezTo>
                    <a:pt x="673246" y="937633"/>
                    <a:pt x="676486" y="935982"/>
                    <a:pt x="674008" y="935220"/>
                  </a:cubicBezTo>
                  <a:cubicBezTo>
                    <a:pt x="671530" y="934457"/>
                    <a:pt x="671594" y="934457"/>
                    <a:pt x="669942" y="931217"/>
                  </a:cubicBezTo>
                  <a:cubicBezTo>
                    <a:pt x="630362" y="878168"/>
                    <a:pt x="642369" y="798499"/>
                    <a:pt x="695354" y="758792"/>
                  </a:cubicBezTo>
                  <a:cubicBezTo>
                    <a:pt x="824769" y="665400"/>
                    <a:pt x="855010" y="486495"/>
                    <a:pt x="761046" y="359495"/>
                  </a:cubicBezTo>
                  <a:cubicBezTo>
                    <a:pt x="667578" y="233721"/>
                    <a:pt x="489849" y="207534"/>
                    <a:pt x="364075" y="301001"/>
                  </a:cubicBezTo>
                  <a:cubicBezTo>
                    <a:pt x="363490" y="301439"/>
                    <a:pt x="362906" y="301878"/>
                    <a:pt x="362321" y="302316"/>
                  </a:cubicBezTo>
                  <a:cubicBezTo>
                    <a:pt x="281636" y="360797"/>
                    <a:pt x="238326" y="457912"/>
                    <a:pt x="248727" y="557015"/>
                  </a:cubicBezTo>
                  <a:cubicBezTo>
                    <a:pt x="256700" y="626169"/>
                    <a:pt x="207101" y="688697"/>
                    <a:pt x="137946" y="696670"/>
                  </a:cubicBezTo>
                  <a:cubicBezTo>
                    <a:pt x="137603" y="696708"/>
                    <a:pt x="137254" y="696747"/>
                    <a:pt x="136910" y="696785"/>
                  </a:cubicBezTo>
                  <a:cubicBezTo>
                    <a:pt x="68106" y="701741"/>
                    <a:pt x="9847" y="656252"/>
                    <a:pt x="2668" y="586557"/>
                  </a:cubicBezTo>
                  <a:cubicBezTo>
                    <a:pt x="-18056" y="398554"/>
                    <a:pt x="63493" y="213855"/>
                    <a:pt x="216389" y="102509"/>
                  </a:cubicBezTo>
                  <a:cubicBezTo>
                    <a:pt x="453375" y="-70456"/>
                    <a:pt x="785519" y="-19878"/>
                    <a:pt x="960282" y="215786"/>
                  </a:cubicBezTo>
                  <a:cubicBezTo>
                    <a:pt x="1106405" y="415975"/>
                    <a:pt x="1089251" y="688017"/>
                    <a:pt x="933471" y="872704"/>
                  </a:cubicBezTo>
                  <a:close/>
                  <a:moveTo>
                    <a:pt x="1259071" y="1318824"/>
                  </a:moveTo>
                  <a:lnTo>
                    <a:pt x="1287153" y="1357388"/>
                  </a:lnTo>
                  <a:cubicBezTo>
                    <a:pt x="1328321" y="1413677"/>
                    <a:pt x="1317902" y="1488454"/>
                    <a:pt x="1259199" y="1528923"/>
                  </a:cubicBezTo>
                  <a:cubicBezTo>
                    <a:pt x="1205012" y="1569488"/>
                    <a:pt x="1128209" y="1558440"/>
                    <a:pt x="1087644" y="1504260"/>
                  </a:cubicBezTo>
                  <a:cubicBezTo>
                    <a:pt x="1087460" y="1504013"/>
                    <a:pt x="1087275" y="1503758"/>
                    <a:pt x="1087091" y="1503511"/>
                  </a:cubicBezTo>
                  <a:lnTo>
                    <a:pt x="1061678" y="1465391"/>
                  </a:lnTo>
                  <a:cubicBezTo>
                    <a:pt x="1019684" y="1411517"/>
                    <a:pt x="1034106" y="1332610"/>
                    <a:pt x="1087091" y="1292967"/>
                  </a:cubicBezTo>
                  <a:cubicBezTo>
                    <a:pt x="1141671" y="1252592"/>
                    <a:pt x="1218621" y="1263958"/>
                    <a:pt x="1259199" y="1318379"/>
                  </a:cubicBezTo>
                  <a:close/>
                </a:path>
              </a:pathLst>
            </a:custGeom>
            <a:solidFill>
              <a:srgbClr val="FFC545"/>
            </a:solidFill>
            <a:ln w="63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90204"/>
                <a:ea typeface="微软雅黑"/>
                <a:cs typeface="+mn-cs"/>
              </a:endParaRPr>
            </a:p>
          </p:txBody>
        </p:sp>
        <p:sp>
          <p:nvSpPr>
            <p:cNvPr id="33" name="任意多边形 27"/>
            <p:cNvSpPr/>
            <p:nvPr/>
          </p:nvSpPr>
          <p:spPr>
            <a:xfrm>
              <a:off x="6164723" y="1962102"/>
              <a:ext cx="703194" cy="564027"/>
            </a:xfrm>
            <a:custGeom>
              <a:avLst/>
              <a:gdLst>
                <a:gd name="connsiteX0" fmla="*/ 577794 w 621074"/>
                <a:gd name="connsiteY0" fmla="*/ 416455 h 498159"/>
                <a:gd name="connsiteX1" fmla="*/ 538976 w 621074"/>
                <a:gd name="connsiteY1" fmla="*/ 192061 h 498159"/>
                <a:gd name="connsiteX2" fmla="*/ 398317 w 621074"/>
                <a:gd name="connsiteY2" fmla="*/ 31135 h 498159"/>
                <a:gd name="connsiteX3" fmla="*/ 10265 w 621074"/>
                <a:gd name="connsiteY3" fmla="*/ 121159 h 498159"/>
                <a:gd name="connsiteX4" fmla="*/ 38156 w 621074"/>
                <a:gd name="connsiteY4" fmla="*/ 265504 h 498159"/>
                <a:gd name="connsiteX5" fmla="*/ 65983 w 621074"/>
                <a:gd name="connsiteY5" fmla="*/ 440152 h 498159"/>
                <a:gd name="connsiteX6" fmla="*/ 577794 w 621074"/>
                <a:gd name="connsiteY6" fmla="*/ 416455 h 498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1074" h="498159">
                  <a:moveTo>
                    <a:pt x="577794" y="416455"/>
                  </a:moveTo>
                  <a:cubicBezTo>
                    <a:pt x="667819" y="254576"/>
                    <a:pt x="596536" y="161629"/>
                    <a:pt x="538976" y="192061"/>
                  </a:cubicBezTo>
                  <a:cubicBezTo>
                    <a:pt x="538976" y="192061"/>
                    <a:pt x="530399" y="91617"/>
                    <a:pt x="398317" y="31135"/>
                  </a:cubicBezTo>
                  <a:cubicBezTo>
                    <a:pt x="245841" y="-38750"/>
                    <a:pt x="48893" y="15633"/>
                    <a:pt x="10265" y="121159"/>
                  </a:cubicBezTo>
                  <a:cubicBezTo>
                    <a:pt x="-25186" y="218554"/>
                    <a:pt x="38156" y="265504"/>
                    <a:pt x="38156" y="265504"/>
                  </a:cubicBezTo>
                  <a:cubicBezTo>
                    <a:pt x="38156" y="265504"/>
                    <a:pt x="-1043" y="335388"/>
                    <a:pt x="65983" y="440152"/>
                  </a:cubicBezTo>
                  <a:cubicBezTo>
                    <a:pt x="133009" y="544916"/>
                    <a:pt x="537515" y="488945"/>
                    <a:pt x="577794" y="416455"/>
                  </a:cubicBezTo>
                  <a:close/>
                </a:path>
              </a:pathLst>
            </a:custGeom>
            <a:solidFill>
              <a:srgbClr val="981D04"/>
            </a:solidFill>
            <a:ln w="63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90204"/>
                <a:ea typeface="微软雅黑"/>
                <a:cs typeface="+mn-cs"/>
              </a:endParaRPr>
            </a:p>
          </p:txBody>
        </p:sp>
        <p:sp>
          <p:nvSpPr>
            <p:cNvPr id="34" name="任意多边形 28"/>
            <p:cNvSpPr/>
            <p:nvPr/>
          </p:nvSpPr>
          <p:spPr>
            <a:xfrm>
              <a:off x="6390997" y="2695691"/>
              <a:ext cx="273341" cy="276362"/>
            </a:xfrm>
            <a:custGeom>
              <a:avLst/>
              <a:gdLst>
                <a:gd name="connsiteX0" fmla="*/ 120196 w 241420"/>
                <a:gd name="connsiteY0" fmla="*/ 243879 h 244088"/>
                <a:gd name="connsiteX1" fmla="*/ 120196 w 241420"/>
                <a:gd name="connsiteY1" fmla="*/ 243879 h 244088"/>
                <a:gd name="connsiteX2" fmla="*/ -514 w 241420"/>
                <a:gd name="connsiteY2" fmla="*/ 160017 h 244088"/>
                <a:gd name="connsiteX3" fmla="*/ -514 w 241420"/>
                <a:gd name="connsiteY3" fmla="*/ -210 h 244088"/>
                <a:gd name="connsiteX4" fmla="*/ 240906 w 241420"/>
                <a:gd name="connsiteY4" fmla="*/ -210 h 244088"/>
                <a:gd name="connsiteX5" fmla="*/ 240906 w 241420"/>
                <a:gd name="connsiteY5" fmla="*/ 160335 h 244088"/>
                <a:gd name="connsiteX6" fmla="*/ 120958 w 241420"/>
                <a:gd name="connsiteY6" fmla="*/ 243752 h 244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1420" h="244088">
                  <a:moveTo>
                    <a:pt x="120196" y="243879"/>
                  </a:moveTo>
                  <a:lnTo>
                    <a:pt x="120196" y="243879"/>
                  </a:lnTo>
                  <a:cubicBezTo>
                    <a:pt x="53551" y="243879"/>
                    <a:pt x="-514" y="206332"/>
                    <a:pt x="-514" y="160017"/>
                  </a:cubicBezTo>
                  <a:lnTo>
                    <a:pt x="-514" y="-210"/>
                  </a:lnTo>
                  <a:lnTo>
                    <a:pt x="240906" y="-210"/>
                  </a:lnTo>
                  <a:lnTo>
                    <a:pt x="240906" y="160335"/>
                  </a:lnTo>
                  <a:cubicBezTo>
                    <a:pt x="240906" y="206395"/>
                    <a:pt x="187222" y="243752"/>
                    <a:pt x="120958" y="243752"/>
                  </a:cubicBezTo>
                  <a:close/>
                </a:path>
              </a:pathLst>
            </a:custGeom>
            <a:solidFill>
              <a:srgbClr val="FF93B1"/>
            </a:solidFill>
            <a:ln w="63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90204"/>
                <a:ea typeface="微软雅黑"/>
                <a:cs typeface="+mn-cs"/>
              </a:endParaRPr>
            </a:p>
          </p:txBody>
        </p:sp>
        <p:sp>
          <p:nvSpPr>
            <p:cNvPr id="35" name="任意多边形 29"/>
            <p:cNvSpPr/>
            <p:nvPr/>
          </p:nvSpPr>
          <p:spPr>
            <a:xfrm>
              <a:off x="6190954" y="2434905"/>
              <a:ext cx="140645" cy="163868"/>
            </a:xfrm>
            <a:custGeom>
              <a:avLst/>
              <a:gdLst>
                <a:gd name="connsiteX0" fmla="*/ 89827 w 124220"/>
                <a:gd name="connsiteY0" fmla="*/ 32284 h 144731"/>
                <a:gd name="connsiteX1" fmla="*/ -514 w 124220"/>
                <a:gd name="connsiteY1" fmla="*/ 54139 h 144731"/>
                <a:gd name="connsiteX2" fmla="*/ 109904 w 124220"/>
                <a:gd name="connsiteY2" fmla="*/ 127518 h 144731"/>
                <a:gd name="connsiteX3" fmla="*/ 89827 w 124220"/>
                <a:gd name="connsiteY3" fmla="*/ 32221 h 144731"/>
              </a:gdLst>
              <a:ahLst/>
              <a:cxnLst>
                <a:cxn ang="0">
                  <a:pos x="connsiteX0" y="connsiteY0"/>
                </a:cxn>
                <a:cxn ang="0">
                  <a:pos x="connsiteX1" y="connsiteY1"/>
                </a:cxn>
                <a:cxn ang="0">
                  <a:pos x="connsiteX2" y="connsiteY2"/>
                </a:cxn>
                <a:cxn ang="0">
                  <a:pos x="connsiteX3" y="connsiteY3"/>
                </a:cxn>
              </a:cxnLst>
              <a:rect l="l" t="t" r="r" b="b"/>
              <a:pathLst>
                <a:path w="124220" h="144731">
                  <a:moveTo>
                    <a:pt x="89827" y="32284"/>
                  </a:moveTo>
                  <a:cubicBezTo>
                    <a:pt x="47960" y="-30739"/>
                    <a:pt x="-514" y="9730"/>
                    <a:pt x="-514" y="54139"/>
                  </a:cubicBezTo>
                  <a:cubicBezTo>
                    <a:pt x="-514" y="118306"/>
                    <a:pt x="69752" y="173579"/>
                    <a:pt x="109904" y="127518"/>
                  </a:cubicBezTo>
                  <a:cubicBezTo>
                    <a:pt x="150056" y="81458"/>
                    <a:pt x="89827" y="32221"/>
                    <a:pt x="89827" y="32221"/>
                  </a:cubicBezTo>
                  <a:close/>
                </a:path>
              </a:pathLst>
            </a:custGeom>
            <a:solidFill>
              <a:srgbClr val="FED0D6"/>
            </a:solidFill>
            <a:ln w="63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90204"/>
                <a:ea typeface="微软雅黑"/>
                <a:cs typeface="+mn-cs"/>
              </a:endParaRPr>
            </a:p>
          </p:txBody>
        </p:sp>
        <p:sp>
          <p:nvSpPr>
            <p:cNvPr id="36" name="任意多边形 30"/>
            <p:cNvSpPr/>
            <p:nvPr/>
          </p:nvSpPr>
          <p:spPr>
            <a:xfrm>
              <a:off x="6727091" y="2434905"/>
              <a:ext cx="140816" cy="163868"/>
            </a:xfrm>
            <a:custGeom>
              <a:avLst/>
              <a:gdLst>
                <a:gd name="connsiteX0" fmla="*/ 33579 w 124371"/>
                <a:gd name="connsiteY0" fmla="*/ 32284 h 144731"/>
                <a:gd name="connsiteX1" fmla="*/ 123857 w 124371"/>
                <a:gd name="connsiteY1" fmla="*/ 54139 h 144731"/>
                <a:gd name="connsiteX2" fmla="*/ 13439 w 124371"/>
                <a:gd name="connsiteY2" fmla="*/ 127518 h 144731"/>
                <a:gd name="connsiteX3" fmla="*/ 33579 w 124371"/>
                <a:gd name="connsiteY3" fmla="*/ 32221 h 144731"/>
              </a:gdLst>
              <a:ahLst/>
              <a:cxnLst>
                <a:cxn ang="0">
                  <a:pos x="connsiteX0" y="connsiteY0"/>
                </a:cxn>
                <a:cxn ang="0">
                  <a:pos x="connsiteX1" y="connsiteY1"/>
                </a:cxn>
                <a:cxn ang="0">
                  <a:pos x="connsiteX2" y="connsiteY2"/>
                </a:cxn>
                <a:cxn ang="0">
                  <a:pos x="connsiteX3" y="connsiteY3"/>
                </a:cxn>
              </a:cxnLst>
              <a:rect l="l" t="t" r="r" b="b"/>
              <a:pathLst>
                <a:path w="124371" h="144731">
                  <a:moveTo>
                    <a:pt x="33579" y="32284"/>
                  </a:moveTo>
                  <a:cubicBezTo>
                    <a:pt x="75319" y="-30739"/>
                    <a:pt x="123857" y="9730"/>
                    <a:pt x="123857" y="54139"/>
                  </a:cubicBezTo>
                  <a:cubicBezTo>
                    <a:pt x="123857" y="118306"/>
                    <a:pt x="53972" y="173579"/>
                    <a:pt x="13439" y="127518"/>
                  </a:cubicBezTo>
                  <a:cubicBezTo>
                    <a:pt x="-27095" y="81458"/>
                    <a:pt x="33579" y="32221"/>
                    <a:pt x="33579" y="32221"/>
                  </a:cubicBezTo>
                  <a:close/>
                </a:path>
              </a:pathLst>
            </a:custGeom>
            <a:solidFill>
              <a:srgbClr val="FED0D6"/>
            </a:solidFill>
            <a:ln w="63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90204"/>
                <a:ea typeface="微软雅黑"/>
                <a:cs typeface="+mn-cs"/>
              </a:endParaRPr>
            </a:p>
          </p:txBody>
        </p:sp>
        <p:sp>
          <p:nvSpPr>
            <p:cNvPr id="37" name="任意多边形 31"/>
            <p:cNvSpPr/>
            <p:nvPr/>
          </p:nvSpPr>
          <p:spPr>
            <a:xfrm>
              <a:off x="6265196" y="2209296"/>
              <a:ext cx="527030" cy="543940"/>
            </a:xfrm>
            <a:custGeom>
              <a:avLst/>
              <a:gdLst>
                <a:gd name="connsiteX0" fmla="*/ 232068 w 465483"/>
                <a:gd name="connsiteY0" fmla="*/ 480209 h 480418"/>
                <a:gd name="connsiteX1" fmla="*/ 7928 w 465483"/>
                <a:gd name="connsiteY1" fmla="*/ 114266 h 480418"/>
                <a:gd name="connsiteX2" fmla="*/ 456589 w 465483"/>
                <a:gd name="connsiteY2" fmla="*/ 114266 h 480418"/>
                <a:gd name="connsiteX3" fmla="*/ 232068 w 465483"/>
                <a:gd name="connsiteY3" fmla="*/ 480209 h 480418"/>
              </a:gdLst>
              <a:ahLst/>
              <a:cxnLst>
                <a:cxn ang="0">
                  <a:pos x="connsiteX0" y="connsiteY0"/>
                </a:cxn>
                <a:cxn ang="0">
                  <a:pos x="connsiteX1" y="connsiteY1"/>
                </a:cxn>
                <a:cxn ang="0">
                  <a:pos x="connsiteX2" y="connsiteY2"/>
                </a:cxn>
                <a:cxn ang="0">
                  <a:pos x="connsiteX3" y="connsiteY3"/>
                </a:cxn>
              </a:cxnLst>
              <a:rect l="l" t="t" r="r" b="b"/>
              <a:pathLst>
                <a:path w="465483" h="480418">
                  <a:moveTo>
                    <a:pt x="232068" y="480209"/>
                  </a:moveTo>
                  <a:cubicBezTo>
                    <a:pt x="66886" y="480209"/>
                    <a:pt x="-30763" y="299588"/>
                    <a:pt x="7928" y="114266"/>
                  </a:cubicBezTo>
                  <a:cubicBezTo>
                    <a:pt x="39694" y="-38527"/>
                    <a:pt x="424696" y="-38210"/>
                    <a:pt x="456589" y="114266"/>
                  </a:cubicBezTo>
                  <a:cubicBezTo>
                    <a:pt x="495153" y="299588"/>
                    <a:pt x="397251" y="480209"/>
                    <a:pt x="232068" y="480209"/>
                  </a:cubicBezTo>
                  <a:close/>
                </a:path>
              </a:pathLst>
            </a:custGeom>
            <a:solidFill>
              <a:srgbClr val="FED0D6"/>
            </a:solidFill>
            <a:ln w="63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90204"/>
                <a:ea typeface="微软雅黑"/>
                <a:cs typeface="+mn-cs"/>
              </a:endParaRPr>
            </a:p>
          </p:txBody>
        </p:sp>
        <p:sp>
          <p:nvSpPr>
            <p:cNvPr id="38" name="任意多边形 32"/>
            <p:cNvSpPr/>
            <p:nvPr/>
          </p:nvSpPr>
          <p:spPr>
            <a:xfrm>
              <a:off x="6255890" y="2082565"/>
              <a:ext cx="448236" cy="230262"/>
            </a:xfrm>
            <a:custGeom>
              <a:avLst/>
              <a:gdLst>
                <a:gd name="connsiteX0" fmla="*/ 386663 w 395890"/>
                <a:gd name="connsiteY0" fmla="*/ 112221 h 203372"/>
                <a:gd name="connsiteX1" fmla="*/ 250388 w 395890"/>
                <a:gd name="connsiteY1" fmla="*/ 153708 h 203372"/>
                <a:gd name="connsiteX2" fmla="*/ 94799 w 395890"/>
                <a:gd name="connsiteY2" fmla="*/ 202246 h 203372"/>
                <a:gd name="connsiteX3" fmla="*/ 66146 w 395890"/>
                <a:gd name="connsiteY3" fmla="*/ 31028 h 203372"/>
                <a:gd name="connsiteX4" fmla="*/ 386663 w 395890"/>
                <a:gd name="connsiteY4" fmla="*/ 112221 h 2033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5890" h="203372">
                  <a:moveTo>
                    <a:pt x="386663" y="112221"/>
                  </a:moveTo>
                  <a:cubicBezTo>
                    <a:pt x="344034" y="208472"/>
                    <a:pt x="250388" y="153708"/>
                    <a:pt x="250388" y="153708"/>
                  </a:cubicBezTo>
                  <a:cubicBezTo>
                    <a:pt x="207091" y="190022"/>
                    <a:pt x="151062" y="207500"/>
                    <a:pt x="94799" y="202246"/>
                  </a:cubicBezTo>
                  <a:cubicBezTo>
                    <a:pt x="581" y="192970"/>
                    <a:pt x="-48592" y="79439"/>
                    <a:pt x="66146" y="31028"/>
                  </a:cubicBezTo>
                  <a:cubicBezTo>
                    <a:pt x="180884" y="-17383"/>
                    <a:pt x="446701" y="-22784"/>
                    <a:pt x="386663" y="112221"/>
                  </a:cubicBezTo>
                  <a:close/>
                </a:path>
              </a:pathLst>
            </a:custGeom>
            <a:solidFill>
              <a:srgbClr val="981D04"/>
            </a:solidFill>
            <a:ln w="63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90204"/>
                <a:ea typeface="微软雅黑"/>
                <a:cs typeface="+mn-cs"/>
              </a:endParaRPr>
            </a:p>
          </p:txBody>
        </p:sp>
        <p:sp>
          <p:nvSpPr>
            <p:cNvPr id="39" name="任意多边形 33"/>
            <p:cNvSpPr/>
            <p:nvPr/>
          </p:nvSpPr>
          <p:spPr>
            <a:xfrm>
              <a:off x="5999615" y="5296537"/>
              <a:ext cx="484830" cy="136671"/>
            </a:xfrm>
            <a:custGeom>
              <a:avLst/>
              <a:gdLst>
                <a:gd name="connsiteX0" fmla="*/ 415046 w 428211"/>
                <a:gd name="connsiteY0" fmla="*/ -210 h 120710"/>
                <a:gd name="connsiteX1" fmla="*/ 150755 w 428211"/>
                <a:gd name="connsiteY1" fmla="*/ -210 h 120710"/>
                <a:gd name="connsiteX2" fmla="*/ -514 w 428211"/>
                <a:gd name="connsiteY2" fmla="*/ 107794 h 120710"/>
                <a:gd name="connsiteX3" fmla="*/ -514 w 428211"/>
                <a:gd name="connsiteY3" fmla="*/ 120500 h 120710"/>
                <a:gd name="connsiteX4" fmla="*/ 425148 w 428211"/>
                <a:gd name="connsiteY4" fmla="*/ 120500 h 120710"/>
                <a:gd name="connsiteX5" fmla="*/ 414856 w 428211"/>
                <a:gd name="connsiteY5" fmla="*/ -210 h 120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8211" h="120710">
                  <a:moveTo>
                    <a:pt x="415046" y="-210"/>
                  </a:moveTo>
                  <a:lnTo>
                    <a:pt x="150755" y="-210"/>
                  </a:lnTo>
                  <a:cubicBezTo>
                    <a:pt x="150755" y="-210"/>
                    <a:pt x="14924" y="76981"/>
                    <a:pt x="-514" y="107794"/>
                  </a:cubicBezTo>
                  <a:lnTo>
                    <a:pt x="-514" y="120500"/>
                  </a:lnTo>
                  <a:lnTo>
                    <a:pt x="425148" y="120500"/>
                  </a:lnTo>
                  <a:cubicBezTo>
                    <a:pt x="425148" y="120500"/>
                    <a:pt x="435377" y="30412"/>
                    <a:pt x="414856" y="-210"/>
                  </a:cubicBezTo>
                  <a:close/>
                </a:path>
              </a:pathLst>
            </a:custGeom>
            <a:solidFill>
              <a:srgbClr val="00065B"/>
            </a:solidFill>
            <a:ln w="63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90204"/>
                <a:ea typeface="微软雅黑"/>
                <a:cs typeface="+mn-cs"/>
              </a:endParaRPr>
            </a:p>
          </p:txBody>
        </p:sp>
        <p:sp>
          <p:nvSpPr>
            <p:cNvPr id="40" name="任意多边形 34"/>
            <p:cNvSpPr/>
            <p:nvPr/>
          </p:nvSpPr>
          <p:spPr>
            <a:xfrm>
              <a:off x="5999255" y="5433496"/>
              <a:ext cx="483023" cy="22802"/>
            </a:xfrm>
            <a:custGeom>
              <a:avLst/>
              <a:gdLst>
                <a:gd name="connsiteX0" fmla="*/ 426615 w 426615"/>
                <a:gd name="connsiteY0" fmla="*/ 0 h 20139"/>
                <a:gd name="connsiteX1" fmla="*/ 0 w 426615"/>
                <a:gd name="connsiteY1" fmla="*/ 0 h 20139"/>
                <a:gd name="connsiteX2" fmla="*/ 0 w 426615"/>
                <a:gd name="connsiteY2" fmla="*/ 20140 h 20139"/>
                <a:gd name="connsiteX3" fmla="*/ 426615 w 426615"/>
                <a:gd name="connsiteY3" fmla="*/ 20140 h 20139"/>
                <a:gd name="connsiteX4" fmla="*/ 426615 w 426615"/>
                <a:gd name="connsiteY4" fmla="*/ 0 h 20139"/>
                <a:gd name="connsiteX5" fmla="*/ 426615 w 426615"/>
                <a:gd name="connsiteY5" fmla="*/ 0 h 20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6615" h="20139">
                  <a:moveTo>
                    <a:pt x="426615" y="0"/>
                  </a:moveTo>
                  <a:lnTo>
                    <a:pt x="0" y="0"/>
                  </a:lnTo>
                  <a:lnTo>
                    <a:pt x="0" y="20140"/>
                  </a:lnTo>
                  <a:lnTo>
                    <a:pt x="426615" y="20140"/>
                  </a:lnTo>
                  <a:lnTo>
                    <a:pt x="426615" y="0"/>
                  </a:lnTo>
                  <a:lnTo>
                    <a:pt x="426615" y="0"/>
                  </a:lnTo>
                  <a:close/>
                </a:path>
              </a:pathLst>
            </a:custGeom>
            <a:solidFill>
              <a:srgbClr val="434CC0"/>
            </a:solidFill>
            <a:ln w="63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90204"/>
                <a:ea typeface="微软雅黑"/>
                <a:cs typeface="+mn-cs"/>
              </a:endParaRPr>
            </a:p>
          </p:txBody>
        </p:sp>
        <p:sp>
          <p:nvSpPr>
            <p:cNvPr id="41" name="任意多边形 35"/>
            <p:cNvSpPr/>
            <p:nvPr/>
          </p:nvSpPr>
          <p:spPr>
            <a:xfrm>
              <a:off x="6140242" y="3782441"/>
              <a:ext cx="395626" cy="1526181"/>
            </a:xfrm>
            <a:custGeom>
              <a:avLst/>
              <a:gdLst>
                <a:gd name="connsiteX0" fmla="*/ 348910 w 349424"/>
                <a:gd name="connsiteY0" fmla="*/ -210 h 1347952"/>
                <a:gd name="connsiteX1" fmla="*/ 17656 w 349424"/>
                <a:gd name="connsiteY1" fmla="*/ -210 h 1347952"/>
                <a:gd name="connsiteX2" fmla="*/ -514 w 349424"/>
                <a:gd name="connsiteY2" fmla="*/ 1347742 h 1347952"/>
                <a:gd name="connsiteX3" fmla="*/ 305200 w 349424"/>
                <a:gd name="connsiteY3" fmla="*/ 1347742 h 1347952"/>
                <a:gd name="connsiteX4" fmla="*/ 346369 w 349424"/>
                <a:gd name="connsiteY4" fmla="*/ 202583 h 13479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9424" h="1347952">
                  <a:moveTo>
                    <a:pt x="348910" y="-210"/>
                  </a:moveTo>
                  <a:lnTo>
                    <a:pt x="17656" y="-210"/>
                  </a:lnTo>
                  <a:lnTo>
                    <a:pt x="-514" y="1347742"/>
                  </a:lnTo>
                  <a:lnTo>
                    <a:pt x="305200" y="1347742"/>
                  </a:lnTo>
                  <a:cubicBezTo>
                    <a:pt x="305200" y="1347742"/>
                    <a:pt x="303548" y="602833"/>
                    <a:pt x="346369" y="202583"/>
                  </a:cubicBezTo>
                  <a:close/>
                </a:path>
              </a:pathLst>
            </a:custGeom>
            <a:solidFill>
              <a:srgbClr val="981D04"/>
            </a:solidFill>
            <a:ln w="63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90204"/>
                <a:ea typeface="微软雅黑"/>
                <a:cs typeface="+mn-cs"/>
              </a:endParaRPr>
            </a:p>
          </p:txBody>
        </p:sp>
        <p:sp>
          <p:nvSpPr>
            <p:cNvPr id="42" name="任意多边形 36"/>
            <p:cNvSpPr/>
            <p:nvPr/>
          </p:nvSpPr>
          <p:spPr>
            <a:xfrm>
              <a:off x="6583298" y="5296537"/>
              <a:ext cx="484866" cy="136671"/>
            </a:xfrm>
            <a:custGeom>
              <a:avLst/>
              <a:gdLst>
                <a:gd name="connsiteX0" fmla="*/ 12168 w 428243"/>
                <a:gd name="connsiteY0" fmla="*/ -210 h 120710"/>
                <a:gd name="connsiteX1" fmla="*/ 276460 w 428243"/>
                <a:gd name="connsiteY1" fmla="*/ -210 h 120710"/>
                <a:gd name="connsiteX2" fmla="*/ 427729 w 428243"/>
                <a:gd name="connsiteY2" fmla="*/ 107794 h 120710"/>
                <a:gd name="connsiteX3" fmla="*/ 427729 w 428243"/>
                <a:gd name="connsiteY3" fmla="*/ 120500 h 120710"/>
                <a:gd name="connsiteX4" fmla="*/ 2067 w 428243"/>
                <a:gd name="connsiteY4" fmla="*/ 120500 h 120710"/>
                <a:gd name="connsiteX5" fmla="*/ 12295 w 428243"/>
                <a:gd name="connsiteY5" fmla="*/ -210 h 120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8243" h="120710">
                  <a:moveTo>
                    <a:pt x="12168" y="-210"/>
                  </a:moveTo>
                  <a:lnTo>
                    <a:pt x="276460" y="-210"/>
                  </a:lnTo>
                  <a:cubicBezTo>
                    <a:pt x="276460" y="-210"/>
                    <a:pt x="412354" y="76981"/>
                    <a:pt x="427729" y="107794"/>
                  </a:cubicBezTo>
                  <a:lnTo>
                    <a:pt x="427729" y="120500"/>
                  </a:lnTo>
                  <a:lnTo>
                    <a:pt x="2067" y="120500"/>
                  </a:lnTo>
                  <a:cubicBezTo>
                    <a:pt x="2067" y="120500"/>
                    <a:pt x="-8226" y="30412"/>
                    <a:pt x="12295" y="-210"/>
                  </a:cubicBezTo>
                  <a:close/>
                </a:path>
              </a:pathLst>
            </a:custGeom>
            <a:solidFill>
              <a:srgbClr val="00065B"/>
            </a:solidFill>
            <a:ln w="63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90204"/>
                <a:ea typeface="微软雅黑"/>
                <a:cs typeface="+mn-cs"/>
              </a:endParaRPr>
            </a:p>
          </p:txBody>
        </p:sp>
        <p:sp>
          <p:nvSpPr>
            <p:cNvPr id="43" name="任意多边形 37"/>
            <p:cNvSpPr/>
            <p:nvPr/>
          </p:nvSpPr>
          <p:spPr>
            <a:xfrm>
              <a:off x="6585142" y="5433496"/>
              <a:ext cx="483023" cy="22802"/>
            </a:xfrm>
            <a:custGeom>
              <a:avLst/>
              <a:gdLst>
                <a:gd name="connsiteX0" fmla="*/ 0 w 426615"/>
                <a:gd name="connsiteY0" fmla="*/ 0 h 20139"/>
                <a:gd name="connsiteX1" fmla="*/ 426615 w 426615"/>
                <a:gd name="connsiteY1" fmla="*/ 0 h 20139"/>
                <a:gd name="connsiteX2" fmla="*/ 426615 w 426615"/>
                <a:gd name="connsiteY2" fmla="*/ 20140 h 20139"/>
                <a:gd name="connsiteX3" fmla="*/ 0 w 426615"/>
                <a:gd name="connsiteY3" fmla="*/ 20140 h 20139"/>
                <a:gd name="connsiteX4" fmla="*/ 0 w 426615"/>
                <a:gd name="connsiteY4" fmla="*/ 0 h 20139"/>
                <a:gd name="connsiteX5" fmla="*/ 0 w 426615"/>
                <a:gd name="connsiteY5" fmla="*/ 0 h 20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6615" h="20139">
                  <a:moveTo>
                    <a:pt x="0" y="0"/>
                  </a:moveTo>
                  <a:lnTo>
                    <a:pt x="426615" y="0"/>
                  </a:lnTo>
                  <a:lnTo>
                    <a:pt x="426615" y="20140"/>
                  </a:lnTo>
                  <a:lnTo>
                    <a:pt x="0" y="20140"/>
                  </a:lnTo>
                  <a:lnTo>
                    <a:pt x="0" y="0"/>
                  </a:lnTo>
                  <a:lnTo>
                    <a:pt x="0" y="0"/>
                  </a:lnTo>
                  <a:close/>
                </a:path>
              </a:pathLst>
            </a:custGeom>
            <a:solidFill>
              <a:srgbClr val="434CC0"/>
            </a:solidFill>
            <a:ln w="63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90204"/>
                <a:ea typeface="微软雅黑"/>
                <a:cs typeface="+mn-cs"/>
              </a:endParaRPr>
            </a:p>
          </p:txBody>
        </p:sp>
        <p:sp>
          <p:nvSpPr>
            <p:cNvPr id="44" name="任意多边形 38"/>
            <p:cNvSpPr/>
            <p:nvPr/>
          </p:nvSpPr>
          <p:spPr>
            <a:xfrm>
              <a:off x="6531551" y="3782441"/>
              <a:ext cx="395698" cy="1526181"/>
            </a:xfrm>
            <a:custGeom>
              <a:avLst/>
              <a:gdLst>
                <a:gd name="connsiteX0" fmla="*/ -514 w 349488"/>
                <a:gd name="connsiteY0" fmla="*/ -210 h 1347952"/>
                <a:gd name="connsiteX1" fmla="*/ 330803 w 349488"/>
                <a:gd name="connsiteY1" fmla="*/ -210 h 1347952"/>
                <a:gd name="connsiteX2" fmla="*/ 348974 w 349488"/>
                <a:gd name="connsiteY2" fmla="*/ 1347742 h 1347952"/>
                <a:gd name="connsiteX3" fmla="*/ 43259 w 349488"/>
                <a:gd name="connsiteY3" fmla="*/ 1347742 h 1347952"/>
                <a:gd name="connsiteX4" fmla="*/ 2408 w 349488"/>
                <a:gd name="connsiteY4" fmla="*/ 202583 h 13479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9488" h="1347952">
                  <a:moveTo>
                    <a:pt x="-514" y="-210"/>
                  </a:moveTo>
                  <a:lnTo>
                    <a:pt x="330803" y="-210"/>
                  </a:lnTo>
                  <a:lnTo>
                    <a:pt x="348974" y="1347742"/>
                  </a:lnTo>
                  <a:lnTo>
                    <a:pt x="43259" y="1347742"/>
                  </a:lnTo>
                  <a:cubicBezTo>
                    <a:pt x="43259" y="1347742"/>
                    <a:pt x="44911" y="602833"/>
                    <a:pt x="2408" y="202583"/>
                  </a:cubicBezTo>
                  <a:close/>
                </a:path>
              </a:pathLst>
            </a:custGeom>
            <a:solidFill>
              <a:srgbClr val="981D04"/>
            </a:solidFill>
            <a:ln w="63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90204"/>
                <a:ea typeface="微软雅黑"/>
                <a:cs typeface="+mn-cs"/>
              </a:endParaRPr>
            </a:p>
          </p:txBody>
        </p:sp>
        <p:sp>
          <p:nvSpPr>
            <p:cNvPr id="45" name="任意多边形 39"/>
            <p:cNvSpPr/>
            <p:nvPr/>
          </p:nvSpPr>
          <p:spPr>
            <a:xfrm>
              <a:off x="6096076" y="2836102"/>
              <a:ext cx="877570" cy="1154292"/>
            </a:xfrm>
            <a:custGeom>
              <a:avLst/>
              <a:gdLst>
                <a:gd name="connsiteX0" fmla="*/ 259966 w 775086"/>
                <a:gd name="connsiteY0" fmla="*/ -210 h 1019493"/>
                <a:gd name="connsiteX1" fmla="*/ 380676 w 775086"/>
                <a:gd name="connsiteY1" fmla="*/ 81873 h 1019493"/>
                <a:gd name="connsiteX2" fmla="*/ 383217 w 775086"/>
                <a:gd name="connsiteY2" fmla="*/ 81873 h 1019493"/>
                <a:gd name="connsiteX3" fmla="*/ 501132 w 775086"/>
                <a:gd name="connsiteY3" fmla="*/ -210 h 1019493"/>
                <a:gd name="connsiteX4" fmla="*/ 703735 w 775086"/>
                <a:gd name="connsiteY4" fmla="*/ 40832 h 1019493"/>
                <a:gd name="connsiteX5" fmla="*/ 774573 w 775086"/>
                <a:gd name="connsiteY5" fmla="*/ 943109 h 1019493"/>
                <a:gd name="connsiteX6" fmla="*/ -514 w 775086"/>
                <a:gd name="connsiteY6" fmla="*/ 924050 h 1019493"/>
                <a:gd name="connsiteX7" fmla="*/ 66893 w 775086"/>
                <a:gd name="connsiteY7" fmla="*/ 30603 h 1019493"/>
                <a:gd name="connsiteX8" fmla="*/ 260029 w 775086"/>
                <a:gd name="connsiteY8" fmla="*/ -210 h 1019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75086" h="1019493">
                  <a:moveTo>
                    <a:pt x="259966" y="-210"/>
                  </a:moveTo>
                  <a:cubicBezTo>
                    <a:pt x="277882" y="79268"/>
                    <a:pt x="372734" y="81873"/>
                    <a:pt x="380676" y="81873"/>
                  </a:cubicBezTo>
                  <a:lnTo>
                    <a:pt x="383217" y="81873"/>
                  </a:lnTo>
                  <a:cubicBezTo>
                    <a:pt x="390904" y="81873"/>
                    <a:pt x="480611" y="79268"/>
                    <a:pt x="501132" y="-210"/>
                  </a:cubicBezTo>
                  <a:lnTo>
                    <a:pt x="703735" y="40832"/>
                  </a:lnTo>
                  <a:lnTo>
                    <a:pt x="774573" y="943109"/>
                  </a:lnTo>
                  <a:cubicBezTo>
                    <a:pt x="615743" y="1025700"/>
                    <a:pt x="132394" y="1069347"/>
                    <a:pt x="-514" y="924050"/>
                  </a:cubicBezTo>
                  <a:lnTo>
                    <a:pt x="66893" y="30603"/>
                  </a:lnTo>
                  <a:lnTo>
                    <a:pt x="260029" y="-210"/>
                  </a:lnTo>
                  <a:close/>
                </a:path>
              </a:pathLst>
            </a:custGeom>
            <a:solidFill>
              <a:srgbClr val="00065B"/>
            </a:solidFill>
            <a:ln w="63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90204"/>
                <a:ea typeface="微软雅黑"/>
                <a:cs typeface="+mn-cs"/>
              </a:endParaRPr>
            </a:p>
          </p:txBody>
        </p:sp>
        <p:sp>
          <p:nvSpPr>
            <p:cNvPr id="46" name="任意多边形 40"/>
            <p:cNvSpPr/>
            <p:nvPr/>
          </p:nvSpPr>
          <p:spPr>
            <a:xfrm>
              <a:off x="5368249" y="3005839"/>
              <a:ext cx="792980" cy="422613"/>
            </a:xfrm>
            <a:custGeom>
              <a:avLst/>
              <a:gdLst>
                <a:gd name="connsiteX0" fmla="*/ 698477 w 700375"/>
                <a:gd name="connsiteY0" fmla="*/ 67344 h 373260"/>
                <a:gd name="connsiteX1" fmla="*/ 582976 w 700375"/>
                <a:gd name="connsiteY1" fmla="*/ 238880 h 373260"/>
                <a:gd name="connsiteX2" fmla="*/ 51470 w 700375"/>
                <a:gd name="connsiteY2" fmla="*/ 369755 h 373260"/>
                <a:gd name="connsiteX3" fmla="*/ 51470 w 700375"/>
                <a:gd name="connsiteY3" fmla="*/ 261751 h 373260"/>
                <a:gd name="connsiteX4" fmla="*/ 505786 w 700375"/>
                <a:gd name="connsiteY4" fmla="*/ 161816 h 373260"/>
                <a:gd name="connsiteX5" fmla="*/ 580181 w 700375"/>
                <a:gd name="connsiteY5" fmla="*/ 74714 h 373260"/>
                <a:gd name="connsiteX6" fmla="*/ 587932 w 700375"/>
                <a:gd name="connsiteY6" fmla="*/ 56798 h 373260"/>
                <a:gd name="connsiteX7" fmla="*/ 587932 w 700375"/>
                <a:gd name="connsiteY7" fmla="*/ 59339 h 373260"/>
                <a:gd name="connsiteX8" fmla="*/ 590474 w 700375"/>
                <a:gd name="connsiteY8" fmla="*/ 51652 h 373260"/>
                <a:gd name="connsiteX9" fmla="*/ 593015 w 700375"/>
                <a:gd name="connsiteY9" fmla="*/ 38945 h 373260"/>
                <a:gd name="connsiteX10" fmla="*/ 698287 w 700375"/>
                <a:gd name="connsiteY10" fmla="*/ 67154 h 373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00375" h="373260">
                  <a:moveTo>
                    <a:pt x="698477" y="67344"/>
                  </a:moveTo>
                  <a:cubicBezTo>
                    <a:pt x="683039" y="133989"/>
                    <a:pt x="634310" y="195488"/>
                    <a:pt x="582976" y="238880"/>
                  </a:cubicBezTo>
                  <a:cubicBezTo>
                    <a:pt x="439014" y="362068"/>
                    <a:pt x="233933" y="382525"/>
                    <a:pt x="51470" y="369755"/>
                  </a:cubicBezTo>
                  <a:cubicBezTo>
                    <a:pt x="-17843" y="364609"/>
                    <a:pt x="-17843" y="256986"/>
                    <a:pt x="51470" y="261751"/>
                  </a:cubicBezTo>
                  <a:cubicBezTo>
                    <a:pt x="202930" y="274457"/>
                    <a:pt x="385139" y="264356"/>
                    <a:pt x="505786" y="161816"/>
                  </a:cubicBezTo>
                  <a:cubicBezTo>
                    <a:pt x="541681" y="131066"/>
                    <a:pt x="559660" y="110609"/>
                    <a:pt x="580181" y="74714"/>
                  </a:cubicBezTo>
                  <a:cubicBezTo>
                    <a:pt x="582284" y="68545"/>
                    <a:pt x="584876" y="62554"/>
                    <a:pt x="587932" y="56798"/>
                  </a:cubicBezTo>
                  <a:cubicBezTo>
                    <a:pt x="593015" y="46506"/>
                    <a:pt x="582786" y="69504"/>
                    <a:pt x="587932" y="59339"/>
                  </a:cubicBezTo>
                  <a:cubicBezTo>
                    <a:pt x="587932" y="56798"/>
                    <a:pt x="590474" y="54193"/>
                    <a:pt x="590474" y="51652"/>
                  </a:cubicBezTo>
                  <a:cubicBezTo>
                    <a:pt x="591077" y="47370"/>
                    <a:pt x="591928" y="43132"/>
                    <a:pt x="593015" y="38945"/>
                  </a:cubicBezTo>
                  <a:cubicBezTo>
                    <a:pt x="610994" y="-30241"/>
                    <a:pt x="713725" y="509"/>
                    <a:pt x="698287" y="67154"/>
                  </a:cubicBezTo>
                  <a:close/>
                </a:path>
              </a:pathLst>
            </a:custGeom>
            <a:solidFill>
              <a:srgbClr val="FED0D6"/>
            </a:solidFill>
            <a:ln w="63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90204"/>
                <a:ea typeface="微软雅黑"/>
                <a:cs typeface="+mn-cs"/>
              </a:endParaRPr>
            </a:p>
          </p:txBody>
        </p:sp>
        <p:sp>
          <p:nvSpPr>
            <p:cNvPr id="47" name="任意多边形 41"/>
            <p:cNvSpPr/>
            <p:nvPr/>
          </p:nvSpPr>
          <p:spPr>
            <a:xfrm>
              <a:off x="5555003" y="2870989"/>
              <a:ext cx="617392" cy="613005"/>
            </a:xfrm>
            <a:custGeom>
              <a:avLst/>
              <a:gdLst>
                <a:gd name="connsiteX0" fmla="*/ 14860 w 545292"/>
                <a:gd name="connsiteY0" fmla="*/ 541208 h 541418"/>
                <a:gd name="connsiteX1" fmla="*/ 534550 w 545292"/>
                <a:gd name="connsiteY1" fmla="*/ 283332 h 541418"/>
                <a:gd name="connsiteX2" fmla="*/ 544778 w 545292"/>
                <a:gd name="connsiteY2" fmla="*/ -210 h 541418"/>
                <a:gd name="connsiteX3" fmla="*/ 544778 w 545292"/>
                <a:gd name="connsiteY3" fmla="*/ -210 h 541418"/>
                <a:gd name="connsiteX4" fmla="*/ 356661 w 545292"/>
                <a:gd name="connsiteY4" fmla="*/ 143562 h 541418"/>
                <a:gd name="connsiteX5" fmla="*/ -514 w 545292"/>
                <a:gd name="connsiteY5" fmla="*/ 353662 h 54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5292" h="541418">
                  <a:moveTo>
                    <a:pt x="14860" y="541208"/>
                  </a:moveTo>
                  <a:cubicBezTo>
                    <a:pt x="14860" y="541208"/>
                    <a:pt x="369367" y="543812"/>
                    <a:pt x="534550" y="283332"/>
                  </a:cubicBezTo>
                  <a:lnTo>
                    <a:pt x="544778" y="-210"/>
                  </a:lnTo>
                  <a:lnTo>
                    <a:pt x="544778" y="-210"/>
                  </a:lnTo>
                  <a:cubicBezTo>
                    <a:pt x="544778" y="-210"/>
                    <a:pt x="471018" y="3793"/>
                    <a:pt x="356661" y="143562"/>
                  </a:cubicBezTo>
                  <a:cubicBezTo>
                    <a:pt x="285251" y="230855"/>
                    <a:pt x="140653" y="363890"/>
                    <a:pt x="-514" y="353662"/>
                  </a:cubicBezTo>
                  <a:close/>
                </a:path>
              </a:pathLst>
            </a:custGeom>
            <a:solidFill>
              <a:srgbClr val="434CC0"/>
            </a:solidFill>
            <a:ln w="63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90204"/>
                <a:ea typeface="微软雅黑"/>
                <a:cs typeface="+mn-cs"/>
              </a:endParaRPr>
            </a:p>
          </p:txBody>
        </p:sp>
        <p:sp>
          <p:nvSpPr>
            <p:cNvPr id="48" name="任意多边形 42"/>
            <p:cNvSpPr/>
            <p:nvPr/>
          </p:nvSpPr>
          <p:spPr>
            <a:xfrm>
              <a:off x="4621893" y="1105990"/>
              <a:ext cx="1140920" cy="1998720"/>
            </a:xfrm>
            <a:custGeom>
              <a:avLst/>
              <a:gdLst>
                <a:gd name="connsiteX0" fmla="*/ 596690 w 1007682"/>
                <a:gd name="connsiteY0" fmla="*/ 1042540 h 1765307"/>
                <a:gd name="connsiteX1" fmla="*/ 596690 w 1007682"/>
                <a:gd name="connsiteY1" fmla="*/ 1209120 h 1765307"/>
                <a:gd name="connsiteX2" fmla="*/ 479747 w 1007682"/>
                <a:gd name="connsiteY2" fmla="*/ 1332124 h 1765307"/>
                <a:gd name="connsiteX3" fmla="*/ 473502 w 1007682"/>
                <a:gd name="connsiteY3" fmla="*/ 1332118 h 1765307"/>
                <a:gd name="connsiteX4" fmla="*/ 350314 w 1007682"/>
                <a:gd name="connsiteY4" fmla="*/ 1209120 h 1765307"/>
                <a:gd name="connsiteX5" fmla="*/ 350314 w 1007682"/>
                <a:gd name="connsiteY5" fmla="*/ 945209 h 1765307"/>
                <a:gd name="connsiteX6" fmla="*/ 352855 w 1007682"/>
                <a:gd name="connsiteY6" fmla="*/ 940063 h 1765307"/>
                <a:gd name="connsiteX7" fmla="*/ 350314 w 1007682"/>
                <a:gd name="connsiteY7" fmla="*/ 934981 h 1765307"/>
                <a:gd name="connsiteX8" fmla="*/ 473502 w 1007682"/>
                <a:gd name="connsiteY8" fmla="*/ 811983 h 1765307"/>
                <a:gd name="connsiteX9" fmla="*/ 760983 w 1007682"/>
                <a:gd name="connsiteY9" fmla="*/ 530157 h 1765307"/>
                <a:gd name="connsiteX10" fmla="*/ 473502 w 1007682"/>
                <a:gd name="connsiteY10" fmla="*/ 245725 h 1765307"/>
                <a:gd name="connsiteX11" fmla="*/ 229667 w 1007682"/>
                <a:gd name="connsiteY11" fmla="*/ 384097 h 1765307"/>
                <a:gd name="connsiteX12" fmla="*/ 62134 w 1007682"/>
                <a:gd name="connsiteY12" fmla="*/ 430888 h 1765307"/>
                <a:gd name="connsiteX13" fmla="*/ 15343 w 1007682"/>
                <a:gd name="connsiteY13" fmla="*/ 263355 h 1765307"/>
                <a:gd name="connsiteX14" fmla="*/ 16645 w 1007682"/>
                <a:gd name="connsiteY14" fmla="*/ 261100 h 1765307"/>
                <a:gd name="connsiteX15" fmla="*/ 473502 w 1007682"/>
                <a:gd name="connsiteY15" fmla="*/ -206 h 1765307"/>
                <a:gd name="connsiteX16" fmla="*/ 1007168 w 1007682"/>
                <a:gd name="connsiteY16" fmla="*/ 530157 h 1765307"/>
                <a:gd name="connsiteX17" fmla="*/ 596499 w 1007682"/>
                <a:gd name="connsiteY17" fmla="*/ 1042540 h 1765307"/>
                <a:gd name="connsiteX18" fmla="*/ 596690 w 1007682"/>
                <a:gd name="connsiteY18" fmla="*/ 1595965 h 1765307"/>
                <a:gd name="connsiteX19" fmla="*/ 596690 w 1007682"/>
                <a:gd name="connsiteY19" fmla="*/ 1642089 h 1765307"/>
                <a:gd name="connsiteX20" fmla="*/ 473502 w 1007682"/>
                <a:gd name="connsiteY20" fmla="*/ 1765086 h 1765307"/>
                <a:gd name="connsiteX21" fmla="*/ 350314 w 1007682"/>
                <a:gd name="connsiteY21" fmla="*/ 1645221 h 1765307"/>
                <a:gd name="connsiteX22" fmla="*/ 350314 w 1007682"/>
                <a:gd name="connsiteY22" fmla="*/ 1642089 h 1765307"/>
                <a:gd name="connsiteX23" fmla="*/ 350314 w 1007682"/>
                <a:gd name="connsiteY23" fmla="*/ 1595965 h 1765307"/>
                <a:gd name="connsiteX24" fmla="*/ 473502 w 1007682"/>
                <a:gd name="connsiteY24" fmla="*/ 1473031 h 1765307"/>
                <a:gd name="connsiteX25" fmla="*/ 596690 w 1007682"/>
                <a:gd name="connsiteY25" fmla="*/ 1592769 h 1765307"/>
                <a:gd name="connsiteX26" fmla="*/ 596690 w 1007682"/>
                <a:gd name="connsiteY26" fmla="*/ 1595965 h 1765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07682" h="1765307">
                  <a:moveTo>
                    <a:pt x="596690" y="1042540"/>
                  </a:moveTo>
                  <a:lnTo>
                    <a:pt x="596690" y="1209120"/>
                  </a:lnTo>
                  <a:cubicBezTo>
                    <a:pt x="598361" y="1275377"/>
                    <a:pt x="546004" y="1330447"/>
                    <a:pt x="479747" y="1332124"/>
                  </a:cubicBezTo>
                  <a:cubicBezTo>
                    <a:pt x="477663" y="1332175"/>
                    <a:pt x="475579" y="1332175"/>
                    <a:pt x="473502" y="1332118"/>
                  </a:cubicBezTo>
                  <a:cubicBezTo>
                    <a:pt x="405529" y="1332156"/>
                    <a:pt x="350384" y="1277093"/>
                    <a:pt x="350314" y="1209120"/>
                  </a:cubicBezTo>
                  <a:lnTo>
                    <a:pt x="350314" y="945209"/>
                  </a:lnTo>
                  <a:cubicBezTo>
                    <a:pt x="350314" y="942668"/>
                    <a:pt x="352855" y="942668"/>
                    <a:pt x="352855" y="940063"/>
                  </a:cubicBezTo>
                  <a:cubicBezTo>
                    <a:pt x="350314" y="937522"/>
                    <a:pt x="350314" y="937522"/>
                    <a:pt x="350314" y="934981"/>
                  </a:cubicBezTo>
                  <a:cubicBezTo>
                    <a:pt x="350314" y="870941"/>
                    <a:pt x="406793" y="811983"/>
                    <a:pt x="473502" y="811983"/>
                  </a:cubicBezTo>
                  <a:cubicBezTo>
                    <a:pt x="632649" y="811983"/>
                    <a:pt x="760983" y="686445"/>
                    <a:pt x="760983" y="530157"/>
                  </a:cubicBezTo>
                  <a:cubicBezTo>
                    <a:pt x="760983" y="368723"/>
                    <a:pt x="632649" y="245725"/>
                    <a:pt x="473502" y="245725"/>
                  </a:cubicBezTo>
                  <a:cubicBezTo>
                    <a:pt x="373636" y="246094"/>
                    <a:pt x="281198" y="298552"/>
                    <a:pt x="229667" y="384097"/>
                  </a:cubicBezTo>
                  <a:cubicBezTo>
                    <a:pt x="196326" y="443283"/>
                    <a:pt x="121320" y="464230"/>
                    <a:pt x="62134" y="430888"/>
                  </a:cubicBezTo>
                  <a:cubicBezTo>
                    <a:pt x="2948" y="397547"/>
                    <a:pt x="-17999" y="322541"/>
                    <a:pt x="15343" y="263355"/>
                  </a:cubicBezTo>
                  <a:cubicBezTo>
                    <a:pt x="15769" y="262599"/>
                    <a:pt x="16201" y="261850"/>
                    <a:pt x="16645" y="261100"/>
                  </a:cubicBezTo>
                  <a:cubicBezTo>
                    <a:pt x="111346" y="98668"/>
                    <a:pt x="285480" y="-930"/>
                    <a:pt x="473502" y="-206"/>
                  </a:cubicBezTo>
                  <a:cubicBezTo>
                    <a:pt x="766129" y="-206"/>
                    <a:pt x="1007168" y="235497"/>
                    <a:pt x="1007168" y="530157"/>
                  </a:cubicBezTo>
                  <a:cubicBezTo>
                    <a:pt x="1007168" y="778693"/>
                    <a:pt x="832647" y="988792"/>
                    <a:pt x="596499" y="1042540"/>
                  </a:cubicBezTo>
                  <a:close/>
                  <a:moveTo>
                    <a:pt x="596690" y="1595965"/>
                  </a:moveTo>
                  <a:lnTo>
                    <a:pt x="596690" y="1642089"/>
                  </a:lnTo>
                  <a:cubicBezTo>
                    <a:pt x="596690" y="1713816"/>
                    <a:pt x="545356" y="1765086"/>
                    <a:pt x="473502" y="1765086"/>
                  </a:cubicBezTo>
                  <a:cubicBezTo>
                    <a:pt x="406387" y="1766001"/>
                    <a:pt x="351235" y="1712336"/>
                    <a:pt x="350314" y="1645221"/>
                  </a:cubicBezTo>
                  <a:cubicBezTo>
                    <a:pt x="350301" y="1644179"/>
                    <a:pt x="350301" y="1643131"/>
                    <a:pt x="350314" y="1642089"/>
                  </a:cubicBezTo>
                  <a:lnTo>
                    <a:pt x="350314" y="1595965"/>
                  </a:lnTo>
                  <a:cubicBezTo>
                    <a:pt x="351305" y="1528386"/>
                    <a:pt x="405923" y="1473882"/>
                    <a:pt x="473502" y="1473031"/>
                  </a:cubicBezTo>
                  <a:cubicBezTo>
                    <a:pt x="540585" y="1472078"/>
                    <a:pt x="595737" y="1525686"/>
                    <a:pt x="596690" y="1592769"/>
                  </a:cubicBezTo>
                  <a:cubicBezTo>
                    <a:pt x="596703" y="1593830"/>
                    <a:pt x="596703" y="1594897"/>
                    <a:pt x="596690" y="1595965"/>
                  </a:cubicBezTo>
                  <a:close/>
                </a:path>
              </a:pathLst>
            </a:custGeom>
            <a:solidFill>
              <a:srgbClr val="FFC545"/>
            </a:solidFill>
            <a:ln w="63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90204"/>
                <a:ea typeface="微软雅黑"/>
                <a:cs typeface="+mn-cs"/>
              </a:endParaRPr>
            </a:p>
          </p:txBody>
        </p:sp>
        <p:sp>
          <p:nvSpPr>
            <p:cNvPr id="49" name="任意多边形 43"/>
            <p:cNvSpPr/>
            <p:nvPr/>
          </p:nvSpPr>
          <p:spPr>
            <a:xfrm>
              <a:off x="6447837" y="2687348"/>
              <a:ext cx="549892" cy="723736"/>
            </a:xfrm>
            <a:custGeom>
              <a:avLst/>
              <a:gdLst>
                <a:gd name="connsiteX0" fmla="*/ 104936 w 485675"/>
                <a:gd name="connsiteY0" fmla="*/ 49599 h 639217"/>
                <a:gd name="connsiteX1" fmla="*/ 228188 w 485675"/>
                <a:gd name="connsiteY1" fmla="*/ 397943 h 639217"/>
                <a:gd name="connsiteX2" fmla="*/ 282126 w 485675"/>
                <a:gd name="connsiteY2" fmla="*/ 492733 h 639217"/>
                <a:gd name="connsiteX3" fmla="*/ 305252 w 485675"/>
                <a:gd name="connsiteY3" fmla="*/ 523482 h 639217"/>
                <a:gd name="connsiteX4" fmla="*/ 315544 w 485675"/>
                <a:gd name="connsiteY4" fmla="*/ 533711 h 639217"/>
                <a:gd name="connsiteX5" fmla="*/ 294959 w 485675"/>
                <a:gd name="connsiteY5" fmla="*/ 533711 h 639217"/>
                <a:gd name="connsiteX6" fmla="*/ 310398 w 485675"/>
                <a:gd name="connsiteY6" fmla="*/ 513253 h 639217"/>
                <a:gd name="connsiteX7" fmla="*/ 341210 w 485675"/>
                <a:gd name="connsiteY7" fmla="*/ 456837 h 639217"/>
                <a:gd name="connsiteX8" fmla="*/ 379711 w 485675"/>
                <a:gd name="connsiteY8" fmla="*/ 308300 h 639217"/>
                <a:gd name="connsiteX9" fmla="*/ 484982 w 485675"/>
                <a:gd name="connsiteY9" fmla="*/ 308300 h 639217"/>
                <a:gd name="connsiteX10" fmla="*/ 364272 w 485675"/>
                <a:gd name="connsiteY10" fmla="*/ 613252 h 639217"/>
                <a:gd name="connsiteX11" fmla="*/ 179395 w 485675"/>
                <a:gd name="connsiteY11" fmla="*/ 528692 h 639217"/>
                <a:gd name="connsiteX12" fmla="*/ 53602 w 485675"/>
                <a:gd name="connsiteY12" fmla="*/ 267449 h 639217"/>
                <a:gd name="connsiteX13" fmla="*/ -336 w 485675"/>
                <a:gd name="connsiteY13" fmla="*/ 49726 h 639217"/>
                <a:gd name="connsiteX14" fmla="*/ 104936 w 485675"/>
                <a:gd name="connsiteY14" fmla="*/ 49726 h 639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85675" h="639217">
                  <a:moveTo>
                    <a:pt x="104936" y="49599"/>
                  </a:moveTo>
                  <a:cubicBezTo>
                    <a:pt x="115228" y="172533"/>
                    <a:pt x="174312" y="290384"/>
                    <a:pt x="228188" y="397943"/>
                  </a:cubicBezTo>
                  <a:cubicBezTo>
                    <a:pt x="246167" y="431234"/>
                    <a:pt x="261605" y="461983"/>
                    <a:pt x="282126" y="492733"/>
                  </a:cubicBezTo>
                  <a:lnTo>
                    <a:pt x="305252" y="523482"/>
                  </a:lnTo>
                  <a:cubicBezTo>
                    <a:pt x="307793" y="528565"/>
                    <a:pt x="320626" y="536188"/>
                    <a:pt x="315544" y="533711"/>
                  </a:cubicBezTo>
                  <a:cubicBezTo>
                    <a:pt x="297564" y="541398"/>
                    <a:pt x="290131" y="541398"/>
                    <a:pt x="294959" y="533711"/>
                  </a:cubicBezTo>
                  <a:cubicBezTo>
                    <a:pt x="302647" y="528565"/>
                    <a:pt x="305252" y="521004"/>
                    <a:pt x="310398" y="513253"/>
                  </a:cubicBezTo>
                  <a:cubicBezTo>
                    <a:pt x="322596" y="495566"/>
                    <a:pt x="332951" y="476659"/>
                    <a:pt x="341210" y="456837"/>
                  </a:cubicBezTo>
                  <a:cubicBezTo>
                    <a:pt x="364145" y="410497"/>
                    <a:pt x="377233" y="359932"/>
                    <a:pt x="379711" y="308300"/>
                  </a:cubicBezTo>
                  <a:cubicBezTo>
                    <a:pt x="382252" y="241719"/>
                    <a:pt x="490129" y="241719"/>
                    <a:pt x="484982" y="308300"/>
                  </a:cubicBezTo>
                  <a:cubicBezTo>
                    <a:pt x="479837" y="410777"/>
                    <a:pt x="441336" y="541398"/>
                    <a:pt x="364272" y="613252"/>
                  </a:cubicBezTo>
                  <a:cubicBezTo>
                    <a:pt x="287208" y="685107"/>
                    <a:pt x="218149" y="590190"/>
                    <a:pt x="179395" y="528692"/>
                  </a:cubicBezTo>
                  <a:cubicBezTo>
                    <a:pt x="128061" y="446736"/>
                    <a:pt x="92102" y="357156"/>
                    <a:pt x="53602" y="267449"/>
                  </a:cubicBezTo>
                  <a:cubicBezTo>
                    <a:pt x="25185" y="197869"/>
                    <a:pt x="7014" y="124528"/>
                    <a:pt x="-336" y="49726"/>
                  </a:cubicBezTo>
                  <a:cubicBezTo>
                    <a:pt x="-5419" y="-16855"/>
                    <a:pt x="99853" y="-16855"/>
                    <a:pt x="104936" y="49726"/>
                  </a:cubicBezTo>
                  <a:close/>
                </a:path>
              </a:pathLst>
            </a:custGeom>
            <a:solidFill>
              <a:srgbClr val="FED0D6"/>
            </a:solidFill>
            <a:ln w="63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90204"/>
                <a:ea typeface="微软雅黑"/>
                <a:cs typeface="+mn-cs"/>
              </a:endParaRPr>
            </a:p>
          </p:txBody>
        </p:sp>
        <p:sp>
          <p:nvSpPr>
            <p:cNvPr id="50" name="任意多边形 44"/>
            <p:cNvSpPr/>
            <p:nvPr/>
          </p:nvSpPr>
          <p:spPr>
            <a:xfrm>
              <a:off x="6450484" y="2821356"/>
              <a:ext cx="595677" cy="626971"/>
            </a:xfrm>
            <a:custGeom>
              <a:avLst/>
              <a:gdLst>
                <a:gd name="connsiteX0" fmla="*/ 391667 w 526113"/>
                <a:gd name="connsiteY0" fmla="*/ 53983 h 553753"/>
                <a:gd name="connsiteX1" fmla="*/ 525083 w 526113"/>
                <a:gd name="connsiteY1" fmla="*/ 215734 h 553753"/>
                <a:gd name="connsiteX2" fmla="*/ 273815 w 526113"/>
                <a:gd name="connsiteY2" fmla="*/ 552135 h 553753"/>
                <a:gd name="connsiteX3" fmla="*/ -514 w 526113"/>
                <a:gd name="connsiteY3" fmla="*/ 53983 h 553753"/>
                <a:gd name="connsiteX4" fmla="*/ 137540 w 526113"/>
                <a:gd name="connsiteY4" fmla="*/ -210 h 553753"/>
                <a:gd name="connsiteX5" fmla="*/ 299037 w 526113"/>
                <a:gd name="connsiteY5" fmla="*/ 364398 h 553753"/>
                <a:gd name="connsiteX6" fmla="*/ 391667 w 526113"/>
                <a:gd name="connsiteY6" fmla="*/ 53983 h 553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6113" h="553753">
                  <a:moveTo>
                    <a:pt x="391667" y="53983"/>
                  </a:moveTo>
                  <a:cubicBezTo>
                    <a:pt x="391667" y="53983"/>
                    <a:pt x="535248" y="69357"/>
                    <a:pt x="525083" y="215734"/>
                  </a:cubicBezTo>
                  <a:cubicBezTo>
                    <a:pt x="514791" y="364653"/>
                    <a:pt x="391667" y="572656"/>
                    <a:pt x="273815" y="552135"/>
                  </a:cubicBezTo>
                  <a:cubicBezTo>
                    <a:pt x="155837" y="529009"/>
                    <a:pt x="27630" y="187463"/>
                    <a:pt x="-514" y="53983"/>
                  </a:cubicBezTo>
                  <a:lnTo>
                    <a:pt x="137540" y="-210"/>
                  </a:lnTo>
                  <a:cubicBezTo>
                    <a:pt x="137540" y="-210"/>
                    <a:pt x="275975" y="356711"/>
                    <a:pt x="299037" y="364398"/>
                  </a:cubicBezTo>
                  <a:lnTo>
                    <a:pt x="391667" y="53983"/>
                  </a:lnTo>
                  <a:close/>
                </a:path>
              </a:pathLst>
            </a:custGeom>
            <a:solidFill>
              <a:srgbClr val="434CC0"/>
            </a:solidFill>
            <a:ln w="63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90204"/>
                <a:ea typeface="微软雅黑"/>
                <a:cs typeface="+mn-cs"/>
              </a:endParaRPr>
            </a:p>
          </p:txBody>
        </p:sp>
        <p:sp>
          <p:nvSpPr>
            <p:cNvPr id="51" name="任意多边形 45"/>
            <p:cNvSpPr/>
            <p:nvPr/>
          </p:nvSpPr>
          <p:spPr>
            <a:xfrm>
              <a:off x="8263601" y="2004798"/>
              <a:ext cx="273214" cy="237195"/>
            </a:xfrm>
            <a:custGeom>
              <a:avLst/>
              <a:gdLst>
                <a:gd name="connsiteX0" fmla="*/ -513 w 241308"/>
                <a:gd name="connsiteY0" fmla="*/ 130082 h 209495"/>
                <a:gd name="connsiteX1" fmla="*/ 215813 w 241308"/>
                <a:gd name="connsiteY1" fmla="*/ 56513 h 209495"/>
                <a:gd name="connsiteX2" fmla="*/ 122294 w 241308"/>
                <a:gd name="connsiteY2" fmla="*/ 208608 h 209495"/>
                <a:gd name="connsiteX3" fmla="*/ 21470 w 241308"/>
                <a:gd name="connsiteY3" fmla="*/ 130972 h 209495"/>
              </a:gdLst>
              <a:ahLst/>
              <a:cxnLst>
                <a:cxn ang="0">
                  <a:pos x="connsiteX0" y="connsiteY0"/>
                </a:cxn>
                <a:cxn ang="0">
                  <a:pos x="connsiteX1" y="connsiteY1"/>
                </a:cxn>
                <a:cxn ang="0">
                  <a:pos x="connsiteX2" y="connsiteY2"/>
                </a:cxn>
                <a:cxn ang="0">
                  <a:pos x="connsiteX3" y="connsiteY3"/>
                </a:cxn>
              </a:cxnLst>
              <a:rect l="l" t="t" r="r" b="b"/>
              <a:pathLst>
                <a:path w="241308" h="209495">
                  <a:moveTo>
                    <a:pt x="-513" y="130082"/>
                  </a:moveTo>
                  <a:cubicBezTo>
                    <a:pt x="-1084" y="1177"/>
                    <a:pt x="150439" y="-48188"/>
                    <a:pt x="215813" y="56513"/>
                  </a:cubicBezTo>
                  <a:cubicBezTo>
                    <a:pt x="281187" y="161213"/>
                    <a:pt x="207046" y="216104"/>
                    <a:pt x="122294" y="208608"/>
                  </a:cubicBezTo>
                  <a:cubicBezTo>
                    <a:pt x="37543" y="201111"/>
                    <a:pt x="21470" y="130972"/>
                    <a:pt x="21470" y="130972"/>
                  </a:cubicBezTo>
                  <a:close/>
                </a:path>
              </a:pathLst>
            </a:custGeom>
            <a:solidFill>
              <a:srgbClr val="981D04"/>
            </a:solidFill>
            <a:ln w="63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90204"/>
                <a:ea typeface="微软雅黑"/>
                <a:cs typeface="+mn-cs"/>
              </a:endParaRPr>
            </a:p>
          </p:txBody>
        </p:sp>
        <p:sp>
          <p:nvSpPr>
            <p:cNvPr id="52" name="任意多边形 46"/>
            <p:cNvSpPr/>
            <p:nvPr/>
          </p:nvSpPr>
          <p:spPr>
            <a:xfrm>
              <a:off x="8197929" y="2105151"/>
              <a:ext cx="197911" cy="239513"/>
            </a:xfrm>
            <a:custGeom>
              <a:avLst/>
              <a:gdLst>
                <a:gd name="connsiteX0" fmla="*/ -514 w 174799"/>
                <a:gd name="connsiteY0" fmla="*/ 24739 h 211542"/>
                <a:gd name="connsiteX1" fmla="*/ 166701 w 174799"/>
                <a:gd name="connsiteY1" fmla="*/ 92020 h 211542"/>
                <a:gd name="connsiteX2" fmla="*/ 160348 w 174799"/>
                <a:gd name="connsiteY2" fmla="*/ 211332 h 211542"/>
              </a:gdLst>
              <a:ahLst/>
              <a:cxnLst>
                <a:cxn ang="0">
                  <a:pos x="connsiteX0" y="connsiteY0"/>
                </a:cxn>
                <a:cxn ang="0">
                  <a:pos x="connsiteX1" y="connsiteY1"/>
                </a:cxn>
                <a:cxn ang="0">
                  <a:pos x="connsiteX2" y="connsiteY2"/>
                </a:cxn>
              </a:cxnLst>
              <a:rect l="l" t="t" r="r" b="b"/>
              <a:pathLst>
                <a:path w="174799" h="211542">
                  <a:moveTo>
                    <a:pt x="-514" y="24739"/>
                  </a:moveTo>
                  <a:cubicBezTo>
                    <a:pt x="35890" y="-41461"/>
                    <a:pt x="146498" y="39161"/>
                    <a:pt x="166701" y="92020"/>
                  </a:cubicBezTo>
                  <a:cubicBezTo>
                    <a:pt x="186904" y="144878"/>
                    <a:pt x="160348" y="211332"/>
                    <a:pt x="160348" y="211332"/>
                  </a:cubicBezTo>
                  <a:close/>
                </a:path>
              </a:pathLst>
            </a:custGeom>
            <a:solidFill>
              <a:srgbClr val="F93F57"/>
            </a:solidFill>
            <a:ln w="63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90204"/>
                <a:ea typeface="微软雅黑"/>
                <a:cs typeface="+mn-cs"/>
              </a:endParaRPr>
            </a:p>
          </p:txBody>
        </p:sp>
        <p:sp>
          <p:nvSpPr>
            <p:cNvPr id="53" name="任意多边形 47"/>
            <p:cNvSpPr/>
            <p:nvPr/>
          </p:nvSpPr>
          <p:spPr>
            <a:xfrm>
              <a:off x="7774250" y="2086348"/>
              <a:ext cx="652587" cy="579300"/>
            </a:xfrm>
            <a:custGeom>
              <a:avLst/>
              <a:gdLst>
                <a:gd name="connsiteX0" fmla="*/ -514 w 576377"/>
                <a:gd name="connsiteY0" fmla="*/ 291788 h 511649"/>
                <a:gd name="connsiteX1" fmla="*/ 355898 w 576377"/>
                <a:gd name="connsiteY1" fmla="*/ 7992 h 511649"/>
                <a:gd name="connsiteX2" fmla="*/ 556976 w 576377"/>
                <a:gd name="connsiteY2" fmla="*/ 175842 h 511649"/>
                <a:gd name="connsiteX3" fmla="*/ 473114 w 576377"/>
                <a:gd name="connsiteY3" fmla="*/ 482701 h 511649"/>
                <a:gd name="connsiteX4" fmla="*/ -514 w 576377"/>
                <a:gd name="connsiteY4" fmla="*/ 291661 h 5116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6377" h="511649">
                  <a:moveTo>
                    <a:pt x="-514" y="291788"/>
                  </a:moveTo>
                  <a:cubicBezTo>
                    <a:pt x="10667" y="33341"/>
                    <a:pt x="203739" y="-24473"/>
                    <a:pt x="355898" y="7992"/>
                  </a:cubicBezTo>
                  <a:cubicBezTo>
                    <a:pt x="508056" y="40456"/>
                    <a:pt x="556976" y="175842"/>
                    <a:pt x="556976" y="175842"/>
                  </a:cubicBezTo>
                  <a:cubicBezTo>
                    <a:pt x="556976" y="175842"/>
                    <a:pt x="635247" y="359195"/>
                    <a:pt x="473114" y="482701"/>
                  </a:cubicBezTo>
                  <a:cubicBezTo>
                    <a:pt x="310981" y="606206"/>
                    <a:pt x="-514" y="291661"/>
                    <a:pt x="-514" y="291661"/>
                  </a:cubicBezTo>
                  <a:close/>
                </a:path>
              </a:pathLst>
            </a:custGeom>
            <a:solidFill>
              <a:srgbClr val="981D04"/>
            </a:solidFill>
            <a:ln w="63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90204"/>
                <a:ea typeface="微软雅黑"/>
                <a:cs typeface="+mn-cs"/>
              </a:endParaRPr>
            </a:p>
          </p:txBody>
        </p:sp>
        <p:sp>
          <p:nvSpPr>
            <p:cNvPr id="54" name="任意多边形 48"/>
            <p:cNvSpPr/>
            <p:nvPr/>
          </p:nvSpPr>
          <p:spPr>
            <a:xfrm>
              <a:off x="7926027" y="2682959"/>
              <a:ext cx="248884" cy="276290"/>
            </a:xfrm>
            <a:custGeom>
              <a:avLst/>
              <a:gdLst>
                <a:gd name="connsiteX0" fmla="*/ 109395 w 219819"/>
                <a:gd name="connsiteY0" fmla="*/ 243815 h 244025"/>
                <a:gd name="connsiteX1" fmla="*/ 109395 w 219819"/>
                <a:gd name="connsiteY1" fmla="*/ 243815 h 244025"/>
                <a:gd name="connsiteX2" fmla="*/ -514 w 219819"/>
                <a:gd name="connsiteY2" fmla="*/ 160906 h 244025"/>
                <a:gd name="connsiteX3" fmla="*/ -514 w 219819"/>
                <a:gd name="connsiteY3" fmla="*/ -210 h 244025"/>
                <a:gd name="connsiteX4" fmla="*/ 219305 w 219819"/>
                <a:gd name="connsiteY4" fmla="*/ -210 h 244025"/>
                <a:gd name="connsiteX5" fmla="*/ 219305 w 219819"/>
                <a:gd name="connsiteY5" fmla="*/ 160017 h 244025"/>
                <a:gd name="connsiteX6" fmla="*/ 110602 w 219819"/>
                <a:gd name="connsiteY6" fmla="*/ 243815 h 244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9819" h="244025">
                  <a:moveTo>
                    <a:pt x="109395" y="243815"/>
                  </a:moveTo>
                  <a:lnTo>
                    <a:pt x="109395" y="243815"/>
                  </a:lnTo>
                  <a:cubicBezTo>
                    <a:pt x="48976" y="243815"/>
                    <a:pt x="-197" y="206967"/>
                    <a:pt x="-514" y="160906"/>
                  </a:cubicBezTo>
                  <a:lnTo>
                    <a:pt x="-514" y="-210"/>
                  </a:lnTo>
                  <a:lnTo>
                    <a:pt x="219305" y="-210"/>
                  </a:lnTo>
                  <a:lnTo>
                    <a:pt x="219305" y="160017"/>
                  </a:lnTo>
                  <a:cubicBezTo>
                    <a:pt x="219305" y="206014"/>
                    <a:pt x="170958" y="243498"/>
                    <a:pt x="110602" y="243815"/>
                  </a:cubicBezTo>
                  <a:close/>
                </a:path>
              </a:pathLst>
            </a:custGeom>
            <a:solidFill>
              <a:srgbClr val="FF93B1"/>
            </a:solidFill>
            <a:ln w="63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90204"/>
                <a:ea typeface="微软雅黑"/>
                <a:cs typeface="+mn-cs"/>
              </a:endParaRPr>
            </a:p>
          </p:txBody>
        </p:sp>
        <p:sp>
          <p:nvSpPr>
            <p:cNvPr id="55" name="任意多边形 49"/>
            <p:cNvSpPr/>
            <p:nvPr/>
          </p:nvSpPr>
          <p:spPr>
            <a:xfrm>
              <a:off x="7730087" y="2415564"/>
              <a:ext cx="132524" cy="169000"/>
            </a:xfrm>
            <a:custGeom>
              <a:avLst/>
              <a:gdLst>
                <a:gd name="connsiteX0" fmla="*/ 93764 w 117048"/>
                <a:gd name="connsiteY0" fmla="*/ 41043 h 149264"/>
                <a:gd name="connsiteX1" fmla="*/ 1072 w 117048"/>
                <a:gd name="connsiteY1" fmla="*/ 45490 h 149264"/>
                <a:gd name="connsiteX2" fmla="*/ 95670 w 117048"/>
                <a:gd name="connsiteY2" fmla="*/ 138183 h 149264"/>
                <a:gd name="connsiteX3" fmla="*/ 93764 w 117048"/>
                <a:gd name="connsiteY3" fmla="*/ 41043 h 149264"/>
              </a:gdLst>
              <a:ahLst/>
              <a:cxnLst>
                <a:cxn ang="0">
                  <a:pos x="connsiteX0" y="connsiteY0"/>
                </a:cxn>
                <a:cxn ang="0">
                  <a:pos x="connsiteX1" y="connsiteY1"/>
                </a:cxn>
                <a:cxn ang="0">
                  <a:pos x="connsiteX2" y="connsiteY2"/>
                </a:cxn>
                <a:cxn ang="0">
                  <a:pos x="connsiteX3" y="connsiteY3"/>
                </a:cxn>
              </a:cxnLst>
              <a:rect l="l" t="t" r="r" b="b"/>
              <a:pathLst>
                <a:path w="117048" h="149264">
                  <a:moveTo>
                    <a:pt x="93764" y="41043"/>
                  </a:moveTo>
                  <a:cubicBezTo>
                    <a:pt x="64540" y="-28842"/>
                    <a:pt x="9394" y="2098"/>
                    <a:pt x="1072" y="45490"/>
                  </a:cubicBezTo>
                  <a:cubicBezTo>
                    <a:pt x="-10936" y="108450"/>
                    <a:pt x="47640" y="175857"/>
                    <a:pt x="95670" y="138183"/>
                  </a:cubicBezTo>
                  <a:cubicBezTo>
                    <a:pt x="143700" y="100509"/>
                    <a:pt x="93764" y="41043"/>
                    <a:pt x="93764" y="41043"/>
                  </a:cubicBezTo>
                  <a:close/>
                </a:path>
              </a:pathLst>
            </a:custGeom>
            <a:solidFill>
              <a:srgbClr val="FED0D6"/>
            </a:solidFill>
            <a:ln w="63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90204"/>
                <a:ea typeface="微软雅黑"/>
                <a:cs typeface="+mn-cs"/>
              </a:endParaRPr>
            </a:p>
          </p:txBody>
        </p:sp>
        <p:sp>
          <p:nvSpPr>
            <p:cNvPr id="56" name="任意多边形 50"/>
            <p:cNvSpPr/>
            <p:nvPr/>
          </p:nvSpPr>
          <p:spPr>
            <a:xfrm>
              <a:off x="8248927" y="2523567"/>
              <a:ext cx="148402" cy="155616"/>
            </a:xfrm>
            <a:custGeom>
              <a:avLst/>
              <a:gdLst>
                <a:gd name="connsiteX0" fmla="*/ 44850 w 131071"/>
                <a:gd name="connsiteY0" fmla="*/ 23606 h 137443"/>
                <a:gd name="connsiteX1" fmla="*/ 129474 w 131071"/>
                <a:gd name="connsiteY1" fmla="*/ 61725 h 137443"/>
                <a:gd name="connsiteX2" fmla="*/ 7430 w 131071"/>
                <a:gd name="connsiteY2" fmla="*/ 113122 h 137443"/>
                <a:gd name="connsiteX3" fmla="*/ 44850 w 131071"/>
                <a:gd name="connsiteY3" fmla="*/ 23479 h 137443"/>
              </a:gdLst>
              <a:ahLst/>
              <a:cxnLst>
                <a:cxn ang="0">
                  <a:pos x="connsiteX0" y="connsiteY0"/>
                </a:cxn>
                <a:cxn ang="0">
                  <a:pos x="connsiteX1" y="connsiteY1"/>
                </a:cxn>
                <a:cxn ang="0">
                  <a:pos x="connsiteX2" y="connsiteY2"/>
                </a:cxn>
                <a:cxn ang="0">
                  <a:pos x="connsiteX3" y="connsiteY3"/>
                </a:cxn>
              </a:cxnLst>
              <a:rect l="l" t="t" r="r" b="b"/>
              <a:pathLst>
                <a:path w="131071" h="137443">
                  <a:moveTo>
                    <a:pt x="44850" y="23606"/>
                  </a:moveTo>
                  <a:cubicBezTo>
                    <a:pt x="97708" y="-30396"/>
                    <a:pt x="137734" y="18397"/>
                    <a:pt x="129474" y="61725"/>
                  </a:cubicBezTo>
                  <a:cubicBezTo>
                    <a:pt x="117466" y="124685"/>
                    <a:pt x="38115" y="165790"/>
                    <a:pt x="7430" y="113122"/>
                  </a:cubicBezTo>
                  <a:cubicBezTo>
                    <a:pt x="-23256" y="60455"/>
                    <a:pt x="44850" y="23479"/>
                    <a:pt x="44850" y="23479"/>
                  </a:cubicBezTo>
                  <a:close/>
                </a:path>
              </a:pathLst>
            </a:custGeom>
            <a:solidFill>
              <a:srgbClr val="FED0D6"/>
            </a:solidFill>
            <a:ln w="63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90204"/>
                <a:ea typeface="微软雅黑"/>
                <a:cs typeface="+mn-cs"/>
              </a:endParaRPr>
            </a:p>
          </p:txBody>
        </p:sp>
        <p:sp>
          <p:nvSpPr>
            <p:cNvPr id="57" name="任意多边形 51"/>
            <p:cNvSpPr/>
            <p:nvPr/>
          </p:nvSpPr>
          <p:spPr>
            <a:xfrm>
              <a:off x="7809723" y="2240589"/>
              <a:ext cx="532212" cy="546181"/>
            </a:xfrm>
            <a:custGeom>
              <a:avLst/>
              <a:gdLst>
                <a:gd name="connsiteX0" fmla="*/ 180923 w 470060"/>
                <a:gd name="connsiteY0" fmla="*/ 478301 h 482397"/>
                <a:gd name="connsiteX1" fmla="*/ 29463 w 470060"/>
                <a:gd name="connsiteY1" fmla="*/ 77479 h 482397"/>
                <a:gd name="connsiteX2" fmla="*/ 469484 w 470060"/>
                <a:gd name="connsiteY2" fmla="*/ 161341 h 482397"/>
                <a:gd name="connsiteX3" fmla="*/ 180923 w 470060"/>
                <a:gd name="connsiteY3" fmla="*/ 478301 h 482397"/>
              </a:gdLst>
              <a:ahLst/>
              <a:cxnLst>
                <a:cxn ang="0">
                  <a:pos x="connsiteX0" y="connsiteY0"/>
                </a:cxn>
                <a:cxn ang="0">
                  <a:pos x="connsiteX1" y="connsiteY1"/>
                </a:cxn>
                <a:cxn ang="0">
                  <a:pos x="connsiteX2" y="connsiteY2"/>
                </a:cxn>
                <a:cxn ang="0">
                  <a:pos x="connsiteX3" y="connsiteY3"/>
                </a:cxn>
              </a:cxnLst>
              <a:rect l="l" t="t" r="r" b="b"/>
              <a:pathLst>
                <a:path w="470060" h="482397">
                  <a:moveTo>
                    <a:pt x="180923" y="478301"/>
                  </a:moveTo>
                  <a:cubicBezTo>
                    <a:pt x="19045" y="447488"/>
                    <a:pt x="-42962" y="252065"/>
                    <a:pt x="29463" y="77479"/>
                  </a:cubicBezTo>
                  <a:cubicBezTo>
                    <a:pt x="89247" y="-66293"/>
                    <a:pt x="466880" y="5688"/>
                    <a:pt x="469484" y="161341"/>
                  </a:cubicBezTo>
                  <a:cubicBezTo>
                    <a:pt x="472788" y="350348"/>
                    <a:pt x="342929" y="509304"/>
                    <a:pt x="180923" y="478301"/>
                  </a:cubicBezTo>
                  <a:close/>
                </a:path>
              </a:pathLst>
            </a:custGeom>
            <a:solidFill>
              <a:srgbClr val="FED0D6"/>
            </a:solidFill>
            <a:ln w="63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90204"/>
                <a:ea typeface="微软雅黑"/>
                <a:cs typeface="+mn-cs"/>
              </a:endParaRPr>
            </a:p>
          </p:txBody>
        </p:sp>
        <p:sp>
          <p:nvSpPr>
            <p:cNvPr id="58" name="任意多边形 52"/>
            <p:cNvSpPr/>
            <p:nvPr/>
          </p:nvSpPr>
          <p:spPr>
            <a:xfrm>
              <a:off x="7789201" y="2165401"/>
              <a:ext cx="375782" cy="560573"/>
            </a:xfrm>
            <a:custGeom>
              <a:avLst/>
              <a:gdLst>
                <a:gd name="connsiteX0" fmla="*/ 331384 w 331898"/>
                <a:gd name="connsiteY0" fmla="*/ 36709 h 495109"/>
                <a:gd name="connsiteX1" fmla="*/ 61184 w 331898"/>
                <a:gd name="connsiteY1" fmla="*/ 494899 h 495109"/>
                <a:gd name="connsiteX2" fmla="*/ 61184 w 331898"/>
                <a:gd name="connsiteY2" fmla="*/ 494899 h 495109"/>
                <a:gd name="connsiteX3" fmla="*/ 42633 w 331898"/>
                <a:gd name="connsiteY3" fmla="*/ 73430 h 495109"/>
                <a:gd name="connsiteX4" fmla="*/ 331384 w 331898"/>
                <a:gd name="connsiteY4" fmla="*/ 36709 h 495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898" h="495109">
                  <a:moveTo>
                    <a:pt x="331384" y="36709"/>
                  </a:moveTo>
                  <a:cubicBezTo>
                    <a:pt x="45491" y="74002"/>
                    <a:pt x="40409" y="335308"/>
                    <a:pt x="61184" y="494899"/>
                  </a:cubicBezTo>
                  <a:lnTo>
                    <a:pt x="61184" y="494899"/>
                  </a:lnTo>
                  <a:cubicBezTo>
                    <a:pt x="61184" y="494899"/>
                    <a:pt x="-64292" y="213962"/>
                    <a:pt x="42633" y="73430"/>
                  </a:cubicBezTo>
                  <a:cubicBezTo>
                    <a:pt x="149556" y="-67102"/>
                    <a:pt x="331384" y="36709"/>
                    <a:pt x="331384" y="36709"/>
                  </a:cubicBezTo>
                  <a:close/>
                </a:path>
              </a:pathLst>
            </a:custGeom>
            <a:solidFill>
              <a:srgbClr val="981D04"/>
            </a:solidFill>
            <a:ln w="63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90204"/>
                <a:ea typeface="微软雅黑"/>
                <a:cs typeface="+mn-cs"/>
              </a:endParaRPr>
            </a:p>
          </p:txBody>
        </p:sp>
        <p:sp>
          <p:nvSpPr>
            <p:cNvPr id="59" name="任意多边形 53"/>
            <p:cNvSpPr/>
            <p:nvPr/>
          </p:nvSpPr>
          <p:spPr>
            <a:xfrm>
              <a:off x="7703109" y="2838260"/>
              <a:ext cx="683282" cy="765140"/>
            </a:xfrm>
            <a:custGeom>
              <a:avLst/>
              <a:gdLst>
                <a:gd name="connsiteX0" fmla="*/ 602973 w 603487"/>
                <a:gd name="connsiteY0" fmla="*/ 61225 h 675786"/>
                <a:gd name="connsiteX1" fmla="*/ 415491 w 603487"/>
                <a:gd name="connsiteY1" fmla="*/ -210 h 675786"/>
                <a:gd name="connsiteX2" fmla="*/ 302532 w 603487"/>
                <a:gd name="connsiteY2" fmla="*/ 86828 h 675786"/>
                <a:gd name="connsiteX3" fmla="*/ 299927 w 603487"/>
                <a:gd name="connsiteY3" fmla="*/ 86828 h 675786"/>
                <a:gd name="connsiteX4" fmla="*/ 197260 w 603487"/>
                <a:gd name="connsiteY4" fmla="*/ -210 h 675786"/>
                <a:gd name="connsiteX5" fmla="*/ -514 w 603487"/>
                <a:gd name="connsiteY5" fmla="*/ 61225 h 675786"/>
                <a:gd name="connsiteX6" fmla="*/ 24898 w 603487"/>
                <a:gd name="connsiteY6" fmla="*/ 268529 h 675786"/>
                <a:gd name="connsiteX7" fmla="*/ 50311 w 603487"/>
                <a:gd name="connsiteY7" fmla="*/ 406774 h 675786"/>
                <a:gd name="connsiteX8" fmla="*/ 88811 w 603487"/>
                <a:gd name="connsiteY8" fmla="*/ 675577 h 675786"/>
                <a:gd name="connsiteX9" fmla="*/ 512504 w 603487"/>
                <a:gd name="connsiteY9" fmla="*/ 675577 h 675786"/>
                <a:gd name="connsiteX10" fmla="*/ 553609 w 603487"/>
                <a:gd name="connsiteY10" fmla="*/ 406774 h 675786"/>
                <a:gd name="connsiteX11" fmla="*/ 576735 w 603487"/>
                <a:gd name="connsiteY11" fmla="*/ 268529 h 675786"/>
                <a:gd name="connsiteX12" fmla="*/ 602147 w 603487"/>
                <a:gd name="connsiteY12" fmla="*/ 61225 h 675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03487" h="675786">
                  <a:moveTo>
                    <a:pt x="602973" y="61225"/>
                  </a:moveTo>
                  <a:lnTo>
                    <a:pt x="415491" y="-210"/>
                  </a:lnTo>
                  <a:cubicBezTo>
                    <a:pt x="400116" y="66308"/>
                    <a:pt x="315365" y="86828"/>
                    <a:pt x="302532" y="86828"/>
                  </a:cubicBezTo>
                  <a:lnTo>
                    <a:pt x="299927" y="86828"/>
                  </a:lnTo>
                  <a:cubicBezTo>
                    <a:pt x="287220" y="86828"/>
                    <a:pt x="212634" y="66308"/>
                    <a:pt x="197260" y="-210"/>
                  </a:cubicBezTo>
                  <a:lnTo>
                    <a:pt x="-514" y="61225"/>
                  </a:lnTo>
                  <a:lnTo>
                    <a:pt x="24898" y="268529"/>
                  </a:lnTo>
                  <a:cubicBezTo>
                    <a:pt x="24898" y="268529"/>
                    <a:pt x="9460" y="347880"/>
                    <a:pt x="50311" y="406774"/>
                  </a:cubicBezTo>
                  <a:cubicBezTo>
                    <a:pt x="88811" y="463063"/>
                    <a:pt x="88811" y="675577"/>
                    <a:pt x="88811" y="675577"/>
                  </a:cubicBezTo>
                  <a:lnTo>
                    <a:pt x="512504" y="675577"/>
                  </a:lnTo>
                  <a:cubicBezTo>
                    <a:pt x="512504" y="675577"/>
                    <a:pt x="512504" y="463063"/>
                    <a:pt x="553609" y="406774"/>
                  </a:cubicBezTo>
                  <a:cubicBezTo>
                    <a:pt x="592109" y="347880"/>
                    <a:pt x="576735" y="268529"/>
                    <a:pt x="576735" y="268529"/>
                  </a:cubicBezTo>
                  <a:lnTo>
                    <a:pt x="602147" y="61225"/>
                  </a:lnTo>
                  <a:close/>
                </a:path>
              </a:pathLst>
            </a:custGeom>
            <a:solidFill>
              <a:srgbClr val="F93F57"/>
            </a:solidFill>
            <a:ln w="63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90204"/>
                <a:ea typeface="微软雅黑"/>
                <a:cs typeface="+mn-cs"/>
              </a:endParaRPr>
            </a:p>
          </p:txBody>
        </p:sp>
        <p:sp>
          <p:nvSpPr>
            <p:cNvPr id="60" name="任意多边形 54"/>
            <p:cNvSpPr/>
            <p:nvPr/>
          </p:nvSpPr>
          <p:spPr>
            <a:xfrm>
              <a:off x="7668222" y="2246131"/>
              <a:ext cx="203061" cy="147805"/>
            </a:xfrm>
            <a:custGeom>
              <a:avLst/>
              <a:gdLst>
                <a:gd name="connsiteX0" fmla="*/ -514 w 179347"/>
                <a:gd name="connsiteY0" fmla="*/ 71186 h 130544"/>
                <a:gd name="connsiteX1" fmla="*/ 171784 w 179347"/>
                <a:gd name="connsiteY1" fmla="*/ 4287 h 130544"/>
                <a:gd name="connsiteX2" fmla="*/ 43195 w 179347"/>
                <a:gd name="connsiteY2" fmla="*/ 130334 h 130544"/>
                <a:gd name="connsiteX3" fmla="*/ -514 w 179347"/>
                <a:gd name="connsiteY3" fmla="*/ 71186 h 130544"/>
              </a:gdLst>
              <a:ahLst/>
              <a:cxnLst>
                <a:cxn ang="0">
                  <a:pos x="connsiteX0" y="connsiteY0"/>
                </a:cxn>
                <a:cxn ang="0">
                  <a:pos x="connsiteX1" y="connsiteY1"/>
                </a:cxn>
                <a:cxn ang="0">
                  <a:pos x="connsiteX2" y="connsiteY2"/>
                </a:cxn>
                <a:cxn ang="0">
                  <a:pos x="connsiteX3" y="connsiteY3"/>
                </a:cxn>
              </a:cxnLst>
              <a:rect l="l" t="t" r="r" b="b"/>
              <a:pathLst>
                <a:path w="179347" h="130544">
                  <a:moveTo>
                    <a:pt x="-514" y="71186"/>
                  </a:moveTo>
                  <a:cubicBezTo>
                    <a:pt x="-514" y="71186"/>
                    <a:pt x="146053" y="-21379"/>
                    <a:pt x="171784" y="4287"/>
                  </a:cubicBezTo>
                  <a:cubicBezTo>
                    <a:pt x="197196" y="27477"/>
                    <a:pt x="153804" y="73728"/>
                    <a:pt x="43195" y="130334"/>
                  </a:cubicBezTo>
                  <a:lnTo>
                    <a:pt x="-514" y="71186"/>
                  </a:lnTo>
                  <a:close/>
                </a:path>
              </a:pathLst>
            </a:custGeom>
            <a:solidFill>
              <a:srgbClr val="FED0D6"/>
            </a:solidFill>
            <a:ln w="63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90204"/>
                <a:ea typeface="微软雅黑"/>
                <a:cs typeface="+mn-cs"/>
              </a:endParaRPr>
            </a:p>
          </p:txBody>
        </p:sp>
        <p:sp>
          <p:nvSpPr>
            <p:cNvPr id="61" name="任意多边形 55"/>
            <p:cNvSpPr/>
            <p:nvPr/>
          </p:nvSpPr>
          <p:spPr>
            <a:xfrm>
              <a:off x="7253337" y="2273163"/>
              <a:ext cx="519616" cy="812040"/>
            </a:xfrm>
            <a:custGeom>
              <a:avLst/>
              <a:gdLst>
                <a:gd name="connsiteX0" fmla="*/ 396859 w 458935"/>
                <a:gd name="connsiteY0" fmla="*/ 560775 h 717209"/>
                <a:gd name="connsiteX1" fmla="*/ 147942 w 458935"/>
                <a:gd name="connsiteY1" fmla="*/ 358426 h 717209"/>
                <a:gd name="connsiteX2" fmla="*/ 458421 w 458935"/>
                <a:gd name="connsiteY2" fmla="*/ 107349 h 717209"/>
                <a:gd name="connsiteX3" fmla="*/ 409628 w 458935"/>
                <a:gd name="connsiteY3" fmla="*/ -210 h 717209"/>
                <a:gd name="connsiteX4" fmla="*/ 4297 w 458935"/>
                <a:gd name="connsiteY4" fmla="*/ 348134 h 717209"/>
                <a:gd name="connsiteX5" fmla="*/ 417253 w 458935"/>
                <a:gd name="connsiteY5" fmla="*/ 716999 h 717209"/>
                <a:gd name="connsiteX6" fmla="*/ 396732 w 458935"/>
                <a:gd name="connsiteY6" fmla="*/ 560775 h 717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8935" h="717209">
                  <a:moveTo>
                    <a:pt x="396859" y="560775"/>
                  </a:moveTo>
                  <a:cubicBezTo>
                    <a:pt x="396859" y="560775"/>
                    <a:pt x="158234" y="399404"/>
                    <a:pt x="147942" y="358426"/>
                  </a:cubicBezTo>
                  <a:cubicBezTo>
                    <a:pt x="137713" y="320307"/>
                    <a:pt x="458421" y="107349"/>
                    <a:pt x="458421" y="107349"/>
                  </a:cubicBezTo>
                  <a:lnTo>
                    <a:pt x="409628" y="-210"/>
                  </a:lnTo>
                  <a:cubicBezTo>
                    <a:pt x="409628" y="-210"/>
                    <a:pt x="47879" y="230346"/>
                    <a:pt x="4297" y="348134"/>
                  </a:cubicBezTo>
                  <a:cubicBezTo>
                    <a:pt x="-41891" y="465986"/>
                    <a:pt x="255691" y="696542"/>
                    <a:pt x="417253" y="716999"/>
                  </a:cubicBezTo>
                  <a:lnTo>
                    <a:pt x="396732" y="560775"/>
                  </a:lnTo>
                  <a:close/>
                </a:path>
              </a:pathLst>
            </a:custGeom>
            <a:solidFill>
              <a:srgbClr val="F93F57"/>
            </a:solidFill>
            <a:ln w="63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90204"/>
                <a:ea typeface="微软雅黑"/>
                <a:cs typeface="+mn-cs"/>
              </a:endParaRPr>
            </a:p>
          </p:txBody>
        </p:sp>
        <p:sp>
          <p:nvSpPr>
            <p:cNvPr id="62" name="任意多边形 56"/>
            <p:cNvSpPr/>
            <p:nvPr/>
          </p:nvSpPr>
          <p:spPr>
            <a:xfrm>
              <a:off x="7861504" y="4281217"/>
              <a:ext cx="152998" cy="1017478"/>
            </a:xfrm>
            <a:custGeom>
              <a:avLst/>
              <a:gdLst>
                <a:gd name="connsiteX0" fmla="*/ 126555 w 135131"/>
                <a:gd name="connsiteY0" fmla="*/ 898656 h 898656"/>
                <a:gd name="connsiteX1" fmla="*/ 0 w 135131"/>
                <a:gd name="connsiteY1" fmla="*/ 898656 h 898656"/>
                <a:gd name="connsiteX2" fmla="*/ 0 w 135131"/>
                <a:gd name="connsiteY2" fmla="*/ 0 h 898656"/>
                <a:gd name="connsiteX3" fmla="*/ 135132 w 135131"/>
                <a:gd name="connsiteY3" fmla="*/ 0 h 898656"/>
                <a:gd name="connsiteX4" fmla="*/ 126555 w 135131"/>
                <a:gd name="connsiteY4" fmla="*/ 898656 h 898656"/>
                <a:gd name="connsiteX5" fmla="*/ 126555 w 135131"/>
                <a:gd name="connsiteY5" fmla="*/ 898656 h 898656"/>
                <a:gd name="connsiteX6" fmla="*/ 126555 w 135131"/>
                <a:gd name="connsiteY6" fmla="*/ 898656 h 898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5131" h="898656">
                  <a:moveTo>
                    <a:pt x="126555" y="898656"/>
                  </a:moveTo>
                  <a:lnTo>
                    <a:pt x="0" y="898656"/>
                  </a:lnTo>
                  <a:lnTo>
                    <a:pt x="0" y="0"/>
                  </a:lnTo>
                  <a:lnTo>
                    <a:pt x="135132" y="0"/>
                  </a:lnTo>
                  <a:lnTo>
                    <a:pt x="126555" y="898656"/>
                  </a:lnTo>
                  <a:lnTo>
                    <a:pt x="126555" y="898656"/>
                  </a:lnTo>
                  <a:lnTo>
                    <a:pt x="126555" y="898656"/>
                  </a:lnTo>
                  <a:close/>
                </a:path>
              </a:pathLst>
            </a:custGeom>
            <a:solidFill>
              <a:srgbClr val="FED0D6"/>
            </a:solidFill>
            <a:ln w="63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90204"/>
                <a:ea typeface="微软雅黑"/>
                <a:cs typeface="+mn-cs"/>
              </a:endParaRPr>
            </a:p>
          </p:txBody>
        </p:sp>
        <p:sp>
          <p:nvSpPr>
            <p:cNvPr id="63" name="任意多边形 57"/>
            <p:cNvSpPr/>
            <p:nvPr/>
          </p:nvSpPr>
          <p:spPr>
            <a:xfrm>
              <a:off x="7703109" y="5287978"/>
              <a:ext cx="316405" cy="123506"/>
            </a:xfrm>
            <a:custGeom>
              <a:avLst/>
              <a:gdLst>
                <a:gd name="connsiteX0" fmla="*/ 264603 w 279455"/>
                <a:gd name="connsiteY0" fmla="*/ -210 h 109083"/>
                <a:gd name="connsiteX1" fmla="*/ 138493 w 279455"/>
                <a:gd name="connsiteY1" fmla="*/ -210 h 109083"/>
                <a:gd name="connsiteX2" fmla="*/ -514 w 279455"/>
                <a:gd name="connsiteY2" fmla="*/ 96168 h 109083"/>
                <a:gd name="connsiteX3" fmla="*/ -514 w 279455"/>
                <a:gd name="connsiteY3" fmla="*/ 108874 h 109083"/>
                <a:gd name="connsiteX4" fmla="*/ 277500 w 279455"/>
                <a:gd name="connsiteY4" fmla="*/ 108874 h 109083"/>
                <a:gd name="connsiteX5" fmla="*/ 264794 w 279455"/>
                <a:gd name="connsiteY5" fmla="*/ -210 h 109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9455" h="109083">
                  <a:moveTo>
                    <a:pt x="264603" y="-210"/>
                  </a:moveTo>
                  <a:lnTo>
                    <a:pt x="138493" y="-210"/>
                  </a:lnTo>
                  <a:cubicBezTo>
                    <a:pt x="138493" y="-210"/>
                    <a:pt x="12382" y="68277"/>
                    <a:pt x="-514" y="96168"/>
                  </a:cubicBezTo>
                  <a:lnTo>
                    <a:pt x="-514" y="108874"/>
                  </a:lnTo>
                  <a:lnTo>
                    <a:pt x="277500" y="108874"/>
                  </a:lnTo>
                  <a:cubicBezTo>
                    <a:pt x="277500" y="108874"/>
                    <a:pt x="285251" y="27681"/>
                    <a:pt x="264794" y="-210"/>
                  </a:cubicBezTo>
                  <a:close/>
                </a:path>
              </a:pathLst>
            </a:custGeom>
            <a:solidFill>
              <a:srgbClr val="F93F57"/>
            </a:solidFill>
            <a:ln w="63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90204"/>
                <a:ea typeface="微软雅黑"/>
                <a:cs typeface="+mn-cs"/>
              </a:endParaRPr>
            </a:p>
          </p:txBody>
        </p:sp>
        <p:sp>
          <p:nvSpPr>
            <p:cNvPr id="64" name="任意多边形 58"/>
            <p:cNvSpPr/>
            <p:nvPr/>
          </p:nvSpPr>
          <p:spPr>
            <a:xfrm>
              <a:off x="7703109" y="5411484"/>
              <a:ext cx="314126" cy="18773"/>
            </a:xfrm>
            <a:custGeom>
              <a:avLst/>
              <a:gdLst>
                <a:gd name="connsiteX0" fmla="*/ 0 w 277442"/>
                <a:gd name="connsiteY0" fmla="*/ 0 h 16581"/>
                <a:gd name="connsiteX1" fmla="*/ 277443 w 277442"/>
                <a:gd name="connsiteY1" fmla="*/ 0 h 16581"/>
                <a:gd name="connsiteX2" fmla="*/ 277443 w 277442"/>
                <a:gd name="connsiteY2" fmla="*/ 16582 h 16581"/>
                <a:gd name="connsiteX3" fmla="*/ 0 w 277442"/>
                <a:gd name="connsiteY3" fmla="*/ 16582 h 16581"/>
                <a:gd name="connsiteX4" fmla="*/ 0 w 277442"/>
                <a:gd name="connsiteY4" fmla="*/ 0 h 16581"/>
                <a:gd name="connsiteX5" fmla="*/ 0 w 277442"/>
                <a:gd name="connsiteY5" fmla="*/ 0 h 16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442" h="16581">
                  <a:moveTo>
                    <a:pt x="0" y="0"/>
                  </a:moveTo>
                  <a:lnTo>
                    <a:pt x="277443" y="0"/>
                  </a:lnTo>
                  <a:lnTo>
                    <a:pt x="277443" y="16582"/>
                  </a:lnTo>
                  <a:lnTo>
                    <a:pt x="0" y="16582"/>
                  </a:lnTo>
                  <a:lnTo>
                    <a:pt x="0" y="0"/>
                  </a:lnTo>
                  <a:lnTo>
                    <a:pt x="0" y="0"/>
                  </a:lnTo>
                  <a:close/>
                </a:path>
              </a:pathLst>
            </a:custGeom>
            <a:solidFill>
              <a:srgbClr val="981D04"/>
            </a:solidFill>
            <a:ln w="63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90204"/>
                <a:ea typeface="微软雅黑"/>
                <a:cs typeface="+mn-cs"/>
              </a:endParaRPr>
            </a:p>
          </p:txBody>
        </p:sp>
        <p:sp>
          <p:nvSpPr>
            <p:cNvPr id="65" name="任意多边形 59"/>
            <p:cNvSpPr/>
            <p:nvPr/>
          </p:nvSpPr>
          <p:spPr>
            <a:xfrm>
              <a:off x="8074926" y="4281217"/>
              <a:ext cx="154366" cy="1017478"/>
            </a:xfrm>
            <a:custGeom>
              <a:avLst/>
              <a:gdLst>
                <a:gd name="connsiteX0" fmla="*/ 8704 w 136339"/>
                <a:gd name="connsiteY0" fmla="*/ 898656 h 898656"/>
                <a:gd name="connsiteX1" fmla="*/ 136339 w 136339"/>
                <a:gd name="connsiteY1" fmla="*/ 898656 h 898656"/>
                <a:gd name="connsiteX2" fmla="*/ 136339 w 136339"/>
                <a:gd name="connsiteY2" fmla="*/ 0 h 898656"/>
                <a:gd name="connsiteX3" fmla="*/ 0 w 136339"/>
                <a:gd name="connsiteY3" fmla="*/ 0 h 898656"/>
                <a:gd name="connsiteX4" fmla="*/ 8704 w 136339"/>
                <a:gd name="connsiteY4" fmla="*/ 898656 h 898656"/>
                <a:gd name="connsiteX5" fmla="*/ 8704 w 136339"/>
                <a:gd name="connsiteY5" fmla="*/ 898656 h 898656"/>
                <a:gd name="connsiteX6" fmla="*/ 8704 w 136339"/>
                <a:gd name="connsiteY6" fmla="*/ 898656 h 898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339" h="898656">
                  <a:moveTo>
                    <a:pt x="8704" y="898656"/>
                  </a:moveTo>
                  <a:lnTo>
                    <a:pt x="136339" y="898656"/>
                  </a:lnTo>
                  <a:lnTo>
                    <a:pt x="136339" y="0"/>
                  </a:lnTo>
                  <a:lnTo>
                    <a:pt x="0" y="0"/>
                  </a:lnTo>
                  <a:lnTo>
                    <a:pt x="8704" y="898656"/>
                  </a:lnTo>
                  <a:lnTo>
                    <a:pt x="8704" y="898656"/>
                  </a:lnTo>
                  <a:lnTo>
                    <a:pt x="8704" y="898656"/>
                  </a:lnTo>
                  <a:close/>
                </a:path>
              </a:pathLst>
            </a:custGeom>
            <a:solidFill>
              <a:srgbClr val="FED0D6"/>
            </a:solidFill>
            <a:ln w="63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90204"/>
                <a:ea typeface="微软雅黑"/>
                <a:cs typeface="+mn-cs"/>
              </a:endParaRPr>
            </a:p>
          </p:txBody>
        </p:sp>
        <p:sp>
          <p:nvSpPr>
            <p:cNvPr id="66" name="任意多边形 60"/>
            <p:cNvSpPr/>
            <p:nvPr/>
          </p:nvSpPr>
          <p:spPr>
            <a:xfrm>
              <a:off x="8073764" y="5287978"/>
              <a:ext cx="312627" cy="123506"/>
            </a:xfrm>
            <a:custGeom>
              <a:avLst/>
              <a:gdLst>
                <a:gd name="connsiteX0" fmla="*/ 11376 w 276118"/>
                <a:gd name="connsiteY0" fmla="*/ -210 h 109083"/>
                <a:gd name="connsiteX1" fmla="*/ 139646 w 276118"/>
                <a:gd name="connsiteY1" fmla="*/ -210 h 109083"/>
                <a:gd name="connsiteX2" fmla="*/ 275604 w 276118"/>
                <a:gd name="connsiteY2" fmla="*/ 96168 h 109083"/>
                <a:gd name="connsiteX3" fmla="*/ 275604 w 276118"/>
                <a:gd name="connsiteY3" fmla="*/ 108874 h 109083"/>
                <a:gd name="connsiteX4" fmla="*/ 1147 w 276118"/>
                <a:gd name="connsiteY4" fmla="*/ 108874 h 109083"/>
                <a:gd name="connsiteX5" fmla="*/ 11376 w 276118"/>
                <a:gd name="connsiteY5" fmla="*/ -210 h 109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6118" h="109083">
                  <a:moveTo>
                    <a:pt x="11376" y="-210"/>
                  </a:moveTo>
                  <a:lnTo>
                    <a:pt x="139646" y="-210"/>
                  </a:lnTo>
                  <a:cubicBezTo>
                    <a:pt x="139646" y="-210"/>
                    <a:pt x="262771" y="68277"/>
                    <a:pt x="275604" y="96168"/>
                  </a:cubicBezTo>
                  <a:lnTo>
                    <a:pt x="275604" y="108874"/>
                  </a:lnTo>
                  <a:lnTo>
                    <a:pt x="1147" y="108874"/>
                  </a:lnTo>
                  <a:cubicBezTo>
                    <a:pt x="1147" y="108874"/>
                    <a:pt x="-6604" y="27681"/>
                    <a:pt x="11376" y="-210"/>
                  </a:cubicBezTo>
                  <a:close/>
                </a:path>
              </a:pathLst>
            </a:custGeom>
            <a:solidFill>
              <a:srgbClr val="F93F57"/>
            </a:solidFill>
            <a:ln w="63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90204"/>
                <a:ea typeface="微软雅黑"/>
                <a:cs typeface="+mn-cs"/>
              </a:endParaRPr>
            </a:p>
          </p:txBody>
        </p:sp>
        <p:sp>
          <p:nvSpPr>
            <p:cNvPr id="67" name="任意多边形 61"/>
            <p:cNvSpPr/>
            <p:nvPr/>
          </p:nvSpPr>
          <p:spPr>
            <a:xfrm>
              <a:off x="8074926" y="5411484"/>
              <a:ext cx="311393" cy="18773"/>
            </a:xfrm>
            <a:custGeom>
              <a:avLst/>
              <a:gdLst>
                <a:gd name="connsiteX0" fmla="*/ 0 w 275028"/>
                <a:gd name="connsiteY0" fmla="*/ 0 h 16581"/>
                <a:gd name="connsiteX1" fmla="*/ 275029 w 275028"/>
                <a:gd name="connsiteY1" fmla="*/ 0 h 16581"/>
                <a:gd name="connsiteX2" fmla="*/ 275029 w 275028"/>
                <a:gd name="connsiteY2" fmla="*/ 16582 h 16581"/>
                <a:gd name="connsiteX3" fmla="*/ 0 w 275028"/>
                <a:gd name="connsiteY3" fmla="*/ 16582 h 16581"/>
                <a:gd name="connsiteX4" fmla="*/ 0 w 275028"/>
                <a:gd name="connsiteY4" fmla="*/ 0 h 16581"/>
                <a:gd name="connsiteX5" fmla="*/ 0 w 275028"/>
                <a:gd name="connsiteY5" fmla="*/ 0 h 16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5028" h="16581">
                  <a:moveTo>
                    <a:pt x="0" y="0"/>
                  </a:moveTo>
                  <a:lnTo>
                    <a:pt x="275029" y="0"/>
                  </a:lnTo>
                  <a:lnTo>
                    <a:pt x="275029" y="16582"/>
                  </a:lnTo>
                  <a:lnTo>
                    <a:pt x="0" y="16582"/>
                  </a:lnTo>
                  <a:lnTo>
                    <a:pt x="0" y="0"/>
                  </a:lnTo>
                  <a:lnTo>
                    <a:pt x="0" y="0"/>
                  </a:lnTo>
                  <a:close/>
                </a:path>
              </a:pathLst>
            </a:custGeom>
            <a:solidFill>
              <a:srgbClr val="981D04"/>
            </a:solidFill>
            <a:ln w="63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90204"/>
                <a:ea typeface="微软雅黑"/>
                <a:cs typeface="+mn-cs"/>
              </a:endParaRPr>
            </a:p>
          </p:txBody>
        </p:sp>
        <p:sp>
          <p:nvSpPr>
            <p:cNvPr id="68" name="任意多边形 62"/>
            <p:cNvSpPr/>
            <p:nvPr/>
          </p:nvSpPr>
          <p:spPr>
            <a:xfrm>
              <a:off x="7564855" y="3584555"/>
              <a:ext cx="961084" cy="1110846"/>
            </a:xfrm>
            <a:custGeom>
              <a:avLst/>
              <a:gdLst>
                <a:gd name="connsiteX0" fmla="*/ 635502 w 848847"/>
                <a:gd name="connsiteY0" fmla="*/ -210 h 981120"/>
                <a:gd name="connsiteX1" fmla="*/ 212380 w 848847"/>
                <a:gd name="connsiteY1" fmla="*/ -210 h 981120"/>
                <a:gd name="connsiteX2" fmla="*/ -514 w 848847"/>
                <a:gd name="connsiteY2" fmla="*/ 980910 h 981120"/>
                <a:gd name="connsiteX3" fmla="*/ 848334 w 848847"/>
                <a:gd name="connsiteY3" fmla="*/ 980910 h 981120"/>
                <a:gd name="connsiteX4" fmla="*/ 635502 w 848847"/>
                <a:gd name="connsiteY4" fmla="*/ -210 h 981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8847" h="981120">
                  <a:moveTo>
                    <a:pt x="635502" y="-210"/>
                  </a:moveTo>
                  <a:lnTo>
                    <a:pt x="212380" y="-210"/>
                  </a:lnTo>
                  <a:cubicBezTo>
                    <a:pt x="12319" y="253281"/>
                    <a:pt x="-514" y="980910"/>
                    <a:pt x="-514" y="980910"/>
                  </a:cubicBezTo>
                  <a:lnTo>
                    <a:pt x="848334" y="980910"/>
                  </a:lnTo>
                  <a:cubicBezTo>
                    <a:pt x="848334" y="980910"/>
                    <a:pt x="838104" y="253281"/>
                    <a:pt x="635502" y="-210"/>
                  </a:cubicBezTo>
                  <a:close/>
                </a:path>
              </a:pathLst>
            </a:custGeom>
            <a:solidFill>
              <a:srgbClr val="434CC0"/>
            </a:solidFill>
            <a:ln w="63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90204"/>
                <a:ea typeface="微软雅黑"/>
                <a:cs typeface="+mn-cs"/>
              </a:endParaRPr>
            </a:p>
          </p:txBody>
        </p:sp>
        <p:sp>
          <p:nvSpPr>
            <p:cNvPr id="69" name="任意多边形 63"/>
            <p:cNvSpPr/>
            <p:nvPr/>
          </p:nvSpPr>
          <p:spPr>
            <a:xfrm>
              <a:off x="6993099" y="2948350"/>
              <a:ext cx="1467130" cy="1769867"/>
            </a:xfrm>
            <a:custGeom>
              <a:avLst/>
              <a:gdLst>
                <a:gd name="connsiteX0" fmla="*/ 927593 w 1295797"/>
                <a:gd name="connsiteY0" fmla="*/ 878849 h 1563180"/>
                <a:gd name="connsiteX1" fmla="*/ 1022891 w 1295797"/>
                <a:gd name="connsiteY1" fmla="*/ 1014617 h 1563180"/>
                <a:gd name="connsiteX2" fmla="*/ 992077 w 1295797"/>
                <a:gd name="connsiteY2" fmla="*/ 1186152 h 1563180"/>
                <a:gd name="connsiteX3" fmla="*/ 821876 w 1295797"/>
                <a:gd name="connsiteY3" fmla="*/ 1157900 h 1563180"/>
                <a:gd name="connsiteX4" fmla="*/ 820161 w 1295797"/>
                <a:gd name="connsiteY4" fmla="*/ 1155403 h 1563180"/>
                <a:gd name="connsiteX5" fmla="*/ 668447 w 1295797"/>
                <a:gd name="connsiteY5" fmla="*/ 940348 h 1563180"/>
                <a:gd name="connsiteX6" fmla="*/ 668447 w 1295797"/>
                <a:gd name="connsiteY6" fmla="*/ 935202 h 1563180"/>
                <a:gd name="connsiteX7" fmla="*/ 663300 w 1295797"/>
                <a:gd name="connsiteY7" fmla="*/ 932661 h 1563180"/>
                <a:gd name="connsiteX8" fmla="*/ 694114 w 1295797"/>
                <a:gd name="connsiteY8" fmla="*/ 761125 h 1563180"/>
                <a:gd name="connsiteX9" fmla="*/ 765968 w 1295797"/>
                <a:gd name="connsiteY9" fmla="*/ 364243 h 1563180"/>
                <a:gd name="connsiteX10" fmla="*/ 368196 w 1295797"/>
                <a:gd name="connsiteY10" fmla="*/ 297661 h 1563180"/>
                <a:gd name="connsiteX11" fmla="*/ 250154 w 1295797"/>
                <a:gd name="connsiteY11" fmla="*/ 551153 h 1563180"/>
                <a:gd name="connsiteX12" fmla="*/ 134780 w 1295797"/>
                <a:gd name="connsiteY12" fmla="*/ 686793 h 1563180"/>
                <a:gd name="connsiteX13" fmla="*/ 1364 w 1295797"/>
                <a:gd name="connsiteY13" fmla="*/ 574152 h 1563180"/>
                <a:gd name="connsiteX14" fmla="*/ 224614 w 1295797"/>
                <a:gd name="connsiteY14" fmla="*/ 95313 h 1563180"/>
                <a:gd name="connsiteX15" fmla="*/ 966156 w 1295797"/>
                <a:gd name="connsiteY15" fmla="*/ 223329 h 1563180"/>
                <a:gd name="connsiteX16" fmla="*/ 927657 w 1295797"/>
                <a:gd name="connsiteY16" fmla="*/ 878849 h 1563180"/>
                <a:gd name="connsiteX17" fmla="*/ 1245823 w 1295797"/>
                <a:gd name="connsiteY17" fmla="*/ 1332149 h 1563180"/>
                <a:gd name="connsiteX18" fmla="*/ 1271236 w 1295797"/>
                <a:gd name="connsiteY18" fmla="*/ 1367980 h 1563180"/>
                <a:gd name="connsiteX19" fmla="*/ 1242965 w 1295797"/>
                <a:gd name="connsiteY19" fmla="*/ 1542121 h 1563180"/>
                <a:gd name="connsiteX20" fmla="*/ 1068506 w 1295797"/>
                <a:gd name="connsiteY20" fmla="*/ 1511371 h 1563180"/>
                <a:gd name="connsiteX21" fmla="*/ 1043093 w 1295797"/>
                <a:gd name="connsiteY21" fmla="*/ 1473252 h 1563180"/>
                <a:gd name="connsiteX22" fmla="*/ 1073906 w 1295797"/>
                <a:gd name="connsiteY22" fmla="*/ 1301717 h 1563180"/>
                <a:gd name="connsiteX23" fmla="*/ 1242583 w 1295797"/>
                <a:gd name="connsiteY23" fmla="*/ 1327847 h 1563180"/>
                <a:gd name="connsiteX24" fmla="*/ 1245823 w 1295797"/>
                <a:gd name="connsiteY24" fmla="*/ 1332466 h 1563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95797" h="1563180">
                  <a:moveTo>
                    <a:pt x="927593" y="878849"/>
                  </a:moveTo>
                  <a:lnTo>
                    <a:pt x="1022891" y="1014617"/>
                  </a:lnTo>
                  <a:cubicBezTo>
                    <a:pt x="1063932" y="1070906"/>
                    <a:pt x="1051098" y="1145174"/>
                    <a:pt x="992077" y="1186152"/>
                  </a:cubicBezTo>
                  <a:cubicBezTo>
                    <a:pt x="937313" y="1225345"/>
                    <a:pt x="861075" y="1212696"/>
                    <a:pt x="821876" y="1157900"/>
                  </a:cubicBezTo>
                  <a:cubicBezTo>
                    <a:pt x="821305" y="1157074"/>
                    <a:pt x="820732" y="1156242"/>
                    <a:pt x="820161" y="1155403"/>
                  </a:cubicBezTo>
                  <a:lnTo>
                    <a:pt x="668447" y="940348"/>
                  </a:lnTo>
                  <a:lnTo>
                    <a:pt x="668447" y="935202"/>
                  </a:lnTo>
                  <a:cubicBezTo>
                    <a:pt x="663300" y="935202"/>
                    <a:pt x="663300" y="935202"/>
                    <a:pt x="663300" y="932661"/>
                  </a:cubicBezTo>
                  <a:cubicBezTo>
                    <a:pt x="624801" y="878849"/>
                    <a:pt x="640239" y="799244"/>
                    <a:pt x="694114" y="761125"/>
                  </a:cubicBezTo>
                  <a:cubicBezTo>
                    <a:pt x="822384" y="668941"/>
                    <a:pt x="855738" y="492259"/>
                    <a:pt x="765968" y="364243"/>
                  </a:cubicBezTo>
                  <a:cubicBezTo>
                    <a:pt x="673593" y="233621"/>
                    <a:pt x="499135" y="208018"/>
                    <a:pt x="368196" y="297661"/>
                  </a:cubicBezTo>
                  <a:cubicBezTo>
                    <a:pt x="283572" y="359096"/>
                    <a:pt x="239926" y="456491"/>
                    <a:pt x="250154" y="551153"/>
                  </a:cubicBezTo>
                  <a:cubicBezTo>
                    <a:pt x="255618" y="620421"/>
                    <a:pt x="204030" y="681056"/>
                    <a:pt x="134780" y="686793"/>
                  </a:cubicBezTo>
                  <a:cubicBezTo>
                    <a:pt x="65467" y="691939"/>
                    <a:pt x="9051" y="643274"/>
                    <a:pt x="1364" y="574152"/>
                  </a:cubicBezTo>
                  <a:cubicBezTo>
                    <a:pt x="-14456" y="386231"/>
                    <a:pt x="70486" y="204003"/>
                    <a:pt x="224614" y="95313"/>
                  </a:cubicBezTo>
                  <a:cubicBezTo>
                    <a:pt x="466035" y="-71140"/>
                    <a:pt x="799386" y="-14788"/>
                    <a:pt x="966156" y="223329"/>
                  </a:cubicBezTo>
                  <a:cubicBezTo>
                    <a:pt x="1107832" y="424058"/>
                    <a:pt x="1091822" y="696081"/>
                    <a:pt x="927657" y="878849"/>
                  </a:cubicBezTo>
                  <a:close/>
                  <a:moveTo>
                    <a:pt x="1245823" y="1332149"/>
                  </a:moveTo>
                  <a:lnTo>
                    <a:pt x="1271236" y="1367980"/>
                  </a:lnTo>
                  <a:cubicBezTo>
                    <a:pt x="1312277" y="1426874"/>
                    <a:pt x="1299444" y="1501397"/>
                    <a:pt x="1242965" y="1542121"/>
                  </a:cubicBezTo>
                  <a:cubicBezTo>
                    <a:pt x="1189089" y="1577953"/>
                    <a:pt x="1109548" y="1567533"/>
                    <a:pt x="1068506" y="1511371"/>
                  </a:cubicBezTo>
                  <a:lnTo>
                    <a:pt x="1043093" y="1473252"/>
                  </a:lnTo>
                  <a:cubicBezTo>
                    <a:pt x="1004593" y="1419505"/>
                    <a:pt x="1019968" y="1339836"/>
                    <a:pt x="1073906" y="1301717"/>
                  </a:cubicBezTo>
                  <a:cubicBezTo>
                    <a:pt x="1127718" y="1262346"/>
                    <a:pt x="1203257" y="1274049"/>
                    <a:pt x="1242583" y="1327847"/>
                  </a:cubicBezTo>
                  <a:cubicBezTo>
                    <a:pt x="1243727" y="1329359"/>
                    <a:pt x="1244806" y="1330903"/>
                    <a:pt x="1245823" y="1332466"/>
                  </a:cubicBezTo>
                  <a:close/>
                </a:path>
              </a:pathLst>
            </a:custGeom>
            <a:solidFill>
              <a:srgbClr val="FFC545"/>
            </a:solidFill>
            <a:ln w="63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90204"/>
                <a:ea typeface="微软雅黑"/>
                <a:cs typeface="+mn-cs"/>
              </a:endParaRPr>
            </a:p>
          </p:txBody>
        </p:sp>
        <p:sp>
          <p:nvSpPr>
            <p:cNvPr id="70" name="任意多边形 64"/>
            <p:cNvSpPr/>
            <p:nvPr/>
          </p:nvSpPr>
          <p:spPr>
            <a:xfrm>
              <a:off x="8074926" y="2908035"/>
              <a:ext cx="512041" cy="826857"/>
            </a:xfrm>
            <a:custGeom>
              <a:avLst/>
              <a:gdLst>
                <a:gd name="connsiteX0" fmla="*/ 274260 w 452244"/>
                <a:gd name="connsiteY0" fmla="*/ -210 h 730296"/>
                <a:gd name="connsiteX1" fmla="*/ 451387 w 452244"/>
                <a:gd name="connsiteY1" fmla="*/ 381616 h 730296"/>
                <a:gd name="connsiteX2" fmla="*/ 43132 w 452244"/>
                <a:gd name="connsiteY2" fmla="*/ 730087 h 730296"/>
                <a:gd name="connsiteX3" fmla="*/ -514 w 452244"/>
                <a:gd name="connsiteY3" fmla="*/ 558551 h 730296"/>
                <a:gd name="connsiteX4" fmla="*/ 315302 w 452244"/>
                <a:gd name="connsiteY4" fmla="*/ 366368 h 730296"/>
                <a:gd name="connsiteX5" fmla="*/ 248594 w 452244"/>
                <a:gd name="connsiteY5" fmla="*/ 207539 h 730296"/>
                <a:gd name="connsiteX6" fmla="*/ 274007 w 452244"/>
                <a:gd name="connsiteY6" fmla="*/ -19 h 730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2244" h="730296">
                  <a:moveTo>
                    <a:pt x="274260" y="-210"/>
                  </a:moveTo>
                  <a:cubicBezTo>
                    <a:pt x="274260" y="-210"/>
                    <a:pt x="438553" y="292036"/>
                    <a:pt x="451387" y="381616"/>
                  </a:cubicBezTo>
                  <a:cubicBezTo>
                    <a:pt x="464093" y="473864"/>
                    <a:pt x="120196" y="717317"/>
                    <a:pt x="43132" y="730087"/>
                  </a:cubicBezTo>
                  <a:lnTo>
                    <a:pt x="-514" y="558551"/>
                  </a:lnTo>
                  <a:cubicBezTo>
                    <a:pt x="-514" y="558551"/>
                    <a:pt x="284489" y="425135"/>
                    <a:pt x="315302" y="366368"/>
                  </a:cubicBezTo>
                  <a:lnTo>
                    <a:pt x="248594" y="207539"/>
                  </a:lnTo>
                  <a:lnTo>
                    <a:pt x="274007" y="-19"/>
                  </a:lnTo>
                  <a:close/>
                </a:path>
              </a:pathLst>
            </a:custGeom>
            <a:solidFill>
              <a:srgbClr val="F93F57"/>
            </a:solidFill>
            <a:ln w="63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90204"/>
                <a:ea typeface="微软雅黑"/>
                <a:cs typeface="+mn-cs"/>
              </a:endParaRPr>
            </a:p>
          </p:txBody>
        </p:sp>
        <p:sp>
          <p:nvSpPr>
            <p:cNvPr id="71" name="任意多边形 65"/>
            <p:cNvSpPr/>
            <p:nvPr/>
          </p:nvSpPr>
          <p:spPr>
            <a:xfrm>
              <a:off x="8008236" y="3573622"/>
              <a:ext cx="101648" cy="117572"/>
            </a:xfrm>
            <a:custGeom>
              <a:avLst/>
              <a:gdLst>
                <a:gd name="connsiteX0" fmla="*/ 66265 w 89777"/>
                <a:gd name="connsiteY0" fmla="*/ 362 h 103842"/>
                <a:gd name="connsiteX1" fmla="*/ 5147 w 89777"/>
                <a:gd name="connsiteY1" fmla="*/ 15800 h 103842"/>
                <a:gd name="connsiteX2" fmla="*/ 89263 w 89777"/>
                <a:gd name="connsiteY2" fmla="*/ 95596 h 103842"/>
                <a:gd name="connsiteX3" fmla="*/ 66265 w 89777"/>
                <a:gd name="connsiteY3" fmla="*/ 298 h 103842"/>
              </a:gdLst>
              <a:ahLst/>
              <a:cxnLst>
                <a:cxn ang="0">
                  <a:pos x="connsiteX0" y="connsiteY0"/>
                </a:cxn>
                <a:cxn ang="0">
                  <a:pos x="connsiteX1" y="connsiteY1"/>
                </a:cxn>
                <a:cxn ang="0">
                  <a:pos x="connsiteX2" y="connsiteY2"/>
                </a:cxn>
                <a:cxn ang="0">
                  <a:pos x="connsiteX3" y="connsiteY3"/>
                </a:cxn>
              </a:cxnLst>
              <a:rect l="l" t="t" r="r" b="b"/>
              <a:pathLst>
                <a:path w="89777" h="103842">
                  <a:moveTo>
                    <a:pt x="66265" y="362"/>
                  </a:moveTo>
                  <a:cubicBezTo>
                    <a:pt x="66265" y="362"/>
                    <a:pt x="15439" y="-4784"/>
                    <a:pt x="5147" y="15800"/>
                  </a:cubicBezTo>
                  <a:cubicBezTo>
                    <a:pt x="-5145" y="36384"/>
                    <a:pt x="-12705" y="131555"/>
                    <a:pt x="89263" y="95596"/>
                  </a:cubicBezTo>
                  <a:lnTo>
                    <a:pt x="66265" y="298"/>
                  </a:lnTo>
                  <a:close/>
                </a:path>
              </a:pathLst>
            </a:custGeom>
            <a:solidFill>
              <a:srgbClr val="FF93B1"/>
            </a:solidFill>
            <a:ln w="63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90204"/>
                <a:ea typeface="微软雅黑"/>
                <a:cs typeface="+mn-cs"/>
              </a:endParaRPr>
            </a:p>
          </p:txBody>
        </p:sp>
        <p:sp>
          <p:nvSpPr>
            <p:cNvPr id="72" name="任意多边形 67"/>
            <p:cNvSpPr/>
            <p:nvPr/>
          </p:nvSpPr>
          <p:spPr>
            <a:xfrm rot="19901924">
              <a:off x="4001212" y="2597109"/>
              <a:ext cx="340051" cy="595716"/>
            </a:xfrm>
            <a:custGeom>
              <a:avLst/>
              <a:gdLst>
                <a:gd name="connsiteX0" fmla="*/ 596690 w 1007682"/>
                <a:gd name="connsiteY0" fmla="*/ 1042540 h 1765307"/>
                <a:gd name="connsiteX1" fmla="*/ 596690 w 1007682"/>
                <a:gd name="connsiteY1" fmla="*/ 1209120 h 1765307"/>
                <a:gd name="connsiteX2" fmla="*/ 479747 w 1007682"/>
                <a:gd name="connsiteY2" fmla="*/ 1332124 h 1765307"/>
                <a:gd name="connsiteX3" fmla="*/ 473502 w 1007682"/>
                <a:gd name="connsiteY3" fmla="*/ 1332118 h 1765307"/>
                <a:gd name="connsiteX4" fmla="*/ 350314 w 1007682"/>
                <a:gd name="connsiteY4" fmla="*/ 1209120 h 1765307"/>
                <a:gd name="connsiteX5" fmla="*/ 350314 w 1007682"/>
                <a:gd name="connsiteY5" fmla="*/ 945209 h 1765307"/>
                <a:gd name="connsiteX6" fmla="*/ 352855 w 1007682"/>
                <a:gd name="connsiteY6" fmla="*/ 940063 h 1765307"/>
                <a:gd name="connsiteX7" fmla="*/ 350314 w 1007682"/>
                <a:gd name="connsiteY7" fmla="*/ 934981 h 1765307"/>
                <a:gd name="connsiteX8" fmla="*/ 473502 w 1007682"/>
                <a:gd name="connsiteY8" fmla="*/ 811983 h 1765307"/>
                <a:gd name="connsiteX9" fmla="*/ 760983 w 1007682"/>
                <a:gd name="connsiteY9" fmla="*/ 530157 h 1765307"/>
                <a:gd name="connsiteX10" fmla="*/ 473502 w 1007682"/>
                <a:gd name="connsiteY10" fmla="*/ 245725 h 1765307"/>
                <a:gd name="connsiteX11" fmla="*/ 229667 w 1007682"/>
                <a:gd name="connsiteY11" fmla="*/ 384097 h 1765307"/>
                <a:gd name="connsiteX12" fmla="*/ 62134 w 1007682"/>
                <a:gd name="connsiteY12" fmla="*/ 430888 h 1765307"/>
                <a:gd name="connsiteX13" fmla="*/ 15343 w 1007682"/>
                <a:gd name="connsiteY13" fmla="*/ 263355 h 1765307"/>
                <a:gd name="connsiteX14" fmla="*/ 16645 w 1007682"/>
                <a:gd name="connsiteY14" fmla="*/ 261100 h 1765307"/>
                <a:gd name="connsiteX15" fmla="*/ 473502 w 1007682"/>
                <a:gd name="connsiteY15" fmla="*/ -206 h 1765307"/>
                <a:gd name="connsiteX16" fmla="*/ 1007168 w 1007682"/>
                <a:gd name="connsiteY16" fmla="*/ 530157 h 1765307"/>
                <a:gd name="connsiteX17" fmla="*/ 596499 w 1007682"/>
                <a:gd name="connsiteY17" fmla="*/ 1042540 h 1765307"/>
                <a:gd name="connsiteX18" fmla="*/ 596690 w 1007682"/>
                <a:gd name="connsiteY18" fmla="*/ 1595965 h 1765307"/>
                <a:gd name="connsiteX19" fmla="*/ 596690 w 1007682"/>
                <a:gd name="connsiteY19" fmla="*/ 1642089 h 1765307"/>
                <a:gd name="connsiteX20" fmla="*/ 473502 w 1007682"/>
                <a:gd name="connsiteY20" fmla="*/ 1765086 h 1765307"/>
                <a:gd name="connsiteX21" fmla="*/ 350314 w 1007682"/>
                <a:gd name="connsiteY21" fmla="*/ 1645221 h 1765307"/>
                <a:gd name="connsiteX22" fmla="*/ 350314 w 1007682"/>
                <a:gd name="connsiteY22" fmla="*/ 1642089 h 1765307"/>
                <a:gd name="connsiteX23" fmla="*/ 350314 w 1007682"/>
                <a:gd name="connsiteY23" fmla="*/ 1595965 h 1765307"/>
                <a:gd name="connsiteX24" fmla="*/ 473502 w 1007682"/>
                <a:gd name="connsiteY24" fmla="*/ 1473031 h 1765307"/>
                <a:gd name="connsiteX25" fmla="*/ 596690 w 1007682"/>
                <a:gd name="connsiteY25" fmla="*/ 1592769 h 1765307"/>
                <a:gd name="connsiteX26" fmla="*/ 596690 w 1007682"/>
                <a:gd name="connsiteY26" fmla="*/ 1595965 h 1765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07682" h="1765307">
                  <a:moveTo>
                    <a:pt x="596690" y="1042540"/>
                  </a:moveTo>
                  <a:lnTo>
                    <a:pt x="596690" y="1209120"/>
                  </a:lnTo>
                  <a:cubicBezTo>
                    <a:pt x="598361" y="1275377"/>
                    <a:pt x="546004" y="1330447"/>
                    <a:pt x="479747" y="1332124"/>
                  </a:cubicBezTo>
                  <a:cubicBezTo>
                    <a:pt x="477663" y="1332175"/>
                    <a:pt x="475579" y="1332175"/>
                    <a:pt x="473502" y="1332118"/>
                  </a:cubicBezTo>
                  <a:cubicBezTo>
                    <a:pt x="405529" y="1332156"/>
                    <a:pt x="350384" y="1277093"/>
                    <a:pt x="350314" y="1209120"/>
                  </a:cubicBezTo>
                  <a:lnTo>
                    <a:pt x="350314" y="945209"/>
                  </a:lnTo>
                  <a:cubicBezTo>
                    <a:pt x="350314" y="942668"/>
                    <a:pt x="352855" y="942668"/>
                    <a:pt x="352855" y="940063"/>
                  </a:cubicBezTo>
                  <a:cubicBezTo>
                    <a:pt x="350314" y="937522"/>
                    <a:pt x="350314" y="937522"/>
                    <a:pt x="350314" y="934981"/>
                  </a:cubicBezTo>
                  <a:cubicBezTo>
                    <a:pt x="350314" y="870941"/>
                    <a:pt x="406793" y="811983"/>
                    <a:pt x="473502" y="811983"/>
                  </a:cubicBezTo>
                  <a:cubicBezTo>
                    <a:pt x="632649" y="811983"/>
                    <a:pt x="760983" y="686445"/>
                    <a:pt x="760983" y="530157"/>
                  </a:cubicBezTo>
                  <a:cubicBezTo>
                    <a:pt x="760983" y="368723"/>
                    <a:pt x="632649" y="245725"/>
                    <a:pt x="473502" y="245725"/>
                  </a:cubicBezTo>
                  <a:cubicBezTo>
                    <a:pt x="373636" y="246094"/>
                    <a:pt x="281198" y="298552"/>
                    <a:pt x="229667" y="384097"/>
                  </a:cubicBezTo>
                  <a:cubicBezTo>
                    <a:pt x="196326" y="443283"/>
                    <a:pt x="121320" y="464230"/>
                    <a:pt x="62134" y="430888"/>
                  </a:cubicBezTo>
                  <a:cubicBezTo>
                    <a:pt x="2948" y="397547"/>
                    <a:pt x="-17999" y="322541"/>
                    <a:pt x="15343" y="263355"/>
                  </a:cubicBezTo>
                  <a:cubicBezTo>
                    <a:pt x="15769" y="262599"/>
                    <a:pt x="16201" y="261850"/>
                    <a:pt x="16645" y="261100"/>
                  </a:cubicBezTo>
                  <a:cubicBezTo>
                    <a:pt x="111346" y="98668"/>
                    <a:pt x="285480" y="-930"/>
                    <a:pt x="473502" y="-206"/>
                  </a:cubicBezTo>
                  <a:cubicBezTo>
                    <a:pt x="766129" y="-206"/>
                    <a:pt x="1007168" y="235497"/>
                    <a:pt x="1007168" y="530157"/>
                  </a:cubicBezTo>
                  <a:cubicBezTo>
                    <a:pt x="1007168" y="778693"/>
                    <a:pt x="832647" y="988792"/>
                    <a:pt x="596499" y="1042540"/>
                  </a:cubicBezTo>
                  <a:close/>
                  <a:moveTo>
                    <a:pt x="596690" y="1595965"/>
                  </a:moveTo>
                  <a:lnTo>
                    <a:pt x="596690" y="1642089"/>
                  </a:lnTo>
                  <a:cubicBezTo>
                    <a:pt x="596690" y="1713816"/>
                    <a:pt x="545356" y="1765086"/>
                    <a:pt x="473502" y="1765086"/>
                  </a:cubicBezTo>
                  <a:cubicBezTo>
                    <a:pt x="406387" y="1766001"/>
                    <a:pt x="351235" y="1712336"/>
                    <a:pt x="350314" y="1645221"/>
                  </a:cubicBezTo>
                  <a:cubicBezTo>
                    <a:pt x="350301" y="1644179"/>
                    <a:pt x="350301" y="1643131"/>
                    <a:pt x="350314" y="1642089"/>
                  </a:cubicBezTo>
                  <a:lnTo>
                    <a:pt x="350314" y="1595965"/>
                  </a:lnTo>
                  <a:cubicBezTo>
                    <a:pt x="351305" y="1528386"/>
                    <a:pt x="405923" y="1473882"/>
                    <a:pt x="473502" y="1473031"/>
                  </a:cubicBezTo>
                  <a:cubicBezTo>
                    <a:pt x="540585" y="1472078"/>
                    <a:pt x="595737" y="1525686"/>
                    <a:pt x="596690" y="1592769"/>
                  </a:cubicBezTo>
                  <a:cubicBezTo>
                    <a:pt x="596703" y="1593830"/>
                    <a:pt x="596703" y="1594897"/>
                    <a:pt x="596690" y="1595965"/>
                  </a:cubicBezTo>
                  <a:close/>
                </a:path>
              </a:pathLst>
            </a:custGeom>
            <a:solidFill>
              <a:srgbClr val="D0D4DA"/>
            </a:solidFill>
            <a:ln w="63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90204"/>
                <a:ea typeface="微软雅黑"/>
                <a:cs typeface="+mn-cs"/>
              </a:endParaRPr>
            </a:p>
          </p:txBody>
        </p:sp>
      </p:grpSp>
      <p:pic>
        <p:nvPicPr>
          <p:cNvPr id="74" name="图片 7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903035" y="299594"/>
            <a:ext cx="1837445" cy="501494"/>
          </a:xfrm>
          <a:prstGeom prst="rect">
            <a:avLst/>
          </a:prstGeom>
        </p:spPr>
      </p:pic>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extBox 6"/>
          <p:cNvSpPr txBox="1"/>
          <p:nvPr/>
        </p:nvSpPr>
        <p:spPr>
          <a:xfrm>
            <a:off x="547832" y="187607"/>
            <a:ext cx="5548168" cy="461665"/>
          </a:xfrm>
          <a:prstGeom prst="rect">
            <a:avLst/>
          </a:prstGeom>
        </p:spPr>
        <p:txBody>
          <a:bodyPr vert="horz" wrap="square" lIns="0" tIns="0" rIns="0" bIns="0" rtlCol="0" anchor="ctr">
            <a:noAutofit/>
          </a:bodyPr>
          <a:lstStyle>
            <a:defPPr>
              <a:defRPr lang="zh-CN"/>
            </a:defPPr>
            <a:lvl1pPr marL="12700" marR="0" lvl="0" indent="0" fontAlgn="auto">
              <a:lnSpc>
                <a:spcPct val="100000"/>
              </a:lnSpc>
              <a:spcBef>
                <a:spcPts val="100"/>
              </a:spcBef>
              <a:spcAft>
                <a:spcPts val="0"/>
              </a:spcAft>
              <a:buClrTx/>
              <a:buSzTx/>
              <a:buFontTx/>
              <a:buNone/>
              <a:defRPr kumimoji="0" sz="3200" b="1" i="0" u="none" strike="noStrike" cap="none" spc="0" normalizeH="0" baseline="0">
                <a:ln>
                  <a:noFill/>
                </a:ln>
                <a:solidFill>
                  <a:srgbClr val="F05A23"/>
                </a:solidFill>
                <a:effectLst/>
                <a:uLnTx/>
                <a:uFillTx/>
                <a:latin typeface="Arial" panose="020B0604020202090204"/>
                <a:ea typeface="华文楷体" panose="02010600040101010101" pitchFamily="2" charset="-122"/>
              </a:defRPr>
            </a:lvl1pPr>
          </a:lstStyle>
          <a:p>
            <a:pPr marL="12700" marR="0" lvl="0" indent="0" algn="l" defTabSz="914400" rtl="0" eaLnBrk="1" fontAlgn="auto" latinLnBrk="0" hangingPunct="1">
              <a:lnSpc>
                <a:spcPct val="100000"/>
              </a:lnSpc>
              <a:spcBef>
                <a:spcPts val="100"/>
              </a:spcBef>
              <a:spcAft>
                <a:spcPts val="0"/>
              </a:spcAft>
              <a:buClrTx/>
              <a:buSzTx/>
              <a:buFontTx/>
              <a:buNone/>
              <a:defRPr/>
            </a:pPr>
            <a:r>
              <a:rPr kumimoji="0" lang="zh-CN" altLang="en-US" sz="2400" b="1" i="0" u="none" strike="noStrike" kern="1200" cap="none" spc="0" normalizeH="0" baseline="0" noProof="0" dirty="0">
                <a:ln>
                  <a:noFill/>
                </a:ln>
                <a:solidFill>
                  <a:srgbClr val="F05A23"/>
                </a:solidFill>
                <a:effectLst/>
                <a:uLnTx/>
                <a:uFillTx/>
                <a:latin typeface="Arial" panose="020B0604020202090204"/>
                <a:ea typeface="华文楷体" panose="02010600040101010101" pitchFamily="2" charset="-122"/>
                <a:cs typeface="+mn-cs"/>
              </a:rPr>
              <a:t>总结</a:t>
            </a:r>
            <a:endParaRPr kumimoji="0" lang="en-US" sz="2400" b="1" i="0" u="none" strike="noStrike" kern="1200" cap="none" spc="0" normalizeH="0" baseline="0" noProof="0" dirty="0">
              <a:ln>
                <a:noFill/>
              </a:ln>
              <a:solidFill>
                <a:srgbClr val="F05A23"/>
              </a:solidFill>
              <a:effectLst/>
              <a:uLnTx/>
              <a:uFillTx/>
              <a:latin typeface="Arial" panose="020B0604020202090204"/>
              <a:ea typeface="华文楷体" panose="02010600040101010101" pitchFamily="2" charset="-122"/>
              <a:cs typeface="+mn-cs"/>
            </a:endParaRPr>
          </a:p>
        </p:txBody>
      </p:sp>
      <p:pic>
        <p:nvPicPr>
          <p:cNvPr id="40" name="图片 39"/>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9949418" y="253211"/>
            <a:ext cx="1837445" cy="501494"/>
          </a:xfrm>
          <a:prstGeom prst="rect">
            <a:avLst/>
          </a:prstGeom>
        </p:spPr>
      </p:pic>
      <p:sp>
        <p:nvSpPr>
          <p:cNvPr id="2" name="Rectangle 4"/>
          <p:cNvSpPr/>
          <p:nvPr/>
        </p:nvSpPr>
        <p:spPr>
          <a:xfrm>
            <a:off x="599326" y="1412776"/>
            <a:ext cx="3288429" cy="480056"/>
          </a:xfrm>
          <a:prstGeom prst="rect">
            <a:avLst/>
          </a:prstGeom>
          <a:solidFill>
            <a:srgbClr val="F3774B"/>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defRPr/>
            </a:pPr>
            <a:r>
              <a:rPr lang="en-US" altLang="zh-CN" sz="2135" b="1" dirty="0">
                <a:solidFill>
                  <a:prstClr val="white"/>
                </a:solidFill>
                <a:latin typeface="楷体" panose="02010609060101010101" pitchFamily="49" charset="-122"/>
                <a:ea typeface="楷体" panose="02010609060101010101" pitchFamily="49" charset="-122"/>
                <a:cs typeface="+mn-ea"/>
                <a:sym typeface="+mn-lt"/>
              </a:rPr>
              <a:t>XXX</a:t>
            </a:r>
            <a:endParaRPr lang="zh-CN" altLang="en-US" sz="2135" b="1" dirty="0">
              <a:solidFill>
                <a:prstClr val="white"/>
              </a:solidFill>
              <a:latin typeface="楷体" panose="02010609060101010101" pitchFamily="49" charset="-122"/>
              <a:ea typeface="楷体" panose="02010609060101010101" pitchFamily="49" charset="-122"/>
              <a:cs typeface="+mn-ea"/>
              <a:sym typeface="+mn-lt"/>
            </a:endParaRPr>
          </a:p>
        </p:txBody>
      </p:sp>
      <p:sp>
        <p:nvSpPr>
          <p:cNvPr id="3" name="Rectangle 5"/>
          <p:cNvSpPr/>
          <p:nvPr/>
        </p:nvSpPr>
        <p:spPr>
          <a:xfrm>
            <a:off x="4258660" y="1412775"/>
            <a:ext cx="3674680" cy="480056"/>
          </a:xfrm>
          <a:prstGeom prst="rect">
            <a:avLst/>
          </a:prstGeom>
          <a:solidFill>
            <a:srgbClr val="F3774B"/>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altLang="zh-CN" sz="2135" b="1" dirty="0">
                <a:solidFill>
                  <a:prstClr val="white"/>
                </a:solidFill>
                <a:latin typeface="楷体" panose="02010609060101010101" pitchFamily="49" charset="-122"/>
                <a:ea typeface="楷体" panose="02010609060101010101" pitchFamily="49" charset="-122"/>
                <a:cs typeface="+mn-ea"/>
                <a:sym typeface="+mn-lt"/>
              </a:rPr>
              <a:t>XX</a:t>
            </a:r>
            <a:endParaRPr lang="zh-CN" altLang="en-US" sz="2135" b="1" dirty="0">
              <a:solidFill>
                <a:prstClr val="white"/>
              </a:solidFill>
              <a:latin typeface="楷体" panose="02010609060101010101" pitchFamily="49" charset="-122"/>
              <a:ea typeface="楷体" panose="02010609060101010101" pitchFamily="49" charset="-122"/>
              <a:cs typeface="+mn-ea"/>
              <a:sym typeface="+mn-lt"/>
            </a:endParaRPr>
          </a:p>
        </p:txBody>
      </p:sp>
      <p:sp>
        <p:nvSpPr>
          <p:cNvPr id="4" name="Rectangle 6"/>
          <p:cNvSpPr/>
          <p:nvPr/>
        </p:nvSpPr>
        <p:spPr>
          <a:xfrm>
            <a:off x="8400256" y="1412773"/>
            <a:ext cx="3072341" cy="480056"/>
          </a:xfrm>
          <a:prstGeom prst="rect">
            <a:avLst/>
          </a:prstGeom>
          <a:solidFill>
            <a:srgbClr val="F3774B"/>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altLang="zh-CN" sz="2135" b="1" dirty="0">
                <a:solidFill>
                  <a:prstClr val="white"/>
                </a:solidFill>
                <a:latin typeface="楷体" panose="02010609060101010101" pitchFamily="49" charset="-122"/>
                <a:ea typeface="楷体" panose="02010609060101010101" pitchFamily="49" charset="-122"/>
                <a:cs typeface="+mn-ea"/>
                <a:sym typeface="+mn-lt"/>
              </a:rPr>
              <a:t>XXXX</a:t>
            </a:r>
            <a:endParaRPr lang="zh-CN" altLang="en-US" sz="2135" b="1" dirty="0">
              <a:solidFill>
                <a:prstClr val="white"/>
              </a:solidFill>
              <a:latin typeface="楷体" panose="02010609060101010101" pitchFamily="49" charset="-122"/>
              <a:ea typeface="楷体" panose="02010609060101010101" pitchFamily="49" charset="-122"/>
              <a:cs typeface="+mn-ea"/>
              <a:sym typeface="+mn-lt"/>
            </a:endParaRPr>
          </a:p>
        </p:txBody>
      </p:sp>
      <p:cxnSp>
        <p:nvCxnSpPr>
          <p:cNvPr id="5" name="Straight Connector 8"/>
          <p:cNvCxnSpPr/>
          <p:nvPr/>
        </p:nvCxnSpPr>
        <p:spPr>
          <a:xfrm>
            <a:off x="4079776" y="1508787"/>
            <a:ext cx="0" cy="4704523"/>
          </a:xfrm>
          <a:prstGeom prst="line">
            <a:avLst/>
          </a:prstGeom>
          <a:ln>
            <a:solidFill>
              <a:schemeClr val="bg1">
                <a:lumMod val="65000"/>
              </a:schemeClr>
            </a:solidFill>
            <a:prstDash val="dash"/>
          </a:ln>
        </p:spPr>
        <p:style>
          <a:lnRef idx="1">
            <a:schemeClr val="accent2"/>
          </a:lnRef>
          <a:fillRef idx="0">
            <a:schemeClr val="accent2"/>
          </a:fillRef>
          <a:effectRef idx="0">
            <a:schemeClr val="accent2"/>
          </a:effectRef>
          <a:fontRef idx="minor">
            <a:schemeClr val="tx1"/>
          </a:fontRef>
        </p:style>
      </p:cxnSp>
      <p:cxnSp>
        <p:nvCxnSpPr>
          <p:cNvPr id="6" name="Straight Connector 8"/>
          <p:cNvCxnSpPr/>
          <p:nvPr/>
        </p:nvCxnSpPr>
        <p:spPr>
          <a:xfrm>
            <a:off x="8208235" y="1508787"/>
            <a:ext cx="0" cy="4704523"/>
          </a:xfrm>
          <a:prstGeom prst="line">
            <a:avLst/>
          </a:prstGeom>
          <a:ln>
            <a:solidFill>
              <a:schemeClr val="bg1">
                <a:lumMod val="65000"/>
              </a:schemeClr>
            </a:solidFill>
            <a:prstDash val="dash"/>
          </a:ln>
        </p:spPr>
        <p:style>
          <a:lnRef idx="1">
            <a:schemeClr val="accent2"/>
          </a:lnRef>
          <a:fillRef idx="0">
            <a:schemeClr val="accent2"/>
          </a:fillRef>
          <a:effectRef idx="0">
            <a:schemeClr val="accent2"/>
          </a:effectRef>
          <a:fontRef idx="minor">
            <a:schemeClr val="tx1"/>
          </a:fontRef>
        </p:style>
      </p:cxn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extBox 6"/>
          <p:cNvSpPr txBox="1"/>
          <p:nvPr/>
        </p:nvSpPr>
        <p:spPr>
          <a:xfrm>
            <a:off x="547832" y="187607"/>
            <a:ext cx="5548168" cy="461665"/>
          </a:xfrm>
          <a:prstGeom prst="rect">
            <a:avLst/>
          </a:prstGeom>
        </p:spPr>
        <p:txBody>
          <a:bodyPr vert="horz" wrap="square" lIns="0" tIns="0" rIns="0" bIns="0" rtlCol="0" anchor="ctr">
            <a:noAutofit/>
          </a:bodyPr>
          <a:lstStyle>
            <a:defPPr>
              <a:defRPr lang="zh-CN"/>
            </a:defPPr>
            <a:lvl1pPr marL="12700" marR="0" lvl="0" indent="0" fontAlgn="auto">
              <a:lnSpc>
                <a:spcPct val="100000"/>
              </a:lnSpc>
              <a:spcBef>
                <a:spcPts val="100"/>
              </a:spcBef>
              <a:spcAft>
                <a:spcPts val="0"/>
              </a:spcAft>
              <a:buClrTx/>
              <a:buSzTx/>
              <a:buFontTx/>
              <a:buNone/>
              <a:defRPr kumimoji="0" sz="3200" b="1" i="0" u="none" strike="noStrike" cap="none" spc="0" normalizeH="0" baseline="0">
                <a:ln>
                  <a:noFill/>
                </a:ln>
                <a:solidFill>
                  <a:srgbClr val="F05A23"/>
                </a:solidFill>
                <a:effectLst/>
                <a:uLnTx/>
                <a:uFillTx/>
                <a:latin typeface="Arial" panose="020B0604020202090204"/>
                <a:ea typeface="华文楷体" panose="02010600040101010101" pitchFamily="2" charset="-122"/>
              </a:defRPr>
            </a:lvl1pPr>
          </a:lstStyle>
          <a:p>
            <a:r>
              <a:rPr lang="zh-CN" altLang="en-US" sz="2400" dirty="0"/>
              <a:t>导入</a:t>
            </a:r>
            <a:endParaRPr lang="en-US" sz="2400" dirty="0"/>
          </a:p>
        </p:txBody>
      </p:sp>
      <p:pic>
        <p:nvPicPr>
          <p:cNvPr id="40" name="图片 39"/>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9949418" y="253211"/>
            <a:ext cx="1837445" cy="501494"/>
          </a:xfrm>
          <a:prstGeom prst="rect">
            <a:avLst/>
          </a:prstGeom>
        </p:spPr>
      </p:pic>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图片 11"/>
          <p:cNvPicPr>
            <a:picLocks noChangeAspect="1"/>
          </p:cNvPicPr>
          <p:nvPr/>
        </p:nvPicPr>
        <p:blipFill>
          <a:blip r:embed="rId1"/>
          <a:stretch>
            <a:fillRect/>
          </a:stretch>
        </p:blipFill>
        <p:spPr>
          <a:xfrm>
            <a:off x="0" y="0"/>
            <a:ext cx="12192000" cy="6858000"/>
          </a:xfrm>
          <a:prstGeom prst="rect">
            <a:avLst/>
          </a:prstGeom>
        </p:spPr>
      </p:pic>
      <p:sp>
        <p:nvSpPr>
          <p:cNvPr id="3" name="矩形 2" descr="e7d195523061f1c0d318120d6aeaf1b6ccceb6ba3da59c0775C5DE19DDDEBC09ED96DBD9900D9848D623ECAD1D4904B78047D0015C22C8BE97228BE8B5BFF08FE7A3AE04126DA07312A96C0F69F9BAB71A8D4487C13BBD21E178D4F88753BF1C0AA2D476514934E2BFA1BCD92238D9398A04F1D9D25610EF52C0143E775B4548A6233544C90E9CB7"/>
          <p:cNvSpPr/>
          <p:nvPr/>
        </p:nvSpPr>
        <p:spPr>
          <a:xfrm>
            <a:off x="764146" y="3776781"/>
            <a:ext cx="10663708" cy="2209387"/>
          </a:xfrm>
          <a:prstGeom prst="rect">
            <a:avLst/>
          </a:prstGeom>
          <a:solidFill>
            <a:srgbClr val="F377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8" name="PA_文本框 21" descr="e7d195523061f1c0d318120d6aeaf1b6ccceb6ba3da59c0775C5DE19DDDEBC09ED96DBD9900D9848D623ECAD1D4904B78047D0015C22C8BE97228BE8B5BFF08FE7A3AE04126DA07312A96C0F69F9BAB71A8D4487C13BBD21E178D4F88753BF1C0AA2D476514934E2BFA1BCD92238D9398A04F1D9D25610EF52C0143E775B4548A6233544C90E9CB7"/>
          <p:cNvSpPr txBox="1"/>
          <p:nvPr>
            <p:custDataLst>
              <p:tags r:id="rId2"/>
            </p:custDataLst>
          </p:nvPr>
        </p:nvSpPr>
        <p:spPr>
          <a:xfrm>
            <a:off x="8624392" y="2073952"/>
            <a:ext cx="2803462" cy="830997"/>
          </a:xfrm>
          <a:prstGeom prst="rect">
            <a:avLst/>
          </a:prstGeom>
          <a:noFill/>
        </p:spPr>
        <p:style>
          <a:lnRef idx="0">
            <a:scrgbClr r="0" g="0" b="0"/>
          </a:lnRef>
          <a:fillRef idx="0">
            <a:scrgbClr r="0" g="0" b="0"/>
          </a:fillRef>
          <a:effectRef idx="0">
            <a:scrgbClr r="0" g="0" b="0"/>
          </a:effectRef>
          <a:fontRef idx="major"/>
        </p:style>
        <p:txBody>
          <a:bodyPr wrap="square" rtlCol="0">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dist"/>
            <a:r>
              <a:rPr lang="zh-CN" altLang="en-US" sz="4800" kern="1200" spc="300" dirty="0">
                <a:solidFill>
                  <a:schemeClr val="tx1">
                    <a:lumMod val="95000"/>
                    <a:lumOff val="5000"/>
                  </a:schemeClr>
                </a:solidFill>
                <a:latin typeface="微软雅黑" panose="020B0503020204020204" pitchFamily="34" charset="-122"/>
                <a:ea typeface="微软雅黑" panose="020B0503020204020204" pitchFamily="34" charset="-122"/>
                <a:cs typeface="Open Sans" charset="0"/>
              </a:rPr>
              <a:t>行动倡导</a:t>
            </a:r>
            <a:endParaRPr lang="zh-CN" altLang="en-US" sz="4800" kern="1200" spc="300" dirty="0">
              <a:solidFill>
                <a:schemeClr val="tx1">
                  <a:lumMod val="95000"/>
                  <a:lumOff val="5000"/>
                </a:schemeClr>
              </a:solidFill>
              <a:latin typeface="微软雅黑" panose="020B0503020204020204" pitchFamily="34" charset="-122"/>
              <a:ea typeface="微软雅黑" panose="020B0503020204020204" pitchFamily="34" charset="-122"/>
              <a:cs typeface="Open Sans" charset="0"/>
            </a:endParaRPr>
          </a:p>
        </p:txBody>
      </p:sp>
      <p:sp>
        <p:nvSpPr>
          <p:cNvPr id="9" name="PA_文本框 21" descr="e7d195523061f1c0d318120d6aeaf1b6ccceb6ba3da59c0775C5DE19DDDEBC09ED96DBD9900D9848D623ECAD1D4904B78047D0015C22C8BE97228BE8B5BFF08FE7A3AE04126DA07312A96C0F69F9BAB71A8D4487C13BBD21E178D4F88753BF1C0AA2D476514934E2BFA1BCD92238D9398A04F1D9D25610EF52C0143E775B4548A6233544C90E9CB7"/>
          <p:cNvSpPr txBox="1"/>
          <p:nvPr>
            <p:custDataLst>
              <p:tags r:id="rId3"/>
            </p:custDataLst>
          </p:nvPr>
        </p:nvSpPr>
        <p:spPr>
          <a:xfrm>
            <a:off x="8229600" y="1346440"/>
            <a:ext cx="3198254" cy="646331"/>
          </a:xfrm>
          <a:prstGeom prst="rect">
            <a:avLst/>
          </a:prstGeom>
          <a:noFill/>
        </p:spPr>
        <p:style>
          <a:lnRef idx="0">
            <a:scrgbClr r="0" g="0" b="0"/>
          </a:lnRef>
          <a:fillRef idx="0">
            <a:scrgbClr r="0" g="0" b="0"/>
          </a:fillRef>
          <a:effectRef idx="0">
            <a:scrgbClr r="0" g="0" b="0"/>
          </a:effectRef>
          <a:fontRef idx="major"/>
        </p:style>
        <p:txBody>
          <a:bodyPr wrap="square" rtlCol="0">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dist"/>
            <a:r>
              <a:rPr lang="en-US" altLang="zh-CN" sz="3600" b="1" dirty="0">
                <a:solidFill>
                  <a:schemeClr val="accent1"/>
                </a:solidFill>
                <a:latin typeface="Montserrat SemiBold" pitchFamily="2" charset="0"/>
                <a:ea typeface="Open Sans" charset="0"/>
                <a:cs typeface="Open Sans" charset="0"/>
              </a:rPr>
              <a:t>Suggestion</a:t>
            </a:r>
            <a:endParaRPr lang="zh-CN" altLang="en-US" sz="3600" b="1" kern="1200" dirty="0">
              <a:solidFill>
                <a:schemeClr val="accent1"/>
              </a:solidFill>
              <a:latin typeface="Montserrat SemiBold" pitchFamily="2" charset="0"/>
              <a:ea typeface="Open Sans" charset="0"/>
              <a:cs typeface="Open Sans" charset="0"/>
            </a:endParaRPr>
          </a:p>
        </p:txBody>
      </p:sp>
      <p:sp>
        <p:nvSpPr>
          <p:cNvPr id="4" name="e7d195523061f1c0" descr="e7d195523061f1c0d318120d6aeaf1b6ccceb6ba3da59c0775C5DE19DDDEBC09ED96DBD9900D9848D623ECAD1D4904B78047D0015C22C8BE97228BE8B5BFF08FE7A3AE04126DA07312A96C0F69F9BAB71A8D4487C13BBD21E178D4F88753BF1C0AA2D476514934E2BFA1BCD92238D9398A04F1D9D25610EF52C0143E775B4548A6233544C90E9CB7" hidden="1"/>
          <p:cNvSpPr txBox="1"/>
          <p:nvPr/>
        </p:nvSpPr>
        <p:spPr>
          <a:xfrm>
            <a:off x="-355600" y="1803400"/>
            <a:ext cx="262251" cy="1016000"/>
          </a:xfrm>
          <a:prstGeom prst="rect">
            <a:avLst/>
          </a:prstGeom>
          <a:noFill/>
        </p:spPr>
        <p:txBody>
          <a:bodyPr vert="wordArtVert" rtlCol="0">
            <a:spAutoFit/>
          </a:bodyPr>
          <a:lstStyle/>
          <a:p>
            <a:r>
              <a:rPr lang="en-US" altLang="zh-CN" sz="100"/>
              <a:t>e7d195523061f1c0d318120d6aeaf1b6ccceb6ba3da59c0775C5DE19DDDEBC09ED96DBD9900D9848D623ECAD1D4904B78047D0015C22C8BE97228BE8B5BFF08FE7A3AE04126DA07312A96C0F69F9BAB71A8D4487C13BBD21E178D4F88753BF1C0AA2D476514934E2BFA1BCD92238D9398A04F1D9D25610EF52C0143E775B4548A6233544C90E9CB7</a:t>
            </a:r>
            <a:endParaRPr lang="zh-CN" altLang="en-US" sz="100"/>
          </a:p>
        </p:txBody>
      </p:sp>
      <p:sp>
        <p:nvSpPr>
          <p:cNvPr id="5" name="文本框 4"/>
          <p:cNvSpPr txBox="1"/>
          <p:nvPr/>
        </p:nvSpPr>
        <p:spPr>
          <a:xfrm>
            <a:off x="1614614" y="4066283"/>
            <a:ext cx="9185907" cy="2209387"/>
          </a:xfrm>
          <a:prstGeom prst="rect">
            <a:avLst/>
          </a:prstGeom>
        </p:spPr>
        <p:txBody>
          <a:bodyPr vert="horz" wrap="square" lIns="90000" tIns="45720" rIns="91440" bIns="45720" rtlCol="0" anchor="ctr" anchorCtr="1">
            <a:spAutoFit/>
          </a:bodyPr>
          <a:lstStyle/>
          <a:p>
            <a:pPr algn="l">
              <a:lnSpc>
                <a:spcPct val="200000"/>
              </a:lnSpc>
              <a:tabLst>
                <a:tab pos="1525270" algn="l"/>
              </a:tabLst>
            </a:pPr>
            <a:r>
              <a:rPr lang="en-US" altLang="zh-CN" sz="2400" dirty="0">
                <a:solidFill>
                  <a:schemeClr val="bg1"/>
                </a:solidFill>
                <a:latin typeface="+mn-ea"/>
              </a:rPr>
              <a:t>1</a:t>
            </a:r>
            <a:r>
              <a:rPr lang="zh-CN" altLang="en-US" sz="2400" dirty="0">
                <a:solidFill>
                  <a:schemeClr val="bg1"/>
                </a:solidFill>
                <a:latin typeface="+mn-ea"/>
              </a:rPr>
              <a:t>、</a:t>
            </a:r>
            <a:r>
              <a:rPr lang="en-US" altLang="zh-CN" sz="2400" dirty="0">
                <a:solidFill>
                  <a:schemeClr val="bg1"/>
                </a:solidFill>
                <a:latin typeface="+mn-ea"/>
              </a:rPr>
              <a:t>XXX</a:t>
            </a:r>
            <a:endParaRPr lang="en-US" altLang="zh-CN" sz="2400" dirty="0">
              <a:solidFill>
                <a:schemeClr val="bg1"/>
              </a:solidFill>
              <a:latin typeface="+mn-ea"/>
            </a:endParaRPr>
          </a:p>
          <a:p>
            <a:pPr algn="l">
              <a:lnSpc>
                <a:spcPct val="200000"/>
              </a:lnSpc>
              <a:tabLst>
                <a:tab pos="1525270" algn="l"/>
              </a:tabLst>
            </a:pPr>
            <a:r>
              <a:rPr lang="en-US" altLang="zh-CN" sz="2400" dirty="0">
                <a:solidFill>
                  <a:schemeClr val="bg1"/>
                </a:solidFill>
                <a:latin typeface="+mn-ea"/>
              </a:rPr>
              <a:t>2</a:t>
            </a:r>
            <a:r>
              <a:rPr lang="zh-CN" altLang="en-US" sz="2400" dirty="0">
                <a:solidFill>
                  <a:schemeClr val="bg1"/>
                </a:solidFill>
                <a:latin typeface="+mn-ea"/>
              </a:rPr>
              <a:t>、</a:t>
            </a:r>
            <a:r>
              <a:rPr lang="en-US" altLang="zh-CN" sz="2400" dirty="0">
                <a:solidFill>
                  <a:schemeClr val="bg1"/>
                </a:solidFill>
                <a:latin typeface="+mn-ea"/>
              </a:rPr>
              <a:t>XXX</a:t>
            </a:r>
            <a:endParaRPr lang="en-US" altLang="zh-CN" sz="2400" dirty="0">
              <a:solidFill>
                <a:schemeClr val="bg1"/>
              </a:solidFill>
              <a:latin typeface="+mn-ea"/>
            </a:endParaRPr>
          </a:p>
          <a:p>
            <a:pPr algn="l">
              <a:lnSpc>
                <a:spcPct val="200000"/>
              </a:lnSpc>
              <a:tabLst>
                <a:tab pos="1525270" algn="l"/>
              </a:tabLst>
            </a:pPr>
            <a:endParaRPr lang="zh-CN" altLang="en-US" sz="2400" dirty="0">
              <a:solidFill>
                <a:schemeClr val="bg1"/>
              </a:solidFill>
              <a:latin typeface="+mn-ea"/>
            </a:endParaRP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占位符 1"/>
          <p:cNvSpPr txBox="1"/>
          <p:nvPr/>
        </p:nvSpPr>
        <p:spPr>
          <a:xfrm>
            <a:off x="4495" y="2880359"/>
            <a:ext cx="12293522" cy="1307805"/>
          </a:xfrm>
          <a:prstGeom prst="rect">
            <a:avLst/>
          </a:prstGeom>
          <a:solidFill>
            <a:srgbClr val="FFFFFF">
              <a:alpha val="30196"/>
            </a:srgbClr>
          </a:solidFill>
        </p:spPr>
        <p:txBody>
          <a:bodyPr anchor="ctr">
            <a:normAutofit/>
          </a:bodyPr>
          <a:lstStyle>
            <a:lvl1pPr marL="0" indent="0" algn="ctr" defTabSz="914400" rtl="0" eaLnBrk="1" latinLnBrk="0" hangingPunct="1">
              <a:lnSpc>
                <a:spcPct val="90000"/>
              </a:lnSpc>
              <a:spcBef>
                <a:spcPts val="1000"/>
              </a:spcBef>
              <a:buFont typeface="Arial" panose="020B0604020202090204" pitchFamily="34" charset="0"/>
              <a:buNone/>
              <a:defRPr sz="4000" b="1" kern="1200">
                <a:solidFill>
                  <a:schemeClr val="bg1"/>
                </a:solidFill>
                <a:effectLst>
                  <a:outerShdw blurRad="38100" dist="38100" dir="2700000" algn="tl">
                    <a:srgbClr val="000000">
                      <a:alpha val="43137"/>
                    </a:srgbClr>
                  </a:outerShdw>
                </a:effectLst>
                <a:latin typeface="Arial" panose="020B0604020202090204" pitchFamily="34" charset="0"/>
                <a:ea typeface="华文楷体" panose="02010600040101010101" pitchFamily="2" charset="-122"/>
                <a:cs typeface="Arial" panose="020B0604020202090204" pitchFamily="34" charset="0"/>
                <a:sym typeface="STKaiti" panose="02010600040101010101" pitchFamily="2" charset="-122"/>
              </a:defRPr>
            </a:lvl1pPr>
            <a:lvl2pPr marL="355600" indent="-177800" algn="l" defTabSz="914400" rtl="0" eaLnBrk="1" latinLnBrk="0" hangingPunct="1">
              <a:lnSpc>
                <a:spcPct val="90000"/>
              </a:lnSpc>
              <a:spcBef>
                <a:spcPts val="500"/>
              </a:spcBef>
              <a:buFont typeface="华文楷体" panose="02010600040101010101" pitchFamily="2" charset="-122"/>
              <a:buChar char="−"/>
              <a:defRPr sz="1600" kern="1200">
                <a:solidFill>
                  <a:schemeClr val="tx1"/>
                </a:solidFill>
                <a:latin typeface="+mn-lt"/>
                <a:ea typeface="+mn-ea"/>
                <a:cs typeface="+mn-cs"/>
              </a:defRPr>
            </a:lvl2pPr>
            <a:lvl3pPr marL="541655" indent="-186055" algn="l" defTabSz="914400" rtl="0" eaLnBrk="1" latinLnBrk="0" hangingPunct="1">
              <a:lnSpc>
                <a:spcPct val="90000"/>
              </a:lnSpc>
              <a:spcBef>
                <a:spcPts val="500"/>
              </a:spcBef>
              <a:buFont typeface="Arial" panose="020B0604020202090204" pitchFamily="34" charset="0"/>
              <a:buChar char="•"/>
              <a:defRPr sz="1400" kern="1200">
                <a:solidFill>
                  <a:schemeClr val="tx1"/>
                </a:solidFill>
                <a:latin typeface="+mn-lt"/>
                <a:ea typeface="+mn-ea"/>
                <a:cs typeface="+mn-cs"/>
              </a:defRPr>
            </a:lvl3pPr>
            <a:lvl4pPr marL="719455" indent="-177800" algn="l" defTabSz="914400" rtl="0" eaLnBrk="1" latinLnBrk="0" hangingPunct="1">
              <a:lnSpc>
                <a:spcPct val="90000"/>
              </a:lnSpc>
              <a:spcBef>
                <a:spcPts val="500"/>
              </a:spcBef>
              <a:buFont typeface="华文楷体" panose="02010600040101010101" pitchFamily="2" charset="-122"/>
              <a:buChar char="−"/>
              <a:defRPr sz="1200" kern="1200">
                <a:solidFill>
                  <a:schemeClr val="tx1"/>
                </a:solidFill>
                <a:latin typeface="+mn-lt"/>
                <a:ea typeface="+mn-ea"/>
                <a:cs typeface="+mn-cs"/>
              </a:defRPr>
            </a:lvl4pPr>
            <a:lvl5pPr marL="897255" indent="-177800" algn="l" defTabSz="914400" rtl="0" eaLnBrk="1" latinLnBrk="0" hangingPunct="1">
              <a:lnSpc>
                <a:spcPct val="90000"/>
              </a:lnSpc>
              <a:spcBef>
                <a:spcPts val="500"/>
              </a:spcBef>
              <a:buFont typeface="Arial" panose="020B060402020209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9pPr>
          </a:lstStyle>
          <a:p>
            <a:r>
              <a:rPr lang="en-US" altLang="zh-CN" dirty="0">
                <a:latin typeface="+mn-lt"/>
                <a:ea typeface="+mn-ea"/>
                <a:cs typeface="+mn-cs"/>
              </a:rPr>
              <a:t>XXXXXX</a:t>
            </a:r>
            <a:endParaRPr lang="zh-CN" altLang="en-US" dirty="0"/>
          </a:p>
        </p:txBody>
      </p:sp>
    </p:spTree>
  </p:cSld>
  <p:clrMapOvr>
    <a:masterClrMapping/>
  </p:clrMapOvr>
  <p:transition spd="med"/>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2" name="组合 31"/>
          <p:cNvGrpSpPr/>
          <p:nvPr/>
        </p:nvGrpSpPr>
        <p:grpSpPr>
          <a:xfrm>
            <a:off x="660401" y="1130300"/>
            <a:ext cx="10858500" cy="5003800"/>
            <a:chOff x="660400" y="1130300"/>
            <a:chExt cx="10858500" cy="5003800"/>
          </a:xfrm>
        </p:grpSpPr>
        <p:sp>
          <p:nvSpPr>
            <p:cNvPr id="2" name="等腰三角形 1"/>
            <p:cNvSpPr/>
            <p:nvPr/>
          </p:nvSpPr>
          <p:spPr>
            <a:xfrm>
              <a:off x="4957716" y="2856905"/>
              <a:ext cx="2705818" cy="2332601"/>
            </a:xfrm>
            <a:prstGeom prst="triangle">
              <a:avLst/>
            </a:prstGeom>
            <a:blipFill>
              <a:blip r:embed="rId1"/>
              <a:stretch>
                <a:fillRect l="-15847" t="667" r="-17411" b="-667"/>
              </a:stretch>
            </a:blipFill>
            <a:ln w="38100">
              <a:noFill/>
              <a:roun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文本框 10"/>
            <p:cNvSpPr txBox="1"/>
            <p:nvPr/>
          </p:nvSpPr>
          <p:spPr>
            <a:xfrm>
              <a:off x="660400" y="1130300"/>
              <a:ext cx="4116261" cy="1498600"/>
            </a:xfrm>
            <a:prstGeom prst="rect">
              <a:avLst/>
            </a:prstGeom>
            <a:noFill/>
          </p:spPr>
          <p:txBody>
            <a:bodyPr vert="horz" wrap="square" rtlCol="0" anchor="t" anchorCtr="0">
              <a:normAutofit/>
            </a:bodyPr>
            <a:lstStyle/>
            <a:p>
              <a:r>
                <a:rPr lang="en-US" altLang="zh-CN" sz="2400" b="1" dirty="0">
                  <a:latin typeface="Calibri" pitchFamily="34" charset="0"/>
                  <a:ea typeface="宋体" pitchFamily="2" charset="-122"/>
                </a:rPr>
                <a:t>Unified fonts make reading more fluent</a:t>
              </a:r>
              <a:endParaRPr lang="zh-CN" altLang="en-US" sz="2400" b="1" dirty="0">
                <a:latin typeface="Calibri" pitchFamily="34" charset="0"/>
                <a:ea typeface="宋体" pitchFamily="2" charset="-122"/>
              </a:endParaRPr>
            </a:p>
          </p:txBody>
        </p:sp>
        <p:grpSp>
          <p:nvGrpSpPr>
            <p:cNvPr id="28" name="组合 27"/>
            <p:cNvGrpSpPr/>
            <p:nvPr/>
          </p:nvGrpSpPr>
          <p:grpSpPr>
            <a:xfrm>
              <a:off x="5868345" y="1310448"/>
              <a:ext cx="4280252" cy="3436838"/>
              <a:chOff x="5868345" y="1310448"/>
              <a:chExt cx="4280252" cy="3436838"/>
            </a:xfrm>
          </p:grpSpPr>
          <p:sp>
            <p:nvSpPr>
              <p:cNvPr id="4" name="等腰三角形 3"/>
              <p:cNvSpPr/>
              <p:nvPr/>
            </p:nvSpPr>
            <p:spPr>
              <a:xfrm>
                <a:off x="5868345" y="2066925"/>
                <a:ext cx="884559" cy="762551"/>
              </a:xfrm>
              <a:prstGeom prs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箭头: 右 7"/>
              <p:cNvSpPr/>
              <p:nvPr/>
            </p:nvSpPr>
            <p:spPr>
              <a:xfrm rot="14461455" flipH="1" flipV="1">
                <a:off x="6329006" y="3719680"/>
                <a:ext cx="1813422" cy="241789"/>
              </a:xfrm>
              <a:prstGeom prst="rightArrow">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文本框 12"/>
              <p:cNvSpPr txBox="1"/>
              <p:nvPr/>
            </p:nvSpPr>
            <p:spPr>
              <a:xfrm>
                <a:off x="7041500" y="1906710"/>
                <a:ext cx="3107096" cy="665040"/>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rmAutofit/>
              </a:bodyPr>
              <a:lstStyle>
                <a:defPPr>
                  <a:defRPr lang="zh-CN"/>
                </a:defPPr>
                <a:lvl1pPr algn="ctr">
                  <a:defRPr sz="1400" b="1"/>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lnSpc>
                    <a:spcPct val="120000"/>
                  </a:lnSpc>
                </a:pPr>
                <a:r>
                  <a:rPr lang="en-US" altLang="zh-CN" sz="1200" b="0">
                    <a:solidFill>
                      <a:schemeClr val="tx1"/>
                    </a:solidFill>
                    <a:latin typeface="Calibri" pitchFamily="34" charset="0"/>
                    <a:ea typeface="宋体" pitchFamily="2" charset="-122"/>
                  </a:rPr>
                  <a:t>Sea amet amet erat at voluptua sadipscing duo et invidunt.</a:t>
                </a:r>
                <a:endParaRPr lang="en-US" altLang="zh-CN" sz="1200" b="0" dirty="0">
                  <a:solidFill>
                    <a:schemeClr val="tx1"/>
                  </a:solidFill>
                  <a:latin typeface="Calibri" pitchFamily="34" charset="0"/>
                  <a:ea typeface="宋体" pitchFamily="2" charset="-122"/>
                </a:endParaRPr>
              </a:p>
            </p:txBody>
          </p:sp>
          <p:sp>
            <p:nvSpPr>
              <p:cNvPr id="14" name="文本框 13"/>
              <p:cNvSpPr txBox="1"/>
              <p:nvPr/>
            </p:nvSpPr>
            <p:spPr>
              <a:xfrm>
                <a:off x="7041501" y="1310448"/>
                <a:ext cx="3107096" cy="596261"/>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normAutofit/>
              </a:bodyPr>
              <a:lstStyle>
                <a:defPPr>
                  <a:defRPr lang="zh-CN"/>
                </a:defPPr>
                <a:lvl1pPr algn="ctr">
                  <a:defRPr sz="1400" b="1"/>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n-US" altLang="zh-CN" sz="1800" dirty="0">
                    <a:solidFill>
                      <a:schemeClr val="tx1"/>
                    </a:solidFill>
                    <a:latin typeface="Calibri" pitchFamily="34" charset="0"/>
                    <a:ea typeface="宋体" pitchFamily="2" charset="-122"/>
                  </a:rPr>
                  <a:t>Click to add text</a:t>
                </a:r>
                <a:endParaRPr lang="en-US" altLang="zh-CN" sz="1800" dirty="0">
                  <a:solidFill>
                    <a:schemeClr val="tx1"/>
                  </a:solidFill>
                  <a:latin typeface="Calibri" pitchFamily="34" charset="0"/>
                  <a:ea typeface="宋体" pitchFamily="2" charset="-122"/>
                </a:endParaRPr>
              </a:p>
            </p:txBody>
          </p:sp>
          <p:sp>
            <p:nvSpPr>
              <p:cNvPr id="21" name="任意多边形: 形状 20"/>
              <p:cNvSpPr/>
              <p:nvPr/>
            </p:nvSpPr>
            <p:spPr>
              <a:xfrm>
                <a:off x="6197510" y="2421773"/>
                <a:ext cx="226228" cy="275406"/>
              </a:xfrm>
              <a:custGeom>
                <a:avLst/>
                <a:gdLst>
                  <a:gd name="connsiteX0" fmla="*/ 284197 w 438150"/>
                  <a:gd name="connsiteY0" fmla="*/ 621 h 533400"/>
                  <a:gd name="connsiteX1" fmla="*/ 286102 w 438150"/>
                  <a:gd name="connsiteY1" fmla="*/ 621 h 533400"/>
                  <a:gd name="connsiteX2" fmla="*/ 286102 w 438150"/>
                  <a:gd name="connsiteY2" fmla="*/ 124446 h 533400"/>
                  <a:gd name="connsiteX3" fmla="*/ 286102 w 438150"/>
                  <a:gd name="connsiteY3" fmla="*/ 126351 h 533400"/>
                  <a:gd name="connsiteX4" fmla="*/ 314677 w 438150"/>
                  <a:gd name="connsiteY4" fmla="*/ 153021 h 533400"/>
                  <a:gd name="connsiteX5" fmla="*/ 314677 w 438150"/>
                  <a:gd name="connsiteY5" fmla="*/ 153021 h 533400"/>
                  <a:gd name="connsiteX6" fmla="*/ 438502 w 438150"/>
                  <a:gd name="connsiteY6" fmla="*/ 153021 h 533400"/>
                  <a:gd name="connsiteX7" fmla="*/ 438502 w 438150"/>
                  <a:gd name="connsiteY7" fmla="*/ 154926 h 533400"/>
                  <a:gd name="connsiteX8" fmla="*/ 438502 w 438150"/>
                  <a:gd name="connsiteY8" fmla="*/ 505446 h 533400"/>
                  <a:gd name="connsiteX9" fmla="*/ 409927 w 438150"/>
                  <a:gd name="connsiteY9" fmla="*/ 534021 h 533400"/>
                  <a:gd name="connsiteX10" fmla="*/ 28927 w 438150"/>
                  <a:gd name="connsiteY10" fmla="*/ 534021 h 533400"/>
                  <a:gd name="connsiteX11" fmla="*/ 352 w 438150"/>
                  <a:gd name="connsiteY11" fmla="*/ 505446 h 533400"/>
                  <a:gd name="connsiteX12" fmla="*/ 352 w 438150"/>
                  <a:gd name="connsiteY12" fmla="*/ 29196 h 533400"/>
                  <a:gd name="connsiteX13" fmla="*/ 28927 w 438150"/>
                  <a:gd name="connsiteY13" fmla="*/ 621 h 533400"/>
                  <a:gd name="connsiteX14" fmla="*/ 284197 w 438150"/>
                  <a:gd name="connsiteY14" fmla="*/ 621 h 533400"/>
                  <a:gd name="connsiteX15" fmla="*/ 248002 w 438150"/>
                  <a:gd name="connsiteY15" fmla="*/ 200646 h 533400"/>
                  <a:gd name="connsiteX16" fmla="*/ 152752 w 438150"/>
                  <a:gd name="connsiteY16" fmla="*/ 200646 h 533400"/>
                  <a:gd name="connsiteX17" fmla="*/ 152752 w 438150"/>
                  <a:gd name="connsiteY17" fmla="*/ 410196 h 533400"/>
                  <a:gd name="connsiteX18" fmla="*/ 171802 w 438150"/>
                  <a:gd name="connsiteY18" fmla="*/ 410196 h 533400"/>
                  <a:gd name="connsiteX19" fmla="*/ 171802 w 438150"/>
                  <a:gd name="connsiteY19" fmla="*/ 314946 h 533400"/>
                  <a:gd name="connsiteX20" fmla="*/ 248002 w 438150"/>
                  <a:gd name="connsiteY20" fmla="*/ 314946 h 533400"/>
                  <a:gd name="connsiteX21" fmla="*/ 249907 w 438150"/>
                  <a:gd name="connsiteY21" fmla="*/ 314946 h 533400"/>
                  <a:gd name="connsiteX22" fmla="*/ 305152 w 438150"/>
                  <a:gd name="connsiteY22" fmla="*/ 257796 h 533400"/>
                  <a:gd name="connsiteX23" fmla="*/ 248002 w 438150"/>
                  <a:gd name="connsiteY23" fmla="*/ 200646 h 533400"/>
                  <a:gd name="connsiteX24" fmla="*/ 248002 w 438150"/>
                  <a:gd name="connsiteY24" fmla="*/ 200646 h 533400"/>
                  <a:gd name="connsiteX25" fmla="*/ 248002 w 438150"/>
                  <a:gd name="connsiteY25" fmla="*/ 219696 h 533400"/>
                  <a:gd name="connsiteX26" fmla="*/ 286102 w 438150"/>
                  <a:gd name="connsiteY26" fmla="*/ 257796 h 533400"/>
                  <a:gd name="connsiteX27" fmla="*/ 248002 w 438150"/>
                  <a:gd name="connsiteY27" fmla="*/ 295896 h 533400"/>
                  <a:gd name="connsiteX28" fmla="*/ 248002 w 438150"/>
                  <a:gd name="connsiteY28" fmla="*/ 295896 h 533400"/>
                  <a:gd name="connsiteX29" fmla="*/ 171802 w 438150"/>
                  <a:gd name="connsiteY29" fmla="*/ 295896 h 533400"/>
                  <a:gd name="connsiteX30" fmla="*/ 171802 w 438150"/>
                  <a:gd name="connsiteY30" fmla="*/ 219696 h 533400"/>
                  <a:gd name="connsiteX31" fmla="*/ 248002 w 438150"/>
                  <a:gd name="connsiteY31" fmla="*/ 219696 h 533400"/>
                  <a:gd name="connsiteX32" fmla="*/ 428977 w 438150"/>
                  <a:gd name="connsiteY32" fmla="*/ 133971 h 533400"/>
                  <a:gd name="connsiteX33" fmla="*/ 314677 w 438150"/>
                  <a:gd name="connsiteY33" fmla="*/ 133971 h 533400"/>
                  <a:gd name="connsiteX34" fmla="*/ 313724 w 438150"/>
                  <a:gd name="connsiteY34" fmla="*/ 133971 h 533400"/>
                  <a:gd name="connsiteX35" fmla="*/ 305152 w 438150"/>
                  <a:gd name="connsiteY35" fmla="*/ 124446 h 533400"/>
                  <a:gd name="connsiteX36" fmla="*/ 305152 w 438150"/>
                  <a:gd name="connsiteY36" fmla="*/ 124446 h 533400"/>
                  <a:gd name="connsiteX37" fmla="*/ 305152 w 438150"/>
                  <a:gd name="connsiteY37" fmla="*/ 10146 h 533400"/>
                  <a:gd name="connsiteX38" fmla="*/ 428977 w 438150"/>
                  <a:gd name="connsiteY38" fmla="*/ 133971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38150" h="533400">
                    <a:moveTo>
                      <a:pt x="284197" y="621"/>
                    </a:moveTo>
                    <a:cubicBezTo>
                      <a:pt x="285149" y="621"/>
                      <a:pt x="286102" y="621"/>
                      <a:pt x="286102" y="621"/>
                    </a:cubicBezTo>
                    <a:lnTo>
                      <a:pt x="286102" y="124446"/>
                    </a:lnTo>
                    <a:lnTo>
                      <a:pt x="286102" y="126351"/>
                    </a:lnTo>
                    <a:cubicBezTo>
                      <a:pt x="287055" y="141591"/>
                      <a:pt x="299437" y="153021"/>
                      <a:pt x="314677" y="153021"/>
                    </a:cubicBezTo>
                    <a:lnTo>
                      <a:pt x="314677" y="153021"/>
                    </a:lnTo>
                    <a:lnTo>
                      <a:pt x="438502" y="153021"/>
                    </a:lnTo>
                    <a:cubicBezTo>
                      <a:pt x="438502" y="153974"/>
                      <a:pt x="438502" y="154926"/>
                      <a:pt x="438502" y="154926"/>
                    </a:cubicBezTo>
                    <a:lnTo>
                      <a:pt x="438502" y="505446"/>
                    </a:lnTo>
                    <a:cubicBezTo>
                      <a:pt x="438502" y="521639"/>
                      <a:pt x="426120" y="534021"/>
                      <a:pt x="409927" y="534021"/>
                    </a:cubicBezTo>
                    <a:lnTo>
                      <a:pt x="28927" y="534021"/>
                    </a:lnTo>
                    <a:cubicBezTo>
                      <a:pt x="12734" y="534021"/>
                      <a:pt x="352" y="521639"/>
                      <a:pt x="352" y="505446"/>
                    </a:cubicBezTo>
                    <a:lnTo>
                      <a:pt x="352" y="29196"/>
                    </a:lnTo>
                    <a:cubicBezTo>
                      <a:pt x="352" y="13004"/>
                      <a:pt x="12734" y="621"/>
                      <a:pt x="28927" y="621"/>
                    </a:cubicBezTo>
                    <a:lnTo>
                      <a:pt x="284197" y="621"/>
                    </a:lnTo>
                    <a:close/>
                    <a:moveTo>
                      <a:pt x="248002" y="200646"/>
                    </a:moveTo>
                    <a:lnTo>
                      <a:pt x="152752" y="200646"/>
                    </a:lnTo>
                    <a:lnTo>
                      <a:pt x="152752" y="410196"/>
                    </a:lnTo>
                    <a:lnTo>
                      <a:pt x="171802" y="410196"/>
                    </a:lnTo>
                    <a:lnTo>
                      <a:pt x="171802" y="314946"/>
                    </a:lnTo>
                    <a:lnTo>
                      <a:pt x="248002" y="314946"/>
                    </a:lnTo>
                    <a:lnTo>
                      <a:pt x="249907" y="314946"/>
                    </a:lnTo>
                    <a:cubicBezTo>
                      <a:pt x="280387" y="313994"/>
                      <a:pt x="305152" y="288276"/>
                      <a:pt x="305152" y="257796"/>
                    </a:cubicBezTo>
                    <a:cubicBezTo>
                      <a:pt x="305152" y="226364"/>
                      <a:pt x="279434" y="200646"/>
                      <a:pt x="248002" y="200646"/>
                    </a:cubicBezTo>
                    <a:lnTo>
                      <a:pt x="248002" y="200646"/>
                    </a:lnTo>
                    <a:close/>
                    <a:moveTo>
                      <a:pt x="248002" y="219696"/>
                    </a:moveTo>
                    <a:cubicBezTo>
                      <a:pt x="268957" y="219696"/>
                      <a:pt x="286102" y="236841"/>
                      <a:pt x="286102" y="257796"/>
                    </a:cubicBezTo>
                    <a:cubicBezTo>
                      <a:pt x="286102" y="278751"/>
                      <a:pt x="268957" y="295896"/>
                      <a:pt x="248002" y="295896"/>
                    </a:cubicBezTo>
                    <a:lnTo>
                      <a:pt x="248002" y="295896"/>
                    </a:lnTo>
                    <a:lnTo>
                      <a:pt x="171802" y="295896"/>
                    </a:lnTo>
                    <a:lnTo>
                      <a:pt x="171802" y="219696"/>
                    </a:lnTo>
                    <a:lnTo>
                      <a:pt x="248002" y="219696"/>
                    </a:lnTo>
                    <a:close/>
                    <a:moveTo>
                      <a:pt x="428977" y="133971"/>
                    </a:moveTo>
                    <a:lnTo>
                      <a:pt x="314677" y="133971"/>
                    </a:lnTo>
                    <a:lnTo>
                      <a:pt x="313724" y="133971"/>
                    </a:lnTo>
                    <a:cubicBezTo>
                      <a:pt x="308962" y="133019"/>
                      <a:pt x="305152" y="129209"/>
                      <a:pt x="305152" y="124446"/>
                    </a:cubicBezTo>
                    <a:lnTo>
                      <a:pt x="305152" y="124446"/>
                    </a:lnTo>
                    <a:lnTo>
                      <a:pt x="305152" y="10146"/>
                    </a:lnTo>
                    <a:lnTo>
                      <a:pt x="428977" y="133971"/>
                    </a:lnTo>
                    <a:close/>
                  </a:path>
                </a:pathLst>
              </a:custGeom>
              <a:solidFill>
                <a:srgbClr val="FFFFFF"/>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grpSp>
        <p:grpSp>
          <p:nvGrpSpPr>
            <p:cNvPr id="30" name="组合 29"/>
            <p:cNvGrpSpPr/>
            <p:nvPr/>
          </p:nvGrpSpPr>
          <p:grpSpPr>
            <a:xfrm>
              <a:off x="5367097" y="4286250"/>
              <a:ext cx="6151803" cy="1847850"/>
              <a:chOff x="5367097" y="4286250"/>
              <a:chExt cx="6151803" cy="1847850"/>
            </a:xfrm>
          </p:grpSpPr>
          <p:sp>
            <p:nvSpPr>
              <p:cNvPr id="6" name="等腰三角形 5"/>
              <p:cNvSpPr/>
              <p:nvPr/>
            </p:nvSpPr>
            <p:spPr>
              <a:xfrm>
                <a:off x="7486000" y="4791919"/>
                <a:ext cx="884559" cy="762551"/>
              </a:xfrm>
              <a:prstGeom prst="triangl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箭头: 右 8"/>
              <p:cNvSpPr/>
              <p:nvPr/>
            </p:nvSpPr>
            <p:spPr>
              <a:xfrm flipH="1" flipV="1">
                <a:off x="5367097" y="5310041"/>
                <a:ext cx="1813423" cy="241789"/>
              </a:xfrm>
              <a:prstGeom prst="rightArrow">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文本框 14"/>
              <p:cNvSpPr txBox="1"/>
              <p:nvPr/>
            </p:nvSpPr>
            <p:spPr>
              <a:xfrm>
                <a:off x="8684365" y="4882512"/>
                <a:ext cx="2834534" cy="1251588"/>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rmAutofit/>
              </a:bodyPr>
              <a:lstStyle>
                <a:defPPr>
                  <a:defRPr lang="zh-CN"/>
                </a:defPPr>
                <a:lvl1pPr algn="ctr">
                  <a:defRPr sz="1400" b="1"/>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lnSpc>
                    <a:spcPct val="120000"/>
                  </a:lnSpc>
                </a:pPr>
                <a:r>
                  <a:rPr lang="en-US" altLang="zh-CN" sz="1200" b="0">
                    <a:solidFill>
                      <a:schemeClr val="tx1"/>
                    </a:solidFill>
                    <a:latin typeface="Calibri" pitchFamily="34" charset="0"/>
                    <a:ea typeface="宋体" pitchFamily="2" charset="-122"/>
                  </a:rPr>
                  <a:t>At elitr eos nonummy lorem takimata accumsan dolor soluta.</a:t>
                </a:r>
                <a:endParaRPr lang="en-US" altLang="zh-CN" sz="1200" b="0" dirty="0">
                  <a:solidFill>
                    <a:schemeClr val="tx1"/>
                  </a:solidFill>
                  <a:latin typeface="Calibri" pitchFamily="34" charset="0"/>
                  <a:ea typeface="宋体" pitchFamily="2" charset="-122"/>
                </a:endParaRPr>
              </a:p>
            </p:txBody>
          </p:sp>
          <p:sp>
            <p:nvSpPr>
              <p:cNvPr id="16" name="文本框 15"/>
              <p:cNvSpPr txBox="1"/>
              <p:nvPr/>
            </p:nvSpPr>
            <p:spPr>
              <a:xfrm>
                <a:off x="8684366" y="4286250"/>
                <a:ext cx="2834534" cy="596261"/>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normAutofit/>
              </a:bodyPr>
              <a:lstStyle>
                <a:defPPr>
                  <a:defRPr lang="zh-CN"/>
                </a:defPPr>
                <a:lvl1pPr algn="ctr">
                  <a:defRPr sz="1400" b="1"/>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n-US" altLang="zh-CN" sz="1800">
                    <a:solidFill>
                      <a:schemeClr val="tx1"/>
                    </a:solidFill>
                    <a:latin typeface="Calibri" pitchFamily="34" charset="0"/>
                    <a:ea typeface="宋体" pitchFamily="2" charset="-122"/>
                  </a:rPr>
                  <a:t>Click to add text</a:t>
                </a:r>
                <a:endParaRPr lang="en-US" altLang="zh-CN" sz="1800" dirty="0">
                  <a:solidFill>
                    <a:schemeClr val="tx1"/>
                  </a:solidFill>
                  <a:latin typeface="Calibri" pitchFamily="34" charset="0"/>
                  <a:ea typeface="宋体" pitchFamily="2" charset="-122"/>
                </a:endParaRPr>
              </a:p>
            </p:txBody>
          </p:sp>
          <p:sp>
            <p:nvSpPr>
              <p:cNvPr id="27" name="任意多边形: 形状 26"/>
              <p:cNvSpPr/>
              <p:nvPr/>
            </p:nvSpPr>
            <p:spPr>
              <a:xfrm>
                <a:off x="7790576" y="5174275"/>
                <a:ext cx="275406" cy="206554"/>
              </a:xfrm>
              <a:custGeom>
                <a:avLst/>
                <a:gdLst>
                  <a:gd name="connsiteX0" fmla="*/ 505433 w 533400"/>
                  <a:gd name="connsiteY0" fmla="*/ 621 h 400050"/>
                  <a:gd name="connsiteX1" fmla="*/ 534008 w 533400"/>
                  <a:gd name="connsiteY1" fmla="*/ 29196 h 400050"/>
                  <a:gd name="connsiteX2" fmla="*/ 534008 w 533400"/>
                  <a:gd name="connsiteY2" fmla="*/ 372096 h 400050"/>
                  <a:gd name="connsiteX3" fmla="*/ 505433 w 533400"/>
                  <a:gd name="connsiteY3" fmla="*/ 400671 h 400050"/>
                  <a:gd name="connsiteX4" fmla="*/ 29183 w 533400"/>
                  <a:gd name="connsiteY4" fmla="*/ 400671 h 400050"/>
                  <a:gd name="connsiteX5" fmla="*/ 608 w 533400"/>
                  <a:gd name="connsiteY5" fmla="*/ 372096 h 400050"/>
                  <a:gd name="connsiteX6" fmla="*/ 608 w 533400"/>
                  <a:gd name="connsiteY6" fmla="*/ 29196 h 400050"/>
                  <a:gd name="connsiteX7" fmla="*/ 29183 w 533400"/>
                  <a:gd name="connsiteY7" fmla="*/ 621 h 400050"/>
                  <a:gd name="connsiteX8" fmla="*/ 505433 w 533400"/>
                  <a:gd name="connsiteY8" fmla="*/ 621 h 400050"/>
                  <a:gd name="connsiteX9" fmla="*/ 391133 w 533400"/>
                  <a:gd name="connsiteY9" fmla="*/ 198741 h 400050"/>
                  <a:gd name="connsiteX10" fmla="*/ 351128 w 533400"/>
                  <a:gd name="connsiteY10" fmla="*/ 204456 h 400050"/>
                  <a:gd name="connsiteX11" fmla="*/ 351128 w 533400"/>
                  <a:gd name="connsiteY11" fmla="*/ 204456 h 400050"/>
                  <a:gd name="connsiteX12" fmla="*/ 267308 w 533400"/>
                  <a:gd name="connsiteY12" fmla="*/ 315899 h 400050"/>
                  <a:gd name="connsiteX13" fmla="*/ 264451 w 533400"/>
                  <a:gd name="connsiteY13" fmla="*/ 318756 h 400050"/>
                  <a:gd name="connsiteX14" fmla="*/ 224446 w 533400"/>
                  <a:gd name="connsiteY14" fmla="*/ 318756 h 400050"/>
                  <a:gd name="connsiteX15" fmla="*/ 224446 w 533400"/>
                  <a:gd name="connsiteY15" fmla="*/ 318756 h 400050"/>
                  <a:gd name="connsiteX16" fmla="*/ 162533 w 533400"/>
                  <a:gd name="connsiteY16" fmla="*/ 257796 h 400050"/>
                  <a:gd name="connsiteX17" fmla="*/ 160628 w 533400"/>
                  <a:gd name="connsiteY17" fmla="*/ 255891 h 400050"/>
                  <a:gd name="connsiteX18" fmla="*/ 120623 w 533400"/>
                  <a:gd name="connsiteY18" fmla="*/ 259701 h 400050"/>
                  <a:gd name="connsiteX19" fmla="*/ 120623 w 533400"/>
                  <a:gd name="connsiteY19" fmla="*/ 259701 h 400050"/>
                  <a:gd name="connsiteX20" fmla="*/ 32993 w 533400"/>
                  <a:gd name="connsiteY20" fmla="*/ 366381 h 400050"/>
                  <a:gd name="connsiteX21" fmla="*/ 31088 w 533400"/>
                  <a:gd name="connsiteY21" fmla="*/ 372096 h 400050"/>
                  <a:gd name="connsiteX22" fmla="*/ 40613 w 533400"/>
                  <a:gd name="connsiteY22" fmla="*/ 381621 h 400050"/>
                  <a:gd name="connsiteX23" fmla="*/ 40613 w 533400"/>
                  <a:gd name="connsiteY23" fmla="*/ 381621 h 400050"/>
                  <a:gd name="connsiteX24" fmla="*/ 497813 w 533400"/>
                  <a:gd name="connsiteY24" fmla="*/ 381621 h 400050"/>
                  <a:gd name="connsiteX25" fmla="*/ 503528 w 533400"/>
                  <a:gd name="connsiteY25" fmla="*/ 379716 h 400050"/>
                  <a:gd name="connsiteX26" fmla="*/ 506386 w 533400"/>
                  <a:gd name="connsiteY26" fmla="*/ 366381 h 400050"/>
                  <a:gd name="connsiteX27" fmla="*/ 506386 w 533400"/>
                  <a:gd name="connsiteY27" fmla="*/ 366381 h 400050"/>
                  <a:gd name="connsiteX28" fmla="*/ 398753 w 533400"/>
                  <a:gd name="connsiteY28" fmla="*/ 205409 h 400050"/>
                  <a:gd name="connsiteX29" fmla="*/ 391133 w 533400"/>
                  <a:gd name="connsiteY29" fmla="*/ 198741 h 400050"/>
                  <a:gd name="connsiteX30" fmla="*/ 95858 w 533400"/>
                  <a:gd name="connsiteY30" fmla="*/ 57771 h 400050"/>
                  <a:gd name="connsiteX31" fmla="*/ 57758 w 533400"/>
                  <a:gd name="connsiteY31" fmla="*/ 95871 h 400050"/>
                  <a:gd name="connsiteX32" fmla="*/ 95858 w 533400"/>
                  <a:gd name="connsiteY32" fmla="*/ 133971 h 400050"/>
                  <a:gd name="connsiteX33" fmla="*/ 133958 w 533400"/>
                  <a:gd name="connsiteY33" fmla="*/ 95871 h 400050"/>
                  <a:gd name="connsiteX34" fmla="*/ 95858 w 533400"/>
                  <a:gd name="connsiteY34" fmla="*/ 57771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33400" h="400050">
                    <a:moveTo>
                      <a:pt x="505433" y="621"/>
                    </a:moveTo>
                    <a:cubicBezTo>
                      <a:pt x="521626" y="621"/>
                      <a:pt x="534008" y="13004"/>
                      <a:pt x="534008" y="29196"/>
                    </a:cubicBezTo>
                    <a:lnTo>
                      <a:pt x="534008" y="372096"/>
                    </a:lnTo>
                    <a:cubicBezTo>
                      <a:pt x="534008" y="388289"/>
                      <a:pt x="521626" y="400671"/>
                      <a:pt x="505433" y="400671"/>
                    </a:cubicBezTo>
                    <a:lnTo>
                      <a:pt x="29183" y="400671"/>
                    </a:lnTo>
                    <a:cubicBezTo>
                      <a:pt x="12990" y="400671"/>
                      <a:pt x="608" y="388289"/>
                      <a:pt x="608" y="372096"/>
                    </a:cubicBezTo>
                    <a:lnTo>
                      <a:pt x="608" y="29196"/>
                    </a:lnTo>
                    <a:cubicBezTo>
                      <a:pt x="608" y="13004"/>
                      <a:pt x="12990" y="621"/>
                      <a:pt x="29183" y="621"/>
                    </a:cubicBezTo>
                    <a:lnTo>
                      <a:pt x="505433" y="621"/>
                    </a:lnTo>
                    <a:close/>
                    <a:moveTo>
                      <a:pt x="391133" y="198741"/>
                    </a:moveTo>
                    <a:cubicBezTo>
                      <a:pt x="378751" y="189216"/>
                      <a:pt x="360653" y="192074"/>
                      <a:pt x="351128" y="204456"/>
                    </a:cubicBezTo>
                    <a:lnTo>
                      <a:pt x="351128" y="204456"/>
                    </a:lnTo>
                    <a:lnTo>
                      <a:pt x="267308" y="315899"/>
                    </a:lnTo>
                    <a:cubicBezTo>
                      <a:pt x="266355" y="316851"/>
                      <a:pt x="265403" y="317804"/>
                      <a:pt x="264451" y="318756"/>
                    </a:cubicBezTo>
                    <a:cubicBezTo>
                      <a:pt x="253021" y="330186"/>
                      <a:pt x="234923" y="330186"/>
                      <a:pt x="224446" y="318756"/>
                    </a:cubicBezTo>
                    <a:lnTo>
                      <a:pt x="224446" y="318756"/>
                    </a:lnTo>
                    <a:lnTo>
                      <a:pt x="162533" y="257796"/>
                    </a:lnTo>
                    <a:cubicBezTo>
                      <a:pt x="161580" y="256844"/>
                      <a:pt x="161580" y="256844"/>
                      <a:pt x="160628" y="255891"/>
                    </a:cubicBezTo>
                    <a:cubicBezTo>
                      <a:pt x="148246" y="245414"/>
                      <a:pt x="130148" y="247319"/>
                      <a:pt x="120623" y="259701"/>
                    </a:cubicBezTo>
                    <a:lnTo>
                      <a:pt x="120623" y="259701"/>
                    </a:lnTo>
                    <a:lnTo>
                      <a:pt x="32993" y="366381"/>
                    </a:lnTo>
                    <a:cubicBezTo>
                      <a:pt x="32040" y="368286"/>
                      <a:pt x="31088" y="370191"/>
                      <a:pt x="31088" y="372096"/>
                    </a:cubicBezTo>
                    <a:cubicBezTo>
                      <a:pt x="31088" y="377811"/>
                      <a:pt x="34898" y="381621"/>
                      <a:pt x="40613" y="381621"/>
                    </a:cubicBezTo>
                    <a:lnTo>
                      <a:pt x="40613" y="381621"/>
                    </a:lnTo>
                    <a:lnTo>
                      <a:pt x="497813" y="381621"/>
                    </a:lnTo>
                    <a:cubicBezTo>
                      <a:pt x="499718" y="381621"/>
                      <a:pt x="501623" y="380669"/>
                      <a:pt x="503528" y="379716"/>
                    </a:cubicBezTo>
                    <a:cubicBezTo>
                      <a:pt x="508290" y="376859"/>
                      <a:pt x="509243" y="371144"/>
                      <a:pt x="506386" y="366381"/>
                    </a:cubicBezTo>
                    <a:lnTo>
                      <a:pt x="506386" y="366381"/>
                    </a:lnTo>
                    <a:lnTo>
                      <a:pt x="398753" y="205409"/>
                    </a:lnTo>
                    <a:cubicBezTo>
                      <a:pt x="395896" y="202551"/>
                      <a:pt x="393990" y="200646"/>
                      <a:pt x="391133" y="198741"/>
                    </a:cubicBezTo>
                    <a:close/>
                    <a:moveTo>
                      <a:pt x="95858" y="57771"/>
                    </a:moveTo>
                    <a:cubicBezTo>
                      <a:pt x="74903" y="57771"/>
                      <a:pt x="57758" y="74916"/>
                      <a:pt x="57758" y="95871"/>
                    </a:cubicBezTo>
                    <a:cubicBezTo>
                      <a:pt x="57758" y="116826"/>
                      <a:pt x="74903" y="133971"/>
                      <a:pt x="95858" y="133971"/>
                    </a:cubicBezTo>
                    <a:cubicBezTo>
                      <a:pt x="116813" y="133971"/>
                      <a:pt x="133958" y="116826"/>
                      <a:pt x="133958" y="95871"/>
                    </a:cubicBezTo>
                    <a:cubicBezTo>
                      <a:pt x="133958" y="74916"/>
                      <a:pt x="116813" y="57771"/>
                      <a:pt x="95858" y="57771"/>
                    </a:cubicBezTo>
                    <a:close/>
                  </a:path>
                </a:pathLst>
              </a:custGeom>
              <a:solidFill>
                <a:srgbClr val="FFFFFF"/>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grpSp>
        <p:grpSp>
          <p:nvGrpSpPr>
            <p:cNvPr id="29" name="组合 28"/>
            <p:cNvGrpSpPr/>
            <p:nvPr/>
          </p:nvGrpSpPr>
          <p:grpSpPr>
            <a:xfrm>
              <a:off x="673099" y="2933863"/>
              <a:ext cx="4833328" cy="3200237"/>
              <a:chOff x="673099" y="2933863"/>
              <a:chExt cx="4833328" cy="3200237"/>
            </a:xfrm>
          </p:grpSpPr>
          <p:sp>
            <p:nvSpPr>
              <p:cNvPr id="5" name="等腰三角形 4"/>
              <p:cNvSpPr/>
              <p:nvPr/>
            </p:nvSpPr>
            <p:spPr>
              <a:xfrm>
                <a:off x="4250690" y="4791919"/>
                <a:ext cx="884559" cy="762551"/>
              </a:xfrm>
              <a:prstGeom prst="triangl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箭头: 右 6"/>
              <p:cNvSpPr/>
              <p:nvPr/>
            </p:nvSpPr>
            <p:spPr>
              <a:xfrm rot="17997717">
                <a:off x="4478822" y="3719679"/>
                <a:ext cx="1813422" cy="241789"/>
              </a:xfrm>
              <a:prstGeom prst="rightArrow">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文本框 16"/>
              <p:cNvSpPr txBox="1"/>
              <p:nvPr/>
            </p:nvSpPr>
            <p:spPr>
              <a:xfrm>
                <a:off x="673099" y="4882512"/>
                <a:ext cx="3251221" cy="1251588"/>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rmAutofit/>
              </a:bodyPr>
              <a:lstStyle>
                <a:defPPr>
                  <a:defRPr lang="zh-CN"/>
                </a:defPPr>
                <a:lvl1pPr algn="ctr">
                  <a:defRPr sz="1400" b="1"/>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r">
                  <a:lnSpc>
                    <a:spcPct val="120000"/>
                  </a:lnSpc>
                </a:pPr>
                <a:r>
                  <a:rPr lang="en-US" altLang="zh-CN" sz="1200" b="0">
                    <a:solidFill>
                      <a:schemeClr val="tx1"/>
                    </a:solidFill>
                    <a:latin typeface="Calibri" pitchFamily="34" charset="0"/>
                    <a:ea typeface="宋体" pitchFamily="2" charset="-122"/>
                  </a:rPr>
                  <a:t>Sit dolor luptatum sanctus clita ut lorem nonumy invidunt.</a:t>
                </a:r>
                <a:endParaRPr lang="en-US" altLang="zh-CN" sz="1200" b="0" dirty="0">
                  <a:solidFill>
                    <a:schemeClr val="tx1"/>
                  </a:solidFill>
                  <a:latin typeface="Calibri" pitchFamily="34" charset="0"/>
                  <a:ea typeface="宋体" pitchFamily="2" charset="-122"/>
                </a:endParaRPr>
              </a:p>
            </p:txBody>
          </p:sp>
          <p:sp>
            <p:nvSpPr>
              <p:cNvPr id="18" name="文本框 17"/>
              <p:cNvSpPr txBox="1"/>
              <p:nvPr/>
            </p:nvSpPr>
            <p:spPr>
              <a:xfrm>
                <a:off x="673100" y="4286250"/>
                <a:ext cx="3251221" cy="596261"/>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normAutofit/>
              </a:bodyPr>
              <a:lstStyle>
                <a:defPPr>
                  <a:defRPr lang="zh-CN"/>
                </a:defPPr>
                <a:lvl1pPr algn="ctr">
                  <a:defRPr sz="1400" b="1"/>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r"/>
                <a:r>
                  <a:rPr lang="en-US" altLang="zh-CN" sz="1800">
                    <a:solidFill>
                      <a:schemeClr val="tx1"/>
                    </a:solidFill>
                    <a:latin typeface="Calibri" pitchFamily="34" charset="0"/>
                    <a:ea typeface="宋体" pitchFamily="2" charset="-122"/>
                  </a:rPr>
                  <a:t>Click to add text</a:t>
                </a:r>
                <a:endParaRPr lang="en-US" altLang="zh-CN" sz="1800" dirty="0">
                  <a:solidFill>
                    <a:schemeClr val="tx1"/>
                  </a:solidFill>
                  <a:latin typeface="Calibri" pitchFamily="34" charset="0"/>
                  <a:ea typeface="宋体" pitchFamily="2" charset="-122"/>
                </a:endParaRPr>
              </a:p>
            </p:txBody>
          </p:sp>
          <p:sp>
            <p:nvSpPr>
              <p:cNvPr id="24" name="任意多边形: 形状 23"/>
              <p:cNvSpPr/>
              <p:nvPr/>
            </p:nvSpPr>
            <p:spPr>
              <a:xfrm>
                <a:off x="4562179" y="5142308"/>
                <a:ext cx="255734" cy="270488"/>
              </a:xfrm>
              <a:custGeom>
                <a:avLst/>
                <a:gdLst>
                  <a:gd name="connsiteX0" fmla="*/ 371955 w 495300"/>
                  <a:gd name="connsiteY0" fmla="*/ 621 h 523875"/>
                  <a:gd name="connsiteX1" fmla="*/ 400530 w 495300"/>
                  <a:gd name="connsiteY1" fmla="*/ 29196 h 523875"/>
                  <a:gd name="connsiteX2" fmla="*/ 400530 w 495300"/>
                  <a:gd name="connsiteY2" fmla="*/ 133971 h 523875"/>
                  <a:gd name="connsiteX3" fmla="*/ 371955 w 495300"/>
                  <a:gd name="connsiteY3" fmla="*/ 162546 h 523875"/>
                  <a:gd name="connsiteX4" fmla="*/ 257655 w 495300"/>
                  <a:gd name="connsiteY4" fmla="*/ 162546 h 523875"/>
                  <a:gd name="connsiteX5" fmla="*/ 257655 w 495300"/>
                  <a:gd name="connsiteY5" fmla="*/ 286371 h 523875"/>
                  <a:gd name="connsiteX6" fmla="*/ 419580 w 495300"/>
                  <a:gd name="connsiteY6" fmla="*/ 286371 h 523875"/>
                  <a:gd name="connsiteX7" fmla="*/ 457680 w 495300"/>
                  <a:gd name="connsiteY7" fmla="*/ 322566 h 523875"/>
                  <a:gd name="connsiteX8" fmla="*/ 457680 w 495300"/>
                  <a:gd name="connsiteY8" fmla="*/ 324471 h 523875"/>
                  <a:gd name="connsiteX9" fmla="*/ 457680 w 495300"/>
                  <a:gd name="connsiteY9" fmla="*/ 429246 h 523875"/>
                  <a:gd name="connsiteX10" fmla="*/ 476730 w 495300"/>
                  <a:gd name="connsiteY10" fmla="*/ 429246 h 523875"/>
                  <a:gd name="connsiteX11" fmla="*/ 495780 w 495300"/>
                  <a:gd name="connsiteY11" fmla="*/ 448296 h 523875"/>
                  <a:gd name="connsiteX12" fmla="*/ 495780 w 495300"/>
                  <a:gd name="connsiteY12" fmla="*/ 505446 h 523875"/>
                  <a:gd name="connsiteX13" fmla="*/ 476730 w 495300"/>
                  <a:gd name="connsiteY13" fmla="*/ 524496 h 523875"/>
                  <a:gd name="connsiteX14" fmla="*/ 419580 w 495300"/>
                  <a:gd name="connsiteY14" fmla="*/ 524496 h 523875"/>
                  <a:gd name="connsiteX15" fmla="*/ 400530 w 495300"/>
                  <a:gd name="connsiteY15" fmla="*/ 505446 h 523875"/>
                  <a:gd name="connsiteX16" fmla="*/ 400530 w 495300"/>
                  <a:gd name="connsiteY16" fmla="*/ 448296 h 523875"/>
                  <a:gd name="connsiteX17" fmla="*/ 419580 w 495300"/>
                  <a:gd name="connsiteY17" fmla="*/ 429246 h 523875"/>
                  <a:gd name="connsiteX18" fmla="*/ 438630 w 495300"/>
                  <a:gd name="connsiteY18" fmla="*/ 429246 h 523875"/>
                  <a:gd name="connsiteX19" fmla="*/ 438630 w 495300"/>
                  <a:gd name="connsiteY19" fmla="*/ 324471 h 523875"/>
                  <a:gd name="connsiteX20" fmla="*/ 420533 w 495300"/>
                  <a:gd name="connsiteY20" fmla="*/ 305421 h 523875"/>
                  <a:gd name="connsiteX21" fmla="*/ 419580 w 495300"/>
                  <a:gd name="connsiteY21" fmla="*/ 305421 h 523875"/>
                  <a:gd name="connsiteX22" fmla="*/ 257655 w 495300"/>
                  <a:gd name="connsiteY22" fmla="*/ 305421 h 523875"/>
                  <a:gd name="connsiteX23" fmla="*/ 257655 w 495300"/>
                  <a:gd name="connsiteY23" fmla="*/ 429246 h 523875"/>
                  <a:gd name="connsiteX24" fmla="*/ 276705 w 495300"/>
                  <a:gd name="connsiteY24" fmla="*/ 429246 h 523875"/>
                  <a:gd name="connsiteX25" fmla="*/ 295755 w 495300"/>
                  <a:gd name="connsiteY25" fmla="*/ 448296 h 523875"/>
                  <a:gd name="connsiteX26" fmla="*/ 295755 w 495300"/>
                  <a:gd name="connsiteY26" fmla="*/ 505446 h 523875"/>
                  <a:gd name="connsiteX27" fmla="*/ 276705 w 495300"/>
                  <a:gd name="connsiteY27" fmla="*/ 524496 h 523875"/>
                  <a:gd name="connsiteX28" fmla="*/ 219555 w 495300"/>
                  <a:gd name="connsiteY28" fmla="*/ 524496 h 523875"/>
                  <a:gd name="connsiteX29" fmla="*/ 200505 w 495300"/>
                  <a:gd name="connsiteY29" fmla="*/ 505446 h 523875"/>
                  <a:gd name="connsiteX30" fmla="*/ 200505 w 495300"/>
                  <a:gd name="connsiteY30" fmla="*/ 448296 h 523875"/>
                  <a:gd name="connsiteX31" fmla="*/ 219555 w 495300"/>
                  <a:gd name="connsiteY31" fmla="*/ 429246 h 523875"/>
                  <a:gd name="connsiteX32" fmla="*/ 238605 w 495300"/>
                  <a:gd name="connsiteY32" fmla="*/ 429246 h 523875"/>
                  <a:gd name="connsiteX33" fmla="*/ 238605 w 495300"/>
                  <a:gd name="connsiteY33" fmla="*/ 305421 h 523875"/>
                  <a:gd name="connsiteX34" fmla="*/ 76680 w 495300"/>
                  <a:gd name="connsiteY34" fmla="*/ 305421 h 523875"/>
                  <a:gd name="connsiteX35" fmla="*/ 57630 w 495300"/>
                  <a:gd name="connsiteY35" fmla="*/ 323519 h 523875"/>
                  <a:gd name="connsiteX36" fmla="*/ 57630 w 495300"/>
                  <a:gd name="connsiteY36" fmla="*/ 324471 h 523875"/>
                  <a:gd name="connsiteX37" fmla="*/ 57630 w 495300"/>
                  <a:gd name="connsiteY37" fmla="*/ 429246 h 523875"/>
                  <a:gd name="connsiteX38" fmla="*/ 76680 w 495300"/>
                  <a:gd name="connsiteY38" fmla="*/ 429246 h 523875"/>
                  <a:gd name="connsiteX39" fmla="*/ 95730 w 495300"/>
                  <a:gd name="connsiteY39" fmla="*/ 448296 h 523875"/>
                  <a:gd name="connsiteX40" fmla="*/ 95730 w 495300"/>
                  <a:gd name="connsiteY40" fmla="*/ 505446 h 523875"/>
                  <a:gd name="connsiteX41" fmla="*/ 76680 w 495300"/>
                  <a:gd name="connsiteY41" fmla="*/ 524496 h 523875"/>
                  <a:gd name="connsiteX42" fmla="*/ 19530 w 495300"/>
                  <a:gd name="connsiteY42" fmla="*/ 524496 h 523875"/>
                  <a:gd name="connsiteX43" fmla="*/ 480 w 495300"/>
                  <a:gd name="connsiteY43" fmla="*/ 505446 h 523875"/>
                  <a:gd name="connsiteX44" fmla="*/ 480 w 495300"/>
                  <a:gd name="connsiteY44" fmla="*/ 448296 h 523875"/>
                  <a:gd name="connsiteX45" fmla="*/ 19530 w 495300"/>
                  <a:gd name="connsiteY45" fmla="*/ 429246 h 523875"/>
                  <a:gd name="connsiteX46" fmla="*/ 38580 w 495300"/>
                  <a:gd name="connsiteY46" fmla="*/ 429246 h 523875"/>
                  <a:gd name="connsiteX47" fmla="*/ 38580 w 495300"/>
                  <a:gd name="connsiteY47" fmla="*/ 324471 h 523875"/>
                  <a:gd name="connsiteX48" fmla="*/ 74775 w 495300"/>
                  <a:gd name="connsiteY48" fmla="*/ 286371 h 523875"/>
                  <a:gd name="connsiteX49" fmla="*/ 76680 w 495300"/>
                  <a:gd name="connsiteY49" fmla="*/ 286371 h 523875"/>
                  <a:gd name="connsiteX50" fmla="*/ 238605 w 495300"/>
                  <a:gd name="connsiteY50" fmla="*/ 286371 h 523875"/>
                  <a:gd name="connsiteX51" fmla="*/ 238605 w 495300"/>
                  <a:gd name="connsiteY51" fmla="*/ 162546 h 523875"/>
                  <a:gd name="connsiteX52" fmla="*/ 124305 w 495300"/>
                  <a:gd name="connsiteY52" fmla="*/ 162546 h 523875"/>
                  <a:gd name="connsiteX53" fmla="*/ 95730 w 495300"/>
                  <a:gd name="connsiteY53" fmla="*/ 133971 h 523875"/>
                  <a:gd name="connsiteX54" fmla="*/ 95730 w 495300"/>
                  <a:gd name="connsiteY54" fmla="*/ 29196 h 523875"/>
                  <a:gd name="connsiteX55" fmla="*/ 124305 w 495300"/>
                  <a:gd name="connsiteY55" fmla="*/ 621 h 523875"/>
                  <a:gd name="connsiteX56" fmla="*/ 371955 w 495300"/>
                  <a:gd name="connsiteY56" fmla="*/ 621 h 523875"/>
                  <a:gd name="connsiteX57" fmla="*/ 148118 w 495300"/>
                  <a:gd name="connsiteY57" fmla="*/ 95871 h 523875"/>
                  <a:gd name="connsiteX58" fmla="*/ 133830 w 495300"/>
                  <a:gd name="connsiteY58" fmla="*/ 110159 h 523875"/>
                  <a:gd name="connsiteX59" fmla="*/ 148118 w 495300"/>
                  <a:gd name="connsiteY59" fmla="*/ 124446 h 523875"/>
                  <a:gd name="connsiteX60" fmla="*/ 162405 w 495300"/>
                  <a:gd name="connsiteY60" fmla="*/ 110159 h 523875"/>
                  <a:gd name="connsiteX61" fmla="*/ 148118 w 495300"/>
                  <a:gd name="connsiteY61" fmla="*/ 95871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95300" h="523875">
                    <a:moveTo>
                      <a:pt x="371955" y="621"/>
                    </a:moveTo>
                    <a:cubicBezTo>
                      <a:pt x="388148" y="621"/>
                      <a:pt x="400530" y="13004"/>
                      <a:pt x="400530" y="29196"/>
                    </a:cubicBezTo>
                    <a:lnTo>
                      <a:pt x="400530" y="133971"/>
                    </a:lnTo>
                    <a:cubicBezTo>
                      <a:pt x="400530" y="150164"/>
                      <a:pt x="388148" y="162546"/>
                      <a:pt x="371955" y="162546"/>
                    </a:cubicBezTo>
                    <a:lnTo>
                      <a:pt x="257655" y="162546"/>
                    </a:lnTo>
                    <a:lnTo>
                      <a:pt x="257655" y="286371"/>
                    </a:lnTo>
                    <a:lnTo>
                      <a:pt x="419580" y="286371"/>
                    </a:lnTo>
                    <a:cubicBezTo>
                      <a:pt x="439583" y="286371"/>
                      <a:pt x="456727" y="302564"/>
                      <a:pt x="457680" y="322566"/>
                    </a:cubicBezTo>
                    <a:lnTo>
                      <a:pt x="457680" y="324471"/>
                    </a:lnTo>
                    <a:lnTo>
                      <a:pt x="457680" y="429246"/>
                    </a:lnTo>
                    <a:lnTo>
                      <a:pt x="476730" y="429246"/>
                    </a:lnTo>
                    <a:cubicBezTo>
                      <a:pt x="487208" y="429246"/>
                      <a:pt x="495780" y="437819"/>
                      <a:pt x="495780" y="448296"/>
                    </a:cubicBezTo>
                    <a:lnTo>
                      <a:pt x="495780" y="505446"/>
                    </a:lnTo>
                    <a:cubicBezTo>
                      <a:pt x="495780" y="515924"/>
                      <a:pt x="487208" y="524496"/>
                      <a:pt x="476730" y="524496"/>
                    </a:cubicBezTo>
                    <a:lnTo>
                      <a:pt x="419580" y="524496"/>
                    </a:lnTo>
                    <a:cubicBezTo>
                      <a:pt x="409102" y="524496"/>
                      <a:pt x="400530" y="515924"/>
                      <a:pt x="400530" y="505446"/>
                    </a:cubicBezTo>
                    <a:lnTo>
                      <a:pt x="400530" y="448296"/>
                    </a:lnTo>
                    <a:cubicBezTo>
                      <a:pt x="400530" y="437819"/>
                      <a:pt x="409102" y="429246"/>
                      <a:pt x="419580" y="429246"/>
                    </a:cubicBezTo>
                    <a:lnTo>
                      <a:pt x="438630" y="429246"/>
                    </a:lnTo>
                    <a:lnTo>
                      <a:pt x="438630" y="324471"/>
                    </a:lnTo>
                    <a:cubicBezTo>
                      <a:pt x="438630" y="313994"/>
                      <a:pt x="431010" y="306374"/>
                      <a:pt x="420533" y="305421"/>
                    </a:cubicBezTo>
                    <a:lnTo>
                      <a:pt x="419580" y="305421"/>
                    </a:lnTo>
                    <a:lnTo>
                      <a:pt x="257655" y="305421"/>
                    </a:lnTo>
                    <a:lnTo>
                      <a:pt x="257655" y="429246"/>
                    </a:lnTo>
                    <a:lnTo>
                      <a:pt x="276705" y="429246"/>
                    </a:lnTo>
                    <a:cubicBezTo>
                      <a:pt x="287183" y="429246"/>
                      <a:pt x="295755" y="437819"/>
                      <a:pt x="295755" y="448296"/>
                    </a:cubicBezTo>
                    <a:lnTo>
                      <a:pt x="295755" y="505446"/>
                    </a:lnTo>
                    <a:cubicBezTo>
                      <a:pt x="295755" y="515924"/>
                      <a:pt x="287183" y="524496"/>
                      <a:pt x="276705" y="524496"/>
                    </a:cubicBezTo>
                    <a:lnTo>
                      <a:pt x="219555" y="524496"/>
                    </a:lnTo>
                    <a:cubicBezTo>
                      <a:pt x="209077" y="524496"/>
                      <a:pt x="200505" y="515924"/>
                      <a:pt x="200505" y="505446"/>
                    </a:cubicBezTo>
                    <a:lnTo>
                      <a:pt x="200505" y="448296"/>
                    </a:lnTo>
                    <a:cubicBezTo>
                      <a:pt x="200505" y="437819"/>
                      <a:pt x="209077" y="429246"/>
                      <a:pt x="219555" y="429246"/>
                    </a:cubicBezTo>
                    <a:lnTo>
                      <a:pt x="238605" y="429246"/>
                    </a:lnTo>
                    <a:lnTo>
                      <a:pt x="238605" y="305421"/>
                    </a:lnTo>
                    <a:lnTo>
                      <a:pt x="76680" y="305421"/>
                    </a:lnTo>
                    <a:cubicBezTo>
                      <a:pt x="66202" y="305421"/>
                      <a:pt x="58583" y="313041"/>
                      <a:pt x="57630" y="323519"/>
                    </a:cubicBezTo>
                    <a:lnTo>
                      <a:pt x="57630" y="324471"/>
                    </a:lnTo>
                    <a:lnTo>
                      <a:pt x="57630" y="429246"/>
                    </a:lnTo>
                    <a:lnTo>
                      <a:pt x="76680" y="429246"/>
                    </a:lnTo>
                    <a:cubicBezTo>
                      <a:pt x="87158" y="429246"/>
                      <a:pt x="95730" y="437819"/>
                      <a:pt x="95730" y="448296"/>
                    </a:cubicBezTo>
                    <a:lnTo>
                      <a:pt x="95730" y="505446"/>
                    </a:lnTo>
                    <a:cubicBezTo>
                      <a:pt x="95730" y="515924"/>
                      <a:pt x="87158" y="524496"/>
                      <a:pt x="76680" y="524496"/>
                    </a:cubicBezTo>
                    <a:lnTo>
                      <a:pt x="19530" y="524496"/>
                    </a:lnTo>
                    <a:cubicBezTo>
                      <a:pt x="9052" y="524496"/>
                      <a:pt x="480" y="515924"/>
                      <a:pt x="480" y="505446"/>
                    </a:cubicBezTo>
                    <a:lnTo>
                      <a:pt x="480" y="448296"/>
                    </a:lnTo>
                    <a:cubicBezTo>
                      <a:pt x="480" y="437819"/>
                      <a:pt x="9052" y="429246"/>
                      <a:pt x="19530" y="429246"/>
                    </a:cubicBezTo>
                    <a:lnTo>
                      <a:pt x="38580" y="429246"/>
                    </a:lnTo>
                    <a:lnTo>
                      <a:pt x="38580" y="324471"/>
                    </a:lnTo>
                    <a:cubicBezTo>
                      <a:pt x="38580" y="304469"/>
                      <a:pt x="54773" y="287324"/>
                      <a:pt x="74775" y="286371"/>
                    </a:cubicBezTo>
                    <a:lnTo>
                      <a:pt x="76680" y="286371"/>
                    </a:lnTo>
                    <a:lnTo>
                      <a:pt x="238605" y="286371"/>
                    </a:lnTo>
                    <a:lnTo>
                      <a:pt x="238605" y="162546"/>
                    </a:lnTo>
                    <a:lnTo>
                      <a:pt x="124305" y="162546"/>
                    </a:lnTo>
                    <a:cubicBezTo>
                      <a:pt x="108112" y="162546"/>
                      <a:pt x="95730" y="150164"/>
                      <a:pt x="95730" y="133971"/>
                    </a:cubicBezTo>
                    <a:lnTo>
                      <a:pt x="95730" y="29196"/>
                    </a:lnTo>
                    <a:cubicBezTo>
                      <a:pt x="95730" y="13004"/>
                      <a:pt x="108112" y="621"/>
                      <a:pt x="124305" y="621"/>
                    </a:cubicBezTo>
                    <a:lnTo>
                      <a:pt x="371955" y="621"/>
                    </a:lnTo>
                    <a:close/>
                    <a:moveTo>
                      <a:pt x="148118" y="95871"/>
                    </a:moveTo>
                    <a:cubicBezTo>
                      <a:pt x="140498" y="95871"/>
                      <a:pt x="133830" y="102539"/>
                      <a:pt x="133830" y="110159"/>
                    </a:cubicBezTo>
                    <a:cubicBezTo>
                      <a:pt x="133830" y="117779"/>
                      <a:pt x="140498" y="124446"/>
                      <a:pt x="148118" y="124446"/>
                    </a:cubicBezTo>
                    <a:cubicBezTo>
                      <a:pt x="155737" y="124446"/>
                      <a:pt x="162405" y="117779"/>
                      <a:pt x="162405" y="110159"/>
                    </a:cubicBezTo>
                    <a:cubicBezTo>
                      <a:pt x="162405" y="102539"/>
                      <a:pt x="155737" y="95871"/>
                      <a:pt x="148118" y="95871"/>
                    </a:cubicBezTo>
                    <a:close/>
                  </a:path>
                </a:pathLst>
              </a:custGeom>
              <a:solidFill>
                <a:srgbClr val="FFFFFF"/>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grpSp>
      </p:gr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4"/>
          <p:cNvGrpSpPr/>
          <p:nvPr/>
        </p:nvGrpSpPr>
        <p:grpSpPr>
          <a:xfrm>
            <a:off x="1016832" y="1311068"/>
            <a:ext cx="10374323" cy="4435641"/>
            <a:chOff x="1016831" y="1311066"/>
            <a:chExt cx="10374323" cy="4435641"/>
          </a:xfrm>
        </p:grpSpPr>
        <p:sp>
          <p:nvSpPr>
            <p:cNvPr id="36" name="圆: 空心 35"/>
            <p:cNvSpPr/>
            <p:nvPr/>
          </p:nvSpPr>
          <p:spPr>
            <a:xfrm>
              <a:off x="1331050" y="1924928"/>
              <a:ext cx="3719987" cy="3719985"/>
            </a:xfrm>
            <a:prstGeom prst="donut">
              <a:avLst>
                <a:gd name="adj" fmla="val 771"/>
              </a:avLst>
            </a:prstGeom>
            <a:solidFill>
              <a:schemeClr val="tx2">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200" b="1">
                <a:solidFill>
                  <a:schemeClr val="tx1"/>
                </a:solidFill>
              </a:endParaRPr>
            </a:p>
          </p:txBody>
        </p:sp>
        <p:sp>
          <p:nvSpPr>
            <p:cNvPr id="37" name="椭圆 36"/>
            <p:cNvSpPr/>
            <p:nvPr/>
          </p:nvSpPr>
          <p:spPr>
            <a:xfrm rot="659" flipH="1">
              <a:off x="2139871" y="2733752"/>
              <a:ext cx="2102340" cy="210233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b="1" dirty="0">
                  <a:solidFill>
                    <a:srgbClr val="FFFFFF"/>
                  </a:solidFill>
                  <a:latin typeface="Calibri" pitchFamily="34" charset="0"/>
                  <a:ea typeface="宋体" pitchFamily="2" charset="-122"/>
                </a:rPr>
                <a:t>Texthere</a:t>
              </a:r>
              <a:endParaRPr kumimoji="1" lang="en-US" altLang="zh-CN" b="1" dirty="0">
                <a:solidFill>
                  <a:srgbClr val="FFFFFF"/>
                </a:solidFill>
                <a:latin typeface="Calibri" pitchFamily="34" charset="0"/>
                <a:ea typeface="宋体" pitchFamily="2" charset="-122"/>
              </a:endParaRPr>
            </a:p>
          </p:txBody>
        </p:sp>
        <p:sp>
          <p:nvSpPr>
            <p:cNvPr id="40" name="椭圆 39"/>
            <p:cNvSpPr/>
            <p:nvPr/>
          </p:nvSpPr>
          <p:spPr>
            <a:xfrm>
              <a:off x="4680949" y="2969564"/>
              <a:ext cx="1262376" cy="126237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b="1">
                  <a:solidFill>
                    <a:schemeClr val="bg1"/>
                  </a:solidFill>
                  <a:latin typeface="Calibri" pitchFamily="34" charset="0"/>
                  <a:ea typeface="宋体" pitchFamily="2" charset="-122"/>
                </a:rPr>
                <a:t>Texthere</a:t>
              </a:r>
              <a:endParaRPr kumimoji="1" lang="en-US" altLang="zh-CN" b="1" dirty="0">
                <a:solidFill>
                  <a:schemeClr val="bg1"/>
                </a:solidFill>
                <a:latin typeface="Calibri" pitchFamily="34" charset="0"/>
                <a:ea typeface="宋体" pitchFamily="2" charset="-122"/>
              </a:endParaRPr>
            </a:p>
          </p:txBody>
        </p:sp>
        <p:sp>
          <p:nvSpPr>
            <p:cNvPr id="42" name="椭圆 41"/>
            <p:cNvSpPr/>
            <p:nvPr/>
          </p:nvSpPr>
          <p:spPr>
            <a:xfrm rot="10800000" flipH="1" flipV="1">
              <a:off x="1331050" y="1311066"/>
              <a:ext cx="1262376" cy="126237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b="1" dirty="0">
                  <a:solidFill>
                    <a:schemeClr val="bg1"/>
                  </a:solidFill>
                  <a:latin typeface="Calibri" pitchFamily="34" charset="0"/>
                  <a:ea typeface="宋体" pitchFamily="2" charset="-122"/>
                </a:rPr>
                <a:t>Texthere</a:t>
              </a:r>
              <a:endParaRPr kumimoji="1" lang="en-US" altLang="zh-CN" b="1" dirty="0">
                <a:solidFill>
                  <a:schemeClr val="bg1"/>
                </a:solidFill>
                <a:latin typeface="Calibri" pitchFamily="34" charset="0"/>
                <a:ea typeface="宋体" pitchFamily="2" charset="-122"/>
              </a:endParaRPr>
            </a:p>
          </p:txBody>
        </p:sp>
        <p:grpSp>
          <p:nvGrpSpPr>
            <p:cNvPr id="7" name="组合 6"/>
            <p:cNvGrpSpPr/>
            <p:nvPr/>
          </p:nvGrpSpPr>
          <p:grpSpPr>
            <a:xfrm>
              <a:off x="7053026" y="1694506"/>
              <a:ext cx="4338128" cy="1135540"/>
              <a:chOff x="1310730" y="2055924"/>
              <a:chExt cx="4338128" cy="1135540"/>
            </a:xfrm>
          </p:grpSpPr>
          <p:grpSp>
            <p:nvGrpSpPr>
              <p:cNvPr id="28" name="组合 27"/>
              <p:cNvGrpSpPr/>
              <p:nvPr/>
            </p:nvGrpSpPr>
            <p:grpSpPr>
              <a:xfrm>
                <a:off x="1863356" y="2055924"/>
                <a:ext cx="3785502" cy="1135540"/>
                <a:chOff x="7119257" y="2417644"/>
                <a:chExt cx="4495009" cy="1117215"/>
              </a:xfrm>
              <a:noFill/>
            </p:grpSpPr>
            <p:sp>
              <p:nvSpPr>
                <p:cNvPr id="30" name="矩形 29"/>
                <p:cNvSpPr/>
                <p:nvPr/>
              </p:nvSpPr>
              <p:spPr>
                <a:xfrm>
                  <a:off x="7119257" y="2417644"/>
                  <a:ext cx="2097758" cy="3330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r>
                    <a:rPr kumimoji="1" lang="en-US" altLang="zh-CN" sz="1600" b="1" dirty="0">
                      <a:solidFill>
                        <a:schemeClr val="tx1"/>
                      </a:solidFill>
                      <a:latin typeface="Calibri" pitchFamily="34" charset="0"/>
                      <a:ea typeface="宋体" pitchFamily="2" charset="-122"/>
                    </a:rPr>
                    <a:t>Texthere</a:t>
                  </a:r>
                  <a:endParaRPr kumimoji="1" lang="en-US" altLang="zh-CN" sz="1600" b="1" dirty="0">
                    <a:solidFill>
                      <a:schemeClr val="tx1"/>
                    </a:solidFill>
                    <a:latin typeface="Calibri" pitchFamily="34" charset="0"/>
                    <a:ea typeface="宋体" pitchFamily="2" charset="-122"/>
                  </a:endParaRPr>
                </a:p>
              </p:txBody>
            </p:sp>
            <p:sp>
              <p:nvSpPr>
                <p:cNvPr id="35" name="矩形 34"/>
                <p:cNvSpPr/>
                <p:nvPr/>
              </p:nvSpPr>
              <p:spPr>
                <a:xfrm>
                  <a:off x="7119257" y="2754493"/>
                  <a:ext cx="4495009" cy="7803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nSpc>
                      <a:spcPct val="130000"/>
                    </a:lnSpc>
                  </a:pPr>
                  <a:r>
                    <a:rPr kumimoji="1" lang="en-US" altLang="zh-CN" sz="1200" dirty="0">
                      <a:solidFill>
                        <a:schemeClr val="tx1"/>
                      </a:solidFill>
                      <a:latin typeface="Calibri" pitchFamily="34" charset="0"/>
                      <a:ea typeface="宋体" pitchFamily="2" charset="-122"/>
                    </a:rPr>
                    <a:t>Theme color makes PPT more convenient to change. Adjust the spacing to adapt to Chinese typesetting, use the reference line in PPT……</a:t>
                  </a:r>
                  <a:endParaRPr kumimoji="1" lang="en-US" altLang="zh-CN" sz="1200" dirty="0">
                    <a:solidFill>
                      <a:schemeClr val="tx1"/>
                    </a:solidFill>
                    <a:latin typeface="Calibri" pitchFamily="34" charset="0"/>
                    <a:ea typeface="宋体" pitchFamily="2" charset="-122"/>
                  </a:endParaRPr>
                </a:p>
              </p:txBody>
            </p:sp>
          </p:grpSp>
          <p:sp>
            <p:nvSpPr>
              <p:cNvPr id="29" name="文本框 28"/>
              <p:cNvSpPr txBox="1"/>
              <p:nvPr/>
            </p:nvSpPr>
            <p:spPr>
              <a:xfrm>
                <a:off x="1310730" y="2138743"/>
                <a:ext cx="480905" cy="480905"/>
              </a:xfrm>
              <a:prstGeom prst="roundRect">
                <a:avLst>
                  <a:gd name="adj" fmla="val 50000"/>
                </a:avLst>
              </a:prstGeom>
              <a:solidFill>
                <a:schemeClr val="accent1"/>
              </a:solidFill>
            </p:spPr>
            <p:txBody>
              <a:bodyPr wrap="none" lIns="91440" tIns="45720" rIns="91440" bIns="45720" rtlCol="0" anchor="ctr" anchorCtr="0">
                <a:noAutofit/>
              </a:bodyPr>
              <a:lstStyle/>
              <a:p>
                <a:pPr algn="ctr"/>
                <a:r>
                  <a:rPr kumimoji="1" lang="en-US" altLang="zh-CN" sz="2000" b="1" dirty="0">
                    <a:solidFill>
                      <a:srgbClr val="FFFFFF"/>
                    </a:solidFill>
                    <a:latin typeface="Calibri" pitchFamily="34" charset="0"/>
                    <a:ea typeface="宋体" pitchFamily="2" charset="-122"/>
                  </a:rPr>
                  <a:t>01</a:t>
                </a:r>
                <a:endParaRPr kumimoji="1" lang="zh-CN" altLang="en-US" sz="2000" b="1" dirty="0">
                  <a:solidFill>
                    <a:srgbClr val="FFFFFF"/>
                  </a:solidFill>
                  <a:latin typeface="Calibri" pitchFamily="34" charset="0"/>
                  <a:ea typeface="宋体" pitchFamily="2" charset="-122"/>
                </a:endParaRPr>
              </a:p>
            </p:txBody>
          </p:sp>
        </p:grpSp>
        <p:grpSp>
          <p:nvGrpSpPr>
            <p:cNvPr id="8" name="组合 7"/>
            <p:cNvGrpSpPr/>
            <p:nvPr/>
          </p:nvGrpSpPr>
          <p:grpSpPr>
            <a:xfrm>
              <a:off x="7053026" y="3101979"/>
              <a:ext cx="4331002" cy="1135541"/>
              <a:chOff x="1317856" y="2879201"/>
              <a:chExt cx="4331002" cy="1135541"/>
            </a:xfrm>
          </p:grpSpPr>
          <p:grpSp>
            <p:nvGrpSpPr>
              <p:cNvPr id="24" name="组合 23"/>
              <p:cNvGrpSpPr/>
              <p:nvPr/>
            </p:nvGrpSpPr>
            <p:grpSpPr>
              <a:xfrm>
                <a:off x="1863356" y="2879201"/>
                <a:ext cx="3785502" cy="1135541"/>
                <a:chOff x="7119257" y="2417642"/>
                <a:chExt cx="4495009" cy="1117216"/>
              </a:xfrm>
              <a:noFill/>
            </p:grpSpPr>
            <p:sp>
              <p:nvSpPr>
                <p:cNvPr id="26" name="矩形 25"/>
                <p:cNvSpPr/>
                <p:nvPr/>
              </p:nvSpPr>
              <p:spPr>
                <a:xfrm>
                  <a:off x="7119257" y="2417642"/>
                  <a:ext cx="2097759" cy="3330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r>
                    <a:rPr kumimoji="1" lang="en-US" altLang="zh-CN" sz="1600" b="1" dirty="0">
                      <a:solidFill>
                        <a:schemeClr val="tx1"/>
                      </a:solidFill>
                      <a:latin typeface="Calibri" pitchFamily="34" charset="0"/>
                      <a:ea typeface="宋体" pitchFamily="2" charset="-122"/>
                    </a:rPr>
                    <a:t>Texthere</a:t>
                  </a:r>
                  <a:endParaRPr kumimoji="1" lang="en-US" altLang="zh-CN" sz="1600" b="1" dirty="0">
                    <a:solidFill>
                      <a:schemeClr val="tx1"/>
                    </a:solidFill>
                    <a:latin typeface="Calibri" pitchFamily="34" charset="0"/>
                    <a:ea typeface="宋体" pitchFamily="2" charset="-122"/>
                  </a:endParaRPr>
                </a:p>
              </p:txBody>
            </p:sp>
            <p:sp>
              <p:nvSpPr>
                <p:cNvPr id="27" name="矩形 26"/>
                <p:cNvSpPr/>
                <p:nvPr/>
              </p:nvSpPr>
              <p:spPr>
                <a:xfrm>
                  <a:off x="7119257" y="2754492"/>
                  <a:ext cx="4495009" cy="7803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nSpc>
                      <a:spcPct val="130000"/>
                    </a:lnSpc>
                  </a:pPr>
                  <a:r>
                    <a:rPr kumimoji="1" lang="en-US" altLang="zh-CN" sz="1200" dirty="0">
                      <a:solidFill>
                        <a:schemeClr val="tx1"/>
                      </a:solidFill>
                      <a:latin typeface="Calibri" pitchFamily="34" charset="0"/>
                      <a:ea typeface="宋体" pitchFamily="2" charset="-122"/>
                    </a:rPr>
                    <a:t>Theme color makes PPT more convenient to change. Adjust the spacing to adapt to Chinese typesetting, use the reference line in PPT……</a:t>
                  </a:r>
                  <a:endParaRPr kumimoji="1" lang="en-US" altLang="zh-CN" sz="1200" dirty="0">
                    <a:solidFill>
                      <a:schemeClr val="tx1"/>
                    </a:solidFill>
                    <a:latin typeface="Calibri" pitchFamily="34" charset="0"/>
                    <a:ea typeface="宋体" pitchFamily="2" charset="-122"/>
                  </a:endParaRPr>
                </a:p>
              </p:txBody>
            </p:sp>
          </p:grpSp>
          <p:sp>
            <p:nvSpPr>
              <p:cNvPr id="25" name="文本框 24"/>
              <p:cNvSpPr txBox="1"/>
              <p:nvPr/>
            </p:nvSpPr>
            <p:spPr>
              <a:xfrm>
                <a:off x="1317856" y="2969149"/>
                <a:ext cx="473780" cy="473780"/>
              </a:xfrm>
              <a:prstGeom prst="roundRect">
                <a:avLst>
                  <a:gd name="adj" fmla="val 50000"/>
                </a:avLst>
              </a:prstGeom>
              <a:solidFill>
                <a:schemeClr val="tx2">
                  <a:alpha val="15000"/>
                </a:schemeClr>
              </a:solidFill>
            </p:spPr>
            <p:txBody>
              <a:bodyPr wrap="none" lIns="91440" tIns="45720" rIns="91440" bIns="45720" rtlCol="0" anchor="ctr" anchorCtr="0">
                <a:noAutofit/>
              </a:bodyPr>
              <a:lstStyle>
                <a:defPPr>
                  <a:defRPr lang="zh-CN"/>
                </a:defPPr>
                <a:lvl1pPr algn="ctr">
                  <a:defRPr kumimoji="1" sz="2000" b="1"/>
                </a:lvl1pPr>
              </a:lstStyle>
              <a:p>
                <a:r>
                  <a:rPr lang="en-US" altLang="zh-CN" dirty="0">
                    <a:latin typeface="Calibri" pitchFamily="34" charset="0"/>
                    <a:ea typeface="宋体" pitchFamily="2" charset="-122"/>
                  </a:rPr>
                  <a:t>02</a:t>
                </a:r>
                <a:endParaRPr lang="zh-CN" altLang="en-US" dirty="0">
                  <a:latin typeface="Calibri" pitchFamily="34" charset="0"/>
                  <a:ea typeface="宋体" pitchFamily="2" charset="-122"/>
                </a:endParaRPr>
              </a:p>
            </p:txBody>
          </p:sp>
        </p:grpSp>
        <p:cxnSp>
          <p:nvCxnSpPr>
            <p:cNvPr id="4" name="直接连接符 3"/>
            <p:cNvCxnSpPr/>
            <p:nvPr/>
          </p:nvCxnSpPr>
          <p:spPr>
            <a:xfrm>
              <a:off x="6095999" y="1635564"/>
              <a:ext cx="0" cy="4007930"/>
            </a:xfrm>
            <a:prstGeom prst="line">
              <a:avLst/>
            </a:prstGeom>
            <a:ln>
              <a:solidFill>
                <a:schemeClr val="tx2">
                  <a:alpha val="50000"/>
                </a:schemeClr>
              </a:solidFill>
            </a:ln>
          </p:spPr>
          <p:style>
            <a:lnRef idx="1">
              <a:schemeClr val="accent1"/>
            </a:lnRef>
            <a:fillRef idx="0">
              <a:schemeClr val="accent1"/>
            </a:fillRef>
            <a:effectRef idx="0">
              <a:schemeClr val="accent1"/>
            </a:effectRef>
            <a:fontRef idx="minor">
              <a:schemeClr val="tx1"/>
            </a:fontRef>
          </p:style>
        </p:cxnSp>
        <p:grpSp>
          <p:nvGrpSpPr>
            <p:cNvPr id="2" name="组合 1"/>
            <p:cNvGrpSpPr/>
            <p:nvPr/>
          </p:nvGrpSpPr>
          <p:grpSpPr>
            <a:xfrm>
              <a:off x="7053026" y="4509454"/>
              <a:ext cx="4331002" cy="1135541"/>
              <a:chOff x="1317856" y="2879201"/>
              <a:chExt cx="4331002" cy="1135541"/>
            </a:xfrm>
          </p:grpSpPr>
          <p:grpSp>
            <p:nvGrpSpPr>
              <p:cNvPr id="3" name="组合 2"/>
              <p:cNvGrpSpPr/>
              <p:nvPr/>
            </p:nvGrpSpPr>
            <p:grpSpPr>
              <a:xfrm>
                <a:off x="1863356" y="2879201"/>
                <a:ext cx="3785502" cy="1135541"/>
                <a:chOff x="7119257" y="2417642"/>
                <a:chExt cx="4495009" cy="1117216"/>
              </a:xfrm>
              <a:noFill/>
            </p:grpSpPr>
            <p:sp>
              <p:nvSpPr>
                <p:cNvPr id="9" name="矩形 8"/>
                <p:cNvSpPr/>
                <p:nvPr/>
              </p:nvSpPr>
              <p:spPr>
                <a:xfrm>
                  <a:off x="7119257" y="2417642"/>
                  <a:ext cx="2097759" cy="3330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r>
                    <a:rPr kumimoji="1" lang="en-US" altLang="zh-CN" sz="1600" b="1" dirty="0">
                      <a:solidFill>
                        <a:schemeClr val="tx1"/>
                      </a:solidFill>
                      <a:latin typeface="Calibri" pitchFamily="34" charset="0"/>
                      <a:ea typeface="宋体" pitchFamily="2" charset="-122"/>
                    </a:rPr>
                    <a:t>Texthere</a:t>
                  </a:r>
                  <a:endParaRPr kumimoji="1" lang="en-US" altLang="zh-CN" sz="1600" b="1" dirty="0">
                    <a:solidFill>
                      <a:schemeClr val="tx1"/>
                    </a:solidFill>
                    <a:latin typeface="Calibri" pitchFamily="34" charset="0"/>
                    <a:ea typeface="宋体" pitchFamily="2" charset="-122"/>
                  </a:endParaRPr>
                </a:p>
              </p:txBody>
            </p:sp>
            <p:sp>
              <p:nvSpPr>
                <p:cNvPr id="10" name="矩形 9"/>
                <p:cNvSpPr/>
                <p:nvPr/>
              </p:nvSpPr>
              <p:spPr>
                <a:xfrm>
                  <a:off x="7119257" y="2754492"/>
                  <a:ext cx="4495009" cy="7803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nSpc>
                      <a:spcPct val="130000"/>
                    </a:lnSpc>
                  </a:pPr>
                  <a:r>
                    <a:rPr kumimoji="1" lang="en-US" altLang="zh-CN" sz="1200" dirty="0">
                      <a:solidFill>
                        <a:schemeClr val="tx1"/>
                      </a:solidFill>
                      <a:latin typeface="Calibri" pitchFamily="34" charset="0"/>
                      <a:ea typeface="宋体" pitchFamily="2" charset="-122"/>
                    </a:rPr>
                    <a:t>Theme color makes PPT more convenient to change. Adjust the spacing to adapt to Chinese typesetting, use the reference line in PPT……</a:t>
                  </a:r>
                  <a:endParaRPr kumimoji="1" lang="en-US" altLang="zh-CN" sz="1200" dirty="0">
                    <a:solidFill>
                      <a:schemeClr val="tx1"/>
                    </a:solidFill>
                    <a:latin typeface="Calibri" pitchFamily="34" charset="0"/>
                    <a:ea typeface="宋体" pitchFamily="2" charset="-122"/>
                  </a:endParaRPr>
                </a:p>
              </p:txBody>
            </p:sp>
          </p:grpSp>
          <p:sp>
            <p:nvSpPr>
              <p:cNvPr id="6" name="文本框 5"/>
              <p:cNvSpPr txBox="1"/>
              <p:nvPr/>
            </p:nvSpPr>
            <p:spPr>
              <a:xfrm>
                <a:off x="1317856" y="2969149"/>
                <a:ext cx="473780" cy="473780"/>
              </a:xfrm>
              <a:prstGeom prst="roundRect">
                <a:avLst>
                  <a:gd name="adj" fmla="val 50000"/>
                </a:avLst>
              </a:prstGeom>
              <a:solidFill>
                <a:schemeClr val="tx2">
                  <a:alpha val="15000"/>
                </a:schemeClr>
              </a:solidFill>
            </p:spPr>
            <p:txBody>
              <a:bodyPr wrap="none" lIns="91440" tIns="45720" rIns="91440" bIns="45720" rtlCol="0" anchor="ctr" anchorCtr="0">
                <a:noAutofit/>
              </a:bodyPr>
              <a:lstStyle>
                <a:defPPr>
                  <a:defRPr lang="zh-CN"/>
                </a:defPPr>
                <a:lvl1pPr algn="ctr">
                  <a:defRPr kumimoji="1" sz="2000" b="1"/>
                </a:lvl1pPr>
              </a:lstStyle>
              <a:p>
                <a:r>
                  <a:rPr lang="en-US" altLang="zh-CN" dirty="0">
                    <a:latin typeface="Calibri" pitchFamily="34" charset="0"/>
                    <a:ea typeface="宋体" pitchFamily="2" charset="-122"/>
                  </a:rPr>
                  <a:t>03</a:t>
                </a:r>
                <a:endParaRPr lang="zh-CN" altLang="en-US" dirty="0">
                  <a:latin typeface="Calibri" pitchFamily="34" charset="0"/>
                  <a:ea typeface="宋体" pitchFamily="2" charset="-122"/>
                </a:endParaRPr>
              </a:p>
            </p:txBody>
          </p:sp>
        </p:grpSp>
        <p:sp>
          <p:nvSpPr>
            <p:cNvPr id="12" name="椭圆 11"/>
            <p:cNvSpPr/>
            <p:nvPr/>
          </p:nvSpPr>
          <p:spPr>
            <a:xfrm>
              <a:off x="1016831" y="4484331"/>
              <a:ext cx="1262376" cy="126237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b="1">
                  <a:solidFill>
                    <a:srgbClr val="FFFFFF"/>
                  </a:solidFill>
                  <a:latin typeface="Calibri" pitchFamily="34" charset="0"/>
                  <a:ea typeface="宋体" pitchFamily="2" charset="-122"/>
                </a:rPr>
                <a:t>Texthere</a:t>
              </a:r>
              <a:endParaRPr kumimoji="1" lang="en-US" altLang="zh-CN" b="1" dirty="0">
                <a:solidFill>
                  <a:srgbClr val="FFFFFF"/>
                </a:solidFill>
                <a:latin typeface="Calibri" pitchFamily="34" charset="0"/>
                <a:ea typeface="宋体" pitchFamily="2" charset="-122"/>
              </a:endParaRPr>
            </a:p>
          </p:txBody>
        </p:sp>
      </p:grpSp>
    </p:spTree>
    <p:custDataLst>
      <p:tags r:id="rId1"/>
    </p:custData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组合 2"/>
          <p:cNvGrpSpPr/>
          <p:nvPr/>
        </p:nvGrpSpPr>
        <p:grpSpPr>
          <a:xfrm>
            <a:off x="660401" y="1130300"/>
            <a:ext cx="10858500" cy="4690840"/>
            <a:chOff x="660400" y="1130300"/>
            <a:chExt cx="10858500" cy="4690840"/>
          </a:xfrm>
        </p:grpSpPr>
        <p:sp>
          <p:nvSpPr>
            <p:cNvPr id="2" name="文本框 1"/>
            <p:cNvSpPr txBox="1"/>
            <p:nvPr/>
          </p:nvSpPr>
          <p:spPr>
            <a:xfrm>
              <a:off x="660400" y="1130300"/>
              <a:ext cx="10858500" cy="696960"/>
            </a:xfrm>
            <a:prstGeom prst="rect">
              <a:avLst/>
            </a:prstGeom>
            <a:noFill/>
          </p:spPr>
          <p:txBody>
            <a:bodyPr vert="horz" wrap="square" rtlCol="0" anchor="t" anchorCtr="0">
              <a:normAutofit/>
            </a:bodyPr>
            <a:lstStyle/>
            <a:p>
              <a:pPr algn="ctr"/>
              <a:r>
                <a:rPr lang="en-US" altLang="zh-CN" sz="2400" b="1" dirty="0">
                  <a:latin typeface="Calibri" pitchFamily="34" charset="0"/>
                  <a:ea typeface="宋体" pitchFamily="2" charset="-122"/>
                </a:rPr>
                <a:t>Unified fonts make reading more fluent</a:t>
              </a:r>
              <a:endParaRPr lang="zh-CN" altLang="en-US" sz="2400" b="1" dirty="0">
                <a:latin typeface="Calibri" pitchFamily="34" charset="0"/>
                <a:ea typeface="宋体" pitchFamily="2" charset="-122"/>
              </a:endParaRPr>
            </a:p>
          </p:txBody>
        </p:sp>
        <p:grpSp>
          <p:nvGrpSpPr>
            <p:cNvPr id="30" name="组合 29"/>
            <p:cNvGrpSpPr/>
            <p:nvPr/>
          </p:nvGrpSpPr>
          <p:grpSpPr>
            <a:xfrm>
              <a:off x="874485" y="2378530"/>
              <a:ext cx="3062515" cy="3442610"/>
              <a:chOff x="1088571" y="2378530"/>
              <a:chExt cx="3062515" cy="3442610"/>
            </a:xfrm>
          </p:grpSpPr>
          <p:sp>
            <p:nvSpPr>
              <p:cNvPr id="5" name="矩形: 圆角 4"/>
              <p:cNvSpPr/>
              <p:nvPr/>
            </p:nvSpPr>
            <p:spPr>
              <a:xfrm>
                <a:off x="1088571" y="2757714"/>
                <a:ext cx="3062515" cy="2672930"/>
              </a:xfrm>
              <a:prstGeom prst="roundRect">
                <a:avLst>
                  <a:gd name="adj" fmla="val 1648"/>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7" name="任意多边形: 形状 6"/>
              <p:cNvSpPr/>
              <p:nvPr/>
            </p:nvSpPr>
            <p:spPr>
              <a:xfrm>
                <a:off x="1226457" y="2378530"/>
                <a:ext cx="2786743" cy="825199"/>
              </a:xfrm>
              <a:custGeom>
                <a:avLst/>
                <a:gdLst>
                  <a:gd name="connsiteX0" fmla="*/ 116162 w 2786743"/>
                  <a:gd name="connsiteY0" fmla="*/ 0 h 825199"/>
                  <a:gd name="connsiteX1" fmla="*/ 2670581 w 2786743"/>
                  <a:gd name="connsiteY1" fmla="*/ 0 h 825199"/>
                  <a:gd name="connsiteX2" fmla="*/ 2786743 w 2786743"/>
                  <a:gd name="connsiteY2" fmla="*/ 116162 h 825199"/>
                  <a:gd name="connsiteX3" fmla="*/ 2786743 w 2786743"/>
                  <a:gd name="connsiteY3" fmla="*/ 580798 h 825199"/>
                  <a:gd name="connsiteX4" fmla="*/ 2670581 w 2786743"/>
                  <a:gd name="connsiteY4" fmla="*/ 696960 h 825199"/>
                  <a:gd name="connsiteX5" fmla="*/ 384895 w 2786743"/>
                  <a:gd name="connsiteY5" fmla="*/ 696960 h 825199"/>
                  <a:gd name="connsiteX6" fmla="*/ 312412 w 2786743"/>
                  <a:gd name="connsiteY6" fmla="*/ 825199 h 825199"/>
                  <a:gd name="connsiteX7" fmla="*/ 239929 w 2786743"/>
                  <a:gd name="connsiteY7" fmla="*/ 696960 h 825199"/>
                  <a:gd name="connsiteX8" fmla="*/ 116162 w 2786743"/>
                  <a:gd name="connsiteY8" fmla="*/ 696960 h 825199"/>
                  <a:gd name="connsiteX9" fmla="*/ 0 w 2786743"/>
                  <a:gd name="connsiteY9" fmla="*/ 580798 h 825199"/>
                  <a:gd name="connsiteX10" fmla="*/ 0 w 2786743"/>
                  <a:gd name="connsiteY10" fmla="*/ 116162 h 825199"/>
                  <a:gd name="connsiteX11" fmla="*/ 116162 w 2786743"/>
                  <a:gd name="connsiteY11" fmla="*/ 0 h 825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86743" h="825199">
                    <a:moveTo>
                      <a:pt x="116162" y="0"/>
                    </a:moveTo>
                    <a:lnTo>
                      <a:pt x="2670581" y="0"/>
                    </a:lnTo>
                    <a:cubicBezTo>
                      <a:pt x="2734736" y="0"/>
                      <a:pt x="2786743" y="52007"/>
                      <a:pt x="2786743" y="116162"/>
                    </a:cubicBezTo>
                    <a:lnTo>
                      <a:pt x="2786743" y="580798"/>
                    </a:lnTo>
                    <a:cubicBezTo>
                      <a:pt x="2786743" y="644953"/>
                      <a:pt x="2734736" y="696960"/>
                      <a:pt x="2670581" y="696960"/>
                    </a:cubicBezTo>
                    <a:lnTo>
                      <a:pt x="384895" y="696960"/>
                    </a:lnTo>
                    <a:lnTo>
                      <a:pt x="312412" y="825199"/>
                    </a:lnTo>
                    <a:lnTo>
                      <a:pt x="239929" y="696960"/>
                    </a:lnTo>
                    <a:lnTo>
                      <a:pt x="116162" y="696960"/>
                    </a:lnTo>
                    <a:cubicBezTo>
                      <a:pt x="52007" y="696960"/>
                      <a:pt x="0" y="644953"/>
                      <a:pt x="0" y="580798"/>
                    </a:cubicBezTo>
                    <a:lnTo>
                      <a:pt x="0" y="116162"/>
                    </a:lnTo>
                    <a:cubicBezTo>
                      <a:pt x="0" y="52007"/>
                      <a:pt x="52007" y="0"/>
                      <a:pt x="116162" y="0"/>
                    </a:cubicBezTo>
                    <a:close/>
                  </a:path>
                </a:pathLst>
              </a:custGeom>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chorCtr="1">
                <a:normAutofit/>
              </a:bodyPr>
              <a:lstStyle/>
              <a:p>
                <a:pPr algn="ctr"/>
                <a:r>
                  <a:rPr lang="en-US" altLang="zh-CN" b="1">
                    <a:solidFill>
                      <a:srgbClr val="FFFFFF"/>
                    </a:solidFill>
                    <a:latin typeface="Calibri" pitchFamily="34" charset="0"/>
                    <a:ea typeface="宋体" pitchFamily="2" charset="-122"/>
                  </a:rPr>
                  <a:t>Click to add text</a:t>
                </a:r>
                <a:endParaRPr lang="zh-CN" altLang="en-US" b="1" dirty="0">
                  <a:solidFill>
                    <a:srgbClr val="FFFFFF"/>
                  </a:solidFill>
                  <a:latin typeface="Calibri" pitchFamily="34" charset="0"/>
                  <a:ea typeface="宋体" pitchFamily="2" charset="-122"/>
                </a:endParaRPr>
              </a:p>
            </p:txBody>
          </p:sp>
          <p:sp>
            <p:nvSpPr>
              <p:cNvPr id="11" name="文本框 10"/>
              <p:cNvSpPr txBox="1"/>
              <p:nvPr/>
            </p:nvSpPr>
            <p:spPr>
              <a:xfrm>
                <a:off x="1226456" y="3324225"/>
                <a:ext cx="2786743" cy="1885949"/>
              </a:xfrm>
              <a:prstGeom prst="rect">
                <a:avLst/>
              </a:prstGeom>
              <a:noFill/>
            </p:spPr>
            <p:txBody>
              <a:bodyPr wrap="square" lIns="91440" tIns="45720" rIns="91440" bIns="45720" rtlCol="0" anchor="t" anchorCtr="0">
                <a:normAutofit/>
              </a:bodyPr>
              <a:lstStyle/>
              <a:p>
                <a:pPr>
                  <a:lnSpc>
                    <a:spcPct val="120000"/>
                  </a:lnSpc>
                </a:pPr>
                <a:r>
                  <a:rPr lang="en-US" altLang="zh-CN" sz="1200">
                    <a:latin typeface="Calibri" pitchFamily="34" charset="0"/>
                    <a:ea typeface="宋体" pitchFamily="2" charset="-122"/>
                  </a:rPr>
                  <a:t>Rebum rebum takimata diam ut dolore stet dolore eu.</a:t>
                </a:r>
                <a:endParaRPr lang="zh-CN" altLang="en-US" sz="1200" dirty="0">
                  <a:latin typeface="Calibri" pitchFamily="34" charset="0"/>
                  <a:ea typeface="宋体" pitchFamily="2" charset="-122"/>
                </a:endParaRPr>
              </a:p>
            </p:txBody>
          </p:sp>
          <p:sp>
            <p:nvSpPr>
              <p:cNvPr id="12" name="文本框 11"/>
              <p:cNvSpPr txBox="1">
                <a:spLocks noChangeAspect="1"/>
              </p:cNvSpPr>
              <p:nvPr/>
            </p:nvSpPr>
            <p:spPr>
              <a:xfrm>
                <a:off x="3405048" y="5281140"/>
                <a:ext cx="540000" cy="540000"/>
              </a:xfrm>
              <a:prstGeom prst="roundRect">
                <a:avLst/>
              </a:prstGeom>
              <a:solidFill>
                <a:schemeClr val="accent1"/>
              </a:solidFill>
              <a:ln w="3175">
                <a:solidFill>
                  <a:srgbClr val="FFFFFF"/>
                </a:solidFill>
              </a:ln>
            </p:spPr>
            <p:txBody>
              <a:bodyPr wrap="none" lIns="108000" tIns="108000" rIns="108000" bIns="108000" rtlCol="0" anchor="ctr" anchorCtr="0">
                <a:noAutofit/>
              </a:bodyPr>
              <a:lstStyle/>
              <a:p>
                <a:pPr algn="ctr"/>
                <a:endParaRPr kumimoji="1" lang="zh-CN" altLang="en-US" sz="2000" b="1" dirty="0">
                  <a:noFill/>
                </a:endParaRPr>
              </a:p>
            </p:txBody>
          </p:sp>
          <p:sp>
            <p:nvSpPr>
              <p:cNvPr id="13" name="任意多边形: 形状 12"/>
              <p:cNvSpPr/>
              <p:nvPr/>
            </p:nvSpPr>
            <p:spPr>
              <a:xfrm>
                <a:off x="3561934" y="5413437"/>
                <a:ext cx="226228" cy="275406"/>
              </a:xfrm>
              <a:custGeom>
                <a:avLst/>
                <a:gdLst>
                  <a:gd name="connsiteX0" fmla="*/ 284197 w 438150"/>
                  <a:gd name="connsiteY0" fmla="*/ 621 h 533400"/>
                  <a:gd name="connsiteX1" fmla="*/ 286102 w 438150"/>
                  <a:gd name="connsiteY1" fmla="*/ 621 h 533400"/>
                  <a:gd name="connsiteX2" fmla="*/ 286102 w 438150"/>
                  <a:gd name="connsiteY2" fmla="*/ 124446 h 533400"/>
                  <a:gd name="connsiteX3" fmla="*/ 286102 w 438150"/>
                  <a:gd name="connsiteY3" fmla="*/ 126351 h 533400"/>
                  <a:gd name="connsiteX4" fmla="*/ 314677 w 438150"/>
                  <a:gd name="connsiteY4" fmla="*/ 153021 h 533400"/>
                  <a:gd name="connsiteX5" fmla="*/ 314677 w 438150"/>
                  <a:gd name="connsiteY5" fmla="*/ 153021 h 533400"/>
                  <a:gd name="connsiteX6" fmla="*/ 438502 w 438150"/>
                  <a:gd name="connsiteY6" fmla="*/ 153021 h 533400"/>
                  <a:gd name="connsiteX7" fmla="*/ 438502 w 438150"/>
                  <a:gd name="connsiteY7" fmla="*/ 154926 h 533400"/>
                  <a:gd name="connsiteX8" fmla="*/ 438502 w 438150"/>
                  <a:gd name="connsiteY8" fmla="*/ 505446 h 533400"/>
                  <a:gd name="connsiteX9" fmla="*/ 409927 w 438150"/>
                  <a:gd name="connsiteY9" fmla="*/ 534021 h 533400"/>
                  <a:gd name="connsiteX10" fmla="*/ 28927 w 438150"/>
                  <a:gd name="connsiteY10" fmla="*/ 534021 h 533400"/>
                  <a:gd name="connsiteX11" fmla="*/ 352 w 438150"/>
                  <a:gd name="connsiteY11" fmla="*/ 505446 h 533400"/>
                  <a:gd name="connsiteX12" fmla="*/ 352 w 438150"/>
                  <a:gd name="connsiteY12" fmla="*/ 29196 h 533400"/>
                  <a:gd name="connsiteX13" fmla="*/ 28927 w 438150"/>
                  <a:gd name="connsiteY13" fmla="*/ 621 h 533400"/>
                  <a:gd name="connsiteX14" fmla="*/ 284197 w 438150"/>
                  <a:gd name="connsiteY14" fmla="*/ 621 h 533400"/>
                  <a:gd name="connsiteX15" fmla="*/ 248002 w 438150"/>
                  <a:gd name="connsiteY15" fmla="*/ 200646 h 533400"/>
                  <a:gd name="connsiteX16" fmla="*/ 152752 w 438150"/>
                  <a:gd name="connsiteY16" fmla="*/ 200646 h 533400"/>
                  <a:gd name="connsiteX17" fmla="*/ 152752 w 438150"/>
                  <a:gd name="connsiteY17" fmla="*/ 410196 h 533400"/>
                  <a:gd name="connsiteX18" fmla="*/ 171802 w 438150"/>
                  <a:gd name="connsiteY18" fmla="*/ 410196 h 533400"/>
                  <a:gd name="connsiteX19" fmla="*/ 171802 w 438150"/>
                  <a:gd name="connsiteY19" fmla="*/ 314946 h 533400"/>
                  <a:gd name="connsiteX20" fmla="*/ 248002 w 438150"/>
                  <a:gd name="connsiteY20" fmla="*/ 314946 h 533400"/>
                  <a:gd name="connsiteX21" fmla="*/ 249907 w 438150"/>
                  <a:gd name="connsiteY21" fmla="*/ 314946 h 533400"/>
                  <a:gd name="connsiteX22" fmla="*/ 305152 w 438150"/>
                  <a:gd name="connsiteY22" fmla="*/ 257796 h 533400"/>
                  <a:gd name="connsiteX23" fmla="*/ 248002 w 438150"/>
                  <a:gd name="connsiteY23" fmla="*/ 200646 h 533400"/>
                  <a:gd name="connsiteX24" fmla="*/ 248002 w 438150"/>
                  <a:gd name="connsiteY24" fmla="*/ 200646 h 533400"/>
                  <a:gd name="connsiteX25" fmla="*/ 248002 w 438150"/>
                  <a:gd name="connsiteY25" fmla="*/ 219696 h 533400"/>
                  <a:gd name="connsiteX26" fmla="*/ 286102 w 438150"/>
                  <a:gd name="connsiteY26" fmla="*/ 257796 h 533400"/>
                  <a:gd name="connsiteX27" fmla="*/ 248002 w 438150"/>
                  <a:gd name="connsiteY27" fmla="*/ 295896 h 533400"/>
                  <a:gd name="connsiteX28" fmla="*/ 248002 w 438150"/>
                  <a:gd name="connsiteY28" fmla="*/ 295896 h 533400"/>
                  <a:gd name="connsiteX29" fmla="*/ 171802 w 438150"/>
                  <a:gd name="connsiteY29" fmla="*/ 295896 h 533400"/>
                  <a:gd name="connsiteX30" fmla="*/ 171802 w 438150"/>
                  <a:gd name="connsiteY30" fmla="*/ 219696 h 533400"/>
                  <a:gd name="connsiteX31" fmla="*/ 248002 w 438150"/>
                  <a:gd name="connsiteY31" fmla="*/ 219696 h 533400"/>
                  <a:gd name="connsiteX32" fmla="*/ 428977 w 438150"/>
                  <a:gd name="connsiteY32" fmla="*/ 133971 h 533400"/>
                  <a:gd name="connsiteX33" fmla="*/ 314677 w 438150"/>
                  <a:gd name="connsiteY33" fmla="*/ 133971 h 533400"/>
                  <a:gd name="connsiteX34" fmla="*/ 313724 w 438150"/>
                  <a:gd name="connsiteY34" fmla="*/ 133971 h 533400"/>
                  <a:gd name="connsiteX35" fmla="*/ 305152 w 438150"/>
                  <a:gd name="connsiteY35" fmla="*/ 124446 h 533400"/>
                  <a:gd name="connsiteX36" fmla="*/ 305152 w 438150"/>
                  <a:gd name="connsiteY36" fmla="*/ 124446 h 533400"/>
                  <a:gd name="connsiteX37" fmla="*/ 305152 w 438150"/>
                  <a:gd name="connsiteY37" fmla="*/ 10146 h 533400"/>
                  <a:gd name="connsiteX38" fmla="*/ 428977 w 438150"/>
                  <a:gd name="connsiteY38" fmla="*/ 133971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38150" h="533400">
                    <a:moveTo>
                      <a:pt x="284197" y="621"/>
                    </a:moveTo>
                    <a:cubicBezTo>
                      <a:pt x="285149" y="621"/>
                      <a:pt x="286102" y="621"/>
                      <a:pt x="286102" y="621"/>
                    </a:cubicBezTo>
                    <a:lnTo>
                      <a:pt x="286102" y="124446"/>
                    </a:lnTo>
                    <a:lnTo>
                      <a:pt x="286102" y="126351"/>
                    </a:lnTo>
                    <a:cubicBezTo>
                      <a:pt x="287055" y="141591"/>
                      <a:pt x="299437" y="153021"/>
                      <a:pt x="314677" y="153021"/>
                    </a:cubicBezTo>
                    <a:lnTo>
                      <a:pt x="314677" y="153021"/>
                    </a:lnTo>
                    <a:lnTo>
                      <a:pt x="438502" y="153021"/>
                    </a:lnTo>
                    <a:cubicBezTo>
                      <a:pt x="438502" y="153974"/>
                      <a:pt x="438502" y="154926"/>
                      <a:pt x="438502" y="154926"/>
                    </a:cubicBezTo>
                    <a:lnTo>
                      <a:pt x="438502" y="505446"/>
                    </a:lnTo>
                    <a:cubicBezTo>
                      <a:pt x="438502" y="521639"/>
                      <a:pt x="426120" y="534021"/>
                      <a:pt x="409927" y="534021"/>
                    </a:cubicBezTo>
                    <a:lnTo>
                      <a:pt x="28927" y="534021"/>
                    </a:lnTo>
                    <a:cubicBezTo>
                      <a:pt x="12734" y="534021"/>
                      <a:pt x="352" y="521639"/>
                      <a:pt x="352" y="505446"/>
                    </a:cubicBezTo>
                    <a:lnTo>
                      <a:pt x="352" y="29196"/>
                    </a:lnTo>
                    <a:cubicBezTo>
                      <a:pt x="352" y="13004"/>
                      <a:pt x="12734" y="621"/>
                      <a:pt x="28927" y="621"/>
                    </a:cubicBezTo>
                    <a:lnTo>
                      <a:pt x="284197" y="621"/>
                    </a:lnTo>
                    <a:close/>
                    <a:moveTo>
                      <a:pt x="248002" y="200646"/>
                    </a:moveTo>
                    <a:lnTo>
                      <a:pt x="152752" y="200646"/>
                    </a:lnTo>
                    <a:lnTo>
                      <a:pt x="152752" y="410196"/>
                    </a:lnTo>
                    <a:lnTo>
                      <a:pt x="171802" y="410196"/>
                    </a:lnTo>
                    <a:lnTo>
                      <a:pt x="171802" y="314946"/>
                    </a:lnTo>
                    <a:lnTo>
                      <a:pt x="248002" y="314946"/>
                    </a:lnTo>
                    <a:lnTo>
                      <a:pt x="249907" y="314946"/>
                    </a:lnTo>
                    <a:cubicBezTo>
                      <a:pt x="280387" y="313994"/>
                      <a:pt x="305152" y="288276"/>
                      <a:pt x="305152" y="257796"/>
                    </a:cubicBezTo>
                    <a:cubicBezTo>
                      <a:pt x="305152" y="226364"/>
                      <a:pt x="279434" y="200646"/>
                      <a:pt x="248002" y="200646"/>
                    </a:cubicBezTo>
                    <a:lnTo>
                      <a:pt x="248002" y="200646"/>
                    </a:lnTo>
                    <a:close/>
                    <a:moveTo>
                      <a:pt x="248002" y="219696"/>
                    </a:moveTo>
                    <a:cubicBezTo>
                      <a:pt x="268957" y="219696"/>
                      <a:pt x="286102" y="236841"/>
                      <a:pt x="286102" y="257796"/>
                    </a:cubicBezTo>
                    <a:cubicBezTo>
                      <a:pt x="286102" y="278751"/>
                      <a:pt x="268957" y="295896"/>
                      <a:pt x="248002" y="295896"/>
                    </a:cubicBezTo>
                    <a:lnTo>
                      <a:pt x="248002" y="295896"/>
                    </a:lnTo>
                    <a:lnTo>
                      <a:pt x="171802" y="295896"/>
                    </a:lnTo>
                    <a:lnTo>
                      <a:pt x="171802" y="219696"/>
                    </a:lnTo>
                    <a:lnTo>
                      <a:pt x="248002" y="219696"/>
                    </a:lnTo>
                    <a:close/>
                    <a:moveTo>
                      <a:pt x="428977" y="133971"/>
                    </a:moveTo>
                    <a:lnTo>
                      <a:pt x="314677" y="133971"/>
                    </a:lnTo>
                    <a:lnTo>
                      <a:pt x="313724" y="133971"/>
                    </a:lnTo>
                    <a:cubicBezTo>
                      <a:pt x="308962" y="133019"/>
                      <a:pt x="305152" y="129209"/>
                      <a:pt x="305152" y="124446"/>
                    </a:cubicBezTo>
                    <a:lnTo>
                      <a:pt x="305152" y="124446"/>
                    </a:lnTo>
                    <a:lnTo>
                      <a:pt x="305152" y="10146"/>
                    </a:lnTo>
                    <a:lnTo>
                      <a:pt x="428977" y="133971"/>
                    </a:lnTo>
                    <a:close/>
                  </a:path>
                </a:pathLst>
              </a:custGeom>
              <a:solidFill>
                <a:srgbClr val="FFFFFF"/>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grpSp>
        <p:grpSp>
          <p:nvGrpSpPr>
            <p:cNvPr id="28" name="组合 27"/>
            <p:cNvGrpSpPr/>
            <p:nvPr/>
          </p:nvGrpSpPr>
          <p:grpSpPr>
            <a:xfrm>
              <a:off x="4558392" y="2378530"/>
              <a:ext cx="3062515" cy="3442610"/>
              <a:chOff x="4972445" y="2378530"/>
              <a:chExt cx="3062515" cy="3442610"/>
            </a:xfrm>
          </p:grpSpPr>
          <p:sp>
            <p:nvSpPr>
              <p:cNvPr id="18" name="矩形: 圆角 17"/>
              <p:cNvSpPr/>
              <p:nvPr/>
            </p:nvSpPr>
            <p:spPr>
              <a:xfrm>
                <a:off x="4972445" y="2757714"/>
                <a:ext cx="3062515" cy="2672930"/>
              </a:xfrm>
              <a:prstGeom prst="roundRect">
                <a:avLst>
                  <a:gd name="adj" fmla="val 1648"/>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 name="任意多边形: 形状 18"/>
              <p:cNvSpPr/>
              <p:nvPr/>
            </p:nvSpPr>
            <p:spPr>
              <a:xfrm>
                <a:off x="5110331" y="2378530"/>
                <a:ext cx="2786743" cy="825199"/>
              </a:xfrm>
              <a:custGeom>
                <a:avLst/>
                <a:gdLst>
                  <a:gd name="connsiteX0" fmla="*/ 116162 w 2786743"/>
                  <a:gd name="connsiteY0" fmla="*/ 0 h 825199"/>
                  <a:gd name="connsiteX1" fmla="*/ 2670581 w 2786743"/>
                  <a:gd name="connsiteY1" fmla="*/ 0 h 825199"/>
                  <a:gd name="connsiteX2" fmla="*/ 2786743 w 2786743"/>
                  <a:gd name="connsiteY2" fmla="*/ 116162 h 825199"/>
                  <a:gd name="connsiteX3" fmla="*/ 2786743 w 2786743"/>
                  <a:gd name="connsiteY3" fmla="*/ 580798 h 825199"/>
                  <a:gd name="connsiteX4" fmla="*/ 2670581 w 2786743"/>
                  <a:gd name="connsiteY4" fmla="*/ 696960 h 825199"/>
                  <a:gd name="connsiteX5" fmla="*/ 384895 w 2786743"/>
                  <a:gd name="connsiteY5" fmla="*/ 696960 h 825199"/>
                  <a:gd name="connsiteX6" fmla="*/ 312412 w 2786743"/>
                  <a:gd name="connsiteY6" fmla="*/ 825199 h 825199"/>
                  <a:gd name="connsiteX7" fmla="*/ 239929 w 2786743"/>
                  <a:gd name="connsiteY7" fmla="*/ 696960 h 825199"/>
                  <a:gd name="connsiteX8" fmla="*/ 116162 w 2786743"/>
                  <a:gd name="connsiteY8" fmla="*/ 696960 h 825199"/>
                  <a:gd name="connsiteX9" fmla="*/ 0 w 2786743"/>
                  <a:gd name="connsiteY9" fmla="*/ 580798 h 825199"/>
                  <a:gd name="connsiteX10" fmla="*/ 0 w 2786743"/>
                  <a:gd name="connsiteY10" fmla="*/ 116162 h 825199"/>
                  <a:gd name="connsiteX11" fmla="*/ 116162 w 2786743"/>
                  <a:gd name="connsiteY11" fmla="*/ 0 h 825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86743" h="825199">
                    <a:moveTo>
                      <a:pt x="116162" y="0"/>
                    </a:moveTo>
                    <a:lnTo>
                      <a:pt x="2670581" y="0"/>
                    </a:lnTo>
                    <a:cubicBezTo>
                      <a:pt x="2734736" y="0"/>
                      <a:pt x="2786743" y="52007"/>
                      <a:pt x="2786743" y="116162"/>
                    </a:cubicBezTo>
                    <a:lnTo>
                      <a:pt x="2786743" y="580798"/>
                    </a:lnTo>
                    <a:cubicBezTo>
                      <a:pt x="2786743" y="644953"/>
                      <a:pt x="2734736" y="696960"/>
                      <a:pt x="2670581" y="696960"/>
                    </a:cubicBezTo>
                    <a:lnTo>
                      <a:pt x="384895" y="696960"/>
                    </a:lnTo>
                    <a:lnTo>
                      <a:pt x="312412" y="825199"/>
                    </a:lnTo>
                    <a:lnTo>
                      <a:pt x="239929" y="696960"/>
                    </a:lnTo>
                    <a:lnTo>
                      <a:pt x="116162" y="696960"/>
                    </a:lnTo>
                    <a:cubicBezTo>
                      <a:pt x="52007" y="696960"/>
                      <a:pt x="0" y="644953"/>
                      <a:pt x="0" y="580798"/>
                    </a:cubicBezTo>
                    <a:lnTo>
                      <a:pt x="0" y="116162"/>
                    </a:lnTo>
                    <a:cubicBezTo>
                      <a:pt x="0" y="52007"/>
                      <a:pt x="52007" y="0"/>
                      <a:pt x="116162" y="0"/>
                    </a:cubicBez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chorCtr="1">
                <a:normAutofit/>
              </a:bodyPr>
              <a:lstStyle/>
              <a:p>
                <a:pPr algn="ctr"/>
                <a:r>
                  <a:rPr lang="en-US" altLang="zh-CN" b="1">
                    <a:solidFill>
                      <a:srgbClr val="FFFFFF"/>
                    </a:solidFill>
                    <a:latin typeface="Calibri" pitchFamily="34" charset="0"/>
                    <a:ea typeface="宋体" pitchFamily="2" charset="-122"/>
                  </a:rPr>
                  <a:t>Click to add text</a:t>
                </a:r>
                <a:endParaRPr lang="zh-CN" altLang="en-US" b="1" dirty="0">
                  <a:solidFill>
                    <a:srgbClr val="FFFFFF"/>
                  </a:solidFill>
                  <a:latin typeface="Calibri" pitchFamily="34" charset="0"/>
                  <a:ea typeface="宋体" pitchFamily="2" charset="-122"/>
                </a:endParaRPr>
              </a:p>
            </p:txBody>
          </p:sp>
          <p:sp>
            <p:nvSpPr>
              <p:cNvPr id="20" name="文本框 19"/>
              <p:cNvSpPr txBox="1"/>
              <p:nvPr/>
            </p:nvSpPr>
            <p:spPr>
              <a:xfrm>
                <a:off x="5110330" y="3324225"/>
                <a:ext cx="2786743" cy="1885949"/>
              </a:xfrm>
              <a:prstGeom prst="rect">
                <a:avLst/>
              </a:prstGeom>
              <a:noFill/>
            </p:spPr>
            <p:txBody>
              <a:bodyPr wrap="square" lIns="91440" tIns="45720" rIns="91440" bIns="45720" rtlCol="0" anchor="t" anchorCtr="0">
                <a:normAutofit/>
              </a:bodyPr>
              <a:lstStyle/>
              <a:p>
                <a:pPr>
                  <a:lnSpc>
                    <a:spcPct val="120000"/>
                  </a:lnSpc>
                </a:pPr>
                <a:r>
                  <a:rPr lang="en-US" altLang="zh-CN" sz="1200">
                    <a:latin typeface="Calibri" pitchFamily="34" charset="0"/>
                    <a:ea typeface="宋体" pitchFamily="2" charset="-122"/>
                  </a:rPr>
                  <a:t>Clita gubergren et sea no consetetur sed at sit aliquyam in.</a:t>
                </a:r>
                <a:endParaRPr lang="zh-CN" altLang="en-US" sz="1200" dirty="0">
                  <a:latin typeface="Calibri" pitchFamily="34" charset="0"/>
                  <a:ea typeface="宋体" pitchFamily="2" charset="-122"/>
                </a:endParaRPr>
              </a:p>
            </p:txBody>
          </p:sp>
          <p:sp>
            <p:nvSpPr>
              <p:cNvPr id="14" name="文本框 13"/>
              <p:cNvSpPr txBox="1">
                <a:spLocks noChangeAspect="1"/>
              </p:cNvSpPr>
              <p:nvPr/>
            </p:nvSpPr>
            <p:spPr>
              <a:xfrm>
                <a:off x="7281963" y="5281140"/>
                <a:ext cx="540000" cy="540000"/>
              </a:xfrm>
              <a:prstGeom prst="roundRect">
                <a:avLst/>
              </a:prstGeom>
              <a:solidFill>
                <a:schemeClr val="accent2"/>
              </a:solidFill>
              <a:ln w="3175">
                <a:solidFill>
                  <a:srgbClr val="FFFFFF"/>
                </a:solidFill>
              </a:ln>
            </p:spPr>
            <p:txBody>
              <a:bodyPr wrap="none" lIns="108000" tIns="108000" rIns="108000" bIns="108000" rtlCol="0" anchor="ctr" anchorCtr="0">
                <a:noAutofit/>
              </a:bodyPr>
              <a:lstStyle/>
              <a:p>
                <a:pPr algn="ctr"/>
                <a:endParaRPr kumimoji="1" lang="zh-CN" altLang="en-US" sz="2000" b="1" dirty="0">
                  <a:noFill/>
                </a:endParaRPr>
              </a:p>
            </p:txBody>
          </p:sp>
          <p:sp>
            <p:nvSpPr>
              <p:cNvPr id="15" name="任意多边形: 形状 14"/>
              <p:cNvSpPr/>
              <p:nvPr/>
            </p:nvSpPr>
            <p:spPr>
              <a:xfrm>
                <a:off x="7414260" y="5447863"/>
                <a:ext cx="275406" cy="206554"/>
              </a:xfrm>
              <a:custGeom>
                <a:avLst/>
                <a:gdLst>
                  <a:gd name="connsiteX0" fmla="*/ 505433 w 533400"/>
                  <a:gd name="connsiteY0" fmla="*/ 621 h 400050"/>
                  <a:gd name="connsiteX1" fmla="*/ 534008 w 533400"/>
                  <a:gd name="connsiteY1" fmla="*/ 29196 h 400050"/>
                  <a:gd name="connsiteX2" fmla="*/ 534008 w 533400"/>
                  <a:gd name="connsiteY2" fmla="*/ 372096 h 400050"/>
                  <a:gd name="connsiteX3" fmla="*/ 505433 w 533400"/>
                  <a:gd name="connsiteY3" fmla="*/ 400671 h 400050"/>
                  <a:gd name="connsiteX4" fmla="*/ 29183 w 533400"/>
                  <a:gd name="connsiteY4" fmla="*/ 400671 h 400050"/>
                  <a:gd name="connsiteX5" fmla="*/ 608 w 533400"/>
                  <a:gd name="connsiteY5" fmla="*/ 372096 h 400050"/>
                  <a:gd name="connsiteX6" fmla="*/ 608 w 533400"/>
                  <a:gd name="connsiteY6" fmla="*/ 29196 h 400050"/>
                  <a:gd name="connsiteX7" fmla="*/ 29183 w 533400"/>
                  <a:gd name="connsiteY7" fmla="*/ 621 h 400050"/>
                  <a:gd name="connsiteX8" fmla="*/ 505433 w 533400"/>
                  <a:gd name="connsiteY8" fmla="*/ 621 h 400050"/>
                  <a:gd name="connsiteX9" fmla="*/ 391133 w 533400"/>
                  <a:gd name="connsiteY9" fmla="*/ 198741 h 400050"/>
                  <a:gd name="connsiteX10" fmla="*/ 351128 w 533400"/>
                  <a:gd name="connsiteY10" fmla="*/ 204456 h 400050"/>
                  <a:gd name="connsiteX11" fmla="*/ 351128 w 533400"/>
                  <a:gd name="connsiteY11" fmla="*/ 204456 h 400050"/>
                  <a:gd name="connsiteX12" fmla="*/ 267308 w 533400"/>
                  <a:gd name="connsiteY12" fmla="*/ 315899 h 400050"/>
                  <a:gd name="connsiteX13" fmla="*/ 264451 w 533400"/>
                  <a:gd name="connsiteY13" fmla="*/ 318756 h 400050"/>
                  <a:gd name="connsiteX14" fmla="*/ 224446 w 533400"/>
                  <a:gd name="connsiteY14" fmla="*/ 318756 h 400050"/>
                  <a:gd name="connsiteX15" fmla="*/ 224446 w 533400"/>
                  <a:gd name="connsiteY15" fmla="*/ 318756 h 400050"/>
                  <a:gd name="connsiteX16" fmla="*/ 162533 w 533400"/>
                  <a:gd name="connsiteY16" fmla="*/ 257796 h 400050"/>
                  <a:gd name="connsiteX17" fmla="*/ 160628 w 533400"/>
                  <a:gd name="connsiteY17" fmla="*/ 255891 h 400050"/>
                  <a:gd name="connsiteX18" fmla="*/ 120623 w 533400"/>
                  <a:gd name="connsiteY18" fmla="*/ 259701 h 400050"/>
                  <a:gd name="connsiteX19" fmla="*/ 120623 w 533400"/>
                  <a:gd name="connsiteY19" fmla="*/ 259701 h 400050"/>
                  <a:gd name="connsiteX20" fmla="*/ 32993 w 533400"/>
                  <a:gd name="connsiteY20" fmla="*/ 366381 h 400050"/>
                  <a:gd name="connsiteX21" fmla="*/ 31088 w 533400"/>
                  <a:gd name="connsiteY21" fmla="*/ 372096 h 400050"/>
                  <a:gd name="connsiteX22" fmla="*/ 40613 w 533400"/>
                  <a:gd name="connsiteY22" fmla="*/ 381621 h 400050"/>
                  <a:gd name="connsiteX23" fmla="*/ 40613 w 533400"/>
                  <a:gd name="connsiteY23" fmla="*/ 381621 h 400050"/>
                  <a:gd name="connsiteX24" fmla="*/ 497813 w 533400"/>
                  <a:gd name="connsiteY24" fmla="*/ 381621 h 400050"/>
                  <a:gd name="connsiteX25" fmla="*/ 503528 w 533400"/>
                  <a:gd name="connsiteY25" fmla="*/ 379716 h 400050"/>
                  <a:gd name="connsiteX26" fmla="*/ 506386 w 533400"/>
                  <a:gd name="connsiteY26" fmla="*/ 366381 h 400050"/>
                  <a:gd name="connsiteX27" fmla="*/ 506386 w 533400"/>
                  <a:gd name="connsiteY27" fmla="*/ 366381 h 400050"/>
                  <a:gd name="connsiteX28" fmla="*/ 398753 w 533400"/>
                  <a:gd name="connsiteY28" fmla="*/ 205409 h 400050"/>
                  <a:gd name="connsiteX29" fmla="*/ 391133 w 533400"/>
                  <a:gd name="connsiteY29" fmla="*/ 198741 h 400050"/>
                  <a:gd name="connsiteX30" fmla="*/ 95858 w 533400"/>
                  <a:gd name="connsiteY30" fmla="*/ 57771 h 400050"/>
                  <a:gd name="connsiteX31" fmla="*/ 57758 w 533400"/>
                  <a:gd name="connsiteY31" fmla="*/ 95871 h 400050"/>
                  <a:gd name="connsiteX32" fmla="*/ 95858 w 533400"/>
                  <a:gd name="connsiteY32" fmla="*/ 133971 h 400050"/>
                  <a:gd name="connsiteX33" fmla="*/ 133958 w 533400"/>
                  <a:gd name="connsiteY33" fmla="*/ 95871 h 400050"/>
                  <a:gd name="connsiteX34" fmla="*/ 95858 w 533400"/>
                  <a:gd name="connsiteY34" fmla="*/ 57771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33400" h="400050">
                    <a:moveTo>
                      <a:pt x="505433" y="621"/>
                    </a:moveTo>
                    <a:cubicBezTo>
                      <a:pt x="521626" y="621"/>
                      <a:pt x="534008" y="13004"/>
                      <a:pt x="534008" y="29196"/>
                    </a:cubicBezTo>
                    <a:lnTo>
                      <a:pt x="534008" y="372096"/>
                    </a:lnTo>
                    <a:cubicBezTo>
                      <a:pt x="534008" y="388289"/>
                      <a:pt x="521626" y="400671"/>
                      <a:pt x="505433" y="400671"/>
                    </a:cubicBezTo>
                    <a:lnTo>
                      <a:pt x="29183" y="400671"/>
                    </a:lnTo>
                    <a:cubicBezTo>
                      <a:pt x="12990" y="400671"/>
                      <a:pt x="608" y="388289"/>
                      <a:pt x="608" y="372096"/>
                    </a:cubicBezTo>
                    <a:lnTo>
                      <a:pt x="608" y="29196"/>
                    </a:lnTo>
                    <a:cubicBezTo>
                      <a:pt x="608" y="13004"/>
                      <a:pt x="12990" y="621"/>
                      <a:pt x="29183" y="621"/>
                    </a:cubicBezTo>
                    <a:lnTo>
                      <a:pt x="505433" y="621"/>
                    </a:lnTo>
                    <a:close/>
                    <a:moveTo>
                      <a:pt x="391133" y="198741"/>
                    </a:moveTo>
                    <a:cubicBezTo>
                      <a:pt x="378751" y="189216"/>
                      <a:pt x="360653" y="192074"/>
                      <a:pt x="351128" y="204456"/>
                    </a:cubicBezTo>
                    <a:lnTo>
                      <a:pt x="351128" y="204456"/>
                    </a:lnTo>
                    <a:lnTo>
                      <a:pt x="267308" y="315899"/>
                    </a:lnTo>
                    <a:cubicBezTo>
                      <a:pt x="266355" y="316851"/>
                      <a:pt x="265403" y="317804"/>
                      <a:pt x="264451" y="318756"/>
                    </a:cubicBezTo>
                    <a:cubicBezTo>
                      <a:pt x="253021" y="330186"/>
                      <a:pt x="234923" y="330186"/>
                      <a:pt x="224446" y="318756"/>
                    </a:cubicBezTo>
                    <a:lnTo>
                      <a:pt x="224446" y="318756"/>
                    </a:lnTo>
                    <a:lnTo>
                      <a:pt x="162533" y="257796"/>
                    </a:lnTo>
                    <a:cubicBezTo>
                      <a:pt x="161580" y="256844"/>
                      <a:pt x="161580" y="256844"/>
                      <a:pt x="160628" y="255891"/>
                    </a:cubicBezTo>
                    <a:cubicBezTo>
                      <a:pt x="148246" y="245414"/>
                      <a:pt x="130148" y="247319"/>
                      <a:pt x="120623" y="259701"/>
                    </a:cubicBezTo>
                    <a:lnTo>
                      <a:pt x="120623" y="259701"/>
                    </a:lnTo>
                    <a:lnTo>
                      <a:pt x="32993" y="366381"/>
                    </a:lnTo>
                    <a:cubicBezTo>
                      <a:pt x="32040" y="368286"/>
                      <a:pt x="31088" y="370191"/>
                      <a:pt x="31088" y="372096"/>
                    </a:cubicBezTo>
                    <a:cubicBezTo>
                      <a:pt x="31088" y="377811"/>
                      <a:pt x="34898" y="381621"/>
                      <a:pt x="40613" y="381621"/>
                    </a:cubicBezTo>
                    <a:lnTo>
                      <a:pt x="40613" y="381621"/>
                    </a:lnTo>
                    <a:lnTo>
                      <a:pt x="497813" y="381621"/>
                    </a:lnTo>
                    <a:cubicBezTo>
                      <a:pt x="499718" y="381621"/>
                      <a:pt x="501623" y="380669"/>
                      <a:pt x="503528" y="379716"/>
                    </a:cubicBezTo>
                    <a:cubicBezTo>
                      <a:pt x="508290" y="376859"/>
                      <a:pt x="509243" y="371144"/>
                      <a:pt x="506386" y="366381"/>
                    </a:cubicBezTo>
                    <a:lnTo>
                      <a:pt x="506386" y="366381"/>
                    </a:lnTo>
                    <a:lnTo>
                      <a:pt x="398753" y="205409"/>
                    </a:lnTo>
                    <a:cubicBezTo>
                      <a:pt x="395896" y="202551"/>
                      <a:pt x="393990" y="200646"/>
                      <a:pt x="391133" y="198741"/>
                    </a:cubicBezTo>
                    <a:close/>
                    <a:moveTo>
                      <a:pt x="95858" y="57771"/>
                    </a:moveTo>
                    <a:cubicBezTo>
                      <a:pt x="74903" y="57771"/>
                      <a:pt x="57758" y="74916"/>
                      <a:pt x="57758" y="95871"/>
                    </a:cubicBezTo>
                    <a:cubicBezTo>
                      <a:pt x="57758" y="116826"/>
                      <a:pt x="74903" y="133971"/>
                      <a:pt x="95858" y="133971"/>
                    </a:cubicBezTo>
                    <a:cubicBezTo>
                      <a:pt x="116813" y="133971"/>
                      <a:pt x="133958" y="116826"/>
                      <a:pt x="133958" y="95871"/>
                    </a:cubicBezTo>
                    <a:cubicBezTo>
                      <a:pt x="133958" y="74916"/>
                      <a:pt x="116813" y="57771"/>
                      <a:pt x="95858" y="57771"/>
                    </a:cubicBezTo>
                    <a:close/>
                  </a:path>
                </a:pathLst>
              </a:custGeom>
              <a:solidFill>
                <a:srgbClr val="FFFFFF"/>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grpSp>
        <p:grpSp>
          <p:nvGrpSpPr>
            <p:cNvPr id="29" name="组合 28"/>
            <p:cNvGrpSpPr/>
            <p:nvPr/>
          </p:nvGrpSpPr>
          <p:grpSpPr>
            <a:xfrm>
              <a:off x="8242300" y="2378530"/>
              <a:ext cx="3062515" cy="3442610"/>
              <a:chOff x="8456385" y="2378530"/>
              <a:chExt cx="3062515" cy="3442610"/>
            </a:xfrm>
          </p:grpSpPr>
          <p:sp>
            <p:nvSpPr>
              <p:cNvPr id="23" name="矩形: 圆角 22"/>
              <p:cNvSpPr/>
              <p:nvPr/>
            </p:nvSpPr>
            <p:spPr>
              <a:xfrm>
                <a:off x="8456385" y="2757714"/>
                <a:ext cx="3062515" cy="2672930"/>
              </a:xfrm>
              <a:prstGeom prst="roundRect">
                <a:avLst>
                  <a:gd name="adj" fmla="val 1648"/>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任意多边形: 形状 23"/>
              <p:cNvSpPr/>
              <p:nvPr/>
            </p:nvSpPr>
            <p:spPr>
              <a:xfrm>
                <a:off x="8594271" y="2378530"/>
                <a:ext cx="2786743" cy="825199"/>
              </a:xfrm>
              <a:custGeom>
                <a:avLst/>
                <a:gdLst>
                  <a:gd name="connsiteX0" fmla="*/ 116162 w 2786743"/>
                  <a:gd name="connsiteY0" fmla="*/ 0 h 825199"/>
                  <a:gd name="connsiteX1" fmla="*/ 2670581 w 2786743"/>
                  <a:gd name="connsiteY1" fmla="*/ 0 h 825199"/>
                  <a:gd name="connsiteX2" fmla="*/ 2786743 w 2786743"/>
                  <a:gd name="connsiteY2" fmla="*/ 116162 h 825199"/>
                  <a:gd name="connsiteX3" fmla="*/ 2786743 w 2786743"/>
                  <a:gd name="connsiteY3" fmla="*/ 580798 h 825199"/>
                  <a:gd name="connsiteX4" fmla="*/ 2670581 w 2786743"/>
                  <a:gd name="connsiteY4" fmla="*/ 696960 h 825199"/>
                  <a:gd name="connsiteX5" fmla="*/ 384895 w 2786743"/>
                  <a:gd name="connsiteY5" fmla="*/ 696960 h 825199"/>
                  <a:gd name="connsiteX6" fmla="*/ 312412 w 2786743"/>
                  <a:gd name="connsiteY6" fmla="*/ 825199 h 825199"/>
                  <a:gd name="connsiteX7" fmla="*/ 239929 w 2786743"/>
                  <a:gd name="connsiteY7" fmla="*/ 696960 h 825199"/>
                  <a:gd name="connsiteX8" fmla="*/ 116162 w 2786743"/>
                  <a:gd name="connsiteY8" fmla="*/ 696960 h 825199"/>
                  <a:gd name="connsiteX9" fmla="*/ 0 w 2786743"/>
                  <a:gd name="connsiteY9" fmla="*/ 580798 h 825199"/>
                  <a:gd name="connsiteX10" fmla="*/ 0 w 2786743"/>
                  <a:gd name="connsiteY10" fmla="*/ 116162 h 825199"/>
                  <a:gd name="connsiteX11" fmla="*/ 116162 w 2786743"/>
                  <a:gd name="connsiteY11" fmla="*/ 0 h 825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86743" h="825199">
                    <a:moveTo>
                      <a:pt x="116162" y="0"/>
                    </a:moveTo>
                    <a:lnTo>
                      <a:pt x="2670581" y="0"/>
                    </a:lnTo>
                    <a:cubicBezTo>
                      <a:pt x="2734736" y="0"/>
                      <a:pt x="2786743" y="52007"/>
                      <a:pt x="2786743" y="116162"/>
                    </a:cubicBezTo>
                    <a:lnTo>
                      <a:pt x="2786743" y="580798"/>
                    </a:lnTo>
                    <a:cubicBezTo>
                      <a:pt x="2786743" y="644953"/>
                      <a:pt x="2734736" y="696960"/>
                      <a:pt x="2670581" y="696960"/>
                    </a:cubicBezTo>
                    <a:lnTo>
                      <a:pt x="384895" y="696960"/>
                    </a:lnTo>
                    <a:lnTo>
                      <a:pt x="312412" y="825199"/>
                    </a:lnTo>
                    <a:lnTo>
                      <a:pt x="239929" y="696960"/>
                    </a:lnTo>
                    <a:lnTo>
                      <a:pt x="116162" y="696960"/>
                    </a:lnTo>
                    <a:cubicBezTo>
                      <a:pt x="52007" y="696960"/>
                      <a:pt x="0" y="644953"/>
                      <a:pt x="0" y="580798"/>
                    </a:cubicBezTo>
                    <a:lnTo>
                      <a:pt x="0" y="116162"/>
                    </a:lnTo>
                    <a:cubicBezTo>
                      <a:pt x="0" y="52007"/>
                      <a:pt x="52007" y="0"/>
                      <a:pt x="116162" y="0"/>
                    </a:cubicBez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chorCtr="1">
                <a:normAutofit/>
              </a:bodyPr>
              <a:lstStyle/>
              <a:p>
                <a:pPr algn="ctr"/>
                <a:r>
                  <a:rPr lang="en-US" altLang="zh-CN" b="1">
                    <a:solidFill>
                      <a:srgbClr val="FFFFFF"/>
                    </a:solidFill>
                    <a:latin typeface="Calibri" pitchFamily="34" charset="0"/>
                    <a:ea typeface="宋体" pitchFamily="2" charset="-122"/>
                  </a:rPr>
                  <a:t>Click to add text</a:t>
                </a:r>
                <a:endParaRPr lang="zh-CN" altLang="en-US" b="1" dirty="0">
                  <a:solidFill>
                    <a:srgbClr val="FFFFFF"/>
                  </a:solidFill>
                  <a:latin typeface="Calibri" pitchFamily="34" charset="0"/>
                  <a:ea typeface="宋体" pitchFamily="2" charset="-122"/>
                </a:endParaRPr>
              </a:p>
            </p:txBody>
          </p:sp>
          <p:sp>
            <p:nvSpPr>
              <p:cNvPr id="25" name="文本框 24"/>
              <p:cNvSpPr txBox="1"/>
              <p:nvPr/>
            </p:nvSpPr>
            <p:spPr>
              <a:xfrm>
                <a:off x="8594269" y="3324225"/>
                <a:ext cx="2786743" cy="1885949"/>
              </a:xfrm>
              <a:prstGeom prst="rect">
                <a:avLst/>
              </a:prstGeom>
              <a:noFill/>
            </p:spPr>
            <p:txBody>
              <a:bodyPr wrap="square" lIns="91440" tIns="45720" rIns="91440" bIns="45720" rtlCol="0" anchor="t" anchorCtr="0">
                <a:normAutofit/>
              </a:bodyPr>
              <a:lstStyle/>
              <a:p>
                <a:pPr>
                  <a:lnSpc>
                    <a:spcPct val="120000"/>
                  </a:lnSpc>
                </a:pPr>
                <a:r>
                  <a:rPr lang="en-US" altLang="zh-CN" sz="1200">
                    <a:latin typeface="Calibri" pitchFamily="34" charset="0"/>
                    <a:ea typeface="宋体" pitchFamily="2" charset="-122"/>
                  </a:rPr>
                  <a:t>No vulputate diam aliquyam et feugiat kasd sit vel.</a:t>
                </a:r>
                <a:endParaRPr lang="zh-CN" altLang="en-US" sz="1200" dirty="0">
                  <a:latin typeface="Calibri" pitchFamily="34" charset="0"/>
                  <a:ea typeface="宋体" pitchFamily="2" charset="-122"/>
                </a:endParaRPr>
              </a:p>
            </p:txBody>
          </p:sp>
          <p:sp>
            <p:nvSpPr>
              <p:cNvPr id="16" name="文本框 15"/>
              <p:cNvSpPr txBox="1">
                <a:spLocks noChangeAspect="1"/>
              </p:cNvSpPr>
              <p:nvPr/>
            </p:nvSpPr>
            <p:spPr>
              <a:xfrm>
                <a:off x="10762962" y="5281140"/>
                <a:ext cx="540000" cy="540000"/>
              </a:xfrm>
              <a:prstGeom prst="roundRect">
                <a:avLst/>
              </a:prstGeom>
              <a:solidFill>
                <a:schemeClr val="accent2"/>
              </a:solidFill>
              <a:ln w="3175">
                <a:solidFill>
                  <a:srgbClr val="FFFFFF"/>
                </a:solidFill>
              </a:ln>
            </p:spPr>
            <p:txBody>
              <a:bodyPr wrap="none" lIns="108000" tIns="108000" rIns="108000" bIns="108000" rtlCol="0" anchor="ctr" anchorCtr="0">
                <a:noAutofit/>
              </a:bodyPr>
              <a:lstStyle/>
              <a:p>
                <a:pPr algn="ctr"/>
                <a:endParaRPr kumimoji="1" lang="zh-CN" altLang="en-US" sz="2000" b="1" dirty="0">
                  <a:noFill/>
                </a:endParaRPr>
              </a:p>
            </p:txBody>
          </p:sp>
          <p:sp>
            <p:nvSpPr>
              <p:cNvPr id="17" name="任意多边形: 形状 16"/>
              <p:cNvSpPr/>
              <p:nvPr/>
            </p:nvSpPr>
            <p:spPr>
              <a:xfrm>
                <a:off x="10907113" y="5416141"/>
                <a:ext cx="251698" cy="269998"/>
              </a:xfrm>
              <a:custGeom>
                <a:avLst/>
                <a:gdLst>
                  <a:gd name="connsiteX0" fmla="*/ 8356 w 487477"/>
                  <a:gd name="connsiteY0" fmla="*/ 512114 h 522922"/>
                  <a:gd name="connsiteX1" fmla="*/ 8356 w 487477"/>
                  <a:gd name="connsiteY1" fmla="*/ 512114 h 522922"/>
                  <a:gd name="connsiteX2" fmla="*/ 8356 w 487477"/>
                  <a:gd name="connsiteY2" fmla="*/ 512114 h 522922"/>
                  <a:gd name="connsiteX3" fmla="*/ 7404 w 487477"/>
                  <a:gd name="connsiteY3" fmla="*/ 511161 h 522922"/>
                  <a:gd name="connsiteX4" fmla="*/ 5499 w 487477"/>
                  <a:gd name="connsiteY4" fmla="*/ 508303 h 522922"/>
                  <a:gd name="connsiteX5" fmla="*/ 5499 w 487477"/>
                  <a:gd name="connsiteY5" fmla="*/ 508303 h 522922"/>
                  <a:gd name="connsiteX6" fmla="*/ 5499 w 487477"/>
                  <a:gd name="connsiteY6" fmla="*/ 507351 h 522922"/>
                  <a:gd name="connsiteX7" fmla="*/ 4546 w 487477"/>
                  <a:gd name="connsiteY7" fmla="*/ 505446 h 522922"/>
                  <a:gd name="connsiteX8" fmla="*/ 3593 w 487477"/>
                  <a:gd name="connsiteY8" fmla="*/ 503541 h 522922"/>
                  <a:gd name="connsiteX9" fmla="*/ 3593 w 487477"/>
                  <a:gd name="connsiteY9" fmla="*/ 503541 h 522922"/>
                  <a:gd name="connsiteX10" fmla="*/ 3593 w 487477"/>
                  <a:gd name="connsiteY10" fmla="*/ 503541 h 522922"/>
                  <a:gd name="connsiteX11" fmla="*/ 3593 w 487477"/>
                  <a:gd name="connsiteY11" fmla="*/ 503541 h 522922"/>
                  <a:gd name="connsiteX12" fmla="*/ 2641 w 487477"/>
                  <a:gd name="connsiteY12" fmla="*/ 501636 h 522922"/>
                  <a:gd name="connsiteX13" fmla="*/ 2641 w 487477"/>
                  <a:gd name="connsiteY13" fmla="*/ 500684 h 522922"/>
                  <a:gd name="connsiteX14" fmla="*/ 1689 w 487477"/>
                  <a:gd name="connsiteY14" fmla="*/ 498778 h 522922"/>
                  <a:gd name="connsiteX15" fmla="*/ 736 w 487477"/>
                  <a:gd name="connsiteY15" fmla="*/ 494968 h 522922"/>
                  <a:gd name="connsiteX16" fmla="*/ 736 w 487477"/>
                  <a:gd name="connsiteY16" fmla="*/ 492111 h 522922"/>
                  <a:gd name="connsiteX17" fmla="*/ 736 w 487477"/>
                  <a:gd name="connsiteY17" fmla="*/ 485443 h 522922"/>
                  <a:gd name="connsiteX18" fmla="*/ 5499 w 487477"/>
                  <a:gd name="connsiteY18" fmla="*/ 467346 h 522922"/>
                  <a:gd name="connsiteX19" fmla="*/ 155041 w 487477"/>
                  <a:gd name="connsiteY19" fmla="*/ 151116 h 522922"/>
                  <a:gd name="connsiteX20" fmla="*/ 158851 w 487477"/>
                  <a:gd name="connsiteY20" fmla="*/ 134924 h 522922"/>
                  <a:gd name="connsiteX21" fmla="*/ 158851 w 487477"/>
                  <a:gd name="connsiteY21" fmla="*/ 19671 h 522922"/>
                  <a:gd name="connsiteX22" fmla="*/ 120751 w 487477"/>
                  <a:gd name="connsiteY22" fmla="*/ 19671 h 522922"/>
                  <a:gd name="connsiteX23" fmla="*/ 120751 w 487477"/>
                  <a:gd name="connsiteY23" fmla="*/ 621 h 522922"/>
                  <a:gd name="connsiteX24" fmla="*/ 368401 w 487477"/>
                  <a:gd name="connsiteY24" fmla="*/ 621 h 522922"/>
                  <a:gd name="connsiteX25" fmla="*/ 368401 w 487477"/>
                  <a:gd name="connsiteY25" fmla="*/ 19671 h 522922"/>
                  <a:gd name="connsiteX26" fmla="*/ 330301 w 487477"/>
                  <a:gd name="connsiteY26" fmla="*/ 19671 h 522922"/>
                  <a:gd name="connsiteX27" fmla="*/ 330301 w 487477"/>
                  <a:gd name="connsiteY27" fmla="*/ 134924 h 522922"/>
                  <a:gd name="connsiteX28" fmla="*/ 334111 w 487477"/>
                  <a:gd name="connsiteY28" fmla="*/ 151116 h 522922"/>
                  <a:gd name="connsiteX29" fmla="*/ 483654 w 487477"/>
                  <a:gd name="connsiteY29" fmla="*/ 467346 h 522922"/>
                  <a:gd name="connsiteX30" fmla="*/ 485558 w 487477"/>
                  <a:gd name="connsiteY30" fmla="*/ 504493 h 522922"/>
                  <a:gd name="connsiteX31" fmla="*/ 485558 w 487477"/>
                  <a:gd name="connsiteY31" fmla="*/ 504493 h 522922"/>
                  <a:gd name="connsiteX32" fmla="*/ 484606 w 487477"/>
                  <a:gd name="connsiteY32" fmla="*/ 506399 h 522922"/>
                  <a:gd name="connsiteX33" fmla="*/ 459841 w 487477"/>
                  <a:gd name="connsiteY33" fmla="*/ 523543 h 522922"/>
                  <a:gd name="connsiteX34" fmla="*/ 457936 w 487477"/>
                  <a:gd name="connsiteY34" fmla="*/ 523543 h 522922"/>
                  <a:gd name="connsiteX35" fmla="*/ 32168 w 487477"/>
                  <a:gd name="connsiteY35" fmla="*/ 523543 h 522922"/>
                  <a:gd name="connsiteX36" fmla="*/ 30264 w 487477"/>
                  <a:gd name="connsiteY36" fmla="*/ 523543 h 522922"/>
                  <a:gd name="connsiteX37" fmla="*/ 27406 w 487477"/>
                  <a:gd name="connsiteY37" fmla="*/ 523543 h 522922"/>
                  <a:gd name="connsiteX38" fmla="*/ 23596 w 487477"/>
                  <a:gd name="connsiteY38" fmla="*/ 522591 h 522922"/>
                  <a:gd name="connsiteX39" fmla="*/ 23596 w 487477"/>
                  <a:gd name="connsiteY39" fmla="*/ 522591 h 522922"/>
                  <a:gd name="connsiteX40" fmla="*/ 17881 w 487477"/>
                  <a:gd name="connsiteY40" fmla="*/ 520686 h 522922"/>
                  <a:gd name="connsiteX41" fmla="*/ 15976 w 487477"/>
                  <a:gd name="connsiteY41" fmla="*/ 519734 h 522922"/>
                  <a:gd name="connsiteX42" fmla="*/ 15024 w 487477"/>
                  <a:gd name="connsiteY42" fmla="*/ 518781 h 522922"/>
                  <a:gd name="connsiteX43" fmla="*/ 10261 w 487477"/>
                  <a:gd name="connsiteY43" fmla="*/ 514971 h 522922"/>
                  <a:gd name="connsiteX44" fmla="*/ 8356 w 487477"/>
                  <a:gd name="connsiteY44" fmla="*/ 512114 h 522922"/>
                  <a:gd name="connsiteX45" fmla="*/ 8356 w 487477"/>
                  <a:gd name="connsiteY45" fmla="*/ 512114 h 522922"/>
                  <a:gd name="connsiteX46" fmla="*/ 255054 w 487477"/>
                  <a:gd name="connsiteY46" fmla="*/ 402576 h 522922"/>
                  <a:gd name="connsiteX47" fmla="*/ 252196 w 487477"/>
                  <a:gd name="connsiteY47" fmla="*/ 404481 h 522922"/>
                  <a:gd name="connsiteX48" fmla="*/ 246481 w 487477"/>
                  <a:gd name="connsiteY48" fmla="*/ 408291 h 522922"/>
                  <a:gd name="connsiteX49" fmla="*/ 55029 w 487477"/>
                  <a:gd name="connsiteY49" fmla="*/ 414959 h 522922"/>
                  <a:gd name="connsiteX50" fmla="*/ 51218 w 487477"/>
                  <a:gd name="connsiteY50" fmla="*/ 413053 h 522922"/>
                  <a:gd name="connsiteX51" fmla="*/ 22643 w 487477"/>
                  <a:gd name="connsiteY51" fmla="*/ 474014 h 522922"/>
                  <a:gd name="connsiteX52" fmla="*/ 21691 w 487477"/>
                  <a:gd name="connsiteY52" fmla="*/ 475918 h 522922"/>
                  <a:gd name="connsiteX53" fmla="*/ 21691 w 487477"/>
                  <a:gd name="connsiteY53" fmla="*/ 495921 h 522922"/>
                  <a:gd name="connsiteX54" fmla="*/ 29311 w 487477"/>
                  <a:gd name="connsiteY54" fmla="*/ 502589 h 522922"/>
                  <a:gd name="connsiteX55" fmla="*/ 30264 w 487477"/>
                  <a:gd name="connsiteY55" fmla="*/ 502589 h 522922"/>
                  <a:gd name="connsiteX56" fmla="*/ 31216 w 487477"/>
                  <a:gd name="connsiteY56" fmla="*/ 502589 h 522922"/>
                  <a:gd name="connsiteX57" fmla="*/ 456983 w 487477"/>
                  <a:gd name="connsiteY57" fmla="*/ 502589 h 522922"/>
                  <a:gd name="connsiteX58" fmla="*/ 457936 w 487477"/>
                  <a:gd name="connsiteY58" fmla="*/ 502589 h 522922"/>
                  <a:gd name="connsiteX59" fmla="*/ 466508 w 487477"/>
                  <a:gd name="connsiteY59" fmla="*/ 495921 h 522922"/>
                  <a:gd name="connsiteX60" fmla="*/ 467461 w 487477"/>
                  <a:gd name="connsiteY60" fmla="*/ 477824 h 522922"/>
                  <a:gd name="connsiteX61" fmla="*/ 466508 w 487477"/>
                  <a:gd name="connsiteY61" fmla="*/ 475918 h 522922"/>
                  <a:gd name="connsiteX62" fmla="*/ 465556 w 487477"/>
                  <a:gd name="connsiteY62" fmla="*/ 474014 h 522922"/>
                  <a:gd name="connsiteX63" fmla="*/ 423646 w 487477"/>
                  <a:gd name="connsiteY63" fmla="*/ 385431 h 522922"/>
                  <a:gd name="connsiteX64" fmla="*/ 255054 w 487477"/>
                  <a:gd name="connsiteY64" fmla="*/ 402576 h 522922"/>
                  <a:gd name="connsiteX65" fmla="*/ 305536 w 487477"/>
                  <a:gd name="connsiteY65" fmla="*/ 255891 h 522922"/>
                  <a:gd name="connsiteX66" fmla="*/ 272199 w 487477"/>
                  <a:gd name="connsiteY66" fmla="*/ 289228 h 522922"/>
                  <a:gd name="connsiteX67" fmla="*/ 305536 w 487477"/>
                  <a:gd name="connsiteY67" fmla="*/ 322566 h 522922"/>
                  <a:gd name="connsiteX68" fmla="*/ 338874 w 487477"/>
                  <a:gd name="connsiteY68" fmla="*/ 289228 h 522922"/>
                  <a:gd name="connsiteX69" fmla="*/ 305536 w 487477"/>
                  <a:gd name="connsiteY69" fmla="*/ 255891 h 52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487477" h="522922">
                    <a:moveTo>
                      <a:pt x="8356" y="512114"/>
                    </a:moveTo>
                    <a:lnTo>
                      <a:pt x="8356" y="512114"/>
                    </a:lnTo>
                    <a:lnTo>
                      <a:pt x="8356" y="512114"/>
                    </a:lnTo>
                    <a:lnTo>
                      <a:pt x="7404" y="511161"/>
                    </a:lnTo>
                    <a:cubicBezTo>
                      <a:pt x="6451" y="510209"/>
                      <a:pt x="6451" y="509256"/>
                      <a:pt x="5499" y="508303"/>
                    </a:cubicBezTo>
                    <a:lnTo>
                      <a:pt x="5499" y="508303"/>
                    </a:lnTo>
                    <a:lnTo>
                      <a:pt x="5499" y="507351"/>
                    </a:lnTo>
                    <a:lnTo>
                      <a:pt x="4546" y="505446"/>
                    </a:lnTo>
                    <a:lnTo>
                      <a:pt x="3593" y="503541"/>
                    </a:lnTo>
                    <a:lnTo>
                      <a:pt x="3593" y="503541"/>
                    </a:lnTo>
                    <a:lnTo>
                      <a:pt x="3593" y="503541"/>
                    </a:lnTo>
                    <a:lnTo>
                      <a:pt x="3593" y="503541"/>
                    </a:lnTo>
                    <a:lnTo>
                      <a:pt x="2641" y="501636"/>
                    </a:lnTo>
                    <a:cubicBezTo>
                      <a:pt x="2641" y="501636"/>
                      <a:pt x="2641" y="500684"/>
                      <a:pt x="2641" y="500684"/>
                    </a:cubicBezTo>
                    <a:cubicBezTo>
                      <a:pt x="2641" y="499731"/>
                      <a:pt x="2641" y="499731"/>
                      <a:pt x="1689" y="498778"/>
                    </a:cubicBezTo>
                    <a:cubicBezTo>
                      <a:pt x="1689" y="497826"/>
                      <a:pt x="736" y="495921"/>
                      <a:pt x="736" y="494968"/>
                    </a:cubicBezTo>
                    <a:lnTo>
                      <a:pt x="736" y="492111"/>
                    </a:lnTo>
                    <a:cubicBezTo>
                      <a:pt x="736" y="490206"/>
                      <a:pt x="736" y="487349"/>
                      <a:pt x="736" y="485443"/>
                    </a:cubicBezTo>
                    <a:cubicBezTo>
                      <a:pt x="736" y="478776"/>
                      <a:pt x="2641" y="473061"/>
                      <a:pt x="5499" y="467346"/>
                    </a:cubicBezTo>
                    <a:lnTo>
                      <a:pt x="155041" y="151116"/>
                    </a:lnTo>
                    <a:cubicBezTo>
                      <a:pt x="157899" y="146353"/>
                      <a:pt x="158851" y="140639"/>
                      <a:pt x="158851" y="134924"/>
                    </a:cubicBezTo>
                    <a:lnTo>
                      <a:pt x="158851" y="19671"/>
                    </a:lnTo>
                    <a:lnTo>
                      <a:pt x="120751" y="19671"/>
                    </a:lnTo>
                    <a:lnTo>
                      <a:pt x="120751" y="621"/>
                    </a:lnTo>
                    <a:lnTo>
                      <a:pt x="368401" y="621"/>
                    </a:lnTo>
                    <a:lnTo>
                      <a:pt x="368401" y="19671"/>
                    </a:lnTo>
                    <a:lnTo>
                      <a:pt x="330301" y="19671"/>
                    </a:lnTo>
                    <a:lnTo>
                      <a:pt x="330301" y="134924"/>
                    </a:lnTo>
                    <a:cubicBezTo>
                      <a:pt x="330301" y="140639"/>
                      <a:pt x="331254" y="146353"/>
                      <a:pt x="334111" y="151116"/>
                    </a:cubicBezTo>
                    <a:lnTo>
                      <a:pt x="483654" y="467346"/>
                    </a:lnTo>
                    <a:cubicBezTo>
                      <a:pt x="489368" y="478776"/>
                      <a:pt x="489368" y="492111"/>
                      <a:pt x="485558" y="504493"/>
                    </a:cubicBezTo>
                    <a:lnTo>
                      <a:pt x="485558" y="504493"/>
                    </a:lnTo>
                    <a:lnTo>
                      <a:pt x="484606" y="506399"/>
                    </a:lnTo>
                    <a:cubicBezTo>
                      <a:pt x="479843" y="515924"/>
                      <a:pt x="470318" y="522591"/>
                      <a:pt x="459841" y="523543"/>
                    </a:cubicBezTo>
                    <a:lnTo>
                      <a:pt x="457936" y="523543"/>
                    </a:lnTo>
                    <a:lnTo>
                      <a:pt x="32168" y="523543"/>
                    </a:lnTo>
                    <a:lnTo>
                      <a:pt x="30264" y="523543"/>
                    </a:lnTo>
                    <a:cubicBezTo>
                      <a:pt x="29311" y="523543"/>
                      <a:pt x="28358" y="523543"/>
                      <a:pt x="27406" y="523543"/>
                    </a:cubicBezTo>
                    <a:cubicBezTo>
                      <a:pt x="26454" y="523543"/>
                      <a:pt x="24549" y="523543"/>
                      <a:pt x="23596" y="522591"/>
                    </a:cubicBezTo>
                    <a:lnTo>
                      <a:pt x="23596" y="522591"/>
                    </a:lnTo>
                    <a:cubicBezTo>
                      <a:pt x="21691" y="521639"/>
                      <a:pt x="19786" y="521639"/>
                      <a:pt x="17881" y="520686"/>
                    </a:cubicBezTo>
                    <a:lnTo>
                      <a:pt x="15976" y="519734"/>
                    </a:lnTo>
                    <a:cubicBezTo>
                      <a:pt x="15976" y="519734"/>
                      <a:pt x="15024" y="519734"/>
                      <a:pt x="15024" y="518781"/>
                    </a:cubicBezTo>
                    <a:cubicBezTo>
                      <a:pt x="13118" y="517828"/>
                      <a:pt x="11214" y="515924"/>
                      <a:pt x="10261" y="514971"/>
                    </a:cubicBezTo>
                    <a:lnTo>
                      <a:pt x="8356" y="512114"/>
                    </a:lnTo>
                    <a:lnTo>
                      <a:pt x="8356" y="512114"/>
                    </a:lnTo>
                    <a:close/>
                    <a:moveTo>
                      <a:pt x="255054" y="402576"/>
                    </a:moveTo>
                    <a:lnTo>
                      <a:pt x="252196" y="404481"/>
                    </a:lnTo>
                    <a:lnTo>
                      <a:pt x="246481" y="408291"/>
                    </a:lnTo>
                    <a:cubicBezTo>
                      <a:pt x="198856" y="439724"/>
                      <a:pt x="119799" y="440676"/>
                      <a:pt x="55029" y="414959"/>
                    </a:cubicBezTo>
                    <a:lnTo>
                      <a:pt x="51218" y="413053"/>
                    </a:lnTo>
                    <a:lnTo>
                      <a:pt x="22643" y="474014"/>
                    </a:lnTo>
                    <a:lnTo>
                      <a:pt x="21691" y="475918"/>
                    </a:lnTo>
                    <a:cubicBezTo>
                      <a:pt x="18833" y="482586"/>
                      <a:pt x="18833" y="490206"/>
                      <a:pt x="21691" y="495921"/>
                    </a:cubicBezTo>
                    <a:cubicBezTo>
                      <a:pt x="22643" y="498778"/>
                      <a:pt x="25501" y="501636"/>
                      <a:pt x="29311" y="502589"/>
                    </a:cubicBezTo>
                    <a:lnTo>
                      <a:pt x="30264" y="502589"/>
                    </a:lnTo>
                    <a:lnTo>
                      <a:pt x="31216" y="502589"/>
                    </a:lnTo>
                    <a:lnTo>
                      <a:pt x="456983" y="502589"/>
                    </a:lnTo>
                    <a:lnTo>
                      <a:pt x="457936" y="502589"/>
                    </a:lnTo>
                    <a:cubicBezTo>
                      <a:pt x="461746" y="502589"/>
                      <a:pt x="464604" y="499731"/>
                      <a:pt x="466508" y="495921"/>
                    </a:cubicBezTo>
                    <a:cubicBezTo>
                      <a:pt x="468414" y="490206"/>
                      <a:pt x="469366" y="483539"/>
                      <a:pt x="467461" y="477824"/>
                    </a:cubicBezTo>
                    <a:lnTo>
                      <a:pt x="466508" y="475918"/>
                    </a:lnTo>
                    <a:lnTo>
                      <a:pt x="465556" y="474014"/>
                    </a:lnTo>
                    <a:lnTo>
                      <a:pt x="423646" y="385431"/>
                    </a:lnTo>
                    <a:cubicBezTo>
                      <a:pt x="365543" y="372096"/>
                      <a:pt x="296011" y="376859"/>
                      <a:pt x="255054" y="402576"/>
                    </a:cubicBezTo>
                    <a:close/>
                    <a:moveTo>
                      <a:pt x="305536" y="255891"/>
                    </a:moveTo>
                    <a:cubicBezTo>
                      <a:pt x="287439" y="255891"/>
                      <a:pt x="272199" y="271131"/>
                      <a:pt x="272199" y="289228"/>
                    </a:cubicBezTo>
                    <a:cubicBezTo>
                      <a:pt x="272199" y="307326"/>
                      <a:pt x="287439" y="322566"/>
                      <a:pt x="305536" y="322566"/>
                    </a:cubicBezTo>
                    <a:cubicBezTo>
                      <a:pt x="323633" y="322566"/>
                      <a:pt x="338874" y="307326"/>
                      <a:pt x="338874" y="289228"/>
                    </a:cubicBezTo>
                    <a:cubicBezTo>
                      <a:pt x="338874" y="270178"/>
                      <a:pt x="323633" y="255891"/>
                      <a:pt x="305536" y="255891"/>
                    </a:cubicBezTo>
                    <a:close/>
                  </a:path>
                </a:pathLst>
              </a:custGeom>
              <a:solidFill>
                <a:srgbClr val="FFFFFF"/>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grpSp>
      </p:gr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6" name="组合 35"/>
          <p:cNvGrpSpPr/>
          <p:nvPr/>
        </p:nvGrpSpPr>
        <p:grpSpPr>
          <a:xfrm>
            <a:off x="660401" y="1130300"/>
            <a:ext cx="10858500" cy="5008080"/>
            <a:chOff x="660400" y="1130300"/>
            <a:chExt cx="10858500" cy="5008080"/>
          </a:xfrm>
        </p:grpSpPr>
        <p:sp>
          <p:nvSpPr>
            <p:cNvPr id="2" name="文本框 1"/>
            <p:cNvSpPr txBox="1"/>
            <p:nvPr/>
          </p:nvSpPr>
          <p:spPr>
            <a:xfrm>
              <a:off x="660400" y="1130300"/>
              <a:ext cx="10858500" cy="655455"/>
            </a:xfrm>
            <a:prstGeom prst="rect">
              <a:avLst/>
            </a:prstGeom>
            <a:noFill/>
          </p:spPr>
          <p:txBody>
            <a:bodyPr vert="horz" wrap="square" rtlCol="0" anchor="t" anchorCtr="0">
              <a:normAutofit/>
            </a:bodyPr>
            <a:lstStyle/>
            <a:p>
              <a:pPr algn="ctr"/>
              <a:r>
                <a:rPr lang="en-US" altLang="zh-CN" sz="2400" b="1" dirty="0">
                  <a:latin typeface="Calibri" pitchFamily="34" charset="0"/>
                  <a:ea typeface="宋体" pitchFamily="2" charset="-122"/>
                </a:rPr>
                <a:t>Unified fonts make reading more fluent</a:t>
              </a:r>
              <a:endParaRPr lang="zh-CN" altLang="en-US" sz="2400" b="1" dirty="0">
                <a:latin typeface="Calibri" pitchFamily="34" charset="0"/>
                <a:ea typeface="宋体" pitchFamily="2" charset="-122"/>
              </a:endParaRPr>
            </a:p>
          </p:txBody>
        </p:sp>
        <p:grpSp>
          <p:nvGrpSpPr>
            <p:cNvPr id="34" name="组合 33"/>
            <p:cNvGrpSpPr/>
            <p:nvPr/>
          </p:nvGrpSpPr>
          <p:grpSpPr>
            <a:xfrm>
              <a:off x="3547258" y="2438813"/>
              <a:ext cx="4945085" cy="1378651"/>
              <a:chOff x="3547258" y="2438813"/>
              <a:chExt cx="4945085" cy="1378651"/>
            </a:xfrm>
          </p:grpSpPr>
          <p:sp>
            <p:nvSpPr>
              <p:cNvPr id="8" name="椭圆 7"/>
              <p:cNvSpPr/>
              <p:nvPr/>
            </p:nvSpPr>
            <p:spPr>
              <a:xfrm>
                <a:off x="5264150" y="3496629"/>
                <a:ext cx="1651000" cy="320835"/>
              </a:xfrm>
              <a:prstGeom prst="ellipse">
                <a:avLst/>
              </a:prstGeom>
              <a:solidFill>
                <a:srgbClr val="EAEAEA"/>
              </a:solidFill>
              <a:ln>
                <a:noFill/>
              </a:ln>
              <a:effectLst>
                <a:softEdge rad="6350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矩形: 圆角 6"/>
              <p:cNvSpPr/>
              <p:nvPr/>
            </p:nvSpPr>
            <p:spPr>
              <a:xfrm>
                <a:off x="5888990" y="2841118"/>
                <a:ext cx="401320" cy="777715"/>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任意多边形: 形状 5"/>
              <p:cNvSpPr/>
              <p:nvPr/>
            </p:nvSpPr>
            <p:spPr>
              <a:xfrm rot="283604">
                <a:off x="3547258" y="2786121"/>
                <a:ext cx="4945085" cy="397262"/>
              </a:xfrm>
              <a:custGeom>
                <a:avLst/>
                <a:gdLst>
                  <a:gd name="connsiteX0" fmla="*/ 1376553 w 1376553"/>
                  <a:gd name="connsiteY0" fmla="*/ 110585 h 110585"/>
                  <a:gd name="connsiteX1" fmla="*/ 0 w 1376553"/>
                  <a:gd name="connsiteY1" fmla="*/ 110585 h 110585"/>
                  <a:gd name="connsiteX2" fmla="*/ 79534 w 1376553"/>
                  <a:gd name="connsiteY2" fmla="*/ 0 h 110585"/>
                  <a:gd name="connsiteX3" fmla="*/ 1307592 w 1376553"/>
                  <a:gd name="connsiteY3" fmla="*/ 0 h 110585"/>
                </a:gdLst>
                <a:ahLst/>
                <a:cxnLst>
                  <a:cxn ang="0">
                    <a:pos x="connsiteX0" y="connsiteY0"/>
                  </a:cxn>
                  <a:cxn ang="0">
                    <a:pos x="connsiteX1" y="connsiteY1"/>
                  </a:cxn>
                  <a:cxn ang="0">
                    <a:pos x="connsiteX2" y="connsiteY2"/>
                  </a:cxn>
                  <a:cxn ang="0">
                    <a:pos x="connsiteX3" y="connsiteY3"/>
                  </a:cxn>
                </a:cxnLst>
                <a:rect l="l" t="t" r="r" b="b"/>
                <a:pathLst>
                  <a:path w="1376553" h="110585">
                    <a:moveTo>
                      <a:pt x="1376553" y="110585"/>
                    </a:moveTo>
                    <a:lnTo>
                      <a:pt x="0" y="110585"/>
                    </a:lnTo>
                    <a:lnTo>
                      <a:pt x="79534" y="0"/>
                    </a:lnTo>
                    <a:lnTo>
                      <a:pt x="1307592" y="0"/>
                    </a:lnTo>
                    <a:close/>
                  </a:path>
                </a:pathLst>
              </a:custGeom>
              <a:solidFill>
                <a:srgbClr val="B2B2B2"/>
              </a:solidFill>
              <a:ln w="34925" cap="flat">
                <a:solidFill>
                  <a:srgbClr val="FFFFFF"/>
                </a:solidFill>
                <a:prstDash val="solid"/>
                <a:miter/>
              </a:ln>
            </p:spPr>
            <p:txBody>
              <a:bodyPr rtlCol="0" anchor="ctr"/>
              <a:lstStyle/>
              <a:p>
                <a:endParaRPr lang="zh-CN" altLang="en-US"/>
              </a:p>
            </p:txBody>
          </p:sp>
          <p:sp>
            <p:nvSpPr>
              <p:cNvPr id="18" name="箭头: 右 17"/>
              <p:cNvSpPr/>
              <p:nvPr/>
            </p:nvSpPr>
            <p:spPr>
              <a:xfrm rot="296103">
                <a:off x="5536380" y="2438813"/>
                <a:ext cx="611524" cy="202055"/>
              </a:xfrm>
              <a:prstGeom prst="rightArrow">
                <a:avLst/>
              </a:prstGeom>
              <a:solidFill>
                <a:schemeClr val="tx2">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31" name="组合 30"/>
            <p:cNvGrpSpPr/>
            <p:nvPr/>
          </p:nvGrpSpPr>
          <p:grpSpPr>
            <a:xfrm>
              <a:off x="1163601" y="2014295"/>
              <a:ext cx="3686903" cy="4124085"/>
              <a:chOff x="1163601" y="2014295"/>
              <a:chExt cx="3686903" cy="4124085"/>
            </a:xfrm>
          </p:grpSpPr>
          <p:sp>
            <p:nvSpPr>
              <p:cNvPr id="10" name="文本框 9"/>
              <p:cNvSpPr txBox="1">
                <a:spLocks noChangeAspect="1"/>
              </p:cNvSpPr>
              <p:nvPr/>
            </p:nvSpPr>
            <p:spPr>
              <a:xfrm rot="240141">
                <a:off x="4084512" y="2014295"/>
                <a:ext cx="765992" cy="765992"/>
              </a:xfrm>
              <a:prstGeom prst="roundRect">
                <a:avLst>
                  <a:gd name="adj" fmla="val 50000"/>
                </a:avLst>
              </a:prstGeom>
              <a:gradFill>
                <a:gsLst>
                  <a:gs pos="0">
                    <a:schemeClr val="accent1">
                      <a:lumMod val="60000"/>
                      <a:lumOff val="40000"/>
                    </a:schemeClr>
                  </a:gs>
                  <a:gs pos="50000">
                    <a:schemeClr val="accent1"/>
                  </a:gs>
                </a:gsLst>
                <a:lin ang="2700000" scaled="0"/>
              </a:gradFill>
            </p:spPr>
            <p:txBody>
              <a:bodyPr wrap="square" lIns="108000" tIns="108000" rIns="108000" bIns="108000" rtlCol="0" anchor="ctr" anchorCtr="0">
                <a:normAutofit fontScale="32500" lnSpcReduction="20000"/>
              </a:bodyPr>
              <a:lstStyle>
                <a:defPPr>
                  <a:defRPr lang="zh-CN"/>
                </a:defPPr>
                <a:lvl1pPr algn="ctr">
                  <a:defRPr kumimoji="1" sz="2000" b="1">
                    <a:noFill/>
                  </a:defRPr>
                </a:lvl1pPr>
              </a:lstStyle>
              <a:p>
                <a:pPr>
                  <a:lnSpc>
                    <a:spcPct val="120000"/>
                  </a:lnSpc>
                </a:pPr>
                <a:r>
                  <a:rPr lang="en-US" altLang="zh-CN" sz="1200" b="0">
                    <a:latin typeface="Calibri" pitchFamily="34" charset="0"/>
                    <a:ea typeface="宋体" pitchFamily="2" charset="-122"/>
                  </a:rPr>
                  <a:t>Tation magna sed stet diam sea dolores dolor rebum ex.</a:t>
                </a:r>
                <a:endParaRPr lang="zh-CN" altLang="en-US" sz="1200" b="0" dirty="0">
                  <a:latin typeface="Calibri" pitchFamily="34" charset="0"/>
                  <a:ea typeface="宋体" pitchFamily="2" charset="-122"/>
                </a:endParaRPr>
              </a:p>
            </p:txBody>
          </p:sp>
          <p:sp>
            <p:nvSpPr>
              <p:cNvPr id="11" name="任意多边形: 形状 10"/>
              <p:cNvSpPr/>
              <p:nvPr/>
            </p:nvSpPr>
            <p:spPr>
              <a:xfrm rot="240141">
                <a:off x="4307055" y="2201958"/>
                <a:ext cx="320905" cy="390664"/>
              </a:xfrm>
              <a:custGeom>
                <a:avLst/>
                <a:gdLst>
                  <a:gd name="connsiteX0" fmla="*/ 284197 w 438150"/>
                  <a:gd name="connsiteY0" fmla="*/ 621 h 533400"/>
                  <a:gd name="connsiteX1" fmla="*/ 286102 w 438150"/>
                  <a:gd name="connsiteY1" fmla="*/ 621 h 533400"/>
                  <a:gd name="connsiteX2" fmla="*/ 286102 w 438150"/>
                  <a:gd name="connsiteY2" fmla="*/ 124446 h 533400"/>
                  <a:gd name="connsiteX3" fmla="*/ 286102 w 438150"/>
                  <a:gd name="connsiteY3" fmla="*/ 126351 h 533400"/>
                  <a:gd name="connsiteX4" fmla="*/ 314677 w 438150"/>
                  <a:gd name="connsiteY4" fmla="*/ 153021 h 533400"/>
                  <a:gd name="connsiteX5" fmla="*/ 314677 w 438150"/>
                  <a:gd name="connsiteY5" fmla="*/ 153021 h 533400"/>
                  <a:gd name="connsiteX6" fmla="*/ 438502 w 438150"/>
                  <a:gd name="connsiteY6" fmla="*/ 153021 h 533400"/>
                  <a:gd name="connsiteX7" fmla="*/ 438502 w 438150"/>
                  <a:gd name="connsiteY7" fmla="*/ 154926 h 533400"/>
                  <a:gd name="connsiteX8" fmla="*/ 438502 w 438150"/>
                  <a:gd name="connsiteY8" fmla="*/ 505446 h 533400"/>
                  <a:gd name="connsiteX9" fmla="*/ 409927 w 438150"/>
                  <a:gd name="connsiteY9" fmla="*/ 534021 h 533400"/>
                  <a:gd name="connsiteX10" fmla="*/ 28927 w 438150"/>
                  <a:gd name="connsiteY10" fmla="*/ 534021 h 533400"/>
                  <a:gd name="connsiteX11" fmla="*/ 352 w 438150"/>
                  <a:gd name="connsiteY11" fmla="*/ 505446 h 533400"/>
                  <a:gd name="connsiteX12" fmla="*/ 352 w 438150"/>
                  <a:gd name="connsiteY12" fmla="*/ 29196 h 533400"/>
                  <a:gd name="connsiteX13" fmla="*/ 28927 w 438150"/>
                  <a:gd name="connsiteY13" fmla="*/ 621 h 533400"/>
                  <a:gd name="connsiteX14" fmla="*/ 284197 w 438150"/>
                  <a:gd name="connsiteY14" fmla="*/ 621 h 533400"/>
                  <a:gd name="connsiteX15" fmla="*/ 248002 w 438150"/>
                  <a:gd name="connsiteY15" fmla="*/ 200646 h 533400"/>
                  <a:gd name="connsiteX16" fmla="*/ 152752 w 438150"/>
                  <a:gd name="connsiteY16" fmla="*/ 200646 h 533400"/>
                  <a:gd name="connsiteX17" fmla="*/ 152752 w 438150"/>
                  <a:gd name="connsiteY17" fmla="*/ 410196 h 533400"/>
                  <a:gd name="connsiteX18" fmla="*/ 171802 w 438150"/>
                  <a:gd name="connsiteY18" fmla="*/ 410196 h 533400"/>
                  <a:gd name="connsiteX19" fmla="*/ 171802 w 438150"/>
                  <a:gd name="connsiteY19" fmla="*/ 314946 h 533400"/>
                  <a:gd name="connsiteX20" fmla="*/ 248002 w 438150"/>
                  <a:gd name="connsiteY20" fmla="*/ 314946 h 533400"/>
                  <a:gd name="connsiteX21" fmla="*/ 249907 w 438150"/>
                  <a:gd name="connsiteY21" fmla="*/ 314946 h 533400"/>
                  <a:gd name="connsiteX22" fmla="*/ 305152 w 438150"/>
                  <a:gd name="connsiteY22" fmla="*/ 257796 h 533400"/>
                  <a:gd name="connsiteX23" fmla="*/ 248002 w 438150"/>
                  <a:gd name="connsiteY23" fmla="*/ 200646 h 533400"/>
                  <a:gd name="connsiteX24" fmla="*/ 248002 w 438150"/>
                  <a:gd name="connsiteY24" fmla="*/ 200646 h 533400"/>
                  <a:gd name="connsiteX25" fmla="*/ 248002 w 438150"/>
                  <a:gd name="connsiteY25" fmla="*/ 219696 h 533400"/>
                  <a:gd name="connsiteX26" fmla="*/ 286102 w 438150"/>
                  <a:gd name="connsiteY26" fmla="*/ 257796 h 533400"/>
                  <a:gd name="connsiteX27" fmla="*/ 248002 w 438150"/>
                  <a:gd name="connsiteY27" fmla="*/ 295896 h 533400"/>
                  <a:gd name="connsiteX28" fmla="*/ 248002 w 438150"/>
                  <a:gd name="connsiteY28" fmla="*/ 295896 h 533400"/>
                  <a:gd name="connsiteX29" fmla="*/ 171802 w 438150"/>
                  <a:gd name="connsiteY29" fmla="*/ 295896 h 533400"/>
                  <a:gd name="connsiteX30" fmla="*/ 171802 w 438150"/>
                  <a:gd name="connsiteY30" fmla="*/ 219696 h 533400"/>
                  <a:gd name="connsiteX31" fmla="*/ 248002 w 438150"/>
                  <a:gd name="connsiteY31" fmla="*/ 219696 h 533400"/>
                  <a:gd name="connsiteX32" fmla="*/ 428977 w 438150"/>
                  <a:gd name="connsiteY32" fmla="*/ 133971 h 533400"/>
                  <a:gd name="connsiteX33" fmla="*/ 314677 w 438150"/>
                  <a:gd name="connsiteY33" fmla="*/ 133971 h 533400"/>
                  <a:gd name="connsiteX34" fmla="*/ 313724 w 438150"/>
                  <a:gd name="connsiteY34" fmla="*/ 133971 h 533400"/>
                  <a:gd name="connsiteX35" fmla="*/ 305152 w 438150"/>
                  <a:gd name="connsiteY35" fmla="*/ 124446 h 533400"/>
                  <a:gd name="connsiteX36" fmla="*/ 305152 w 438150"/>
                  <a:gd name="connsiteY36" fmla="*/ 124446 h 533400"/>
                  <a:gd name="connsiteX37" fmla="*/ 305152 w 438150"/>
                  <a:gd name="connsiteY37" fmla="*/ 10146 h 533400"/>
                  <a:gd name="connsiteX38" fmla="*/ 428977 w 438150"/>
                  <a:gd name="connsiteY38" fmla="*/ 133971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38150" h="533400">
                    <a:moveTo>
                      <a:pt x="284197" y="621"/>
                    </a:moveTo>
                    <a:cubicBezTo>
                      <a:pt x="285149" y="621"/>
                      <a:pt x="286102" y="621"/>
                      <a:pt x="286102" y="621"/>
                    </a:cubicBezTo>
                    <a:lnTo>
                      <a:pt x="286102" y="124446"/>
                    </a:lnTo>
                    <a:lnTo>
                      <a:pt x="286102" y="126351"/>
                    </a:lnTo>
                    <a:cubicBezTo>
                      <a:pt x="287055" y="141591"/>
                      <a:pt x="299437" y="153021"/>
                      <a:pt x="314677" y="153021"/>
                    </a:cubicBezTo>
                    <a:lnTo>
                      <a:pt x="314677" y="153021"/>
                    </a:lnTo>
                    <a:lnTo>
                      <a:pt x="438502" y="153021"/>
                    </a:lnTo>
                    <a:cubicBezTo>
                      <a:pt x="438502" y="153974"/>
                      <a:pt x="438502" y="154926"/>
                      <a:pt x="438502" y="154926"/>
                    </a:cubicBezTo>
                    <a:lnTo>
                      <a:pt x="438502" y="505446"/>
                    </a:lnTo>
                    <a:cubicBezTo>
                      <a:pt x="438502" y="521639"/>
                      <a:pt x="426120" y="534021"/>
                      <a:pt x="409927" y="534021"/>
                    </a:cubicBezTo>
                    <a:lnTo>
                      <a:pt x="28927" y="534021"/>
                    </a:lnTo>
                    <a:cubicBezTo>
                      <a:pt x="12734" y="534021"/>
                      <a:pt x="352" y="521639"/>
                      <a:pt x="352" y="505446"/>
                    </a:cubicBezTo>
                    <a:lnTo>
                      <a:pt x="352" y="29196"/>
                    </a:lnTo>
                    <a:cubicBezTo>
                      <a:pt x="352" y="13004"/>
                      <a:pt x="12734" y="621"/>
                      <a:pt x="28927" y="621"/>
                    </a:cubicBezTo>
                    <a:lnTo>
                      <a:pt x="284197" y="621"/>
                    </a:lnTo>
                    <a:close/>
                    <a:moveTo>
                      <a:pt x="248002" y="200646"/>
                    </a:moveTo>
                    <a:lnTo>
                      <a:pt x="152752" y="200646"/>
                    </a:lnTo>
                    <a:lnTo>
                      <a:pt x="152752" y="410196"/>
                    </a:lnTo>
                    <a:lnTo>
                      <a:pt x="171802" y="410196"/>
                    </a:lnTo>
                    <a:lnTo>
                      <a:pt x="171802" y="314946"/>
                    </a:lnTo>
                    <a:lnTo>
                      <a:pt x="248002" y="314946"/>
                    </a:lnTo>
                    <a:lnTo>
                      <a:pt x="249907" y="314946"/>
                    </a:lnTo>
                    <a:cubicBezTo>
                      <a:pt x="280387" y="313994"/>
                      <a:pt x="305152" y="288276"/>
                      <a:pt x="305152" y="257796"/>
                    </a:cubicBezTo>
                    <a:cubicBezTo>
                      <a:pt x="305152" y="226364"/>
                      <a:pt x="279434" y="200646"/>
                      <a:pt x="248002" y="200646"/>
                    </a:cubicBezTo>
                    <a:lnTo>
                      <a:pt x="248002" y="200646"/>
                    </a:lnTo>
                    <a:close/>
                    <a:moveTo>
                      <a:pt x="248002" y="219696"/>
                    </a:moveTo>
                    <a:cubicBezTo>
                      <a:pt x="268957" y="219696"/>
                      <a:pt x="286102" y="236841"/>
                      <a:pt x="286102" y="257796"/>
                    </a:cubicBezTo>
                    <a:cubicBezTo>
                      <a:pt x="286102" y="278751"/>
                      <a:pt x="268957" y="295896"/>
                      <a:pt x="248002" y="295896"/>
                    </a:cubicBezTo>
                    <a:lnTo>
                      <a:pt x="248002" y="295896"/>
                    </a:lnTo>
                    <a:lnTo>
                      <a:pt x="171802" y="295896"/>
                    </a:lnTo>
                    <a:lnTo>
                      <a:pt x="171802" y="219696"/>
                    </a:lnTo>
                    <a:lnTo>
                      <a:pt x="248002" y="219696"/>
                    </a:lnTo>
                    <a:close/>
                    <a:moveTo>
                      <a:pt x="428977" y="133971"/>
                    </a:moveTo>
                    <a:lnTo>
                      <a:pt x="314677" y="133971"/>
                    </a:lnTo>
                    <a:lnTo>
                      <a:pt x="313724" y="133971"/>
                    </a:lnTo>
                    <a:cubicBezTo>
                      <a:pt x="308962" y="133019"/>
                      <a:pt x="305152" y="129209"/>
                      <a:pt x="305152" y="124446"/>
                    </a:cubicBezTo>
                    <a:lnTo>
                      <a:pt x="305152" y="124446"/>
                    </a:lnTo>
                    <a:lnTo>
                      <a:pt x="305152" y="10146"/>
                    </a:lnTo>
                    <a:lnTo>
                      <a:pt x="428977" y="133971"/>
                    </a:lnTo>
                    <a:close/>
                  </a:path>
                </a:pathLst>
              </a:custGeom>
              <a:solidFill>
                <a:srgbClr val="FFFFFF"/>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sp>
            <p:nvSpPr>
              <p:cNvPr id="20" name="椭圆 19"/>
              <p:cNvSpPr/>
              <p:nvPr/>
            </p:nvSpPr>
            <p:spPr>
              <a:xfrm>
                <a:off x="2125334" y="4057085"/>
                <a:ext cx="596918" cy="596918"/>
              </a:xfrm>
              <a:prstGeom prst="ellipse">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rmAutofit/>
              </a:bodyPr>
              <a:lstStyle/>
              <a:p>
                <a:pPr algn="ctr"/>
                <a:r>
                  <a:rPr lang="en-US" altLang="zh-CN" sz="1600" i="1" dirty="0">
                    <a:solidFill>
                      <a:schemeClr val="accent1"/>
                    </a:solidFill>
                    <a:latin typeface="Calibri" pitchFamily="34" charset="0"/>
                    <a:ea typeface="宋体" pitchFamily="2" charset="-122"/>
                  </a:rPr>
                  <a:t>01</a:t>
                </a:r>
                <a:endParaRPr lang="zh-CN" altLang="en-US" sz="1600" i="1" dirty="0">
                  <a:solidFill>
                    <a:schemeClr val="accent1"/>
                  </a:solidFill>
                  <a:latin typeface="Calibri" pitchFamily="34" charset="0"/>
                  <a:ea typeface="宋体" pitchFamily="2" charset="-122"/>
                </a:endParaRPr>
              </a:p>
            </p:txBody>
          </p:sp>
          <p:sp>
            <p:nvSpPr>
              <p:cNvPr id="21" name="文本框 20"/>
              <p:cNvSpPr txBox="1"/>
              <p:nvPr/>
            </p:nvSpPr>
            <p:spPr>
              <a:xfrm>
                <a:off x="1163601" y="5398190"/>
                <a:ext cx="2520384" cy="740190"/>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1" forceAA="0" compatLnSpc="1">
                <a:normAutofit/>
              </a:bodyPr>
              <a:lstStyle>
                <a:defPPr>
                  <a:defRPr lang="zh-CN"/>
                </a:defPPr>
                <a:lvl1pPr algn="ctr">
                  <a:defRPr sz="1400" b="1"/>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nSpc>
                    <a:spcPct val="120000"/>
                  </a:lnSpc>
                </a:pPr>
                <a:r>
                  <a:rPr lang="fr-FR" altLang="zh-CN" sz="1200" b="0">
                    <a:solidFill>
                      <a:schemeClr val="tx1"/>
                    </a:solidFill>
                    <a:latin typeface="Calibri" pitchFamily="34" charset="0"/>
                    <a:ea typeface="宋体" pitchFamily="2" charset="-122"/>
                  </a:rPr>
                  <a:t>Justo ea et et consetetur sed dolore dolores dolor dolor.</a:t>
                </a:r>
                <a:endParaRPr lang="en-US" altLang="zh-CN" sz="1200" b="0" dirty="0">
                  <a:solidFill>
                    <a:schemeClr val="tx1"/>
                  </a:solidFill>
                  <a:latin typeface="Calibri" pitchFamily="34" charset="0"/>
                  <a:ea typeface="宋体" pitchFamily="2" charset="-122"/>
                </a:endParaRPr>
              </a:p>
            </p:txBody>
          </p:sp>
          <p:sp>
            <p:nvSpPr>
              <p:cNvPr id="22" name="文本框 21"/>
              <p:cNvSpPr txBox="1"/>
              <p:nvPr/>
            </p:nvSpPr>
            <p:spPr>
              <a:xfrm>
                <a:off x="1163601" y="4870831"/>
                <a:ext cx="2520384" cy="527358"/>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1" forceAA="0" compatLnSpc="1">
                <a:normAutofit/>
              </a:bodyPr>
              <a:lstStyle>
                <a:defPPr>
                  <a:defRPr lang="zh-CN"/>
                </a:defPPr>
                <a:lvl1pPr algn="ctr">
                  <a:defRPr sz="1400" b="1"/>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ltLang="zh-CN" sz="1800">
                    <a:solidFill>
                      <a:schemeClr val="tx1"/>
                    </a:solidFill>
                    <a:latin typeface="Calibri" pitchFamily="34" charset="0"/>
                    <a:ea typeface="宋体" pitchFamily="2" charset="-122"/>
                  </a:rPr>
                  <a:t>Click to add text</a:t>
                </a:r>
                <a:endParaRPr lang="en-US" altLang="zh-CN" sz="1800" dirty="0">
                  <a:solidFill>
                    <a:schemeClr val="tx1"/>
                  </a:solidFill>
                  <a:latin typeface="Calibri" pitchFamily="34" charset="0"/>
                  <a:ea typeface="宋体" pitchFamily="2" charset="-122"/>
                </a:endParaRPr>
              </a:p>
            </p:txBody>
          </p:sp>
        </p:grpSp>
        <p:grpSp>
          <p:nvGrpSpPr>
            <p:cNvPr id="32" name="组合 31"/>
            <p:cNvGrpSpPr/>
            <p:nvPr/>
          </p:nvGrpSpPr>
          <p:grpSpPr>
            <a:xfrm>
              <a:off x="4829458" y="2425719"/>
              <a:ext cx="2541461" cy="3712661"/>
              <a:chOff x="4829458" y="2425719"/>
              <a:chExt cx="2541461" cy="3712661"/>
            </a:xfrm>
          </p:grpSpPr>
          <p:sp>
            <p:nvSpPr>
              <p:cNvPr id="13" name="文本框 12"/>
              <p:cNvSpPr txBox="1">
                <a:spLocks noChangeAspect="1"/>
              </p:cNvSpPr>
              <p:nvPr/>
            </p:nvSpPr>
            <p:spPr>
              <a:xfrm rot="240141">
                <a:off x="6720913" y="2425719"/>
                <a:ext cx="650006" cy="650006"/>
              </a:xfrm>
              <a:prstGeom prst="roundRect">
                <a:avLst>
                  <a:gd name="adj" fmla="val 50000"/>
                </a:avLst>
              </a:prstGeom>
              <a:gradFill>
                <a:gsLst>
                  <a:gs pos="0">
                    <a:schemeClr val="accent2">
                      <a:lumMod val="60000"/>
                      <a:lumOff val="40000"/>
                    </a:schemeClr>
                  </a:gs>
                  <a:gs pos="50000">
                    <a:schemeClr val="accent2"/>
                  </a:gs>
                </a:gsLst>
                <a:lin ang="2700000" scaled="0"/>
              </a:gradFill>
            </p:spPr>
            <p:txBody>
              <a:bodyPr wrap="square" lIns="108000" tIns="108000" rIns="108000" bIns="108000" rtlCol="0" anchor="ctr" anchorCtr="0">
                <a:normAutofit fontScale="25000" lnSpcReduction="20000"/>
              </a:bodyPr>
              <a:lstStyle>
                <a:defPPr>
                  <a:defRPr lang="zh-CN"/>
                </a:defPPr>
                <a:lvl1pPr algn="ctr">
                  <a:defRPr kumimoji="1" sz="2000" b="1">
                    <a:noFill/>
                  </a:defRPr>
                </a:lvl1pPr>
              </a:lstStyle>
              <a:p>
                <a:pPr>
                  <a:lnSpc>
                    <a:spcPct val="120000"/>
                  </a:lnSpc>
                </a:pPr>
                <a:r>
                  <a:rPr lang="it-IT" altLang="zh-CN" sz="1200" b="0">
                    <a:latin typeface="Calibri" pitchFamily="34" charset="0"/>
                    <a:ea typeface="宋体" pitchFamily="2" charset="-122"/>
                  </a:rPr>
                  <a:t>Vero ea vero accusam ut et nostrud et exerci erat.</a:t>
                </a:r>
                <a:endParaRPr lang="zh-CN" altLang="en-US" sz="1200" b="0" dirty="0">
                  <a:latin typeface="Calibri" pitchFamily="34" charset="0"/>
                  <a:ea typeface="宋体" pitchFamily="2" charset="-122"/>
                </a:endParaRPr>
              </a:p>
            </p:txBody>
          </p:sp>
          <p:sp>
            <p:nvSpPr>
              <p:cNvPr id="14" name="任意多边形: 形状 13"/>
              <p:cNvSpPr/>
              <p:nvPr/>
            </p:nvSpPr>
            <p:spPr>
              <a:xfrm rot="240141">
                <a:off x="6892001" y="2587927"/>
                <a:ext cx="307831" cy="325590"/>
              </a:xfrm>
              <a:custGeom>
                <a:avLst/>
                <a:gdLst>
                  <a:gd name="connsiteX0" fmla="*/ 371955 w 495300"/>
                  <a:gd name="connsiteY0" fmla="*/ 621 h 523875"/>
                  <a:gd name="connsiteX1" fmla="*/ 400530 w 495300"/>
                  <a:gd name="connsiteY1" fmla="*/ 29196 h 523875"/>
                  <a:gd name="connsiteX2" fmla="*/ 400530 w 495300"/>
                  <a:gd name="connsiteY2" fmla="*/ 133971 h 523875"/>
                  <a:gd name="connsiteX3" fmla="*/ 371955 w 495300"/>
                  <a:gd name="connsiteY3" fmla="*/ 162546 h 523875"/>
                  <a:gd name="connsiteX4" fmla="*/ 257655 w 495300"/>
                  <a:gd name="connsiteY4" fmla="*/ 162546 h 523875"/>
                  <a:gd name="connsiteX5" fmla="*/ 257655 w 495300"/>
                  <a:gd name="connsiteY5" fmla="*/ 286371 h 523875"/>
                  <a:gd name="connsiteX6" fmla="*/ 419580 w 495300"/>
                  <a:gd name="connsiteY6" fmla="*/ 286371 h 523875"/>
                  <a:gd name="connsiteX7" fmla="*/ 457680 w 495300"/>
                  <a:gd name="connsiteY7" fmla="*/ 322566 h 523875"/>
                  <a:gd name="connsiteX8" fmla="*/ 457680 w 495300"/>
                  <a:gd name="connsiteY8" fmla="*/ 324471 h 523875"/>
                  <a:gd name="connsiteX9" fmla="*/ 457680 w 495300"/>
                  <a:gd name="connsiteY9" fmla="*/ 429246 h 523875"/>
                  <a:gd name="connsiteX10" fmla="*/ 476730 w 495300"/>
                  <a:gd name="connsiteY10" fmla="*/ 429246 h 523875"/>
                  <a:gd name="connsiteX11" fmla="*/ 495780 w 495300"/>
                  <a:gd name="connsiteY11" fmla="*/ 448296 h 523875"/>
                  <a:gd name="connsiteX12" fmla="*/ 495780 w 495300"/>
                  <a:gd name="connsiteY12" fmla="*/ 505446 h 523875"/>
                  <a:gd name="connsiteX13" fmla="*/ 476730 w 495300"/>
                  <a:gd name="connsiteY13" fmla="*/ 524496 h 523875"/>
                  <a:gd name="connsiteX14" fmla="*/ 419580 w 495300"/>
                  <a:gd name="connsiteY14" fmla="*/ 524496 h 523875"/>
                  <a:gd name="connsiteX15" fmla="*/ 400530 w 495300"/>
                  <a:gd name="connsiteY15" fmla="*/ 505446 h 523875"/>
                  <a:gd name="connsiteX16" fmla="*/ 400530 w 495300"/>
                  <a:gd name="connsiteY16" fmla="*/ 448296 h 523875"/>
                  <a:gd name="connsiteX17" fmla="*/ 419580 w 495300"/>
                  <a:gd name="connsiteY17" fmla="*/ 429246 h 523875"/>
                  <a:gd name="connsiteX18" fmla="*/ 438630 w 495300"/>
                  <a:gd name="connsiteY18" fmla="*/ 429246 h 523875"/>
                  <a:gd name="connsiteX19" fmla="*/ 438630 w 495300"/>
                  <a:gd name="connsiteY19" fmla="*/ 324471 h 523875"/>
                  <a:gd name="connsiteX20" fmla="*/ 420533 w 495300"/>
                  <a:gd name="connsiteY20" fmla="*/ 305421 h 523875"/>
                  <a:gd name="connsiteX21" fmla="*/ 419580 w 495300"/>
                  <a:gd name="connsiteY21" fmla="*/ 305421 h 523875"/>
                  <a:gd name="connsiteX22" fmla="*/ 257655 w 495300"/>
                  <a:gd name="connsiteY22" fmla="*/ 305421 h 523875"/>
                  <a:gd name="connsiteX23" fmla="*/ 257655 w 495300"/>
                  <a:gd name="connsiteY23" fmla="*/ 429246 h 523875"/>
                  <a:gd name="connsiteX24" fmla="*/ 276705 w 495300"/>
                  <a:gd name="connsiteY24" fmla="*/ 429246 h 523875"/>
                  <a:gd name="connsiteX25" fmla="*/ 295755 w 495300"/>
                  <a:gd name="connsiteY25" fmla="*/ 448296 h 523875"/>
                  <a:gd name="connsiteX26" fmla="*/ 295755 w 495300"/>
                  <a:gd name="connsiteY26" fmla="*/ 505446 h 523875"/>
                  <a:gd name="connsiteX27" fmla="*/ 276705 w 495300"/>
                  <a:gd name="connsiteY27" fmla="*/ 524496 h 523875"/>
                  <a:gd name="connsiteX28" fmla="*/ 219555 w 495300"/>
                  <a:gd name="connsiteY28" fmla="*/ 524496 h 523875"/>
                  <a:gd name="connsiteX29" fmla="*/ 200505 w 495300"/>
                  <a:gd name="connsiteY29" fmla="*/ 505446 h 523875"/>
                  <a:gd name="connsiteX30" fmla="*/ 200505 w 495300"/>
                  <a:gd name="connsiteY30" fmla="*/ 448296 h 523875"/>
                  <a:gd name="connsiteX31" fmla="*/ 219555 w 495300"/>
                  <a:gd name="connsiteY31" fmla="*/ 429246 h 523875"/>
                  <a:gd name="connsiteX32" fmla="*/ 238605 w 495300"/>
                  <a:gd name="connsiteY32" fmla="*/ 429246 h 523875"/>
                  <a:gd name="connsiteX33" fmla="*/ 238605 w 495300"/>
                  <a:gd name="connsiteY33" fmla="*/ 305421 h 523875"/>
                  <a:gd name="connsiteX34" fmla="*/ 76680 w 495300"/>
                  <a:gd name="connsiteY34" fmla="*/ 305421 h 523875"/>
                  <a:gd name="connsiteX35" fmla="*/ 57630 w 495300"/>
                  <a:gd name="connsiteY35" fmla="*/ 323519 h 523875"/>
                  <a:gd name="connsiteX36" fmla="*/ 57630 w 495300"/>
                  <a:gd name="connsiteY36" fmla="*/ 324471 h 523875"/>
                  <a:gd name="connsiteX37" fmla="*/ 57630 w 495300"/>
                  <a:gd name="connsiteY37" fmla="*/ 429246 h 523875"/>
                  <a:gd name="connsiteX38" fmla="*/ 76680 w 495300"/>
                  <a:gd name="connsiteY38" fmla="*/ 429246 h 523875"/>
                  <a:gd name="connsiteX39" fmla="*/ 95730 w 495300"/>
                  <a:gd name="connsiteY39" fmla="*/ 448296 h 523875"/>
                  <a:gd name="connsiteX40" fmla="*/ 95730 w 495300"/>
                  <a:gd name="connsiteY40" fmla="*/ 505446 h 523875"/>
                  <a:gd name="connsiteX41" fmla="*/ 76680 w 495300"/>
                  <a:gd name="connsiteY41" fmla="*/ 524496 h 523875"/>
                  <a:gd name="connsiteX42" fmla="*/ 19530 w 495300"/>
                  <a:gd name="connsiteY42" fmla="*/ 524496 h 523875"/>
                  <a:gd name="connsiteX43" fmla="*/ 480 w 495300"/>
                  <a:gd name="connsiteY43" fmla="*/ 505446 h 523875"/>
                  <a:gd name="connsiteX44" fmla="*/ 480 w 495300"/>
                  <a:gd name="connsiteY44" fmla="*/ 448296 h 523875"/>
                  <a:gd name="connsiteX45" fmla="*/ 19530 w 495300"/>
                  <a:gd name="connsiteY45" fmla="*/ 429246 h 523875"/>
                  <a:gd name="connsiteX46" fmla="*/ 38580 w 495300"/>
                  <a:gd name="connsiteY46" fmla="*/ 429246 h 523875"/>
                  <a:gd name="connsiteX47" fmla="*/ 38580 w 495300"/>
                  <a:gd name="connsiteY47" fmla="*/ 324471 h 523875"/>
                  <a:gd name="connsiteX48" fmla="*/ 74775 w 495300"/>
                  <a:gd name="connsiteY48" fmla="*/ 286371 h 523875"/>
                  <a:gd name="connsiteX49" fmla="*/ 76680 w 495300"/>
                  <a:gd name="connsiteY49" fmla="*/ 286371 h 523875"/>
                  <a:gd name="connsiteX50" fmla="*/ 238605 w 495300"/>
                  <a:gd name="connsiteY50" fmla="*/ 286371 h 523875"/>
                  <a:gd name="connsiteX51" fmla="*/ 238605 w 495300"/>
                  <a:gd name="connsiteY51" fmla="*/ 162546 h 523875"/>
                  <a:gd name="connsiteX52" fmla="*/ 124305 w 495300"/>
                  <a:gd name="connsiteY52" fmla="*/ 162546 h 523875"/>
                  <a:gd name="connsiteX53" fmla="*/ 95730 w 495300"/>
                  <a:gd name="connsiteY53" fmla="*/ 133971 h 523875"/>
                  <a:gd name="connsiteX54" fmla="*/ 95730 w 495300"/>
                  <a:gd name="connsiteY54" fmla="*/ 29196 h 523875"/>
                  <a:gd name="connsiteX55" fmla="*/ 124305 w 495300"/>
                  <a:gd name="connsiteY55" fmla="*/ 621 h 523875"/>
                  <a:gd name="connsiteX56" fmla="*/ 371955 w 495300"/>
                  <a:gd name="connsiteY56" fmla="*/ 621 h 523875"/>
                  <a:gd name="connsiteX57" fmla="*/ 148118 w 495300"/>
                  <a:gd name="connsiteY57" fmla="*/ 95871 h 523875"/>
                  <a:gd name="connsiteX58" fmla="*/ 133830 w 495300"/>
                  <a:gd name="connsiteY58" fmla="*/ 110159 h 523875"/>
                  <a:gd name="connsiteX59" fmla="*/ 148118 w 495300"/>
                  <a:gd name="connsiteY59" fmla="*/ 124446 h 523875"/>
                  <a:gd name="connsiteX60" fmla="*/ 162405 w 495300"/>
                  <a:gd name="connsiteY60" fmla="*/ 110159 h 523875"/>
                  <a:gd name="connsiteX61" fmla="*/ 148118 w 495300"/>
                  <a:gd name="connsiteY61" fmla="*/ 95871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95300" h="523875">
                    <a:moveTo>
                      <a:pt x="371955" y="621"/>
                    </a:moveTo>
                    <a:cubicBezTo>
                      <a:pt x="388148" y="621"/>
                      <a:pt x="400530" y="13004"/>
                      <a:pt x="400530" y="29196"/>
                    </a:cubicBezTo>
                    <a:lnTo>
                      <a:pt x="400530" y="133971"/>
                    </a:lnTo>
                    <a:cubicBezTo>
                      <a:pt x="400530" y="150164"/>
                      <a:pt x="388148" y="162546"/>
                      <a:pt x="371955" y="162546"/>
                    </a:cubicBezTo>
                    <a:lnTo>
                      <a:pt x="257655" y="162546"/>
                    </a:lnTo>
                    <a:lnTo>
                      <a:pt x="257655" y="286371"/>
                    </a:lnTo>
                    <a:lnTo>
                      <a:pt x="419580" y="286371"/>
                    </a:lnTo>
                    <a:cubicBezTo>
                      <a:pt x="439583" y="286371"/>
                      <a:pt x="456727" y="302564"/>
                      <a:pt x="457680" y="322566"/>
                    </a:cubicBezTo>
                    <a:lnTo>
                      <a:pt x="457680" y="324471"/>
                    </a:lnTo>
                    <a:lnTo>
                      <a:pt x="457680" y="429246"/>
                    </a:lnTo>
                    <a:lnTo>
                      <a:pt x="476730" y="429246"/>
                    </a:lnTo>
                    <a:cubicBezTo>
                      <a:pt x="487208" y="429246"/>
                      <a:pt x="495780" y="437819"/>
                      <a:pt x="495780" y="448296"/>
                    </a:cubicBezTo>
                    <a:lnTo>
                      <a:pt x="495780" y="505446"/>
                    </a:lnTo>
                    <a:cubicBezTo>
                      <a:pt x="495780" y="515924"/>
                      <a:pt x="487208" y="524496"/>
                      <a:pt x="476730" y="524496"/>
                    </a:cubicBezTo>
                    <a:lnTo>
                      <a:pt x="419580" y="524496"/>
                    </a:lnTo>
                    <a:cubicBezTo>
                      <a:pt x="409102" y="524496"/>
                      <a:pt x="400530" y="515924"/>
                      <a:pt x="400530" y="505446"/>
                    </a:cubicBezTo>
                    <a:lnTo>
                      <a:pt x="400530" y="448296"/>
                    </a:lnTo>
                    <a:cubicBezTo>
                      <a:pt x="400530" y="437819"/>
                      <a:pt x="409102" y="429246"/>
                      <a:pt x="419580" y="429246"/>
                    </a:cubicBezTo>
                    <a:lnTo>
                      <a:pt x="438630" y="429246"/>
                    </a:lnTo>
                    <a:lnTo>
                      <a:pt x="438630" y="324471"/>
                    </a:lnTo>
                    <a:cubicBezTo>
                      <a:pt x="438630" y="313994"/>
                      <a:pt x="431010" y="306374"/>
                      <a:pt x="420533" y="305421"/>
                    </a:cubicBezTo>
                    <a:lnTo>
                      <a:pt x="419580" y="305421"/>
                    </a:lnTo>
                    <a:lnTo>
                      <a:pt x="257655" y="305421"/>
                    </a:lnTo>
                    <a:lnTo>
                      <a:pt x="257655" y="429246"/>
                    </a:lnTo>
                    <a:lnTo>
                      <a:pt x="276705" y="429246"/>
                    </a:lnTo>
                    <a:cubicBezTo>
                      <a:pt x="287183" y="429246"/>
                      <a:pt x="295755" y="437819"/>
                      <a:pt x="295755" y="448296"/>
                    </a:cubicBezTo>
                    <a:lnTo>
                      <a:pt x="295755" y="505446"/>
                    </a:lnTo>
                    <a:cubicBezTo>
                      <a:pt x="295755" y="515924"/>
                      <a:pt x="287183" y="524496"/>
                      <a:pt x="276705" y="524496"/>
                    </a:cubicBezTo>
                    <a:lnTo>
                      <a:pt x="219555" y="524496"/>
                    </a:lnTo>
                    <a:cubicBezTo>
                      <a:pt x="209077" y="524496"/>
                      <a:pt x="200505" y="515924"/>
                      <a:pt x="200505" y="505446"/>
                    </a:cubicBezTo>
                    <a:lnTo>
                      <a:pt x="200505" y="448296"/>
                    </a:lnTo>
                    <a:cubicBezTo>
                      <a:pt x="200505" y="437819"/>
                      <a:pt x="209077" y="429246"/>
                      <a:pt x="219555" y="429246"/>
                    </a:cubicBezTo>
                    <a:lnTo>
                      <a:pt x="238605" y="429246"/>
                    </a:lnTo>
                    <a:lnTo>
                      <a:pt x="238605" y="305421"/>
                    </a:lnTo>
                    <a:lnTo>
                      <a:pt x="76680" y="305421"/>
                    </a:lnTo>
                    <a:cubicBezTo>
                      <a:pt x="66202" y="305421"/>
                      <a:pt x="58583" y="313041"/>
                      <a:pt x="57630" y="323519"/>
                    </a:cubicBezTo>
                    <a:lnTo>
                      <a:pt x="57630" y="324471"/>
                    </a:lnTo>
                    <a:lnTo>
                      <a:pt x="57630" y="429246"/>
                    </a:lnTo>
                    <a:lnTo>
                      <a:pt x="76680" y="429246"/>
                    </a:lnTo>
                    <a:cubicBezTo>
                      <a:pt x="87158" y="429246"/>
                      <a:pt x="95730" y="437819"/>
                      <a:pt x="95730" y="448296"/>
                    </a:cubicBezTo>
                    <a:lnTo>
                      <a:pt x="95730" y="505446"/>
                    </a:lnTo>
                    <a:cubicBezTo>
                      <a:pt x="95730" y="515924"/>
                      <a:pt x="87158" y="524496"/>
                      <a:pt x="76680" y="524496"/>
                    </a:cubicBezTo>
                    <a:lnTo>
                      <a:pt x="19530" y="524496"/>
                    </a:lnTo>
                    <a:cubicBezTo>
                      <a:pt x="9052" y="524496"/>
                      <a:pt x="480" y="515924"/>
                      <a:pt x="480" y="505446"/>
                    </a:cubicBezTo>
                    <a:lnTo>
                      <a:pt x="480" y="448296"/>
                    </a:lnTo>
                    <a:cubicBezTo>
                      <a:pt x="480" y="437819"/>
                      <a:pt x="9052" y="429246"/>
                      <a:pt x="19530" y="429246"/>
                    </a:cubicBezTo>
                    <a:lnTo>
                      <a:pt x="38580" y="429246"/>
                    </a:lnTo>
                    <a:lnTo>
                      <a:pt x="38580" y="324471"/>
                    </a:lnTo>
                    <a:cubicBezTo>
                      <a:pt x="38580" y="304469"/>
                      <a:pt x="54773" y="287324"/>
                      <a:pt x="74775" y="286371"/>
                    </a:cubicBezTo>
                    <a:lnTo>
                      <a:pt x="76680" y="286371"/>
                    </a:lnTo>
                    <a:lnTo>
                      <a:pt x="238605" y="286371"/>
                    </a:lnTo>
                    <a:lnTo>
                      <a:pt x="238605" y="162546"/>
                    </a:lnTo>
                    <a:lnTo>
                      <a:pt x="124305" y="162546"/>
                    </a:lnTo>
                    <a:cubicBezTo>
                      <a:pt x="108112" y="162546"/>
                      <a:pt x="95730" y="150164"/>
                      <a:pt x="95730" y="133971"/>
                    </a:cubicBezTo>
                    <a:lnTo>
                      <a:pt x="95730" y="29196"/>
                    </a:lnTo>
                    <a:cubicBezTo>
                      <a:pt x="95730" y="13004"/>
                      <a:pt x="108112" y="621"/>
                      <a:pt x="124305" y="621"/>
                    </a:cubicBezTo>
                    <a:lnTo>
                      <a:pt x="371955" y="621"/>
                    </a:lnTo>
                    <a:close/>
                    <a:moveTo>
                      <a:pt x="148118" y="95871"/>
                    </a:moveTo>
                    <a:cubicBezTo>
                      <a:pt x="140498" y="95871"/>
                      <a:pt x="133830" y="102539"/>
                      <a:pt x="133830" y="110159"/>
                    </a:cubicBezTo>
                    <a:cubicBezTo>
                      <a:pt x="133830" y="117779"/>
                      <a:pt x="140498" y="124446"/>
                      <a:pt x="148118" y="124446"/>
                    </a:cubicBezTo>
                    <a:cubicBezTo>
                      <a:pt x="155737" y="124446"/>
                      <a:pt x="162405" y="117779"/>
                      <a:pt x="162405" y="110159"/>
                    </a:cubicBezTo>
                    <a:cubicBezTo>
                      <a:pt x="162405" y="102539"/>
                      <a:pt x="155737" y="95871"/>
                      <a:pt x="148118" y="95871"/>
                    </a:cubicBezTo>
                    <a:close/>
                  </a:path>
                </a:pathLst>
              </a:custGeom>
              <a:solidFill>
                <a:srgbClr val="FFFFFF"/>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sp>
            <p:nvSpPr>
              <p:cNvPr id="23" name="椭圆 22"/>
              <p:cNvSpPr/>
              <p:nvPr/>
            </p:nvSpPr>
            <p:spPr>
              <a:xfrm>
                <a:off x="5791191" y="4057085"/>
                <a:ext cx="596918" cy="596918"/>
              </a:xfrm>
              <a:prstGeom prst="ellipse">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rmAutofit/>
              </a:bodyPr>
              <a:lstStyle/>
              <a:p>
                <a:pPr algn="ctr"/>
                <a:r>
                  <a:rPr lang="en-US" altLang="zh-CN" sz="1600" i="1" dirty="0">
                    <a:solidFill>
                      <a:schemeClr val="accent2"/>
                    </a:solidFill>
                    <a:latin typeface="Calibri" pitchFamily="34" charset="0"/>
                    <a:ea typeface="宋体" pitchFamily="2" charset="-122"/>
                  </a:rPr>
                  <a:t>02</a:t>
                </a:r>
                <a:endParaRPr lang="zh-CN" altLang="en-US" sz="1600" i="1" dirty="0">
                  <a:solidFill>
                    <a:schemeClr val="accent2"/>
                  </a:solidFill>
                  <a:latin typeface="Calibri" pitchFamily="34" charset="0"/>
                  <a:ea typeface="宋体" pitchFamily="2" charset="-122"/>
                </a:endParaRPr>
              </a:p>
            </p:txBody>
          </p:sp>
          <p:sp>
            <p:nvSpPr>
              <p:cNvPr id="24" name="文本框 23"/>
              <p:cNvSpPr txBox="1"/>
              <p:nvPr/>
            </p:nvSpPr>
            <p:spPr>
              <a:xfrm>
                <a:off x="4829458" y="5398190"/>
                <a:ext cx="2520384" cy="740190"/>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1" forceAA="0" compatLnSpc="1">
                <a:normAutofit/>
              </a:bodyPr>
              <a:lstStyle>
                <a:defPPr>
                  <a:defRPr lang="zh-CN"/>
                </a:defPPr>
                <a:lvl1pPr algn="ctr">
                  <a:defRPr sz="1400" b="1"/>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nSpc>
                    <a:spcPct val="120000"/>
                  </a:lnSpc>
                </a:pPr>
                <a:r>
                  <a:rPr lang="fr-FR" altLang="zh-CN" sz="1200" b="0">
                    <a:solidFill>
                      <a:schemeClr val="tx1"/>
                    </a:solidFill>
                    <a:latin typeface="Calibri" pitchFamily="34" charset="0"/>
                    <a:ea typeface="宋体" pitchFamily="2" charset="-122"/>
                  </a:rPr>
                  <a:t>Feugiat labore et eum diam invidunt voluptua et dolore.</a:t>
                </a:r>
                <a:endParaRPr lang="en-US" altLang="zh-CN" sz="1200" b="0" dirty="0">
                  <a:solidFill>
                    <a:schemeClr val="tx1"/>
                  </a:solidFill>
                  <a:latin typeface="Calibri" pitchFamily="34" charset="0"/>
                  <a:ea typeface="宋体" pitchFamily="2" charset="-122"/>
                </a:endParaRPr>
              </a:p>
            </p:txBody>
          </p:sp>
          <p:sp>
            <p:nvSpPr>
              <p:cNvPr id="25" name="文本框 24"/>
              <p:cNvSpPr txBox="1"/>
              <p:nvPr/>
            </p:nvSpPr>
            <p:spPr>
              <a:xfrm>
                <a:off x="4829458" y="4870831"/>
                <a:ext cx="2520384" cy="527358"/>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1" forceAA="0" compatLnSpc="1">
                <a:normAutofit/>
              </a:bodyPr>
              <a:lstStyle>
                <a:defPPr>
                  <a:defRPr lang="zh-CN"/>
                </a:defPPr>
                <a:lvl1pPr algn="ctr">
                  <a:defRPr sz="1400" b="1"/>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ltLang="zh-CN" sz="1800">
                    <a:solidFill>
                      <a:schemeClr val="tx1"/>
                    </a:solidFill>
                    <a:latin typeface="Calibri" pitchFamily="34" charset="0"/>
                    <a:ea typeface="宋体" pitchFamily="2" charset="-122"/>
                  </a:rPr>
                  <a:t>Click to add text</a:t>
                </a:r>
                <a:endParaRPr lang="en-US" altLang="zh-CN" sz="1800" dirty="0">
                  <a:solidFill>
                    <a:schemeClr val="tx1"/>
                  </a:solidFill>
                  <a:latin typeface="Calibri" pitchFamily="34" charset="0"/>
                  <a:ea typeface="宋体" pitchFamily="2" charset="-122"/>
                </a:endParaRPr>
              </a:p>
            </p:txBody>
          </p:sp>
        </p:grpSp>
        <p:grpSp>
          <p:nvGrpSpPr>
            <p:cNvPr id="33" name="组合 32"/>
            <p:cNvGrpSpPr/>
            <p:nvPr/>
          </p:nvGrpSpPr>
          <p:grpSpPr>
            <a:xfrm>
              <a:off x="7453292" y="2481083"/>
              <a:ext cx="3562407" cy="3657297"/>
              <a:chOff x="7453292" y="2481083"/>
              <a:chExt cx="3562407" cy="3657297"/>
            </a:xfrm>
          </p:grpSpPr>
          <p:sp>
            <p:nvSpPr>
              <p:cNvPr id="16" name="文本框 15"/>
              <p:cNvSpPr txBox="1">
                <a:spLocks noChangeAspect="1"/>
              </p:cNvSpPr>
              <p:nvPr/>
            </p:nvSpPr>
            <p:spPr>
              <a:xfrm rot="240141">
                <a:off x="7453292" y="2481083"/>
                <a:ext cx="650006" cy="650006"/>
              </a:xfrm>
              <a:prstGeom prst="roundRect">
                <a:avLst>
                  <a:gd name="adj" fmla="val 50000"/>
                </a:avLst>
              </a:prstGeom>
              <a:gradFill>
                <a:gsLst>
                  <a:gs pos="0">
                    <a:schemeClr val="accent3">
                      <a:lumMod val="60000"/>
                      <a:lumOff val="40000"/>
                    </a:schemeClr>
                  </a:gs>
                  <a:gs pos="50000">
                    <a:schemeClr val="accent3"/>
                  </a:gs>
                </a:gsLst>
                <a:lin ang="2700000" scaled="0"/>
              </a:gradFill>
            </p:spPr>
            <p:txBody>
              <a:bodyPr wrap="square" lIns="108000" tIns="108000" rIns="108000" bIns="108000" rtlCol="0" anchor="ctr" anchorCtr="0">
                <a:normAutofit fontScale="25000" lnSpcReduction="20000"/>
              </a:bodyPr>
              <a:lstStyle>
                <a:defPPr>
                  <a:defRPr lang="zh-CN"/>
                </a:defPPr>
                <a:lvl1pPr algn="ctr">
                  <a:defRPr kumimoji="1" sz="2000" b="1">
                    <a:noFill/>
                  </a:defRPr>
                </a:lvl1pPr>
              </a:lstStyle>
              <a:p>
                <a:pPr>
                  <a:lnSpc>
                    <a:spcPct val="120000"/>
                  </a:lnSpc>
                </a:pPr>
                <a:r>
                  <a:rPr lang="da-DK" altLang="zh-CN" sz="1200" b="0">
                    <a:latin typeface="Calibri" pitchFamily="34" charset="0"/>
                    <a:ea typeface="宋体" pitchFamily="2" charset="-122"/>
                  </a:rPr>
                  <a:t>Kasd et sit consetetur vulputate gubergren sit invidunt.</a:t>
                </a:r>
                <a:endParaRPr lang="zh-CN" altLang="en-US" sz="1200" b="0" dirty="0">
                  <a:latin typeface="Calibri" pitchFamily="34" charset="0"/>
                  <a:ea typeface="宋体" pitchFamily="2" charset="-122"/>
                </a:endParaRPr>
              </a:p>
            </p:txBody>
          </p:sp>
          <p:sp>
            <p:nvSpPr>
              <p:cNvPr id="17" name="任意多边形: 形状 16"/>
              <p:cNvSpPr/>
              <p:nvPr/>
            </p:nvSpPr>
            <p:spPr>
              <a:xfrm rot="240141">
                <a:off x="7612539" y="2643291"/>
                <a:ext cx="331513" cy="325590"/>
              </a:xfrm>
              <a:custGeom>
                <a:avLst/>
                <a:gdLst>
                  <a:gd name="connsiteX0" fmla="*/ 343764 w 533400"/>
                  <a:gd name="connsiteY0" fmla="*/ 276846 h 523875"/>
                  <a:gd name="connsiteX1" fmla="*/ 372339 w 533400"/>
                  <a:gd name="connsiteY1" fmla="*/ 305421 h 523875"/>
                  <a:gd name="connsiteX2" fmla="*/ 372339 w 533400"/>
                  <a:gd name="connsiteY2" fmla="*/ 495921 h 523875"/>
                  <a:gd name="connsiteX3" fmla="*/ 343764 w 533400"/>
                  <a:gd name="connsiteY3" fmla="*/ 524496 h 523875"/>
                  <a:gd name="connsiteX4" fmla="*/ 191364 w 533400"/>
                  <a:gd name="connsiteY4" fmla="*/ 524496 h 523875"/>
                  <a:gd name="connsiteX5" fmla="*/ 162789 w 533400"/>
                  <a:gd name="connsiteY5" fmla="*/ 495921 h 523875"/>
                  <a:gd name="connsiteX6" fmla="*/ 162789 w 533400"/>
                  <a:gd name="connsiteY6" fmla="*/ 305421 h 523875"/>
                  <a:gd name="connsiteX7" fmla="*/ 191364 w 533400"/>
                  <a:gd name="connsiteY7" fmla="*/ 276846 h 523875"/>
                  <a:gd name="connsiteX8" fmla="*/ 343764 w 533400"/>
                  <a:gd name="connsiteY8" fmla="*/ 276846 h 523875"/>
                  <a:gd name="connsiteX9" fmla="*/ 143739 w 533400"/>
                  <a:gd name="connsiteY9" fmla="*/ 114921 h 523875"/>
                  <a:gd name="connsiteX10" fmla="*/ 179934 w 533400"/>
                  <a:gd name="connsiteY10" fmla="*/ 153021 h 523875"/>
                  <a:gd name="connsiteX11" fmla="*/ 181839 w 533400"/>
                  <a:gd name="connsiteY11" fmla="*/ 153021 h 523875"/>
                  <a:gd name="connsiteX12" fmla="*/ 353289 w 533400"/>
                  <a:gd name="connsiteY12" fmla="*/ 153021 h 523875"/>
                  <a:gd name="connsiteX13" fmla="*/ 391389 w 533400"/>
                  <a:gd name="connsiteY13" fmla="*/ 116826 h 523875"/>
                  <a:gd name="connsiteX14" fmla="*/ 391389 w 533400"/>
                  <a:gd name="connsiteY14" fmla="*/ 114921 h 523875"/>
                  <a:gd name="connsiteX15" fmla="*/ 505689 w 533400"/>
                  <a:gd name="connsiteY15" fmla="*/ 114921 h 523875"/>
                  <a:gd name="connsiteX16" fmla="*/ 534264 w 533400"/>
                  <a:gd name="connsiteY16" fmla="*/ 143496 h 523875"/>
                  <a:gd name="connsiteX17" fmla="*/ 534264 w 533400"/>
                  <a:gd name="connsiteY17" fmla="*/ 381621 h 523875"/>
                  <a:gd name="connsiteX18" fmla="*/ 505689 w 533400"/>
                  <a:gd name="connsiteY18" fmla="*/ 410196 h 523875"/>
                  <a:gd name="connsiteX19" fmla="*/ 391389 w 533400"/>
                  <a:gd name="connsiteY19" fmla="*/ 410196 h 523875"/>
                  <a:gd name="connsiteX20" fmla="*/ 391389 w 533400"/>
                  <a:gd name="connsiteY20" fmla="*/ 295896 h 523875"/>
                  <a:gd name="connsiteX21" fmla="*/ 355194 w 533400"/>
                  <a:gd name="connsiteY21" fmla="*/ 257796 h 523875"/>
                  <a:gd name="connsiteX22" fmla="*/ 353289 w 533400"/>
                  <a:gd name="connsiteY22" fmla="*/ 257796 h 523875"/>
                  <a:gd name="connsiteX23" fmla="*/ 181839 w 533400"/>
                  <a:gd name="connsiteY23" fmla="*/ 257796 h 523875"/>
                  <a:gd name="connsiteX24" fmla="*/ 143739 w 533400"/>
                  <a:gd name="connsiteY24" fmla="*/ 293991 h 523875"/>
                  <a:gd name="connsiteX25" fmla="*/ 143739 w 533400"/>
                  <a:gd name="connsiteY25" fmla="*/ 295896 h 523875"/>
                  <a:gd name="connsiteX26" fmla="*/ 143739 w 533400"/>
                  <a:gd name="connsiteY26" fmla="*/ 410196 h 523875"/>
                  <a:gd name="connsiteX27" fmla="*/ 29439 w 533400"/>
                  <a:gd name="connsiteY27" fmla="*/ 410196 h 523875"/>
                  <a:gd name="connsiteX28" fmla="*/ 864 w 533400"/>
                  <a:gd name="connsiteY28" fmla="*/ 381621 h 523875"/>
                  <a:gd name="connsiteX29" fmla="*/ 864 w 533400"/>
                  <a:gd name="connsiteY29" fmla="*/ 201599 h 523875"/>
                  <a:gd name="connsiteX30" fmla="*/ 11342 w 533400"/>
                  <a:gd name="connsiteY30" fmla="*/ 175881 h 523875"/>
                  <a:gd name="connsiteX31" fmla="*/ 56109 w 533400"/>
                  <a:gd name="connsiteY31" fmla="*/ 127304 h 523875"/>
                  <a:gd name="connsiteX32" fmla="*/ 83732 w 533400"/>
                  <a:gd name="connsiteY32" fmla="*/ 114921 h 523875"/>
                  <a:gd name="connsiteX33" fmla="*/ 143739 w 533400"/>
                  <a:gd name="connsiteY33" fmla="*/ 114921 h 523875"/>
                  <a:gd name="connsiteX34" fmla="*/ 462827 w 533400"/>
                  <a:gd name="connsiteY34" fmla="*/ 172071 h 523875"/>
                  <a:gd name="connsiteX35" fmla="*/ 448539 w 533400"/>
                  <a:gd name="connsiteY35" fmla="*/ 186359 h 523875"/>
                  <a:gd name="connsiteX36" fmla="*/ 462827 w 533400"/>
                  <a:gd name="connsiteY36" fmla="*/ 200646 h 523875"/>
                  <a:gd name="connsiteX37" fmla="*/ 477114 w 533400"/>
                  <a:gd name="connsiteY37" fmla="*/ 186359 h 523875"/>
                  <a:gd name="connsiteX38" fmla="*/ 462827 w 533400"/>
                  <a:gd name="connsiteY38" fmla="*/ 172071 h 523875"/>
                  <a:gd name="connsiteX39" fmla="*/ 343764 w 533400"/>
                  <a:gd name="connsiteY39" fmla="*/ 621 h 523875"/>
                  <a:gd name="connsiteX40" fmla="*/ 372339 w 533400"/>
                  <a:gd name="connsiteY40" fmla="*/ 29196 h 523875"/>
                  <a:gd name="connsiteX41" fmla="*/ 372339 w 533400"/>
                  <a:gd name="connsiteY41" fmla="*/ 105396 h 523875"/>
                  <a:gd name="connsiteX42" fmla="*/ 343764 w 533400"/>
                  <a:gd name="connsiteY42" fmla="*/ 133971 h 523875"/>
                  <a:gd name="connsiteX43" fmla="*/ 191364 w 533400"/>
                  <a:gd name="connsiteY43" fmla="*/ 133971 h 523875"/>
                  <a:gd name="connsiteX44" fmla="*/ 162789 w 533400"/>
                  <a:gd name="connsiteY44" fmla="*/ 105396 h 523875"/>
                  <a:gd name="connsiteX45" fmla="*/ 162789 w 533400"/>
                  <a:gd name="connsiteY45" fmla="*/ 29196 h 523875"/>
                  <a:gd name="connsiteX46" fmla="*/ 191364 w 533400"/>
                  <a:gd name="connsiteY46" fmla="*/ 621 h 523875"/>
                  <a:gd name="connsiteX47" fmla="*/ 343764 w 533400"/>
                  <a:gd name="connsiteY47" fmla="*/ 621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533400" h="523875">
                    <a:moveTo>
                      <a:pt x="343764" y="276846"/>
                    </a:moveTo>
                    <a:cubicBezTo>
                      <a:pt x="359957" y="276846"/>
                      <a:pt x="372339" y="289229"/>
                      <a:pt x="372339" y="305421"/>
                    </a:cubicBezTo>
                    <a:lnTo>
                      <a:pt x="372339" y="495921"/>
                    </a:lnTo>
                    <a:cubicBezTo>
                      <a:pt x="372339" y="512114"/>
                      <a:pt x="359957" y="524496"/>
                      <a:pt x="343764" y="524496"/>
                    </a:cubicBezTo>
                    <a:lnTo>
                      <a:pt x="191364" y="524496"/>
                    </a:lnTo>
                    <a:cubicBezTo>
                      <a:pt x="175171" y="524496"/>
                      <a:pt x="162789" y="512114"/>
                      <a:pt x="162789" y="495921"/>
                    </a:cubicBezTo>
                    <a:lnTo>
                      <a:pt x="162789" y="305421"/>
                    </a:lnTo>
                    <a:cubicBezTo>
                      <a:pt x="162789" y="289229"/>
                      <a:pt x="175171" y="276846"/>
                      <a:pt x="191364" y="276846"/>
                    </a:cubicBezTo>
                    <a:lnTo>
                      <a:pt x="343764" y="276846"/>
                    </a:lnTo>
                    <a:close/>
                    <a:moveTo>
                      <a:pt x="143739" y="114921"/>
                    </a:moveTo>
                    <a:cubicBezTo>
                      <a:pt x="143739" y="134924"/>
                      <a:pt x="159932" y="152069"/>
                      <a:pt x="179934" y="153021"/>
                    </a:cubicBezTo>
                    <a:lnTo>
                      <a:pt x="181839" y="153021"/>
                    </a:lnTo>
                    <a:lnTo>
                      <a:pt x="353289" y="153021"/>
                    </a:lnTo>
                    <a:cubicBezTo>
                      <a:pt x="373292" y="153021"/>
                      <a:pt x="390436" y="136829"/>
                      <a:pt x="391389" y="116826"/>
                    </a:cubicBezTo>
                    <a:lnTo>
                      <a:pt x="391389" y="114921"/>
                    </a:lnTo>
                    <a:lnTo>
                      <a:pt x="505689" y="114921"/>
                    </a:lnTo>
                    <a:cubicBezTo>
                      <a:pt x="521882" y="114921"/>
                      <a:pt x="534264" y="127304"/>
                      <a:pt x="534264" y="143496"/>
                    </a:cubicBezTo>
                    <a:lnTo>
                      <a:pt x="534264" y="381621"/>
                    </a:lnTo>
                    <a:cubicBezTo>
                      <a:pt x="534264" y="397814"/>
                      <a:pt x="521882" y="410196"/>
                      <a:pt x="505689" y="410196"/>
                    </a:cubicBezTo>
                    <a:lnTo>
                      <a:pt x="391389" y="410196"/>
                    </a:lnTo>
                    <a:lnTo>
                      <a:pt x="391389" y="295896"/>
                    </a:lnTo>
                    <a:cubicBezTo>
                      <a:pt x="391389" y="275894"/>
                      <a:pt x="375196" y="258749"/>
                      <a:pt x="355194" y="257796"/>
                    </a:cubicBezTo>
                    <a:lnTo>
                      <a:pt x="353289" y="257796"/>
                    </a:lnTo>
                    <a:lnTo>
                      <a:pt x="181839" y="257796"/>
                    </a:lnTo>
                    <a:cubicBezTo>
                      <a:pt x="161836" y="257796"/>
                      <a:pt x="144692" y="273989"/>
                      <a:pt x="143739" y="293991"/>
                    </a:cubicBezTo>
                    <a:lnTo>
                      <a:pt x="143739" y="295896"/>
                    </a:lnTo>
                    <a:lnTo>
                      <a:pt x="143739" y="410196"/>
                    </a:lnTo>
                    <a:lnTo>
                      <a:pt x="29439" y="410196"/>
                    </a:lnTo>
                    <a:cubicBezTo>
                      <a:pt x="13246" y="410196"/>
                      <a:pt x="864" y="397814"/>
                      <a:pt x="864" y="381621"/>
                    </a:cubicBezTo>
                    <a:lnTo>
                      <a:pt x="864" y="201599"/>
                    </a:lnTo>
                    <a:cubicBezTo>
                      <a:pt x="864" y="192074"/>
                      <a:pt x="4674" y="182549"/>
                      <a:pt x="11342" y="175881"/>
                    </a:cubicBezTo>
                    <a:lnTo>
                      <a:pt x="56109" y="127304"/>
                    </a:lnTo>
                    <a:cubicBezTo>
                      <a:pt x="63729" y="119684"/>
                      <a:pt x="73254" y="114921"/>
                      <a:pt x="83732" y="114921"/>
                    </a:cubicBezTo>
                    <a:lnTo>
                      <a:pt x="143739" y="114921"/>
                    </a:lnTo>
                    <a:close/>
                    <a:moveTo>
                      <a:pt x="462827" y="172071"/>
                    </a:moveTo>
                    <a:cubicBezTo>
                      <a:pt x="455207" y="172071"/>
                      <a:pt x="448539" y="178739"/>
                      <a:pt x="448539" y="186359"/>
                    </a:cubicBezTo>
                    <a:cubicBezTo>
                      <a:pt x="448539" y="193979"/>
                      <a:pt x="455207" y="200646"/>
                      <a:pt x="462827" y="200646"/>
                    </a:cubicBezTo>
                    <a:cubicBezTo>
                      <a:pt x="470446" y="200646"/>
                      <a:pt x="477114" y="193979"/>
                      <a:pt x="477114" y="186359"/>
                    </a:cubicBezTo>
                    <a:cubicBezTo>
                      <a:pt x="477114" y="178739"/>
                      <a:pt x="470446" y="172071"/>
                      <a:pt x="462827" y="172071"/>
                    </a:cubicBezTo>
                    <a:close/>
                    <a:moveTo>
                      <a:pt x="343764" y="621"/>
                    </a:moveTo>
                    <a:cubicBezTo>
                      <a:pt x="359957" y="621"/>
                      <a:pt x="372339" y="13004"/>
                      <a:pt x="372339" y="29196"/>
                    </a:cubicBezTo>
                    <a:lnTo>
                      <a:pt x="372339" y="105396"/>
                    </a:lnTo>
                    <a:cubicBezTo>
                      <a:pt x="372339" y="121589"/>
                      <a:pt x="359957" y="133971"/>
                      <a:pt x="343764" y="133971"/>
                    </a:cubicBezTo>
                    <a:lnTo>
                      <a:pt x="191364" y="133971"/>
                    </a:lnTo>
                    <a:cubicBezTo>
                      <a:pt x="175171" y="133971"/>
                      <a:pt x="162789" y="121589"/>
                      <a:pt x="162789" y="105396"/>
                    </a:cubicBezTo>
                    <a:lnTo>
                      <a:pt x="162789" y="29196"/>
                    </a:lnTo>
                    <a:cubicBezTo>
                      <a:pt x="162789" y="13004"/>
                      <a:pt x="175171" y="621"/>
                      <a:pt x="191364" y="621"/>
                    </a:cubicBezTo>
                    <a:lnTo>
                      <a:pt x="343764" y="621"/>
                    </a:lnTo>
                    <a:close/>
                  </a:path>
                </a:pathLst>
              </a:custGeom>
              <a:solidFill>
                <a:srgbClr val="FFFFFF"/>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sp>
            <p:nvSpPr>
              <p:cNvPr id="26" name="椭圆 25"/>
              <p:cNvSpPr/>
              <p:nvPr/>
            </p:nvSpPr>
            <p:spPr>
              <a:xfrm>
                <a:off x="9457048" y="4057085"/>
                <a:ext cx="596918" cy="596918"/>
              </a:xfrm>
              <a:prstGeom prst="ellipse">
                <a:avLst/>
              </a:prstGeom>
              <a:noFill/>
              <a:ln>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rmAutofit/>
              </a:bodyPr>
              <a:lstStyle/>
              <a:p>
                <a:pPr algn="ctr"/>
                <a:r>
                  <a:rPr lang="en-US" altLang="zh-CN" sz="1600" i="1" dirty="0">
                    <a:solidFill>
                      <a:schemeClr val="accent3"/>
                    </a:solidFill>
                    <a:latin typeface="Calibri" pitchFamily="34" charset="0"/>
                    <a:ea typeface="宋体" pitchFamily="2" charset="-122"/>
                  </a:rPr>
                  <a:t>03</a:t>
                </a:r>
                <a:endParaRPr lang="zh-CN" altLang="en-US" sz="1600" i="1" dirty="0">
                  <a:solidFill>
                    <a:schemeClr val="accent3"/>
                  </a:solidFill>
                  <a:latin typeface="Calibri" pitchFamily="34" charset="0"/>
                  <a:ea typeface="宋体" pitchFamily="2" charset="-122"/>
                </a:endParaRPr>
              </a:p>
            </p:txBody>
          </p:sp>
          <p:sp>
            <p:nvSpPr>
              <p:cNvPr id="27" name="文本框 26"/>
              <p:cNvSpPr txBox="1"/>
              <p:nvPr/>
            </p:nvSpPr>
            <p:spPr>
              <a:xfrm>
                <a:off x="8495315" y="5398190"/>
                <a:ext cx="2520384" cy="740190"/>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1" forceAA="0" compatLnSpc="1">
                <a:normAutofit/>
              </a:bodyPr>
              <a:lstStyle>
                <a:defPPr>
                  <a:defRPr lang="zh-CN"/>
                </a:defPPr>
                <a:lvl1pPr algn="ctr">
                  <a:defRPr sz="1400" b="1"/>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nSpc>
                    <a:spcPct val="120000"/>
                  </a:lnSpc>
                </a:pPr>
                <a:r>
                  <a:rPr lang="fr-FR" altLang="zh-CN" sz="1200" b="0">
                    <a:solidFill>
                      <a:schemeClr val="tx1"/>
                    </a:solidFill>
                    <a:latin typeface="Calibri" pitchFamily="34" charset="0"/>
                    <a:ea typeface="宋体" pitchFamily="2" charset="-122"/>
                  </a:rPr>
                  <a:t>At sea feugait ex eirmod veniam nihil te amet justo.</a:t>
                </a:r>
                <a:endParaRPr lang="en-US" altLang="zh-CN" sz="1200" b="0" dirty="0">
                  <a:solidFill>
                    <a:schemeClr val="tx1"/>
                  </a:solidFill>
                  <a:latin typeface="Calibri" pitchFamily="34" charset="0"/>
                  <a:ea typeface="宋体" pitchFamily="2" charset="-122"/>
                </a:endParaRPr>
              </a:p>
            </p:txBody>
          </p:sp>
          <p:sp>
            <p:nvSpPr>
              <p:cNvPr id="28" name="文本框 27"/>
              <p:cNvSpPr txBox="1"/>
              <p:nvPr/>
            </p:nvSpPr>
            <p:spPr>
              <a:xfrm>
                <a:off x="8495315" y="4870831"/>
                <a:ext cx="2520384" cy="527358"/>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1" forceAA="0" compatLnSpc="1">
                <a:normAutofit/>
              </a:bodyPr>
              <a:lstStyle>
                <a:defPPr>
                  <a:defRPr lang="zh-CN"/>
                </a:defPPr>
                <a:lvl1pPr algn="ctr">
                  <a:defRPr sz="1400" b="1"/>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ltLang="zh-CN" sz="1800">
                    <a:solidFill>
                      <a:schemeClr val="tx1"/>
                    </a:solidFill>
                    <a:latin typeface="Calibri" pitchFamily="34" charset="0"/>
                    <a:ea typeface="宋体" pitchFamily="2" charset="-122"/>
                  </a:rPr>
                  <a:t>Click to add text</a:t>
                </a:r>
                <a:endParaRPr lang="en-US" altLang="zh-CN" sz="1800" dirty="0">
                  <a:solidFill>
                    <a:schemeClr val="tx1"/>
                  </a:solidFill>
                  <a:latin typeface="Calibri" pitchFamily="34" charset="0"/>
                  <a:ea typeface="宋体" pitchFamily="2" charset="-122"/>
                </a:endParaRPr>
              </a:p>
            </p:txBody>
          </p:sp>
        </p:grpSp>
      </p:gr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组合 9"/>
          <p:cNvGrpSpPr/>
          <p:nvPr/>
        </p:nvGrpSpPr>
        <p:grpSpPr>
          <a:xfrm>
            <a:off x="660400" y="1130300"/>
            <a:ext cx="10175448" cy="4971661"/>
            <a:chOff x="660400" y="1130300"/>
            <a:chExt cx="10175448" cy="4971661"/>
          </a:xfrm>
        </p:grpSpPr>
        <p:grpSp>
          <p:nvGrpSpPr>
            <p:cNvPr id="8" name="组合 7"/>
            <p:cNvGrpSpPr/>
            <p:nvPr/>
          </p:nvGrpSpPr>
          <p:grpSpPr>
            <a:xfrm>
              <a:off x="1397239" y="2428475"/>
              <a:ext cx="2615961" cy="3493931"/>
              <a:chOff x="1397239" y="2428475"/>
              <a:chExt cx="2615961" cy="3493931"/>
            </a:xfrm>
          </p:grpSpPr>
          <p:sp>
            <p:nvSpPr>
              <p:cNvPr id="37" name="任意多边形: 形状 36"/>
              <p:cNvSpPr/>
              <p:nvPr/>
            </p:nvSpPr>
            <p:spPr bwMode="auto">
              <a:xfrm flipH="1" flipV="1">
                <a:off x="1397239" y="2428475"/>
                <a:ext cx="2615961" cy="1081316"/>
              </a:xfrm>
              <a:custGeom>
                <a:avLst/>
                <a:gdLst/>
                <a:ahLst/>
                <a:cxnLst>
                  <a:cxn ang="0">
                    <a:pos x="1053" y="287"/>
                  </a:cxn>
                  <a:cxn ang="0">
                    <a:pos x="1053" y="286"/>
                  </a:cxn>
                  <a:cxn ang="0">
                    <a:pos x="1053" y="286"/>
                  </a:cxn>
                  <a:cxn ang="0">
                    <a:pos x="1052" y="286"/>
                  </a:cxn>
                  <a:cxn ang="0">
                    <a:pos x="931" y="54"/>
                  </a:cxn>
                  <a:cxn ang="0">
                    <a:pos x="931" y="55"/>
                  </a:cxn>
                  <a:cxn ang="0">
                    <a:pos x="930" y="52"/>
                  </a:cxn>
                  <a:cxn ang="0">
                    <a:pos x="927" y="48"/>
                  </a:cxn>
                  <a:cxn ang="0">
                    <a:pos x="812" y="16"/>
                  </a:cxn>
                  <a:cxn ang="0">
                    <a:pos x="528" y="0"/>
                  </a:cxn>
                  <a:cxn ang="0">
                    <a:pos x="243" y="16"/>
                  </a:cxn>
                  <a:cxn ang="0">
                    <a:pos x="128" y="48"/>
                  </a:cxn>
                  <a:cxn ang="0">
                    <a:pos x="127" y="48"/>
                  </a:cxn>
                  <a:cxn ang="0">
                    <a:pos x="4" y="283"/>
                  </a:cxn>
                  <a:cxn ang="0">
                    <a:pos x="1" y="286"/>
                  </a:cxn>
                  <a:cxn ang="0">
                    <a:pos x="1" y="287"/>
                  </a:cxn>
                  <a:cxn ang="0">
                    <a:pos x="0" y="290"/>
                  </a:cxn>
                  <a:cxn ang="0">
                    <a:pos x="155" y="328"/>
                  </a:cxn>
                  <a:cxn ang="0">
                    <a:pos x="528" y="344"/>
                  </a:cxn>
                  <a:cxn ang="0">
                    <a:pos x="900" y="328"/>
                  </a:cxn>
                  <a:cxn ang="0">
                    <a:pos x="1054" y="290"/>
                  </a:cxn>
                  <a:cxn ang="0">
                    <a:pos x="1054" y="287"/>
                  </a:cxn>
                  <a:cxn ang="0">
                    <a:pos x="1053" y="287"/>
                  </a:cxn>
                </a:cxnLst>
                <a:rect l="0" t="0" r="r" b="b"/>
                <a:pathLst>
                  <a:path w="1054" h="344">
                    <a:moveTo>
                      <a:pt x="1053" y="287"/>
                    </a:moveTo>
                    <a:cubicBezTo>
                      <a:pt x="1053" y="287"/>
                      <a:pt x="1053" y="286"/>
                      <a:pt x="1053" y="286"/>
                    </a:cubicBezTo>
                    <a:cubicBezTo>
                      <a:pt x="1053" y="286"/>
                      <a:pt x="1053" y="286"/>
                      <a:pt x="1053" y="286"/>
                    </a:cubicBezTo>
                    <a:cubicBezTo>
                      <a:pt x="1053" y="286"/>
                      <a:pt x="1052" y="286"/>
                      <a:pt x="1052" y="286"/>
                    </a:cubicBezTo>
                    <a:cubicBezTo>
                      <a:pt x="1048" y="276"/>
                      <a:pt x="1026" y="236"/>
                      <a:pt x="931" y="54"/>
                    </a:cubicBezTo>
                    <a:cubicBezTo>
                      <a:pt x="931" y="54"/>
                      <a:pt x="931" y="54"/>
                      <a:pt x="931" y="55"/>
                    </a:cubicBezTo>
                    <a:cubicBezTo>
                      <a:pt x="931" y="54"/>
                      <a:pt x="931" y="53"/>
                      <a:pt x="930" y="52"/>
                    </a:cubicBezTo>
                    <a:cubicBezTo>
                      <a:pt x="930" y="52"/>
                      <a:pt x="930" y="52"/>
                      <a:pt x="927" y="48"/>
                    </a:cubicBezTo>
                    <a:cubicBezTo>
                      <a:pt x="918" y="35"/>
                      <a:pt x="879" y="25"/>
                      <a:pt x="812" y="16"/>
                    </a:cubicBezTo>
                    <a:cubicBezTo>
                      <a:pt x="734" y="5"/>
                      <a:pt x="638" y="0"/>
                      <a:pt x="528" y="0"/>
                    </a:cubicBezTo>
                    <a:cubicBezTo>
                      <a:pt x="417" y="0"/>
                      <a:pt x="323" y="5"/>
                      <a:pt x="243" y="16"/>
                    </a:cubicBezTo>
                    <a:cubicBezTo>
                      <a:pt x="175" y="25"/>
                      <a:pt x="136" y="37"/>
                      <a:pt x="128" y="48"/>
                    </a:cubicBezTo>
                    <a:cubicBezTo>
                      <a:pt x="128" y="48"/>
                      <a:pt x="128" y="48"/>
                      <a:pt x="127" y="48"/>
                    </a:cubicBezTo>
                    <a:cubicBezTo>
                      <a:pt x="127" y="48"/>
                      <a:pt x="127" y="48"/>
                      <a:pt x="4" y="283"/>
                    </a:cubicBezTo>
                    <a:cubicBezTo>
                      <a:pt x="3" y="284"/>
                      <a:pt x="2" y="285"/>
                      <a:pt x="1" y="286"/>
                    </a:cubicBezTo>
                    <a:cubicBezTo>
                      <a:pt x="1" y="287"/>
                      <a:pt x="1" y="287"/>
                      <a:pt x="1" y="287"/>
                    </a:cubicBezTo>
                    <a:cubicBezTo>
                      <a:pt x="1" y="288"/>
                      <a:pt x="0" y="289"/>
                      <a:pt x="0" y="290"/>
                    </a:cubicBezTo>
                    <a:cubicBezTo>
                      <a:pt x="0" y="305"/>
                      <a:pt x="52" y="318"/>
                      <a:pt x="155" y="328"/>
                    </a:cubicBezTo>
                    <a:cubicBezTo>
                      <a:pt x="258" y="339"/>
                      <a:pt x="382" y="344"/>
                      <a:pt x="528" y="344"/>
                    </a:cubicBezTo>
                    <a:cubicBezTo>
                      <a:pt x="672" y="344"/>
                      <a:pt x="797" y="339"/>
                      <a:pt x="900" y="328"/>
                    </a:cubicBezTo>
                    <a:cubicBezTo>
                      <a:pt x="1002" y="318"/>
                      <a:pt x="1054" y="305"/>
                      <a:pt x="1054" y="290"/>
                    </a:cubicBezTo>
                    <a:cubicBezTo>
                      <a:pt x="1054" y="289"/>
                      <a:pt x="1054" y="288"/>
                      <a:pt x="1054" y="287"/>
                    </a:cubicBezTo>
                    <a:cubicBezTo>
                      <a:pt x="1053" y="287"/>
                      <a:pt x="1053" y="287"/>
                      <a:pt x="1053" y="287"/>
                    </a:cubicBezTo>
                    <a:close/>
                  </a:path>
                </a:pathLst>
              </a:custGeom>
              <a:solidFill>
                <a:schemeClr val="accent1"/>
              </a:solidFill>
              <a:ln w="9525">
                <a:noFill/>
                <a:round/>
              </a:ln>
            </p:spPr>
            <p:txBody>
              <a:bodyPr wrap="square" lIns="91440" tIns="45720" rIns="91440" bIns="45720" anchor="ctr">
                <a:normAutofit/>
              </a:bodyPr>
              <a:lstStyle/>
              <a:p>
                <a:pPr algn="ctr"/>
              </a:p>
            </p:txBody>
          </p:sp>
          <p:sp>
            <p:nvSpPr>
              <p:cNvPr id="38" name="椭圆 37"/>
              <p:cNvSpPr/>
              <p:nvPr/>
            </p:nvSpPr>
            <p:spPr bwMode="auto">
              <a:xfrm flipH="1">
                <a:off x="1714729" y="3169917"/>
                <a:ext cx="1980980" cy="346008"/>
              </a:xfrm>
              <a:prstGeom prst="ellipse">
                <a:avLst/>
              </a:prstGeom>
              <a:solidFill>
                <a:schemeClr val="accent1">
                  <a:lumMod val="75000"/>
                </a:schemeClr>
              </a:solidFill>
              <a:ln w="19050">
                <a:noFill/>
                <a:round/>
              </a:ln>
            </p:spPr>
            <p:txBody>
              <a:bodyPr wrap="square" lIns="91440" tIns="45720" rIns="91440" bIns="45720" anchor="ctr">
                <a:normAutofit fontScale="62500" lnSpcReduction="20000"/>
              </a:bodyPr>
              <a:lstStyle/>
              <a:p>
                <a:pPr algn="ctr"/>
              </a:p>
            </p:txBody>
          </p:sp>
          <p:sp>
            <p:nvSpPr>
              <p:cNvPr id="35" name="任意多边形: 形状 34"/>
              <p:cNvSpPr/>
              <p:nvPr/>
            </p:nvSpPr>
            <p:spPr bwMode="auto">
              <a:xfrm flipH="1" flipV="1">
                <a:off x="1784918" y="3554850"/>
                <a:ext cx="1840603" cy="760820"/>
              </a:xfrm>
              <a:custGeom>
                <a:avLst/>
                <a:gdLst/>
                <a:ahLst/>
                <a:cxnLst>
                  <a:cxn ang="0">
                    <a:pos x="1053" y="287"/>
                  </a:cxn>
                  <a:cxn ang="0">
                    <a:pos x="1053" y="286"/>
                  </a:cxn>
                  <a:cxn ang="0">
                    <a:pos x="1053" y="286"/>
                  </a:cxn>
                  <a:cxn ang="0">
                    <a:pos x="1052" y="286"/>
                  </a:cxn>
                  <a:cxn ang="0">
                    <a:pos x="931" y="54"/>
                  </a:cxn>
                  <a:cxn ang="0">
                    <a:pos x="931" y="55"/>
                  </a:cxn>
                  <a:cxn ang="0">
                    <a:pos x="930" y="52"/>
                  </a:cxn>
                  <a:cxn ang="0">
                    <a:pos x="927" y="48"/>
                  </a:cxn>
                  <a:cxn ang="0">
                    <a:pos x="812" y="16"/>
                  </a:cxn>
                  <a:cxn ang="0">
                    <a:pos x="528" y="0"/>
                  </a:cxn>
                  <a:cxn ang="0">
                    <a:pos x="243" y="16"/>
                  </a:cxn>
                  <a:cxn ang="0">
                    <a:pos x="128" y="48"/>
                  </a:cxn>
                  <a:cxn ang="0">
                    <a:pos x="127" y="48"/>
                  </a:cxn>
                  <a:cxn ang="0">
                    <a:pos x="4" y="283"/>
                  </a:cxn>
                  <a:cxn ang="0">
                    <a:pos x="1" y="286"/>
                  </a:cxn>
                  <a:cxn ang="0">
                    <a:pos x="1" y="287"/>
                  </a:cxn>
                  <a:cxn ang="0">
                    <a:pos x="0" y="290"/>
                  </a:cxn>
                  <a:cxn ang="0">
                    <a:pos x="155" y="328"/>
                  </a:cxn>
                  <a:cxn ang="0">
                    <a:pos x="528" y="344"/>
                  </a:cxn>
                  <a:cxn ang="0">
                    <a:pos x="900" y="328"/>
                  </a:cxn>
                  <a:cxn ang="0">
                    <a:pos x="1054" y="290"/>
                  </a:cxn>
                  <a:cxn ang="0">
                    <a:pos x="1054" y="287"/>
                  </a:cxn>
                  <a:cxn ang="0">
                    <a:pos x="1053" y="287"/>
                  </a:cxn>
                </a:cxnLst>
                <a:rect l="0" t="0" r="r" b="b"/>
                <a:pathLst>
                  <a:path w="1054" h="344">
                    <a:moveTo>
                      <a:pt x="1053" y="287"/>
                    </a:moveTo>
                    <a:cubicBezTo>
                      <a:pt x="1053" y="287"/>
                      <a:pt x="1053" y="286"/>
                      <a:pt x="1053" y="286"/>
                    </a:cubicBezTo>
                    <a:cubicBezTo>
                      <a:pt x="1053" y="286"/>
                      <a:pt x="1053" y="286"/>
                      <a:pt x="1053" y="286"/>
                    </a:cubicBezTo>
                    <a:cubicBezTo>
                      <a:pt x="1053" y="286"/>
                      <a:pt x="1052" y="286"/>
                      <a:pt x="1052" y="286"/>
                    </a:cubicBezTo>
                    <a:cubicBezTo>
                      <a:pt x="1048" y="276"/>
                      <a:pt x="1026" y="236"/>
                      <a:pt x="931" y="54"/>
                    </a:cubicBezTo>
                    <a:cubicBezTo>
                      <a:pt x="931" y="54"/>
                      <a:pt x="931" y="54"/>
                      <a:pt x="931" y="55"/>
                    </a:cubicBezTo>
                    <a:cubicBezTo>
                      <a:pt x="931" y="54"/>
                      <a:pt x="931" y="53"/>
                      <a:pt x="930" y="52"/>
                    </a:cubicBezTo>
                    <a:cubicBezTo>
                      <a:pt x="930" y="52"/>
                      <a:pt x="930" y="52"/>
                      <a:pt x="927" y="48"/>
                    </a:cubicBezTo>
                    <a:cubicBezTo>
                      <a:pt x="918" y="35"/>
                      <a:pt x="879" y="25"/>
                      <a:pt x="812" y="16"/>
                    </a:cubicBezTo>
                    <a:cubicBezTo>
                      <a:pt x="734" y="5"/>
                      <a:pt x="638" y="0"/>
                      <a:pt x="528" y="0"/>
                    </a:cubicBezTo>
                    <a:cubicBezTo>
                      <a:pt x="417" y="0"/>
                      <a:pt x="323" y="5"/>
                      <a:pt x="243" y="16"/>
                    </a:cubicBezTo>
                    <a:cubicBezTo>
                      <a:pt x="175" y="25"/>
                      <a:pt x="136" y="37"/>
                      <a:pt x="128" y="48"/>
                    </a:cubicBezTo>
                    <a:cubicBezTo>
                      <a:pt x="128" y="48"/>
                      <a:pt x="128" y="48"/>
                      <a:pt x="127" y="48"/>
                    </a:cubicBezTo>
                    <a:cubicBezTo>
                      <a:pt x="127" y="48"/>
                      <a:pt x="127" y="48"/>
                      <a:pt x="4" y="283"/>
                    </a:cubicBezTo>
                    <a:cubicBezTo>
                      <a:pt x="3" y="284"/>
                      <a:pt x="2" y="285"/>
                      <a:pt x="1" y="286"/>
                    </a:cubicBezTo>
                    <a:cubicBezTo>
                      <a:pt x="1" y="287"/>
                      <a:pt x="1" y="287"/>
                      <a:pt x="1" y="287"/>
                    </a:cubicBezTo>
                    <a:cubicBezTo>
                      <a:pt x="1" y="288"/>
                      <a:pt x="0" y="289"/>
                      <a:pt x="0" y="290"/>
                    </a:cubicBezTo>
                    <a:cubicBezTo>
                      <a:pt x="0" y="305"/>
                      <a:pt x="52" y="318"/>
                      <a:pt x="155" y="328"/>
                    </a:cubicBezTo>
                    <a:cubicBezTo>
                      <a:pt x="258" y="339"/>
                      <a:pt x="382" y="344"/>
                      <a:pt x="528" y="344"/>
                    </a:cubicBezTo>
                    <a:cubicBezTo>
                      <a:pt x="672" y="344"/>
                      <a:pt x="797" y="339"/>
                      <a:pt x="900" y="328"/>
                    </a:cubicBezTo>
                    <a:cubicBezTo>
                      <a:pt x="1002" y="318"/>
                      <a:pt x="1054" y="305"/>
                      <a:pt x="1054" y="290"/>
                    </a:cubicBezTo>
                    <a:cubicBezTo>
                      <a:pt x="1054" y="289"/>
                      <a:pt x="1054" y="288"/>
                      <a:pt x="1054" y="287"/>
                    </a:cubicBezTo>
                    <a:cubicBezTo>
                      <a:pt x="1053" y="287"/>
                      <a:pt x="1053" y="287"/>
                      <a:pt x="1053" y="287"/>
                    </a:cubicBezTo>
                    <a:close/>
                  </a:path>
                </a:pathLst>
              </a:custGeom>
              <a:solidFill>
                <a:schemeClr val="accent1">
                  <a:lumMod val="60000"/>
                  <a:lumOff val="40000"/>
                </a:schemeClr>
              </a:solidFill>
              <a:ln w="9525">
                <a:noFill/>
                <a:round/>
              </a:ln>
            </p:spPr>
            <p:txBody>
              <a:bodyPr wrap="square" lIns="91440" tIns="45720" rIns="91440" bIns="45720" anchor="ctr">
                <a:normAutofit/>
              </a:bodyPr>
              <a:lstStyle/>
              <a:p>
                <a:pPr algn="ctr"/>
              </a:p>
            </p:txBody>
          </p:sp>
          <p:sp>
            <p:nvSpPr>
              <p:cNvPr id="36" name="椭圆 35"/>
              <p:cNvSpPr/>
              <p:nvPr/>
            </p:nvSpPr>
            <p:spPr bwMode="auto">
              <a:xfrm flipH="1">
                <a:off x="2008305" y="4076533"/>
                <a:ext cx="1393827" cy="243453"/>
              </a:xfrm>
              <a:prstGeom prst="ellipse">
                <a:avLst/>
              </a:prstGeom>
              <a:solidFill>
                <a:schemeClr val="accent1"/>
              </a:solidFill>
              <a:ln w="19050">
                <a:noFill/>
                <a:round/>
              </a:ln>
            </p:spPr>
            <p:txBody>
              <a:bodyPr wrap="square" lIns="91440" tIns="45720" rIns="91440" bIns="45720" anchor="ctr">
                <a:normAutofit fontScale="32500" lnSpcReduction="20000"/>
              </a:bodyPr>
              <a:lstStyle/>
              <a:p>
                <a:pPr algn="ctr"/>
              </a:p>
            </p:txBody>
          </p:sp>
          <p:sp>
            <p:nvSpPr>
              <p:cNvPr id="33" name="任意多边形: 形状 32"/>
              <p:cNvSpPr/>
              <p:nvPr/>
            </p:nvSpPr>
            <p:spPr bwMode="auto">
              <a:xfrm flipH="1" flipV="1">
                <a:off x="2066054" y="4358912"/>
                <a:ext cx="1278333" cy="528402"/>
              </a:xfrm>
              <a:custGeom>
                <a:avLst/>
                <a:gdLst/>
                <a:ahLst/>
                <a:cxnLst>
                  <a:cxn ang="0">
                    <a:pos x="1053" y="287"/>
                  </a:cxn>
                  <a:cxn ang="0">
                    <a:pos x="1053" y="286"/>
                  </a:cxn>
                  <a:cxn ang="0">
                    <a:pos x="1053" y="286"/>
                  </a:cxn>
                  <a:cxn ang="0">
                    <a:pos x="1052" y="286"/>
                  </a:cxn>
                  <a:cxn ang="0">
                    <a:pos x="931" y="54"/>
                  </a:cxn>
                  <a:cxn ang="0">
                    <a:pos x="931" y="55"/>
                  </a:cxn>
                  <a:cxn ang="0">
                    <a:pos x="930" y="52"/>
                  </a:cxn>
                  <a:cxn ang="0">
                    <a:pos x="927" y="48"/>
                  </a:cxn>
                  <a:cxn ang="0">
                    <a:pos x="812" y="16"/>
                  </a:cxn>
                  <a:cxn ang="0">
                    <a:pos x="528" y="0"/>
                  </a:cxn>
                  <a:cxn ang="0">
                    <a:pos x="243" y="16"/>
                  </a:cxn>
                  <a:cxn ang="0">
                    <a:pos x="128" y="48"/>
                  </a:cxn>
                  <a:cxn ang="0">
                    <a:pos x="127" y="48"/>
                  </a:cxn>
                  <a:cxn ang="0">
                    <a:pos x="4" y="283"/>
                  </a:cxn>
                  <a:cxn ang="0">
                    <a:pos x="1" y="286"/>
                  </a:cxn>
                  <a:cxn ang="0">
                    <a:pos x="1" y="287"/>
                  </a:cxn>
                  <a:cxn ang="0">
                    <a:pos x="0" y="290"/>
                  </a:cxn>
                  <a:cxn ang="0">
                    <a:pos x="155" y="328"/>
                  </a:cxn>
                  <a:cxn ang="0">
                    <a:pos x="528" y="344"/>
                  </a:cxn>
                  <a:cxn ang="0">
                    <a:pos x="900" y="328"/>
                  </a:cxn>
                  <a:cxn ang="0">
                    <a:pos x="1054" y="290"/>
                  </a:cxn>
                  <a:cxn ang="0">
                    <a:pos x="1054" y="287"/>
                  </a:cxn>
                  <a:cxn ang="0">
                    <a:pos x="1053" y="287"/>
                  </a:cxn>
                </a:cxnLst>
                <a:rect l="0" t="0" r="r" b="b"/>
                <a:pathLst>
                  <a:path w="1054" h="344">
                    <a:moveTo>
                      <a:pt x="1053" y="287"/>
                    </a:moveTo>
                    <a:cubicBezTo>
                      <a:pt x="1053" y="287"/>
                      <a:pt x="1053" y="286"/>
                      <a:pt x="1053" y="286"/>
                    </a:cubicBezTo>
                    <a:cubicBezTo>
                      <a:pt x="1053" y="286"/>
                      <a:pt x="1053" y="286"/>
                      <a:pt x="1053" y="286"/>
                    </a:cubicBezTo>
                    <a:cubicBezTo>
                      <a:pt x="1053" y="286"/>
                      <a:pt x="1052" y="286"/>
                      <a:pt x="1052" y="286"/>
                    </a:cubicBezTo>
                    <a:cubicBezTo>
                      <a:pt x="1048" y="276"/>
                      <a:pt x="1026" y="236"/>
                      <a:pt x="931" y="54"/>
                    </a:cubicBezTo>
                    <a:cubicBezTo>
                      <a:pt x="931" y="54"/>
                      <a:pt x="931" y="54"/>
                      <a:pt x="931" y="55"/>
                    </a:cubicBezTo>
                    <a:cubicBezTo>
                      <a:pt x="931" y="54"/>
                      <a:pt x="931" y="53"/>
                      <a:pt x="930" y="52"/>
                    </a:cubicBezTo>
                    <a:cubicBezTo>
                      <a:pt x="930" y="52"/>
                      <a:pt x="930" y="52"/>
                      <a:pt x="927" y="48"/>
                    </a:cubicBezTo>
                    <a:cubicBezTo>
                      <a:pt x="918" y="35"/>
                      <a:pt x="879" y="25"/>
                      <a:pt x="812" y="16"/>
                    </a:cubicBezTo>
                    <a:cubicBezTo>
                      <a:pt x="734" y="5"/>
                      <a:pt x="638" y="0"/>
                      <a:pt x="528" y="0"/>
                    </a:cubicBezTo>
                    <a:cubicBezTo>
                      <a:pt x="417" y="0"/>
                      <a:pt x="323" y="5"/>
                      <a:pt x="243" y="16"/>
                    </a:cubicBezTo>
                    <a:cubicBezTo>
                      <a:pt x="175" y="25"/>
                      <a:pt x="136" y="37"/>
                      <a:pt x="128" y="48"/>
                    </a:cubicBezTo>
                    <a:cubicBezTo>
                      <a:pt x="128" y="48"/>
                      <a:pt x="128" y="48"/>
                      <a:pt x="127" y="48"/>
                    </a:cubicBezTo>
                    <a:cubicBezTo>
                      <a:pt x="127" y="48"/>
                      <a:pt x="127" y="48"/>
                      <a:pt x="4" y="283"/>
                    </a:cubicBezTo>
                    <a:cubicBezTo>
                      <a:pt x="3" y="284"/>
                      <a:pt x="2" y="285"/>
                      <a:pt x="1" y="286"/>
                    </a:cubicBezTo>
                    <a:cubicBezTo>
                      <a:pt x="1" y="287"/>
                      <a:pt x="1" y="287"/>
                      <a:pt x="1" y="287"/>
                    </a:cubicBezTo>
                    <a:cubicBezTo>
                      <a:pt x="1" y="288"/>
                      <a:pt x="0" y="289"/>
                      <a:pt x="0" y="290"/>
                    </a:cubicBezTo>
                    <a:cubicBezTo>
                      <a:pt x="0" y="305"/>
                      <a:pt x="52" y="318"/>
                      <a:pt x="155" y="328"/>
                    </a:cubicBezTo>
                    <a:cubicBezTo>
                      <a:pt x="258" y="339"/>
                      <a:pt x="382" y="344"/>
                      <a:pt x="528" y="344"/>
                    </a:cubicBezTo>
                    <a:cubicBezTo>
                      <a:pt x="672" y="344"/>
                      <a:pt x="797" y="339"/>
                      <a:pt x="900" y="328"/>
                    </a:cubicBezTo>
                    <a:cubicBezTo>
                      <a:pt x="1002" y="318"/>
                      <a:pt x="1054" y="305"/>
                      <a:pt x="1054" y="290"/>
                    </a:cubicBezTo>
                    <a:cubicBezTo>
                      <a:pt x="1054" y="289"/>
                      <a:pt x="1054" y="288"/>
                      <a:pt x="1054" y="287"/>
                    </a:cubicBezTo>
                    <a:cubicBezTo>
                      <a:pt x="1053" y="287"/>
                      <a:pt x="1053" y="287"/>
                      <a:pt x="1053" y="287"/>
                    </a:cubicBezTo>
                    <a:close/>
                  </a:path>
                </a:pathLst>
              </a:custGeom>
              <a:solidFill>
                <a:schemeClr val="accent1">
                  <a:lumMod val="60000"/>
                  <a:lumOff val="40000"/>
                </a:schemeClr>
              </a:solidFill>
              <a:ln w="9525">
                <a:noFill/>
                <a:round/>
              </a:ln>
            </p:spPr>
            <p:txBody>
              <a:bodyPr wrap="square" lIns="91440" tIns="45720" rIns="91440" bIns="45720" anchor="ctr">
                <a:normAutofit/>
              </a:bodyPr>
              <a:lstStyle/>
              <a:p>
                <a:pPr algn="ctr"/>
              </a:p>
            </p:txBody>
          </p:sp>
          <p:sp>
            <p:nvSpPr>
              <p:cNvPr id="34" name="椭圆 33"/>
              <p:cNvSpPr/>
              <p:nvPr/>
            </p:nvSpPr>
            <p:spPr bwMode="auto">
              <a:xfrm flipH="1">
                <a:off x="2221201" y="4721230"/>
                <a:ext cx="968039" cy="169082"/>
              </a:xfrm>
              <a:prstGeom prst="ellipse">
                <a:avLst/>
              </a:prstGeom>
              <a:solidFill>
                <a:schemeClr val="accent1"/>
              </a:solidFill>
              <a:ln w="19050">
                <a:noFill/>
                <a:round/>
              </a:ln>
            </p:spPr>
            <p:txBody>
              <a:bodyPr wrap="square" lIns="91440" tIns="45720" rIns="91440" bIns="45720" anchor="ctr">
                <a:normAutofit fontScale="25000" lnSpcReduction="20000"/>
              </a:bodyPr>
              <a:lstStyle/>
              <a:p>
                <a:pPr algn="ctr"/>
              </a:p>
            </p:txBody>
          </p:sp>
          <p:sp>
            <p:nvSpPr>
              <p:cNvPr id="31" name="任意多边形: 形状 30"/>
              <p:cNvSpPr/>
              <p:nvPr/>
            </p:nvSpPr>
            <p:spPr bwMode="auto">
              <a:xfrm flipH="1" flipV="1">
                <a:off x="2282312" y="4929237"/>
                <a:ext cx="845815" cy="349622"/>
              </a:xfrm>
              <a:custGeom>
                <a:avLst/>
                <a:gdLst/>
                <a:ahLst/>
                <a:cxnLst>
                  <a:cxn ang="0">
                    <a:pos x="1053" y="287"/>
                  </a:cxn>
                  <a:cxn ang="0">
                    <a:pos x="1053" y="286"/>
                  </a:cxn>
                  <a:cxn ang="0">
                    <a:pos x="1053" y="286"/>
                  </a:cxn>
                  <a:cxn ang="0">
                    <a:pos x="1052" y="286"/>
                  </a:cxn>
                  <a:cxn ang="0">
                    <a:pos x="931" y="54"/>
                  </a:cxn>
                  <a:cxn ang="0">
                    <a:pos x="931" y="55"/>
                  </a:cxn>
                  <a:cxn ang="0">
                    <a:pos x="930" y="52"/>
                  </a:cxn>
                  <a:cxn ang="0">
                    <a:pos x="927" y="48"/>
                  </a:cxn>
                  <a:cxn ang="0">
                    <a:pos x="812" y="16"/>
                  </a:cxn>
                  <a:cxn ang="0">
                    <a:pos x="528" y="0"/>
                  </a:cxn>
                  <a:cxn ang="0">
                    <a:pos x="243" y="16"/>
                  </a:cxn>
                  <a:cxn ang="0">
                    <a:pos x="128" y="48"/>
                  </a:cxn>
                  <a:cxn ang="0">
                    <a:pos x="127" y="48"/>
                  </a:cxn>
                  <a:cxn ang="0">
                    <a:pos x="4" y="283"/>
                  </a:cxn>
                  <a:cxn ang="0">
                    <a:pos x="1" y="286"/>
                  </a:cxn>
                  <a:cxn ang="0">
                    <a:pos x="1" y="287"/>
                  </a:cxn>
                  <a:cxn ang="0">
                    <a:pos x="0" y="290"/>
                  </a:cxn>
                  <a:cxn ang="0">
                    <a:pos x="155" y="328"/>
                  </a:cxn>
                  <a:cxn ang="0">
                    <a:pos x="528" y="344"/>
                  </a:cxn>
                  <a:cxn ang="0">
                    <a:pos x="900" y="328"/>
                  </a:cxn>
                  <a:cxn ang="0">
                    <a:pos x="1054" y="290"/>
                  </a:cxn>
                  <a:cxn ang="0">
                    <a:pos x="1054" y="287"/>
                  </a:cxn>
                  <a:cxn ang="0">
                    <a:pos x="1053" y="287"/>
                  </a:cxn>
                </a:cxnLst>
                <a:rect l="0" t="0" r="r" b="b"/>
                <a:pathLst>
                  <a:path w="1054" h="344">
                    <a:moveTo>
                      <a:pt x="1053" y="287"/>
                    </a:moveTo>
                    <a:cubicBezTo>
                      <a:pt x="1053" y="287"/>
                      <a:pt x="1053" y="286"/>
                      <a:pt x="1053" y="286"/>
                    </a:cubicBezTo>
                    <a:cubicBezTo>
                      <a:pt x="1053" y="286"/>
                      <a:pt x="1053" y="286"/>
                      <a:pt x="1053" y="286"/>
                    </a:cubicBezTo>
                    <a:cubicBezTo>
                      <a:pt x="1053" y="286"/>
                      <a:pt x="1052" y="286"/>
                      <a:pt x="1052" y="286"/>
                    </a:cubicBezTo>
                    <a:cubicBezTo>
                      <a:pt x="1048" y="276"/>
                      <a:pt x="1026" y="236"/>
                      <a:pt x="931" y="54"/>
                    </a:cubicBezTo>
                    <a:cubicBezTo>
                      <a:pt x="931" y="54"/>
                      <a:pt x="931" y="54"/>
                      <a:pt x="931" y="55"/>
                    </a:cubicBezTo>
                    <a:cubicBezTo>
                      <a:pt x="931" y="54"/>
                      <a:pt x="931" y="53"/>
                      <a:pt x="930" y="52"/>
                    </a:cubicBezTo>
                    <a:cubicBezTo>
                      <a:pt x="930" y="52"/>
                      <a:pt x="930" y="52"/>
                      <a:pt x="927" y="48"/>
                    </a:cubicBezTo>
                    <a:cubicBezTo>
                      <a:pt x="918" y="35"/>
                      <a:pt x="879" y="25"/>
                      <a:pt x="812" y="16"/>
                    </a:cubicBezTo>
                    <a:cubicBezTo>
                      <a:pt x="734" y="5"/>
                      <a:pt x="638" y="0"/>
                      <a:pt x="528" y="0"/>
                    </a:cubicBezTo>
                    <a:cubicBezTo>
                      <a:pt x="417" y="0"/>
                      <a:pt x="323" y="5"/>
                      <a:pt x="243" y="16"/>
                    </a:cubicBezTo>
                    <a:cubicBezTo>
                      <a:pt x="175" y="25"/>
                      <a:pt x="136" y="37"/>
                      <a:pt x="128" y="48"/>
                    </a:cubicBezTo>
                    <a:cubicBezTo>
                      <a:pt x="128" y="48"/>
                      <a:pt x="128" y="48"/>
                      <a:pt x="127" y="48"/>
                    </a:cubicBezTo>
                    <a:cubicBezTo>
                      <a:pt x="127" y="48"/>
                      <a:pt x="127" y="48"/>
                      <a:pt x="4" y="283"/>
                    </a:cubicBezTo>
                    <a:cubicBezTo>
                      <a:pt x="3" y="284"/>
                      <a:pt x="2" y="285"/>
                      <a:pt x="1" y="286"/>
                    </a:cubicBezTo>
                    <a:cubicBezTo>
                      <a:pt x="1" y="287"/>
                      <a:pt x="1" y="287"/>
                      <a:pt x="1" y="287"/>
                    </a:cubicBezTo>
                    <a:cubicBezTo>
                      <a:pt x="1" y="288"/>
                      <a:pt x="0" y="289"/>
                      <a:pt x="0" y="290"/>
                    </a:cubicBezTo>
                    <a:cubicBezTo>
                      <a:pt x="0" y="305"/>
                      <a:pt x="52" y="318"/>
                      <a:pt x="155" y="328"/>
                    </a:cubicBezTo>
                    <a:cubicBezTo>
                      <a:pt x="258" y="339"/>
                      <a:pt x="382" y="344"/>
                      <a:pt x="528" y="344"/>
                    </a:cubicBezTo>
                    <a:cubicBezTo>
                      <a:pt x="672" y="344"/>
                      <a:pt x="797" y="339"/>
                      <a:pt x="900" y="328"/>
                    </a:cubicBezTo>
                    <a:cubicBezTo>
                      <a:pt x="1002" y="318"/>
                      <a:pt x="1054" y="305"/>
                      <a:pt x="1054" y="290"/>
                    </a:cubicBezTo>
                    <a:cubicBezTo>
                      <a:pt x="1054" y="289"/>
                      <a:pt x="1054" y="288"/>
                      <a:pt x="1054" y="287"/>
                    </a:cubicBezTo>
                    <a:cubicBezTo>
                      <a:pt x="1053" y="287"/>
                      <a:pt x="1053" y="287"/>
                      <a:pt x="1053" y="287"/>
                    </a:cubicBezTo>
                    <a:close/>
                  </a:path>
                </a:pathLst>
              </a:custGeom>
              <a:solidFill>
                <a:schemeClr val="accent1">
                  <a:lumMod val="60000"/>
                  <a:lumOff val="40000"/>
                </a:schemeClr>
              </a:solidFill>
              <a:ln w="9525">
                <a:noFill/>
                <a:round/>
              </a:ln>
            </p:spPr>
            <p:txBody>
              <a:bodyPr wrap="square" lIns="91440" tIns="45720" rIns="91440" bIns="45720" anchor="ctr">
                <a:normAutofit lnSpcReduction="10000"/>
              </a:bodyPr>
              <a:lstStyle/>
              <a:p>
                <a:pPr algn="ctr"/>
              </a:p>
            </p:txBody>
          </p:sp>
          <p:sp>
            <p:nvSpPr>
              <p:cNvPr id="32" name="椭圆 31"/>
              <p:cNvSpPr/>
              <p:nvPr/>
            </p:nvSpPr>
            <p:spPr bwMode="auto">
              <a:xfrm flipH="1">
                <a:off x="2384966" y="5168967"/>
                <a:ext cx="640507" cy="111875"/>
              </a:xfrm>
              <a:prstGeom prst="ellipse">
                <a:avLst/>
              </a:prstGeom>
              <a:solidFill>
                <a:schemeClr val="accent1"/>
              </a:solidFill>
              <a:ln w="19050">
                <a:noFill/>
                <a:round/>
              </a:ln>
            </p:spPr>
            <p:txBody>
              <a:bodyPr wrap="square" lIns="91440" tIns="45720" rIns="91440" bIns="45720" anchor="ctr">
                <a:normAutofit fontScale="25000" lnSpcReduction="20000"/>
              </a:bodyPr>
              <a:lstStyle/>
              <a:p>
                <a:pPr algn="ctr"/>
              </a:p>
            </p:txBody>
          </p:sp>
          <p:sp>
            <p:nvSpPr>
              <p:cNvPr id="30" name="箭头: 上 29"/>
              <p:cNvSpPr/>
              <p:nvPr/>
            </p:nvSpPr>
            <p:spPr bwMode="auto">
              <a:xfrm flipH="1">
                <a:off x="2493467" y="5429323"/>
                <a:ext cx="423507" cy="493083"/>
              </a:xfrm>
              <a:prstGeom prst="upArrow">
                <a:avLst/>
              </a:prstGeom>
              <a:solidFill>
                <a:schemeClr val="accent1"/>
              </a:solidFill>
              <a:ln w="19050">
                <a:noFill/>
                <a:round/>
              </a:ln>
            </p:spPr>
            <p:txBody>
              <a:bodyPr anchor="ctr"/>
              <a:lstStyle/>
              <a:p>
                <a:pPr algn="ctr"/>
              </a:p>
            </p:txBody>
          </p:sp>
        </p:grpSp>
        <p:sp>
          <p:nvSpPr>
            <p:cNvPr id="5" name="文本框 4"/>
            <p:cNvSpPr txBox="1"/>
            <p:nvPr/>
          </p:nvSpPr>
          <p:spPr>
            <a:xfrm>
              <a:off x="660400" y="1130300"/>
              <a:ext cx="4861115" cy="908548"/>
            </a:xfrm>
            <a:prstGeom prst="rect">
              <a:avLst/>
            </a:prstGeom>
            <a:noFill/>
          </p:spPr>
          <p:txBody>
            <a:bodyPr vert="horz" wrap="square" lIns="91440" tIns="45720" rIns="91440" bIns="45720" rtlCol="0" anchor="b">
              <a:normAutofit/>
            </a:bodyPr>
            <a:lstStyle/>
            <a:p>
              <a:r>
                <a:rPr lang="en-US" altLang="zh-CN" sz="2400" b="1">
                  <a:latin typeface="Calibri" pitchFamily="34" charset="0"/>
                  <a:ea typeface="宋体" pitchFamily="2" charset="-122"/>
                </a:rPr>
                <a:t>Unified fonts make reading more fluent</a:t>
              </a:r>
              <a:endParaRPr lang="zh-CN" altLang="en-US" sz="2400" b="1" dirty="0">
                <a:latin typeface="Calibri" pitchFamily="34" charset="0"/>
                <a:ea typeface="宋体" pitchFamily="2" charset="-122"/>
              </a:endParaRPr>
            </a:p>
          </p:txBody>
        </p:sp>
        <p:grpSp>
          <p:nvGrpSpPr>
            <p:cNvPr id="2" name="组合 1"/>
            <p:cNvGrpSpPr/>
            <p:nvPr/>
          </p:nvGrpSpPr>
          <p:grpSpPr>
            <a:xfrm>
              <a:off x="5493641" y="1508237"/>
              <a:ext cx="5342207" cy="1026092"/>
              <a:chOff x="5493641" y="1508237"/>
              <a:chExt cx="5342207" cy="1026092"/>
            </a:xfrm>
          </p:grpSpPr>
          <p:sp>
            <p:nvSpPr>
              <p:cNvPr id="48" name="文本框 47"/>
              <p:cNvSpPr txBox="1"/>
              <p:nvPr/>
            </p:nvSpPr>
            <p:spPr>
              <a:xfrm>
                <a:off x="6785364" y="1508237"/>
                <a:ext cx="4050484" cy="456535"/>
              </a:xfrm>
              <a:prstGeom prst="rect">
                <a:avLst/>
              </a:prstGeom>
              <a:noFill/>
            </p:spPr>
            <p:txBody>
              <a:bodyPr wrap="square" rtlCol="0" anchor="b" anchorCtr="0">
                <a:normAutofit/>
              </a:bodyPr>
              <a:lstStyle>
                <a:defPPr>
                  <a:defRPr lang="zh-CN"/>
                </a:defPPr>
                <a:lvl1pPr>
                  <a:lnSpc>
                    <a:spcPct val="150000"/>
                  </a:lnSpc>
                  <a:defRPr kumimoji="0" sz="1200" b="1" i="0" u="none" strike="noStrike" cap="none" spc="0" normalizeH="0" baseline="0">
                    <a:ln>
                      <a:noFill/>
                    </a:ln>
                    <a:effectLst/>
                    <a:uLnTx/>
                    <a:uFillTx/>
                  </a:defRPr>
                </a:lvl1pPr>
              </a:lstStyle>
              <a:p>
                <a:pPr>
                  <a:lnSpc>
                    <a:spcPct val="100000"/>
                  </a:lnSpc>
                </a:pPr>
                <a:r>
                  <a:rPr kumimoji="1" lang="en-US" altLang="zh-CN" sz="1800">
                    <a:latin typeface="Calibri" pitchFamily="34" charset="0"/>
                    <a:ea typeface="宋体" pitchFamily="2" charset="-122"/>
                  </a:rPr>
                  <a:t>Click to add text</a:t>
                </a:r>
                <a:endParaRPr kumimoji="1" lang="en-US" altLang="zh-CN" sz="1800" dirty="0">
                  <a:latin typeface="Calibri" pitchFamily="34" charset="0"/>
                  <a:ea typeface="宋体" pitchFamily="2" charset="-122"/>
                </a:endParaRPr>
              </a:p>
            </p:txBody>
          </p:sp>
          <p:sp>
            <p:nvSpPr>
              <p:cNvPr id="49" name="文本框 48"/>
              <p:cNvSpPr txBox="1"/>
              <p:nvPr/>
            </p:nvSpPr>
            <p:spPr>
              <a:xfrm>
                <a:off x="6785363" y="1973684"/>
                <a:ext cx="4050483" cy="560645"/>
              </a:xfrm>
              <a:prstGeom prst="rect">
                <a:avLst/>
              </a:prstGeom>
              <a:noFill/>
            </p:spPr>
            <p:txBody>
              <a:bodyPr wrap="square" rtlCol="0" anchor="t" anchorCtr="0">
                <a:normAutofit/>
              </a:bodyPr>
              <a:lstStyle>
                <a:defPPr>
                  <a:defRPr lang="zh-CN"/>
                </a:defPPr>
                <a:lvl1pPr algn="ctr">
                  <a:lnSpc>
                    <a:spcPct val="150000"/>
                  </a:lnSpc>
                  <a:defRPr kumimoji="0" sz="1200" i="0" u="none" strike="noStrike" cap="none" spc="0" normalizeH="0" baseline="0">
                    <a:ln>
                      <a:noFill/>
                    </a:ln>
                    <a:effectLst/>
                    <a:uLnTx/>
                    <a:uFillTx/>
                  </a:defRPr>
                </a:lvl1pPr>
              </a:lstStyle>
              <a:p>
                <a:pPr algn="l">
                  <a:lnSpc>
                    <a:spcPct val="120000"/>
                  </a:lnSpc>
                </a:pPr>
                <a:r>
                  <a:rPr kumimoji="1" lang="it-IT" altLang="zh-CN">
                    <a:latin typeface="Calibri" pitchFamily="34" charset="0"/>
                    <a:ea typeface="宋体" pitchFamily="2" charset="-122"/>
                  </a:rPr>
                  <a:t>Ullamcorper elitr sed delenit in vero qui blandit.</a:t>
                </a:r>
                <a:endParaRPr kumimoji="1" lang="en-US" altLang="zh-CN" dirty="0">
                  <a:latin typeface="Calibri" pitchFamily="34" charset="0"/>
                  <a:ea typeface="宋体" pitchFamily="2" charset="-122"/>
                </a:endParaRPr>
              </a:p>
            </p:txBody>
          </p:sp>
          <p:sp>
            <p:nvSpPr>
              <p:cNvPr id="46" name="矩形 45"/>
              <p:cNvSpPr/>
              <p:nvPr/>
            </p:nvSpPr>
            <p:spPr>
              <a:xfrm>
                <a:off x="6574363" y="1690933"/>
                <a:ext cx="45719" cy="748146"/>
              </a:xfrm>
              <a:prstGeom prst="rect">
                <a:avLst/>
              </a:prstGeom>
              <a:solidFill>
                <a:schemeClr val="accent1"/>
              </a:solidFill>
              <a:ln w="12700" cap="rnd">
                <a:noFill/>
                <a:prstDash val="solid"/>
                <a:round/>
              </a:ln>
              <a:effectLst>
                <a:outerShdw blurRad="254000" dist="127000" algn="ctr" rotWithShape="0">
                  <a:schemeClr val="tx2">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endParaRPr lang="zh-CN" altLang="en-US" sz="2000" b="1">
                  <a:solidFill>
                    <a:schemeClr val="accent1"/>
                  </a:solidFill>
                </a:endParaRPr>
              </a:p>
            </p:txBody>
          </p:sp>
          <p:sp>
            <p:nvSpPr>
              <p:cNvPr id="47" name="文本框 46"/>
              <p:cNvSpPr txBox="1"/>
              <p:nvPr/>
            </p:nvSpPr>
            <p:spPr>
              <a:xfrm>
                <a:off x="5493641" y="1603343"/>
                <a:ext cx="886781" cy="923330"/>
              </a:xfrm>
              <a:prstGeom prst="rect">
                <a:avLst/>
              </a:prstGeom>
              <a:noFill/>
            </p:spPr>
            <p:txBody>
              <a:bodyPr wrap="none" lIns="91440" tIns="45720" rIns="91440" bIns="45720" rtlCol="0" anchor="ctr" anchorCtr="0">
                <a:spAutoFit/>
              </a:bodyPr>
              <a:lstStyle/>
              <a:p>
                <a:pPr algn="ctr"/>
                <a:r>
                  <a:rPr kumimoji="1" lang="en-US" altLang="zh-CN" sz="5400" b="1" dirty="0">
                    <a:solidFill>
                      <a:schemeClr val="accent1">
                        <a:alpha val="50000"/>
                      </a:schemeClr>
                    </a:solidFill>
                    <a:effectLst>
                      <a:outerShdw blurRad="127000" dist="63500" dir="2700000" algn="ctr" rotWithShape="0">
                        <a:schemeClr val="accent1">
                          <a:alpha val="40000"/>
                        </a:schemeClr>
                      </a:outerShdw>
                    </a:effectLst>
                    <a:latin typeface="Calibri" pitchFamily="34" charset="0"/>
                    <a:ea typeface="宋体" pitchFamily="2" charset="-122"/>
                  </a:rPr>
                  <a:t>01</a:t>
                </a:r>
                <a:endParaRPr kumimoji="1" lang="zh-CN" altLang="en-US" sz="5400" b="1" dirty="0">
                  <a:solidFill>
                    <a:schemeClr val="accent1">
                      <a:alpha val="50000"/>
                    </a:schemeClr>
                  </a:solidFill>
                  <a:effectLst>
                    <a:outerShdw blurRad="127000" dist="63500" dir="2700000" algn="ctr" rotWithShape="0">
                      <a:schemeClr val="accent1">
                        <a:alpha val="40000"/>
                      </a:schemeClr>
                    </a:outerShdw>
                  </a:effectLst>
                  <a:latin typeface="Calibri" pitchFamily="34" charset="0"/>
                  <a:ea typeface="宋体" pitchFamily="2" charset="-122"/>
                </a:endParaRPr>
              </a:p>
            </p:txBody>
          </p:sp>
        </p:grpSp>
        <p:grpSp>
          <p:nvGrpSpPr>
            <p:cNvPr id="4" name="组合 3"/>
            <p:cNvGrpSpPr/>
            <p:nvPr/>
          </p:nvGrpSpPr>
          <p:grpSpPr>
            <a:xfrm>
              <a:off x="5493641" y="2697448"/>
              <a:ext cx="5342207" cy="1026092"/>
              <a:chOff x="5493641" y="2697448"/>
              <a:chExt cx="5342207" cy="1026092"/>
            </a:xfrm>
          </p:grpSpPr>
          <p:sp>
            <p:nvSpPr>
              <p:cNvPr id="54" name="文本框 53"/>
              <p:cNvSpPr txBox="1"/>
              <p:nvPr/>
            </p:nvSpPr>
            <p:spPr>
              <a:xfrm>
                <a:off x="6785364" y="2697448"/>
                <a:ext cx="4050484" cy="456535"/>
              </a:xfrm>
              <a:prstGeom prst="rect">
                <a:avLst/>
              </a:prstGeom>
              <a:noFill/>
            </p:spPr>
            <p:txBody>
              <a:bodyPr wrap="square" rtlCol="0" anchor="b" anchorCtr="0">
                <a:normAutofit/>
              </a:bodyPr>
              <a:lstStyle>
                <a:defPPr>
                  <a:defRPr lang="zh-CN"/>
                </a:defPPr>
                <a:lvl1pPr>
                  <a:lnSpc>
                    <a:spcPct val="150000"/>
                  </a:lnSpc>
                  <a:defRPr kumimoji="0" sz="1200" b="1" i="0" u="none" strike="noStrike" cap="none" spc="0" normalizeH="0" baseline="0">
                    <a:ln>
                      <a:noFill/>
                    </a:ln>
                    <a:effectLst/>
                    <a:uLnTx/>
                    <a:uFillTx/>
                  </a:defRPr>
                </a:lvl1pPr>
              </a:lstStyle>
              <a:p>
                <a:pPr>
                  <a:lnSpc>
                    <a:spcPct val="100000"/>
                  </a:lnSpc>
                </a:pPr>
                <a:r>
                  <a:rPr kumimoji="1" lang="en-US" altLang="zh-CN" sz="1800">
                    <a:latin typeface="Calibri" pitchFamily="34" charset="0"/>
                    <a:ea typeface="宋体" pitchFamily="2" charset="-122"/>
                  </a:rPr>
                  <a:t>Click to add text</a:t>
                </a:r>
                <a:endParaRPr kumimoji="1" lang="en-US" altLang="zh-CN" sz="1800" dirty="0">
                  <a:latin typeface="Calibri" pitchFamily="34" charset="0"/>
                  <a:ea typeface="宋体" pitchFamily="2" charset="-122"/>
                </a:endParaRPr>
              </a:p>
            </p:txBody>
          </p:sp>
          <p:sp>
            <p:nvSpPr>
              <p:cNvPr id="55" name="文本框 54"/>
              <p:cNvSpPr txBox="1"/>
              <p:nvPr/>
            </p:nvSpPr>
            <p:spPr>
              <a:xfrm>
                <a:off x="6785363" y="3162895"/>
                <a:ext cx="4050483" cy="560645"/>
              </a:xfrm>
              <a:prstGeom prst="rect">
                <a:avLst/>
              </a:prstGeom>
              <a:noFill/>
            </p:spPr>
            <p:txBody>
              <a:bodyPr wrap="square" rtlCol="0" anchor="t" anchorCtr="0">
                <a:normAutofit/>
              </a:bodyPr>
              <a:lstStyle>
                <a:defPPr>
                  <a:defRPr lang="zh-CN"/>
                </a:defPPr>
                <a:lvl1pPr algn="ctr">
                  <a:lnSpc>
                    <a:spcPct val="150000"/>
                  </a:lnSpc>
                  <a:defRPr kumimoji="0" sz="1200" i="0" u="none" strike="noStrike" cap="none" spc="0" normalizeH="0" baseline="0">
                    <a:ln>
                      <a:noFill/>
                    </a:ln>
                    <a:effectLst/>
                    <a:uLnTx/>
                    <a:uFillTx/>
                  </a:defRPr>
                </a:lvl1pPr>
              </a:lstStyle>
              <a:p>
                <a:pPr algn="l">
                  <a:lnSpc>
                    <a:spcPct val="120000"/>
                  </a:lnSpc>
                </a:pPr>
                <a:r>
                  <a:rPr kumimoji="1" lang="nb-NO" altLang="zh-CN">
                    <a:latin typeface="Calibri" pitchFamily="34" charset="0"/>
                    <a:ea typeface="宋体" pitchFamily="2" charset="-122"/>
                  </a:rPr>
                  <a:t>Nonumy ea amet erat ut et ut duo stet sed lorem et.</a:t>
                </a:r>
                <a:endParaRPr kumimoji="1" lang="en-US" altLang="zh-CN" dirty="0">
                  <a:latin typeface="Calibri" pitchFamily="34" charset="0"/>
                  <a:ea typeface="宋体" pitchFamily="2" charset="-122"/>
                </a:endParaRPr>
              </a:p>
            </p:txBody>
          </p:sp>
          <p:sp>
            <p:nvSpPr>
              <p:cNvPr id="52" name="矩形 51"/>
              <p:cNvSpPr/>
              <p:nvPr/>
            </p:nvSpPr>
            <p:spPr>
              <a:xfrm>
                <a:off x="6574363" y="2880144"/>
                <a:ext cx="45719" cy="748146"/>
              </a:xfrm>
              <a:prstGeom prst="rect">
                <a:avLst/>
              </a:prstGeom>
              <a:solidFill>
                <a:schemeClr val="accent1"/>
              </a:solidFill>
              <a:ln w="12700" cap="rnd">
                <a:noFill/>
                <a:prstDash val="solid"/>
                <a:round/>
              </a:ln>
              <a:effectLst>
                <a:outerShdw blurRad="254000" dist="127000" algn="ctr" rotWithShape="0">
                  <a:schemeClr val="tx2">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endParaRPr lang="zh-CN" altLang="en-US" sz="2000" b="1">
                  <a:solidFill>
                    <a:schemeClr val="accent1"/>
                  </a:solidFill>
                </a:endParaRPr>
              </a:p>
            </p:txBody>
          </p:sp>
          <p:sp>
            <p:nvSpPr>
              <p:cNvPr id="53" name="文本框 52"/>
              <p:cNvSpPr txBox="1"/>
              <p:nvPr/>
            </p:nvSpPr>
            <p:spPr>
              <a:xfrm>
                <a:off x="5493641" y="2792554"/>
                <a:ext cx="886781" cy="923330"/>
              </a:xfrm>
              <a:prstGeom prst="rect">
                <a:avLst/>
              </a:prstGeom>
              <a:noFill/>
            </p:spPr>
            <p:txBody>
              <a:bodyPr wrap="none" lIns="91440" tIns="45720" rIns="91440" bIns="45720" rtlCol="0" anchor="ctr" anchorCtr="0">
                <a:spAutoFit/>
              </a:bodyPr>
              <a:lstStyle/>
              <a:p>
                <a:pPr algn="ctr"/>
                <a:r>
                  <a:rPr kumimoji="1" lang="en-US" altLang="zh-CN" sz="5400" b="1" dirty="0">
                    <a:solidFill>
                      <a:schemeClr val="accent1"/>
                    </a:solidFill>
                    <a:effectLst>
                      <a:outerShdw blurRad="127000" dist="63500" dir="2700000" algn="ctr" rotWithShape="0">
                        <a:schemeClr val="accent1">
                          <a:alpha val="40000"/>
                        </a:schemeClr>
                      </a:outerShdw>
                    </a:effectLst>
                    <a:latin typeface="Calibri" pitchFamily="34" charset="0"/>
                    <a:ea typeface="宋体" pitchFamily="2" charset="-122"/>
                  </a:rPr>
                  <a:t>02</a:t>
                </a:r>
                <a:endParaRPr kumimoji="1" lang="zh-CN" altLang="en-US" sz="5400" b="1" dirty="0">
                  <a:solidFill>
                    <a:schemeClr val="accent1"/>
                  </a:solidFill>
                  <a:effectLst>
                    <a:outerShdw blurRad="127000" dist="63500" dir="2700000" algn="ctr" rotWithShape="0">
                      <a:schemeClr val="accent1">
                        <a:alpha val="40000"/>
                      </a:schemeClr>
                    </a:outerShdw>
                  </a:effectLst>
                  <a:latin typeface="Calibri" pitchFamily="34" charset="0"/>
                  <a:ea typeface="宋体" pitchFamily="2" charset="-122"/>
                </a:endParaRPr>
              </a:p>
            </p:txBody>
          </p:sp>
        </p:grpSp>
        <p:grpSp>
          <p:nvGrpSpPr>
            <p:cNvPr id="6" name="组合 5"/>
            <p:cNvGrpSpPr/>
            <p:nvPr/>
          </p:nvGrpSpPr>
          <p:grpSpPr>
            <a:xfrm>
              <a:off x="5493641" y="3886659"/>
              <a:ext cx="5342207" cy="1026092"/>
              <a:chOff x="5493641" y="3886659"/>
              <a:chExt cx="5342207" cy="1026092"/>
            </a:xfrm>
          </p:grpSpPr>
          <p:sp>
            <p:nvSpPr>
              <p:cNvPr id="60" name="文本框 59"/>
              <p:cNvSpPr txBox="1"/>
              <p:nvPr/>
            </p:nvSpPr>
            <p:spPr>
              <a:xfrm>
                <a:off x="6785364" y="3886659"/>
                <a:ext cx="4050484" cy="456535"/>
              </a:xfrm>
              <a:prstGeom prst="rect">
                <a:avLst/>
              </a:prstGeom>
              <a:noFill/>
            </p:spPr>
            <p:txBody>
              <a:bodyPr wrap="square" rtlCol="0" anchor="b" anchorCtr="0">
                <a:normAutofit/>
              </a:bodyPr>
              <a:lstStyle>
                <a:defPPr>
                  <a:defRPr lang="zh-CN"/>
                </a:defPPr>
                <a:lvl1pPr>
                  <a:lnSpc>
                    <a:spcPct val="150000"/>
                  </a:lnSpc>
                  <a:defRPr kumimoji="0" sz="1200" b="1" i="0" u="none" strike="noStrike" cap="none" spc="0" normalizeH="0" baseline="0">
                    <a:ln>
                      <a:noFill/>
                    </a:ln>
                    <a:effectLst/>
                    <a:uLnTx/>
                    <a:uFillTx/>
                  </a:defRPr>
                </a:lvl1pPr>
              </a:lstStyle>
              <a:p>
                <a:pPr>
                  <a:lnSpc>
                    <a:spcPct val="100000"/>
                  </a:lnSpc>
                </a:pPr>
                <a:r>
                  <a:rPr kumimoji="1" lang="en-US" altLang="zh-CN" sz="1800">
                    <a:latin typeface="Calibri" pitchFamily="34" charset="0"/>
                    <a:ea typeface="宋体" pitchFamily="2" charset="-122"/>
                  </a:rPr>
                  <a:t>Click to add text</a:t>
                </a:r>
                <a:endParaRPr kumimoji="1" lang="en-US" altLang="zh-CN" sz="1800" dirty="0">
                  <a:latin typeface="Calibri" pitchFamily="34" charset="0"/>
                  <a:ea typeface="宋体" pitchFamily="2" charset="-122"/>
                </a:endParaRPr>
              </a:p>
            </p:txBody>
          </p:sp>
          <p:sp>
            <p:nvSpPr>
              <p:cNvPr id="61" name="文本框 60"/>
              <p:cNvSpPr txBox="1"/>
              <p:nvPr/>
            </p:nvSpPr>
            <p:spPr>
              <a:xfrm>
                <a:off x="6785363" y="4352106"/>
                <a:ext cx="4050483" cy="560645"/>
              </a:xfrm>
              <a:prstGeom prst="rect">
                <a:avLst/>
              </a:prstGeom>
              <a:noFill/>
            </p:spPr>
            <p:txBody>
              <a:bodyPr wrap="square" rtlCol="0" anchor="t" anchorCtr="0">
                <a:normAutofit/>
              </a:bodyPr>
              <a:lstStyle>
                <a:defPPr>
                  <a:defRPr lang="zh-CN"/>
                </a:defPPr>
                <a:lvl1pPr algn="ctr">
                  <a:lnSpc>
                    <a:spcPct val="150000"/>
                  </a:lnSpc>
                  <a:defRPr kumimoji="0" sz="1200" i="0" u="none" strike="noStrike" cap="none" spc="0" normalizeH="0" baseline="0">
                    <a:ln>
                      <a:noFill/>
                    </a:ln>
                    <a:effectLst/>
                    <a:uLnTx/>
                    <a:uFillTx/>
                  </a:defRPr>
                </a:lvl1pPr>
              </a:lstStyle>
              <a:p>
                <a:pPr algn="l">
                  <a:lnSpc>
                    <a:spcPct val="120000"/>
                  </a:lnSpc>
                </a:pPr>
                <a:r>
                  <a:rPr kumimoji="1" lang="en-US" altLang="zh-CN">
                    <a:latin typeface="Calibri" pitchFamily="34" charset="0"/>
                    <a:ea typeface="宋体" pitchFamily="2" charset="-122"/>
                  </a:rPr>
                  <a:t>Suscipit ea euismod labore sit ut amet et gubergren.</a:t>
                </a:r>
                <a:endParaRPr kumimoji="1" lang="en-US" altLang="zh-CN" dirty="0">
                  <a:latin typeface="Calibri" pitchFamily="34" charset="0"/>
                  <a:ea typeface="宋体" pitchFamily="2" charset="-122"/>
                </a:endParaRPr>
              </a:p>
            </p:txBody>
          </p:sp>
          <p:sp>
            <p:nvSpPr>
              <p:cNvPr id="58" name="矩形 57"/>
              <p:cNvSpPr/>
              <p:nvPr/>
            </p:nvSpPr>
            <p:spPr>
              <a:xfrm>
                <a:off x="6574363" y="4069355"/>
                <a:ext cx="45719" cy="748146"/>
              </a:xfrm>
              <a:prstGeom prst="rect">
                <a:avLst/>
              </a:prstGeom>
              <a:solidFill>
                <a:schemeClr val="accent1"/>
              </a:solidFill>
              <a:ln w="12700" cap="rnd">
                <a:noFill/>
                <a:prstDash val="solid"/>
                <a:round/>
              </a:ln>
              <a:effectLst>
                <a:outerShdw blurRad="254000" dist="127000" algn="ctr" rotWithShape="0">
                  <a:schemeClr val="tx2">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endParaRPr lang="zh-CN" altLang="en-US" sz="2000" b="1">
                  <a:solidFill>
                    <a:schemeClr val="accent1"/>
                  </a:solidFill>
                </a:endParaRPr>
              </a:p>
            </p:txBody>
          </p:sp>
          <p:sp>
            <p:nvSpPr>
              <p:cNvPr id="59" name="文本框 58"/>
              <p:cNvSpPr txBox="1"/>
              <p:nvPr/>
            </p:nvSpPr>
            <p:spPr>
              <a:xfrm>
                <a:off x="5493641" y="3981765"/>
                <a:ext cx="886781" cy="923330"/>
              </a:xfrm>
              <a:prstGeom prst="rect">
                <a:avLst/>
              </a:prstGeom>
              <a:noFill/>
            </p:spPr>
            <p:txBody>
              <a:bodyPr wrap="none" lIns="91440" tIns="45720" rIns="91440" bIns="45720" rtlCol="0" anchor="ctr" anchorCtr="0">
                <a:spAutoFit/>
              </a:bodyPr>
              <a:lstStyle/>
              <a:p>
                <a:pPr algn="ctr"/>
                <a:r>
                  <a:rPr kumimoji="1" lang="en-US" altLang="zh-CN" sz="5400" b="1" dirty="0">
                    <a:solidFill>
                      <a:schemeClr val="accent1">
                        <a:alpha val="50000"/>
                      </a:schemeClr>
                    </a:solidFill>
                    <a:effectLst>
                      <a:outerShdw blurRad="127000" dist="63500" dir="2700000" algn="ctr" rotWithShape="0">
                        <a:schemeClr val="accent1">
                          <a:alpha val="40000"/>
                        </a:schemeClr>
                      </a:outerShdw>
                    </a:effectLst>
                    <a:latin typeface="Calibri" pitchFamily="34" charset="0"/>
                    <a:ea typeface="宋体" pitchFamily="2" charset="-122"/>
                  </a:rPr>
                  <a:t>03</a:t>
                </a:r>
                <a:endParaRPr kumimoji="1" lang="zh-CN" altLang="en-US" sz="5400" b="1" dirty="0">
                  <a:solidFill>
                    <a:schemeClr val="accent1">
                      <a:alpha val="50000"/>
                    </a:schemeClr>
                  </a:solidFill>
                  <a:effectLst>
                    <a:outerShdw blurRad="127000" dist="63500" dir="2700000" algn="ctr" rotWithShape="0">
                      <a:schemeClr val="accent1">
                        <a:alpha val="40000"/>
                      </a:schemeClr>
                    </a:outerShdw>
                  </a:effectLst>
                  <a:latin typeface="Calibri" pitchFamily="34" charset="0"/>
                  <a:ea typeface="宋体" pitchFamily="2" charset="-122"/>
                </a:endParaRPr>
              </a:p>
            </p:txBody>
          </p:sp>
        </p:grpSp>
        <p:grpSp>
          <p:nvGrpSpPr>
            <p:cNvPr id="7" name="组合 6"/>
            <p:cNvGrpSpPr/>
            <p:nvPr/>
          </p:nvGrpSpPr>
          <p:grpSpPr>
            <a:xfrm>
              <a:off x="5493641" y="5075869"/>
              <a:ext cx="5342207" cy="1026092"/>
              <a:chOff x="5493641" y="5075869"/>
              <a:chExt cx="5342207" cy="1026092"/>
            </a:xfrm>
          </p:grpSpPr>
          <p:sp>
            <p:nvSpPr>
              <p:cNvPr id="66" name="文本框 65"/>
              <p:cNvSpPr txBox="1"/>
              <p:nvPr/>
            </p:nvSpPr>
            <p:spPr>
              <a:xfrm>
                <a:off x="6785364" y="5075869"/>
                <a:ext cx="4050484" cy="456535"/>
              </a:xfrm>
              <a:prstGeom prst="rect">
                <a:avLst/>
              </a:prstGeom>
              <a:noFill/>
            </p:spPr>
            <p:txBody>
              <a:bodyPr wrap="square" rtlCol="0" anchor="b" anchorCtr="0">
                <a:normAutofit/>
              </a:bodyPr>
              <a:lstStyle>
                <a:defPPr>
                  <a:defRPr lang="zh-CN"/>
                </a:defPPr>
                <a:lvl1pPr>
                  <a:lnSpc>
                    <a:spcPct val="150000"/>
                  </a:lnSpc>
                  <a:defRPr kumimoji="0" sz="1200" b="1" i="0" u="none" strike="noStrike" cap="none" spc="0" normalizeH="0" baseline="0">
                    <a:ln>
                      <a:noFill/>
                    </a:ln>
                    <a:effectLst/>
                    <a:uLnTx/>
                    <a:uFillTx/>
                  </a:defRPr>
                </a:lvl1pPr>
              </a:lstStyle>
              <a:p>
                <a:pPr>
                  <a:lnSpc>
                    <a:spcPct val="100000"/>
                  </a:lnSpc>
                </a:pPr>
                <a:r>
                  <a:rPr kumimoji="1" lang="en-US" altLang="zh-CN" sz="1800">
                    <a:latin typeface="Calibri" pitchFamily="34" charset="0"/>
                    <a:ea typeface="宋体" pitchFamily="2" charset="-122"/>
                  </a:rPr>
                  <a:t>Click to add text</a:t>
                </a:r>
                <a:endParaRPr kumimoji="1" lang="en-US" altLang="zh-CN" sz="1800" dirty="0">
                  <a:latin typeface="Calibri" pitchFamily="34" charset="0"/>
                  <a:ea typeface="宋体" pitchFamily="2" charset="-122"/>
                </a:endParaRPr>
              </a:p>
            </p:txBody>
          </p:sp>
          <p:sp>
            <p:nvSpPr>
              <p:cNvPr id="67" name="文本框 66"/>
              <p:cNvSpPr txBox="1"/>
              <p:nvPr/>
            </p:nvSpPr>
            <p:spPr>
              <a:xfrm>
                <a:off x="6785363" y="5541316"/>
                <a:ext cx="4050483" cy="560645"/>
              </a:xfrm>
              <a:prstGeom prst="rect">
                <a:avLst/>
              </a:prstGeom>
              <a:noFill/>
            </p:spPr>
            <p:txBody>
              <a:bodyPr wrap="square" rtlCol="0" anchor="t" anchorCtr="0">
                <a:normAutofit/>
              </a:bodyPr>
              <a:lstStyle>
                <a:defPPr>
                  <a:defRPr lang="zh-CN"/>
                </a:defPPr>
                <a:lvl1pPr algn="ctr">
                  <a:lnSpc>
                    <a:spcPct val="150000"/>
                  </a:lnSpc>
                  <a:defRPr kumimoji="0" sz="1200" i="0" u="none" strike="noStrike" cap="none" spc="0" normalizeH="0" baseline="0">
                    <a:ln>
                      <a:noFill/>
                    </a:ln>
                    <a:effectLst/>
                    <a:uLnTx/>
                    <a:uFillTx/>
                  </a:defRPr>
                </a:lvl1pPr>
              </a:lstStyle>
              <a:p>
                <a:pPr algn="l">
                  <a:lnSpc>
                    <a:spcPct val="120000"/>
                  </a:lnSpc>
                </a:pPr>
                <a:r>
                  <a:rPr kumimoji="1" lang="it-IT" altLang="zh-CN">
                    <a:latin typeface="Calibri" pitchFamily="34" charset="0"/>
                    <a:ea typeface="宋体" pitchFamily="2" charset="-122"/>
                  </a:rPr>
                  <a:t>Ut accumsan tempor consetetur dolore diam labore dolor.</a:t>
                </a:r>
                <a:endParaRPr kumimoji="1" lang="en-US" altLang="zh-CN" dirty="0">
                  <a:latin typeface="Calibri" pitchFamily="34" charset="0"/>
                  <a:ea typeface="宋体" pitchFamily="2" charset="-122"/>
                </a:endParaRPr>
              </a:p>
            </p:txBody>
          </p:sp>
          <p:sp>
            <p:nvSpPr>
              <p:cNvPr id="64" name="矩形 63"/>
              <p:cNvSpPr/>
              <p:nvPr/>
            </p:nvSpPr>
            <p:spPr>
              <a:xfrm>
                <a:off x="6574363" y="5258565"/>
                <a:ext cx="45719" cy="748146"/>
              </a:xfrm>
              <a:prstGeom prst="rect">
                <a:avLst/>
              </a:prstGeom>
              <a:solidFill>
                <a:schemeClr val="accent1"/>
              </a:solidFill>
              <a:ln w="12700" cap="rnd">
                <a:noFill/>
                <a:prstDash val="solid"/>
                <a:round/>
              </a:ln>
              <a:effectLst>
                <a:outerShdw blurRad="254000" dist="127000" algn="ctr" rotWithShape="0">
                  <a:schemeClr val="tx2">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endParaRPr lang="zh-CN" altLang="en-US" sz="2000" b="1">
                  <a:solidFill>
                    <a:schemeClr val="accent1"/>
                  </a:solidFill>
                </a:endParaRPr>
              </a:p>
            </p:txBody>
          </p:sp>
          <p:sp>
            <p:nvSpPr>
              <p:cNvPr id="65" name="文本框 64"/>
              <p:cNvSpPr txBox="1"/>
              <p:nvPr/>
            </p:nvSpPr>
            <p:spPr>
              <a:xfrm>
                <a:off x="5493641" y="5170975"/>
                <a:ext cx="886781" cy="923330"/>
              </a:xfrm>
              <a:prstGeom prst="rect">
                <a:avLst/>
              </a:prstGeom>
              <a:noFill/>
            </p:spPr>
            <p:txBody>
              <a:bodyPr wrap="none" lIns="91440" tIns="45720" rIns="91440" bIns="45720" rtlCol="0" anchor="ctr" anchorCtr="0">
                <a:spAutoFit/>
              </a:bodyPr>
              <a:lstStyle/>
              <a:p>
                <a:pPr algn="ctr"/>
                <a:r>
                  <a:rPr kumimoji="1" lang="en-US" altLang="zh-CN" sz="5400" b="1" dirty="0">
                    <a:solidFill>
                      <a:schemeClr val="accent1">
                        <a:alpha val="50000"/>
                      </a:schemeClr>
                    </a:solidFill>
                    <a:effectLst>
                      <a:outerShdw blurRad="127000" dist="63500" dir="2700000" algn="ctr" rotWithShape="0">
                        <a:schemeClr val="accent1">
                          <a:alpha val="40000"/>
                        </a:schemeClr>
                      </a:outerShdw>
                    </a:effectLst>
                    <a:latin typeface="Calibri" pitchFamily="34" charset="0"/>
                    <a:ea typeface="宋体" pitchFamily="2" charset="-122"/>
                  </a:rPr>
                  <a:t>04</a:t>
                </a:r>
                <a:endParaRPr kumimoji="1" lang="zh-CN" altLang="en-US" sz="5400" b="1" dirty="0">
                  <a:solidFill>
                    <a:schemeClr val="accent1">
                      <a:alpha val="50000"/>
                    </a:schemeClr>
                  </a:solidFill>
                  <a:effectLst>
                    <a:outerShdw blurRad="127000" dist="63500" dir="2700000" algn="ctr" rotWithShape="0">
                      <a:schemeClr val="accent1">
                        <a:alpha val="40000"/>
                      </a:schemeClr>
                    </a:outerShdw>
                  </a:effectLst>
                  <a:latin typeface="Calibri" pitchFamily="34" charset="0"/>
                  <a:ea typeface="宋体" pitchFamily="2" charset="-122"/>
                </a:endParaRPr>
              </a:p>
            </p:txBody>
          </p:sp>
        </p:grpSp>
      </p:gr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7" name="组合 46"/>
          <p:cNvGrpSpPr/>
          <p:nvPr/>
        </p:nvGrpSpPr>
        <p:grpSpPr>
          <a:xfrm>
            <a:off x="566954" y="1130301"/>
            <a:ext cx="11058095" cy="5003801"/>
            <a:chOff x="566952" y="1130300"/>
            <a:chExt cx="11058095" cy="5003801"/>
          </a:xfrm>
        </p:grpSpPr>
        <p:sp>
          <p:nvSpPr>
            <p:cNvPr id="3" name="任意多边形: 形状 2"/>
            <p:cNvSpPr/>
            <p:nvPr/>
          </p:nvSpPr>
          <p:spPr>
            <a:xfrm>
              <a:off x="566952" y="2182755"/>
              <a:ext cx="11058095" cy="3951346"/>
            </a:xfrm>
            <a:custGeom>
              <a:avLst/>
              <a:gdLst/>
              <a:ahLst/>
              <a:cxnLst>
                <a:cxn ang="0">
                  <a:pos x="wd2" y="hd2"/>
                </a:cxn>
                <a:cxn ang="5400000">
                  <a:pos x="wd2" y="hd2"/>
                </a:cxn>
                <a:cxn ang="10800000">
                  <a:pos x="wd2" y="hd2"/>
                </a:cxn>
                <a:cxn ang="16200000">
                  <a:pos x="wd2" y="hd2"/>
                </a:cxn>
              </a:cxnLst>
              <a:rect l="0" t="0" r="r" b="b"/>
              <a:pathLst>
                <a:path w="21595" h="21487" extrusionOk="0">
                  <a:moveTo>
                    <a:pt x="10842" y="1"/>
                  </a:moveTo>
                  <a:cubicBezTo>
                    <a:pt x="9606" y="-56"/>
                    <a:pt x="8593" y="2663"/>
                    <a:pt x="8590" y="6041"/>
                  </a:cubicBezTo>
                  <a:lnTo>
                    <a:pt x="8592" y="9347"/>
                  </a:lnTo>
                  <a:lnTo>
                    <a:pt x="8592" y="9347"/>
                  </a:lnTo>
                  <a:lnTo>
                    <a:pt x="8592" y="9457"/>
                  </a:lnTo>
                  <a:cubicBezTo>
                    <a:pt x="8588" y="9622"/>
                    <a:pt x="8640" y="9756"/>
                    <a:pt x="8700" y="9735"/>
                  </a:cubicBezTo>
                  <a:cubicBezTo>
                    <a:pt x="8750" y="9718"/>
                    <a:pt x="8786" y="9594"/>
                    <a:pt x="8781" y="9457"/>
                  </a:cubicBezTo>
                  <a:lnTo>
                    <a:pt x="8782" y="6040"/>
                  </a:lnTo>
                  <a:cubicBezTo>
                    <a:pt x="8786" y="2976"/>
                    <a:pt x="9702" y="507"/>
                    <a:pt x="10823" y="536"/>
                  </a:cubicBezTo>
                  <a:cubicBezTo>
                    <a:pt x="11928" y="565"/>
                    <a:pt x="12819" y="3020"/>
                    <a:pt x="12821" y="6042"/>
                  </a:cubicBezTo>
                  <a:lnTo>
                    <a:pt x="12820" y="9349"/>
                  </a:lnTo>
                  <a:lnTo>
                    <a:pt x="12727" y="9349"/>
                  </a:lnTo>
                  <a:cubicBezTo>
                    <a:pt x="12712" y="9349"/>
                    <a:pt x="12698" y="9373"/>
                    <a:pt x="12689" y="9412"/>
                  </a:cubicBezTo>
                  <a:cubicBezTo>
                    <a:pt x="12680" y="9454"/>
                    <a:pt x="12679" y="9508"/>
                    <a:pt x="12685" y="9555"/>
                  </a:cubicBezTo>
                  <a:lnTo>
                    <a:pt x="12873" y="10735"/>
                  </a:lnTo>
                  <a:cubicBezTo>
                    <a:pt x="12881" y="10782"/>
                    <a:pt x="12896" y="10812"/>
                    <a:pt x="12913" y="10812"/>
                  </a:cubicBezTo>
                  <a:cubicBezTo>
                    <a:pt x="12930" y="10813"/>
                    <a:pt x="12945" y="10783"/>
                    <a:pt x="12953" y="10735"/>
                  </a:cubicBezTo>
                  <a:lnTo>
                    <a:pt x="13142" y="9551"/>
                  </a:lnTo>
                  <a:cubicBezTo>
                    <a:pt x="13147" y="9503"/>
                    <a:pt x="13145" y="9450"/>
                    <a:pt x="13135" y="9409"/>
                  </a:cubicBezTo>
                  <a:cubicBezTo>
                    <a:pt x="13126" y="9370"/>
                    <a:pt x="13111" y="9348"/>
                    <a:pt x="13096" y="9348"/>
                  </a:cubicBezTo>
                  <a:lnTo>
                    <a:pt x="13009" y="9348"/>
                  </a:lnTo>
                  <a:lnTo>
                    <a:pt x="13011" y="6046"/>
                  </a:lnTo>
                  <a:cubicBezTo>
                    <a:pt x="13014" y="2749"/>
                    <a:pt x="12048" y="57"/>
                    <a:pt x="10842" y="1"/>
                  </a:cubicBezTo>
                  <a:close/>
                  <a:moveTo>
                    <a:pt x="19287" y="1"/>
                  </a:moveTo>
                  <a:cubicBezTo>
                    <a:pt x="18052" y="-56"/>
                    <a:pt x="17038" y="2663"/>
                    <a:pt x="17035" y="6041"/>
                  </a:cubicBezTo>
                  <a:lnTo>
                    <a:pt x="17039" y="9457"/>
                  </a:lnTo>
                  <a:cubicBezTo>
                    <a:pt x="17033" y="9609"/>
                    <a:pt x="17076" y="9744"/>
                    <a:pt x="17132" y="9748"/>
                  </a:cubicBezTo>
                  <a:cubicBezTo>
                    <a:pt x="17191" y="9752"/>
                    <a:pt x="17237" y="9616"/>
                    <a:pt x="17232" y="9457"/>
                  </a:cubicBezTo>
                  <a:lnTo>
                    <a:pt x="17227" y="6040"/>
                  </a:lnTo>
                  <a:cubicBezTo>
                    <a:pt x="17232" y="2976"/>
                    <a:pt x="18148" y="507"/>
                    <a:pt x="19269" y="536"/>
                  </a:cubicBezTo>
                  <a:cubicBezTo>
                    <a:pt x="20374" y="565"/>
                    <a:pt x="21265" y="3020"/>
                    <a:pt x="21267" y="6042"/>
                  </a:cubicBezTo>
                  <a:lnTo>
                    <a:pt x="21271" y="13317"/>
                  </a:lnTo>
                  <a:lnTo>
                    <a:pt x="21176" y="13317"/>
                  </a:lnTo>
                  <a:cubicBezTo>
                    <a:pt x="21161" y="13317"/>
                    <a:pt x="21147" y="13341"/>
                    <a:pt x="21139" y="13380"/>
                  </a:cubicBezTo>
                  <a:cubicBezTo>
                    <a:pt x="21130" y="13422"/>
                    <a:pt x="21128" y="13476"/>
                    <a:pt x="21135" y="13523"/>
                  </a:cubicBezTo>
                  <a:lnTo>
                    <a:pt x="21323" y="14703"/>
                  </a:lnTo>
                  <a:cubicBezTo>
                    <a:pt x="21330" y="14750"/>
                    <a:pt x="21346" y="14780"/>
                    <a:pt x="21363" y="14780"/>
                  </a:cubicBezTo>
                  <a:cubicBezTo>
                    <a:pt x="21379" y="14781"/>
                    <a:pt x="21395" y="14750"/>
                    <a:pt x="21403" y="14703"/>
                  </a:cubicBezTo>
                  <a:lnTo>
                    <a:pt x="21592" y="13519"/>
                  </a:lnTo>
                  <a:cubicBezTo>
                    <a:pt x="21597" y="13471"/>
                    <a:pt x="21594" y="13418"/>
                    <a:pt x="21585" y="13377"/>
                  </a:cubicBezTo>
                  <a:cubicBezTo>
                    <a:pt x="21576" y="13338"/>
                    <a:pt x="21561" y="13316"/>
                    <a:pt x="21546" y="13316"/>
                  </a:cubicBezTo>
                  <a:lnTo>
                    <a:pt x="21454" y="13316"/>
                  </a:lnTo>
                  <a:lnTo>
                    <a:pt x="21456" y="6046"/>
                  </a:lnTo>
                  <a:cubicBezTo>
                    <a:pt x="21459" y="2749"/>
                    <a:pt x="20493" y="57"/>
                    <a:pt x="19287" y="1"/>
                  </a:cubicBezTo>
                  <a:close/>
                  <a:moveTo>
                    <a:pt x="2387" y="8"/>
                  </a:moveTo>
                  <a:cubicBezTo>
                    <a:pt x="1151" y="-49"/>
                    <a:pt x="137" y="2670"/>
                    <a:pt x="135" y="6048"/>
                  </a:cubicBezTo>
                  <a:lnTo>
                    <a:pt x="139" y="12147"/>
                  </a:lnTo>
                  <a:cubicBezTo>
                    <a:pt x="136" y="12309"/>
                    <a:pt x="187" y="12440"/>
                    <a:pt x="246" y="12419"/>
                  </a:cubicBezTo>
                  <a:cubicBezTo>
                    <a:pt x="295" y="12401"/>
                    <a:pt x="330" y="12281"/>
                    <a:pt x="326" y="12147"/>
                  </a:cubicBezTo>
                  <a:lnTo>
                    <a:pt x="327" y="6047"/>
                  </a:lnTo>
                  <a:cubicBezTo>
                    <a:pt x="332" y="2983"/>
                    <a:pt x="1247" y="514"/>
                    <a:pt x="2368" y="543"/>
                  </a:cubicBezTo>
                  <a:cubicBezTo>
                    <a:pt x="3474" y="572"/>
                    <a:pt x="4365" y="3027"/>
                    <a:pt x="4366" y="6049"/>
                  </a:cubicBezTo>
                  <a:lnTo>
                    <a:pt x="4365" y="9349"/>
                  </a:lnTo>
                  <a:lnTo>
                    <a:pt x="4277" y="9349"/>
                  </a:lnTo>
                  <a:cubicBezTo>
                    <a:pt x="4262" y="9349"/>
                    <a:pt x="4248" y="9373"/>
                    <a:pt x="4240" y="9412"/>
                  </a:cubicBezTo>
                  <a:cubicBezTo>
                    <a:pt x="4230" y="9454"/>
                    <a:pt x="4229" y="9508"/>
                    <a:pt x="4236" y="9555"/>
                  </a:cubicBezTo>
                  <a:lnTo>
                    <a:pt x="4424" y="10735"/>
                  </a:lnTo>
                  <a:cubicBezTo>
                    <a:pt x="4431" y="10782"/>
                    <a:pt x="4447" y="10812"/>
                    <a:pt x="4463" y="10812"/>
                  </a:cubicBezTo>
                  <a:cubicBezTo>
                    <a:pt x="4480" y="10813"/>
                    <a:pt x="4496" y="10783"/>
                    <a:pt x="4504" y="10735"/>
                  </a:cubicBezTo>
                  <a:lnTo>
                    <a:pt x="4692" y="9551"/>
                  </a:lnTo>
                  <a:cubicBezTo>
                    <a:pt x="4698" y="9503"/>
                    <a:pt x="4695" y="9450"/>
                    <a:pt x="4686" y="9409"/>
                  </a:cubicBezTo>
                  <a:cubicBezTo>
                    <a:pt x="4676" y="9370"/>
                    <a:pt x="4662" y="9348"/>
                    <a:pt x="4647" y="9348"/>
                  </a:cubicBezTo>
                  <a:lnTo>
                    <a:pt x="4554" y="9348"/>
                  </a:lnTo>
                  <a:lnTo>
                    <a:pt x="4555" y="6053"/>
                  </a:lnTo>
                  <a:cubicBezTo>
                    <a:pt x="4559" y="2756"/>
                    <a:pt x="3593" y="64"/>
                    <a:pt x="2387" y="8"/>
                  </a:cubicBezTo>
                  <a:close/>
                  <a:moveTo>
                    <a:pt x="8681" y="10845"/>
                  </a:moveTo>
                  <a:cubicBezTo>
                    <a:pt x="8664" y="10845"/>
                    <a:pt x="8649" y="10875"/>
                    <a:pt x="8641" y="10922"/>
                  </a:cubicBezTo>
                  <a:lnTo>
                    <a:pt x="8452" y="12106"/>
                  </a:lnTo>
                  <a:cubicBezTo>
                    <a:pt x="8447" y="12154"/>
                    <a:pt x="8449" y="12208"/>
                    <a:pt x="8459" y="12249"/>
                  </a:cubicBezTo>
                  <a:cubicBezTo>
                    <a:pt x="8468" y="12287"/>
                    <a:pt x="8483" y="12310"/>
                    <a:pt x="8498" y="12310"/>
                  </a:cubicBezTo>
                  <a:lnTo>
                    <a:pt x="8591" y="12310"/>
                  </a:lnTo>
                  <a:lnTo>
                    <a:pt x="8590" y="15448"/>
                  </a:lnTo>
                  <a:cubicBezTo>
                    <a:pt x="8585" y="18512"/>
                    <a:pt x="7670" y="20980"/>
                    <a:pt x="6549" y="20951"/>
                  </a:cubicBezTo>
                  <a:cubicBezTo>
                    <a:pt x="5443" y="20922"/>
                    <a:pt x="4552" y="18468"/>
                    <a:pt x="4551" y="15446"/>
                  </a:cubicBezTo>
                  <a:lnTo>
                    <a:pt x="4552" y="12020"/>
                  </a:lnTo>
                  <a:cubicBezTo>
                    <a:pt x="4558" y="11881"/>
                    <a:pt x="4522" y="11755"/>
                    <a:pt x="4472" y="11738"/>
                  </a:cubicBezTo>
                  <a:cubicBezTo>
                    <a:pt x="4411" y="11717"/>
                    <a:pt x="4359" y="11853"/>
                    <a:pt x="4363" y="12020"/>
                  </a:cubicBezTo>
                  <a:lnTo>
                    <a:pt x="4362" y="15442"/>
                  </a:lnTo>
                  <a:cubicBezTo>
                    <a:pt x="4359" y="18739"/>
                    <a:pt x="5324" y="21431"/>
                    <a:pt x="6530" y="21487"/>
                  </a:cubicBezTo>
                  <a:cubicBezTo>
                    <a:pt x="7766" y="21544"/>
                    <a:pt x="8780" y="18824"/>
                    <a:pt x="8782" y="15446"/>
                  </a:cubicBezTo>
                  <a:lnTo>
                    <a:pt x="8780" y="12309"/>
                  </a:lnTo>
                  <a:lnTo>
                    <a:pt x="8868" y="12309"/>
                  </a:lnTo>
                  <a:cubicBezTo>
                    <a:pt x="8883" y="12308"/>
                    <a:pt x="8896" y="12285"/>
                    <a:pt x="8905" y="12245"/>
                  </a:cubicBezTo>
                  <a:cubicBezTo>
                    <a:pt x="8914" y="12203"/>
                    <a:pt x="8916" y="12149"/>
                    <a:pt x="8909" y="12103"/>
                  </a:cubicBezTo>
                  <a:lnTo>
                    <a:pt x="8721" y="10922"/>
                  </a:lnTo>
                  <a:cubicBezTo>
                    <a:pt x="8713" y="10876"/>
                    <a:pt x="8698" y="10846"/>
                    <a:pt x="8681" y="10845"/>
                  </a:cubicBezTo>
                  <a:close/>
                  <a:moveTo>
                    <a:pt x="17143" y="10845"/>
                  </a:moveTo>
                  <a:cubicBezTo>
                    <a:pt x="17126" y="10845"/>
                    <a:pt x="17111" y="10875"/>
                    <a:pt x="17103" y="10922"/>
                  </a:cubicBezTo>
                  <a:lnTo>
                    <a:pt x="16914" y="12106"/>
                  </a:lnTo>
                  <a:cubicBezTo>
                    <a:pt x="16909" y="12154"/>
                    <a:pt x="16911" y="12208"/>
                    <a:pt x="16921" y="12249"/>
                  </a:cubicBezTo>
                  <a:cubicBezTo>
                    <a:pt x="16930" y="12287"/>
                    <a:pt x="16945" y="12310"/>
                    <a:pt x="16960" y="12310"/>
                  </a:cubicBezTo>
                  <a:lnTo>
                    <a:pt x="17043" y="12310"/>
                  </a:lnTo>
                  <a:lnTo>
                    <a:pt x="17047" y="15448"/>
                  </a:lnTo>
                  <a:cubicBezTo>
                    <a:pt x="17042" y="18512"/>
                    <a:pt x="16126" y="20980"/>
                    <a:pt x="15005" y="20951"/>
                  </a:cubicBezTo>
                  <a:cubicBezTo>
                    <a:pt x="13900" y="20922"/>
                    <a:pt x="13009" y="18468"/>
                    <a:pt x="13007" y="15446"/>
                  </a:cubicBezTo>
                  <a:lnTo>
                    <a:pt x="13008" y="12020"/>
                  </a:lnTo>
                  <a:cubicBezTo>
                    <a:pt x="13012" y="11886"/>
                    <a:pt x="12976" y="11768"/>
                    <a:pt x="12928" y="11751"/>
                  </a:cubicBezTo>
                  <a:cubicBezTo>
                    <a:pt x="12869" y="11730"/>
                    <a:pt x="12817" y="11858"/>
                    <a:pt x="12819" y="12020"/>
                  </a:cubicBezTo>
                  <a:lnTo>
                    <a:pt x="12818" y="15442"/>
                  </a:lnTo>
                  <a:cubicBezTo>
                    <a:pt x="12815" y="18739"/>
                    <a:pt x="13781" y="21431"/>
                    <a:pt x="14986" y="21487"/>
                  </a:cubicBezTo>
                  <a:cubicBezTo>
                    <a:pt x="16222" y="21544"/>
                    <a:pt x="17236" y="18824"/>
                    <a:pt x="17239" y="15446"/>
                  </a:cubicBezTo>
                  <a:lnTo>
                    <a:pt x="17235" y="12309"/>
                  </a:lnTo>
                  <a:lnTo>
                    <a:pt x="17330" y="12309"/>
                  </a:lnTo>
                  <a:cubicBezTo>
                    <a:pt x="17345" y="12308"/>
                    <a:pt x="17359" y="12285"/>
                    <a:pt x="17367" y="12245"/>
                  </a:cubicBezTo>
                  <a:cubicBezTo>
                    <a:pt x="17376" y="12203"/>
                    <a:pt x="17378" y="12149"/>
                    <a:pt x="17371" y="12103"/>
                  </a:cubicBezTo>
                  <a:lnTo>
                    <a:pt x="17183" y="10922"/>
                  </a:lnTo>
                  <a:cubicBezTo>
                    <a:pt x="17175" y="10876"/>
                    <a:pt x="17160" y="10846"/>
                    <a:pt x="17143" y="10845"/>
                  </a:cubicBezTo>
                  <a:close/>
                  <a:moveTo>
                    <a:pt x="231" y="13316"/>
                  </a:moveTo>
                  <a:cubicBezTo>
                    <a:pt x="215" y="13315"/>
                    <a:pt x="199" y="13346"/>
                    <a:pt x="191" y="13393"/>
                  </a:cubicBezTo>
                  <a:lnTo>
                    <a:pt x="2" y="14577"/>
                  </a:lnTo>
                  <a:cubicBezTo>
                    <a:pt x="-3" y="14625"/>
                    <a:pt x="0" y="14678"/>
                    <a:pt x="9" y="14720"/>
                  </a:cubicBezTo>
                  <a:cubicBezTo>
                    <a:pt x="18" y="14758"/>
                    <a:pt x="33" y="14781"/>
                    <a:pt x="48" y="14780"/>
                  </a:cubicBezTo>
                  <a:lnTo>
                    <a:pt x="137" y="14780"/>
                  </a:lnTo>
                  <a:lnTo>
                    <a:pt x="137" y="17618"/>
                  </a:lnTo>
                  <a:cubicBezTo>
                    <a:pt x="137" y="17731"/>
                    <a:pt x="137" y="17799"/>
                    <a:pt x="143" y="17844"/>
                  </a:cubicBezTo>
                  <a:cubicBezTo>
                    <a:pt x="152" y="17916"/>
                    <a:pt x="173" y="17973"/>
                    <a:pt x="200" y="18000"/>
                  </a:cubicBezTo>
                  <a:cubicBezTo>
                    <a:pt x="210" y="18010"/>
                    <a:pt x="221" y="18015"/>
                    <a:pt x="232" y="18015"/>
                  </a:cubicBezTo>
                  <a:cubicBezTo>
                    <a:pt x="243" y="18015"/>
                    <a:pt x="254" y="18010"/>
                    <a:pt x="264" y="18000"/>
                  </a:cubicBezTo>
                  <a:cubicBezTo>
                    <a:pt x="291" y="17973"/>
                    <a:pt x="312" y="17916"/>
                    <a:pt x="321" y="17844"/>
                  </a:cubicBezTo>
                  <a:cubicBezTo>
                    <a:pt x="327" y="17799"/>
                    <a:pt x="327" y="17731"/>
                    <a:pt x="327" y="17618"/>
                  </a:cubicBezTo>
                  <a:lnTo>
                    <a:pt x="327" y="14779"/>
                  </a:lnTo>
                  <a:lnTo>
                    <a:pt x="418" y="14779"/>
                  </a:lnTo>
                  <a:cubicBezTo>
                    <a:pt x="433" y="14779"/>
                    <a:pt x="447" y="14755"/>
                    <a:pt x="455" y="14716"/>
                  </a:cubicBezTo>
                  <a:cubicBezTo>
                    <a:pt x="464" y="14674"/>
                    <a:pt x="466" y="14620"/>
                    <a:pt x="460" y="14573"/>
                  </a:cubicBezTo>
                  <a:lnTo>
                    <a:pt x="271" y="13393"/>
                  </a:lnTo>
                  <a:cubicBezTo>
                    <a:pt x="264" y="13346"/>
                    <a:pt x="248" y="13316"/>
                    <a:pt x="231" y="13316"/>
                  </a:cubicBezTo>
                  <a:close/>
                  <a:moveTo>
                    <a:pt x="232" y="18625"/>
                  </a:moveTo>
                  <a:cubicBezTo>
                    <a:pt x="207" y="18625"/>
                    <a:pt x="183" y="18651"/>
                    <a:pt x="164" y="18703"/>
                  </a:cubicBezTo>
                  <a:cubicBezTo>
                    <a:pt x="126" y="18805"/>
                    <a:pt x="126" y="18971"/>
                    <a:pt x="164" y="19073"/>
                  </a:cubicBezTo>
                  <a:cubicBezTo>
                    <a:pt x="201" y="19176"/>
                    <a:pt x="262" y="19176"/>
                    <a:pt x="299" y="19073"/>
                  </a:cubicBezTo>
                  <a:cubicBezTo>
                    <a:pt x="337" y="18971"/>
                    <a:pt x="337" y="18805"/>
                    <a:pt x="299" y="18703"/>
                  </a:cubicBezTo>
                  <a:cubicBezTo>
                    <a:pt x="281" y="18651"/>
                    <a:pt x="256" y="18625"/>
                    <a:pt x="232" y="18625"/>
                  </a:cubicBezTo>
                  <a:close/>
                  <a:moveTo>
                    <a:pt x="232" y="19748"/>
                  </a:moveTo>
                  <a:cubicBezTo>
                    <a:pt x="207" y="19748"/>
                    <a:pt x="183" y="19774"/>
                    <a:pt x="164" y="19826"/>
                  </a:cubicBezTo>
                  <a:cubicBezTo>
                    <a:pt x="127" y="19928"/>
                    <a:pt x="127" y="20094"/>
                    <a:pt x="164" y="20196"/>
                  </a:cubicBezTo>
                  <a:cubicBezTo>
                    <a:pt x="202" y="20299"/>
                    <a:pt x="262" y="20299"/>
                    <a:pt x="300" y="20196"/>
                  </a:cubicBezTo>
                  <a:cubicBezTo>
                    <a:pt x="337" y="20094"/>
                    <a:pt x="337" y="19928"/>
                    <a:pt x="300" y="19826"/>
                  </a:cubicBezTo>
                  <a:cubicBezTo>
                    <a:pt x="281" y="19774"/>
                    <a:pt x="256" y="19748"/>
                    <a:pt x="232" y="19748"/>
                  </a:cubicBezTo>
                  <a:close/>
                </a:path>
              </a:pathLst>
            </a:custGeom>
            <a:solidFill>
              <a:schemeClr val="accent1">
                <a:alpha val="15000"/>
              </a:schemeClr>
            </a:solidFill>
            <a:ln w="12700">
              <a:miter lim="400000"/>
            </a:ln>
          </p:spPr>
          <p:txBody>
            <a:bodyPr lIns="45719" tIns="45719" rIns="45719" bIns="45719"/>
            <a:lstStyle/>
            <a:p/>
          </p:txBody>
        </p:sp>
        <p:sp>
          <p:nvSpPr>
            <p:cNvPr id="39" name="文本框 38"/>
            <p:cNvSpPr txBox="1"/>
            <p:nvPr/>
          </p:nvSpPr>
          <p:spPr>
            <a:xfrm>
              <a:off x="1701800" y="1130300"/>
              <a:ext cx="8788400" cy="576577"/>
            </a:xfrm>
            <a:prstGeom prst="rect">
              <a:avLst/>
            </a:prstGeom>
            <a:noFill/>
          </p:spPr>
          <p:txBody>
            <a:bodyPr wrap="square" anchor="b" anchorCtr="0">
              <a:normAutofit/>
            </a:bodyPr>
            <a:lstStyle/>
            <a:p>
              <a:pPr algn="ctr"/>
              <a:r>
                <a:rPr lang="en-US" altLang="zh-CN" sz="2400" b="1">
                  <a:latin typeface="Calibri" pitchFamily="34" charset="0"/>
                  <a:ea typeface="宋体" pitchFamily="2" charset="-122"/>
                </a:rPr>
                <a:t>Unified fonts make reading more fluent</a:t>
              </a:r>
              <a:endParaRPr lang="en-US" altLang="zh-CN" sz="2400" b="1" dirty="0">
                <a:latin typeface="Calibri" pitchFamily="34" charset="0"/>
                <a:ea typeface="宋体" pitchFamily="2" charset="-122"/>
              </a:endParaRPr>
            </a:p>
          </p:txBody>
        </p:sp>
        <p:grpSp>
          <p:nvGrpSpPr>
            <p:cNvPr id="40" name="组合 39"/>
            <p:cNvGrpSpPr/>
            <p:nvPr/>
          </p:nvGrpSpPr>
          <p:grpSpPr>
            <a:xfrm>
              <a:off x="799845" y="2556246"/>
              <a:ext cx="1942444" cy="3488022"/>
              <a:chOff x="799845" y="2556246"/>
              <a:chExt cx="1942444" cy="3488022"/>
            </a:xfrm>
          </p:grpSpPr>
          <p:sp>
            <p:nvSpPr>
              <p:cNvPr id="37" name="椭圆 36"/>
              <p:cNvSpPr/>
              <p:nvPr/>
            </p:nvSpPr>
            <p:spPr>
              <a:xfrm>
                <a:off x="1085694" y="2556246"/>
                <a:ext cx="1352598" cy="1312855"/>
              </a:xfrm>
              <a:prstGeom prst="ellipse">
                <a:avLst/>
              </a:prstGeom>
              <a:solidFill>
                <a:schemeClr val="bg1"/>
              </a:solidFill>
              <a:ln>
                <a:solidFill>
                  <a:schemeClr val="accent1">
                    <a:alpha val="50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2800" b="1" dirty="0">
                  <a:solidFill>
                    <a:schemeClr val="tx1"/>
                  </a:solidFill>
                </a:endParaRPr>
              </a:p>
            </p:txBody>
          </p:sp>
          <p:sp>
            <p:nvSpPr>
              <p:cNvPr id="38" name="椭圆 37"/>
              <p:cNvSpPr/>
              <p:nvPr/>
            </p:nvSpPr>
            <p:spPr>
              <a:xfrm>
                <a:off x="1204755" y="2671811"/>
                <a:ext cx="1114477" cy="1081725"/>
              </a:xfrm>
              <a:prstGeom prst="ellipse">
                <a:avLst/>
              </a:prstGeom>
              <a:gradFill flip="none" rotWithShape="1">
                <a:gsLst>
                  <a:gs pos="0">
                    <a:schemeClr val="accent1">
                      <a:lumMod val="60000"/>
                      <a:lumOff val="40000"/>
                    </a:schemeClr>
                  </a:gs>
                  <a:gs pos="72000">
                    <a:schemeClr val="accent1"/>
                  </a:gs>
                </a:gsLst>
                <a:lin ang="2700000" scaled="1"/>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kumimoji="1" lang="en-US" altLang="zh-CN" b="1" dirty="0">
                    <a:solidFill>
                      <a:srgbClr val="FFFFFF"/>
                    </a:solidFill>
                    <a:latin typeface="Calibri" pitchFamily="34" charset="0"/>
                    <a:ea typeface="宋体" pitchFamily="2" charset="-122"/>
                  </a:rPr>
                  <a:t>20XX</a:t>
                </a:r>
                <a:endParaRPr kumimoji="1" lang="zh-CN" altLang="en-US" b="1" dirty="0">
                  <a:solidFill>
                    <a:srgbClr val="FFFFFF"/>
                  </a:solidFill>
                  <a:latin typeface="Calibri" pitchFamily="34" charset="0"/>
                  <a:ea typeface="宋体" pitchFamily="2" charset="-122"/>
                </a:endParaRPr>
              </a:p>
            </p:txBody>
          </p:sp>
          <p:sp>
            <p:nvSpPr>
              <p:cNvPr id="35" name="文本框 34"/>
              <p:cNvSpPr txBox="1"/>
              <p:nvPr/>
            </p:nvSpPr>
            <p:spPr>
              <a:xfrm>
                <a:off x="799845" y="4556873"/>
                <a:ext cx="1941672" cy="1487395"/>
              </a:xfrm>
              <a:prstGeom prst="rect">
                <a:avLst/>
              </a:prstGeom>
            </p:spPr>
            <p:txBody>
              <a:bodyPr wrap="square" rtlCol="0" anchor="t" anchorCtr="0">
                <a:normAutofit/>
              </a:bodyPr>
              <a:lstStyle>
                <a:defPPr>
                  <a:defRPr lang="zh-CN"/>
                </a:defPPr>
                <a:lvl1pPr>
                  <a:lnSpc>
                    <a:spcPts val="1500"/>
                  </a:lnSpc>
                  <a:defRPr sz="1200"/>
                </a:lvl1pPr>
              </a:lstStyle>
              <a:p>
                <a:pPr algn="ctr">
                  <a:lnSpc>
                    <a:spcPct val="120000"/>
                  </a:lnSpc>
                </a:pPr>
                <a:r>
                  <a:rPr kumimoji="1" lang="es-ES" altLang="zh-CN">
                    <a:latin typeface="Calibri" pitchFamily="34" charset="0"/>
                    <a:ea typeface="宋体" pitchFamily="2" charset="-122"/>
                  </a:rPr>
                  <a:t>Dolor elitr nonummy sed dolor eos eos sed voluptua.</a:t>
                </a:r>
                <a:endParaRPr kumimoji="1" lang="en-US" altLang="zh-CN" dirty="0">
                  <a:latin typeface="Calibri" pitchFamily="34" charset="0"/>
                  <a:ea typeface="宋体" pitchFamily="2" charset="-122"/>
                </a:endParaRPr>
              </a:p>
            </p:txBody>
          </p:sp>
          <p:sp>
            <p:nvSpPr>
              <p:cNvPr id="36" name="文本框 35"/>
              <p:cNvSpPr txBox="1"/>
              <p:nvPr/>
            </p:nvSpPr>
            <p:spPr>
              <a:xfrm>
                <a:off x="807025" y="3946889"/>
                <a:ext cx="1935264" cy="508677"/>
              </a:xfrm>
              <a:prstGeom prst="rect">
                <a:avLst/>
              </a:prstGeom>
              <a:noFill/>
            </p:spPr>
            <p:txBody>
              <a:bodyPr wrap="square" rtlCol="0" anchor="b" anchorCtr="0">
                <a:normAutofit/>
              </a:bodyPr>
              <a:lstStyle/>
              <a:p>
                <a:pPr algn="ctr"/>
                <a:r>
                  <a:rPr kumimoji="1" lang="en-US" altLang="zh-CN" b="1">
                    <a:latin typeface="Calibri" pitchFamily="34" charset="0"/>
                    <a:ea typeface="宋体" pitchFamily="2" charset="-122"/>
                  </a:rPr>
                  <a:t>Click to add text</a:t>
                </a:r>
                <a:endParaRPr kumimoji="1" lang="en-US" altLang="zh-CN" b="1" dirty="0">
                  <a:latin typeface="Calibri" pitchFamily="34" charset="0"/>
                  <a:ea typeface="宋体" pitchFamily="2" charset="-122"/>
                </a:endParaRPr>
              </a:p>
            </p:txBody>
          </p:sp>
        </p:grpSp>
        <p:grpSp>
          <p:nvGrpSpPr>
            <p:cNvPr id="43" name="组合 42"/>
            <p:cNvGrpSpPr/>
            <p:nvPr/>
          </p:nvGrpSpPr>
          <p:grpSpPr>
            <a:xfrm>
              <a:off x="2967831" y="2464080"/>
              <a:ext cx="2035220" cy="3405643"/>
              <a:chOff x="2967831" y="2464080"/>
              <a:chExt cx="2035220" cy="3405643"/>
            </a:xfrm>
          </p:grpSpPr>
          <p:sp>
            <p:nvSpPr>
              <p:cNvPr id="25" name="椭圆 24"/>
              <p:cNvSpPr/>
              <p:nvPr/>
            </p:nvSpPr>
            <p:spPr>
              <a:xfrm>
                <a:off x="3299809" y="4556868"/>
                <a:ext cx="1352599" cy="1312855"/>
              </a:xfrm>
              <a:prstGeom prst="ellipse">
                <a:avLst/>
              </a:prstGeom>
              <a:solidFill>
                <a:schemeClr val="bg1"/>
              </a:solidFill>
              <a:ln>
                <a:solidFill>
                  <a:schemeClr val="accent2">
                    <a:alpha val="50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2800" b="1" dirty="0">
                  <a:solidFill>
                    <a:schemeClr val="tx1"/>
                  </a:solidFill>
                </a:endParaRPr>
              </a:p>
            </p:txBody>
          </p:sp>
          <p:sp>
            <p:nvSpPr>
              <p:cNvPr id="26" name="椭圆 25"/>
              <p:cNvSpPr/>
              <p:nvPr/>
            </p:nvSpPr>
            <p:spPr>
              <a:xfrm>
                <a:off x="3418870" y="4672433"/>
                <a:ext cx="1114478" cy="1081725"/>
              </a:xfrm>
              <a:prstGeom prst="ellipse">
                <a:avLst/>
              </a:prstGeom>
              <a:gradFill flip="none" rotWithShape="1">
                <a:gsLst>
                  <a:gs pos="0">
                    <a:schemeClr val="accent2">
                      <a:lumMod val="60000"/>
                      <a:lumOff val="40000"/>
                    </a:schemeClr>
                  </a:gs>
                  <a:gs pos="50000">
                    <a:schemeClr val="accent2"/>
                  </a:gs>
                </a:gsLst>
                <a:lin ang="2700000" scaled="1"/>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kumimoji="1" lang="en-US" altLang="zh-CN" b="1" dirty="0">
                    <a:solidFill>
                      <a:srgbClr val="FFFFFF"/>
                    </a:solidFill>
                    <a:latin typeface="Calibri" pitchFamily="34" charset="0"/>
                    <a:ea typeface="宋体" pitchFamily="2" charset="-122"/>
                  </a:rPr>
                  <a:t>20XX</a:t>
                </a:r>
                <a:endParaRPr kumimoji="1" lang="zh-CN" altLang="en-US" b="1" dirty="0">
                  <a:solidFill>
                    <a:srgbClr val="FFFFFF"/>
                  </a:solidFill>
                  <a:latin typeface="Calibri" pitchFamily="34" charset="0"/>
                  <a:ea typeface="宋体" pitchFamily="2" charset="-122"/>
                </a:endParaRPr>
              </a:p>
            </p:txBody>
          </p:sp>
          <p:sp>
            <p:nvSpPr>
              <p:cNvPr id="23" name="文本框 22"/>
              <p:cNvSpPr txBox="1"/>
              <p:nvPr/>
            </p:nvSpPr>
            <p:spPr>
              <a:xfrm>
                <a:off x="2967831" y="2978036"/>
                <a:ext cx="2035220" cy="1463267"/>
              </a:xfrm>
              <a:prstGeom prst="rect">
                <a:avLst/>
              </a:prstGeom>
            </p:spPr>
            <p:txBody>
              <a:bodyPr wrap="square" rtlCol="0" anchor="t" anchorCtr="0">
                <a:normAutofit/>
              </a:bodyPr>
              <a:lstStyle>
                <a:defPPr>
                  <a:defRPr lang="en-US"/>
                </a:defPPr>
                <a:lvl1pPr marL="285750" indent="-285750">
                  <a:lnSpc>
                    <a:spcPct val="150000"/>
                  </a:lnSpc>
                  <a:buFont typeface="Arial" panose="020B0604020202090204" pitchFamily="34" charset="0"/>
                  <a:buChar char="•"/>
                  <a:defRPr sz="1200" b="1"/>
                </a:lvl1pPr>
              </a:lstStyle>
              <a:p>
                <a:pPr marL="0" indent="0" algn="ctr">
                  <a:lnSpc>
                    <a:spcPct val="120000"/>
                  </a:lnSpc>
                  <a:buNone/>
                </a:pPr>
                <a:r>
                  <a:rPr kumimoji="1" lang="it-IT" altLang="zh-CN" b="0">
                    <a:latin typeface="Calibri" pitchFamily="34" charset="0"/>
                    <a:ea typeface="宋体" pitchFamily="2" charset="-122"/>
                  </a:rPr>
                  <a:t>Et facilisi ut lorem ipsum erat accusam et ea consetetur.</a:t>
                </a:r>
                <a:endParaRPr kumimoji="1" lang="en-US" altLang="zh-CN" b="0" dirty="0">
                  <a:latin typeface="Calibri" pitchFamily="34" charset="0"/>
                  <a:ea typeface="宋体" pitchFamily="2" charset="-122"/>
                </a:endParaRPr>
              </a:p>
            </p:txBody>
          </p:sp>
          <p:sp>
            <p:nvSpPr>
              <p:cNvPr id="24" name="文本框 23"/>
              <p:cNvSpPr txBox="1"/>
              <p:nvPr/>
            </p:nvSpPr>
            <p:spPr>
              <a:xfrm>
                <a:off x="2975009" y="2464080"/>
                <a:ext cx="1935264" cy="508677"/>
              </a:xfrm>
              <a:prstGeom prst="rect">
                <a:avLst/>
              </a:prstGeom>
              <a:noFill/>
            </p:spPr>
            <p:txBody>
              <a:bodyPr wrap="square" rtlCol="0" anchor="b" anchorCtr="0">
                <a:normAutofit/>
              </a:bodyPr>
              <a:lstStyle/>
              <a:p>
                <a:pPr algn="ctr"/>
                <a:r>
                  <a:rPr kumimoji="1" lang="en-US" altLang="zh-CN" b="1">
                    <a:latin typeface="Calibri" pitchFamily="34" charset="0"/>
                    <a:ea typeface="宋体" pitchFamily="2" charset="-122"/>
                  </a:rPr>
                  <a:t>Click to add text</a:t>
                </a:r>
                <a:endParaRPr kumimoji="1" lang="en-US" altLang="zh-CN" b="1" dirty="0">
                  <a:latin typeface="Calibri" pitchFamily="34" charset="0"/>
                  <a:ea typeface="宋体" pitchFamily="2" charset="-122"/>
                </a:endParaRPr>
              </a:p>
            </p:txBody>
          </p:sp>
        </p:grpSp>
        <p:grpSp>
          <p:nvGrpSpPr>
            <p:cNvPr id="42" name="组合 41"/>
            <p:cNvGrpSpPr/>
            <p:nvPr/>
          </p:nvGrpSpPr>
          <p:grpSpPr>
            <a:xfrm>
              <a:off x="5128640" y="2532138"/>
              <a:ext cx="1942442" cy="3503907"/>
              <a:chOff x="5128640" y="2532138"/>
              <a:chExt cx="1942442" cy="3503907"/>
            </a:xfrm>
          </p:grpSpPr>
          <p:sp>
            <p:nvSpPr>
              <p:cNvPr id="31" name="椭圆 30"/>
              <p:cNvSpPr/>
              <p:nvPr/>
            </p:nvSpPr>
            <p:spPr>
              <a:xfrm>
                <a:off x="5427151" y="2532138"/>
                <a:ext cx="1352599" cy="1312855"/>
              </a:xfrm>
              <a:prstGeom prst="ellipse">
                <a:avLst/>
              </a:prstGeom>
              <a:solidFill>
                <a:schemeClr val="bg1"/>
              </a:solidFill>
              <a:ln>
                <a:solidFill>
                  <a:schemeClr val="accent1">
                    <a:alpha val="50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2800" b="1" dirty="0">
                  <a:solidFill>
                    <a:schemeClr val="tx1"/>
                  </a:solidFill>
                </a:endParaRPr>
              </a:p>
            </p:txBody>
          </p:sp>
          <p:sp>
            <p:nvSpPr>
              <p:cNvPr id="32" name="椭圆 31"/>
              <p:cNvSpPr/>
              <p:nvPr/>
            </p:nvSpPr>
            <p:spPr>
              <a:xfrm>
                <a:off x="5546212" y="2647703"/>
                <a:ext cx="1114478" cy="1081725"/>
              </a:xfrm>
              <a:prstGeom prst="ellipse">
                <a:avLst/>
              </a:prstGeom>
              <a:gradFill flip="none" rotWithShape="1">
                <a:gsLst>
                  <a:gs pos="0">
                    <a:schemeClr val="accent1">
                      <a:lumMod val="60000"/>
                      <a:lumOff val="40000"/>
                    </a:schemeClr>
                  </a:gs>
                  <a:gs pos="72000">
                    <a:schemeClr val="accent1"/>
                  </a:gs>
                </a:gsLst>
                <a:lin ang="2700000" scaled="1"/>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kumimoji="1" lang="en-US" altLang="zh-CN" b="1" dirty="0">
                    <a:solidFill>
                      <a:srgbClr val="FFFFFF"/>
                    </a:solidFill>
                    <a:latin typeface="Calibri" pitchFamily="34" charset="0"/>
                    <a:ea typeface="宋体" pitchFamily="2" charset="-122"/>
                  </a:rPr>
                  <a:t>20XX</a:t>
                </a:r>
                <a:endParaRPr kumimoji="1" lang="zh-CN" altLang="en-US" b="1" dirty="0">
                  <a:solidFill>
                    <a:srgbClr val="FFFFFF"/>
                  </a:solidFill>
                  <a:latin typeface="Calibri" pitchFamily="34" charset="0"/>
                  <a:ea typeface="宋体" pitchFamily="2" charset="-122"/>
                </a:endParaRPr>
              </a:p>
            </p:txBody>
          </p:sp>
          <p:sp>
            <p:nvSpPr>
              <p:cNvPr id="29" name="文本框 28"/>
              <p:cNvSpPr txBox="1"/>
              <p:nvPr/>
            </p:nvSpPr>
            <p:spPr>
              <a:xfrm>
                <a:off x="5128640" y="4517934"/>
                <a:ext cx="1935264" cy="1518111"/>
              </a:xfrm>
              <a:prstGeom prst="rect">
                <a:avLst/>
              </a:prstGeom>
            </p:spPr>
            <p:txBody>
              <a:bodyPr wrap="square" rtlCol="0" anchor="t" anchorCtr="0">
                <a:normAutofit/>
              </a:bodyPr>
              <a:lstStyle>
                <a:defPPr>
                  <a:defRPr lang="zh-CN"/>
                </a:defPPr>
                <a:lvl1pPr>
                  <a:lnSpc>
                    <a:spcPts val="1500"/>
                  </a:lnSpc>
                  <a:defRPr sz="1200"/>
                </a:lvl1pPr>
              </a:lstStyle>
              <a:p>
                <a:pPr algn="ctr">
                  <a:lnSpc>
                    <a:spcPct val="120000"/>
                  </a:lnSpc>
                </a:pPr>
                <a:r>
                  <a:rPr kumimoji="1" lang="it-IT" altLang="zh-CN">
                    <a:latin typeface="Calibri" pitchFamily="34" charset="0"/>
                    <a:ea typeface="宋体" pitchFamily="2" charset="-122"/>
                  </a:rPr>
                  <a:t>Amet et kasd diam labore sed no labore et voluptua sit.</a:t>
                </a:r>
                <a:endParaRPr kumimoji="1" lang="en-US" altLang="zh-CN" dirty="0">
                  <a:latin typeface="Calibri" pitchFamily="34" charset="0"/>
                  <a:ea typeface="宋体" pitchFamily="2" charset="-122"/>
                </a:endParaRPr>
              </a:p>
            </p:txBody>
          </p:sp>
          <p:sp>
            <p:nvSpPr>
              <p:cNvPr id="30" name="文本框 29"/>
              <p:cNvSpPr txBox="1"/>
              <p:nvPr/>
            </p:nvSpPr>
            <p:spPr>
              <a:xfrm>
                <a:off x="5135818" y="4003977"/>
                <a:ext cx="1935264" cy="508677"/>
              </a:xfrm>
              <a:prstGeom prst="rect">
                <a:avLst/>
              </a:prstGeom>
              <a:noFill/>
            </p:spPr>
            <p:txBody>
              <a:bodyPr wrap="square" rtlCol="0" anchor="b" anchorCtr="0">
                <a:normAutofit/>
              </a:bodyPr>
              <a:lstStyle/>
              <a:p>
                <a:pPr algn="ctr"/>
                <a:r>
                  <a:rPr kumimoji="1" lang="en-US" altLang="zh-CN" b="1">
                    <a:latin typeface="Calibri" pitchFamily="34" charset="0"/>
                    <a:ea typeface="宋体" pitchFamily="2" charset="-122"/>
                  </a:rPr>
                  <a:t>Click to add text</a:t>
                </a:r>
                <a:endParaRPr kumimoji="1" lang="en-US" altLang="zh-CN" b="1" dirty="0">
                  <a:latin typeface="Calibri" pitchFamily="34" charset="0"/>
                  <a:ea typeface="宋体" pitchFamily="2" charset="-122"/>
                </a:endParaRPr>
              </a:p>
            </p:txBody>
          </p:sp>
        </p:grpSp>
        <p:grpSp>
          <p:nvGrpSpPr>
            <p:cNvPr id="44" name="组合 43"/>
            <p:cNvGrpSpPr/>
            <p:nvPr/>
          </p:nvGrpSpPr>
          <p:grpSpPr>
            <a:xfrm>
              <a:off x="7322333" y="2464080"/>
              <a:ext cx="1942442" cy="3405644"/>
              <a:chOff x="7322333" y="2464080"/>
              <a:chExt cx="1942442" cy="3405644"/>
            </a:xfrm>
          </p:grpSpPr>
          <p:sp>
            <p:nvSpPr>
              <p:cNvPr id="19" name="椭圆 18"/>
              <p:cNvSpPr/>
              <p:nvPr/>
            </p:nvSpPr>
            <p:spPr>
              <a:xfrm>
                <a:off x="7554497" y="4556869"/>
                <a:ext cx="1352599" cy="1312855"/>
              </a:xfrm>
              <a:prstGeom prst="ellipse">
                <a:avLst/>
              </a:prstGeom>
              <a:solidFill>
                <a:schemeClr val="bg1"/>
              </a:solidFill>
              <a:ln>
                <a:solidFill>
                  <a:schemeClr val="accent2">
                    <a:alpha val="50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2800" b="1" dirty="0">
                  <a:solidFill>
                    <a:schemeClr val="tx1"/>
                  </a:solidFill>
                </a:endParaRPr>
              </a:p>
            </p:txBody>
          </p:sp>
          <p:sp>
            <p:nvSpPr>
              <p:cNvPr id="20" name="椭圆 19"/>
              <p:cNvSpPr/>
              <p:nvPr/>
            </p:nvSpPr>
            <p:spPr>
              <a:xfrm>
                <a:off x="7673558" y="4672434"/>
                <a:ext cx="1114478" cy="1081725"/>
              </a:xfrm>
              <a:prstGeom prst="ellipse">
                <a:avLst/>
              </a:prstGeom>
              <a:gradFill flip="none" rotWithShape="1">
                <a:gsLst>
                  <a:gs pos="0">
                    <a:schemeClr val="accent2">
                      <a:lumMod val="60000"/>
                      <a:lumOff val="40000"/>
                    </a:schemeClr>
                  </a:gs>
                  <a:gs pos="50000">
                    <a:schemeClr val="accent2"/>
                  </a:gs>
                </a:gsLst>
                <a:lin ang="2700000" scaled="1"/>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kumimoji="1" lang="en-US" altLang="zh-CN" b="1" dirty="0">
                    <a:solidFill>
                      <a:srgbClr val="FFFFFF"/>
                    </a:solidFill>
                    <a:latin typeface="Calibri" pitchFamily="34" charset="0"/>
                    <a:ea typeface="宋体" pitchFamily="2" charset="-122"/>
                  </a:rPr>
                  <a:t>20XX</a:t>
                </a:r>
                <a:endParaRPr kumimoji="1" lang="zh-CN" altLang="en-US" b="1" dirty="0">
                  <a:solidFill>
                    <a:srgbClr val="FFFFFF"/>
                  </a:solidFill>
                  <a:latin typeface="Calibri" pitchFamily="34" charset="0"/>
                  <a:ea typeface="宋体" pitchFamily="2" charset="-122"/>
                </a:endParaRPr>
              </a:p>
            </p:txBody>
          </p:sp>
          <p:sp>
            <p:nvSpPr>
              <p:cNvPr id="17" name="文本框 16"/>
              <p:cNvSpPr txBox="1"/>
              <p:nvPr/>
            </p:nvSpPr>
            <p:spPr>
              <a:xfrm>
                <a:off x="7322333" y="2978036"/>
                <a:ext cx="1935264" cy="1534618"/>
              </a:xfrm>
              <a:prstGeom prst="rect">
                <a:avLst/>
              </a:prstGeom>
            </p:spPr>
            <p:txBody>
              <a:bodyPr wrap="square" rtlCol="0" anchor="t" anchorCtr="0">
                <a:normAutofit/>
              </a:bodyPr>
              <a:lstStyle>
                <a:defPPr>
                  <a:defRPr lang="zh-CN"/>
                </a:defPPr>
                <a:lvl1pPr>
                  <a:lnSpc>
                    <a:spcPts val="1500"/>
                  </a:lnSpc>
                  <a:defRPr sz="1200"/>
                </a:lvl1pPr>
              </a:lstStyle>
              <a:p>
                <a:pPr algn="ctr">
                  <a:lnSpc>
                    <a:spcPct val="120000"/>
                  </a:lnSpc>
                </a:pPr>
                <a:r>
                  <a:rPr kumimoji="1" lang="da-DK" altLang="zh-CN">
                    <a:latin typeface="Calibri" pitchFamily="34" charset="0"/>
                    <a:ea typeface="宋体" pitchFamily="2" charset="-122"/>
                  </a:rPr>
                  <a:t>Vel hendrerit kasd vero sit odio et sea dolores diam est et.</a:t>
                </a:r>
                <a:endParaRPr kumimoji="1" lang="en-US" altLang="zh-CN" dirty="0">
                  <a:latin typeface="Calibri" pitchFamily="34" charset="0"/>
                  <a:ea typeface="宋体" pitchFamily="2" charset="-122"/>
                </a:endParaRPr>
              </a:p>
            </p:txBody>
          </p:sp>
          <p:sp>
            <p:nvSpPr>
              <p:cNvPr id="18" name="文本框 17"/>
              <p:cNvSpPr txBox="1"/>
              <p:nvPr/>
            </p:nvSpPr>
            <p:spPr>
              <a:xfrm>
                <a:off x="7329511" y="2464080"/>
                <a:ext cx="1935264" cy="508677"/>
              </a:xfrm>
              <a:prstGeom prst="rect">
                <a:avLst/>
              </a:prstGeom>
              <a:noFill/>
            </p:spPr>
            <p:txBody>
              <a:bodyPr wrap="square" rtlCol="0" anchor="b" anchorCtr="0">
                <a:normAutofit/>
              </a:bodyPr>
              <a:lstStyle/>
              <a:p>
                <a:pPr algn="ctr"/>
                <a:r>
                  <a:rPr kumimoji="1" lang="en-US" altLang="zh-CN" b="1">
                    <a:latin typeface="Calibri" pitchFamily="34" charset="0"/>
                    <a:ea typeface="宋体" pitchFamily="2" charset="-122"/>
                  </a:rPr>
                  <a:t>Click to add text</a:t>
                </a:r>
                <a:endParaRPr kumimoji="1" lang="en-US" altLang="zh-CN" b="1" dirty="0">
                  <a:latin typeface="Calibri" pitchFamily="34" charset="0"/>
                  <a:ea typeface="宋体" pitchFamily="2" charset="-122"/>
                </a:endParaRPr>
              </a:p>
            </p:txBody>
          </p:sp>
        </p:grpSp>
        <p:grpSp>
          <p:nvGrpSpPr>
            <p:cNvPr id="45" name="组合 44"/>
            <p:cNvGrpSpPr/>
            <p:nvPr/>
          </p:nvGrpSpPr>
          <p:grpSpPr>
            <a:xfrm>
              <a:off x="9450257" y="2491097"/>
              <a:ext cx="2035219" cy="3544945"/>
              <a:chOff x="9450257" y="2491097"/>
              <a:chExt cx="2035219" cy="3544945"/>
            </a:xfrm>
          </p:grpSpPr>
          <p:sp>
            <p:nvSpPr>
              <p:cNvPr id="13" name="椭圆 12"/>
              <p:cNvSpPr/>
              <p:nvPr/>
            </p:nvSpPr>
            <p:spPr>
              <a:xfrm>
                <a:off x="9768610" y="2491097"/>
                <a:ext cx="1352599" cy="1312855"/>
              </a:xfrm>
              <a:prstGeom prst="ellipse">
                <a:avLst/>
              </a:prstGeom>
              <a:solidFill>
                <a:schemeClr val="bg1"/>
              </a:solidFill>
              <a:ln>
                <a:solidFill>
                  <a:schemeClr val="accent1">
                    <a:alpha val="50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2800" b="1" dirty="0">
                  <a:solidFill>
                    <a:schemeClr val="tx1"/>
                  </a:solidFill>
                </a:endParaRPr>
              </a:p>
            </p:txBody>
          </p:sp>
          <p:sp>
            <p:nvSpPr>
              <p:cNvPr id="14" name="椭圆 13"/>
              <p:cNvSpPr/>
              <p:nvPr/>
            </p:nvSpPr>
            <p:spPr>
              <a:xfrm>
                <a:off x="9887671" y="2606662"/>
                <a:ext cx="1114478" cy="1081725"/>
              </a:xfrm>
              <a:prstGeom prst="ellipse">
                <a:avLst/>
              </a:prstGeom>
              <a:gradFill flip="none" rotWithShape="1">
                <a:gsLst>
                  <a:gs pos="0">
                    <a:schemeClr val="accent1">
                      <a:lumMod val="60000"/>
                      <a:lumOff val="40000"/>
                    </a:schemeClr>
                  </a:gs>
                  <a:gs pos="72000">
                    <a:schemeClr val="accent1"/>
                  </a:gs>
                </a:gsLst>
                <a:lin ang="2700000" scaled="1"/>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kumimoji="1" lang="en-US" altLang="zh-CN" b="1" dirty="0">
                    <a:solidFill>
                      <a:srgbClr val="FFFFFF"/>
                    </a:solidFill>
                    <a:latin typeface="Calibri" pitchFamily="34" charset="0"/>
                    <a:ea typeface="宋体" pitchFamily="2" charset="-122"/>
                  </a:rPr>
                  <a:t>20XX</a:t>
                </a:r>
                <a:endParaRPr kumimoji="1" lang="zh-CN" altLang="en-US" b="1" dirty="0">
                  <a:solidFill>
                    <a:srgbClr val="FFFFFF"/>
                  </a:solidFill>
                  <a:latin typeface="Calibri" pitchFamily="34" charset="0"/>
                  <a:ea typeface="宋体" pitchFamily="2" charset="-122"/>
                </a:endParaRPr>
              </a:p>
            </p:txBody>
          </p:sp>
          <p:sp>
            <p:nvSpPr>
              <p:cNvPr id="11" name="文本框 10"/>
              <p:cNvSpPr txBox="1"/>
              <p:nvPr/>
            </p:nvSpPr>
            <p:spPr>
              <a:xfrm>
                <a:off x="9450257" y="4517933"/>
                <a:ext cx="2035219" cy="1518109"/>
              </a:xfrm>
              <a:prstGeom prst="rect">
                <a:avLst/>
              </a:prstGeom>
            </p:spPr>
            <p:txBody>
              <a:bodyPr wrap="square" rtlCol="0" anchor="t" anchorCtr="0">
                <a:normAutofit/>
              </a:bodyPr>
              <a:lstStyle>
                <a:defPPr>
                  <a:defRPr lang="zh-CN"/>
                </a:defPPr>
                <a:lvl1pPr>
                  <a:lnSpc>
                    <a:spcPts val="1500"/>
                  </a:lnSpc>
                  <a:defRPr sz="1200"/>
                </a:lvl1pPr>
              </a:lstStyle>
              <a:p>
                <a:pPr algn="ctr">
                  <a:lnSpc>
                    <a:spcPct val="120000"/>
                  </a:lnSpc>
                </a:pPr>
                <a:r>
                  <a:rPr kumimoji="1" lang="it-IT" altLang="zh-CN">
                    <a:latin typeface="Calibri" pitchFamily="34" charset="0"/>
                    <a:ea typeface="宋体" pitchFamily="2" charset="-122"/>
                  </a:rPr>
                  <a:t>Magna clita est lorem sit aliquyam eos consetetur sed.</a:t>
                </a:r>
                <a:endParaRPr kumimoji="1" lang="en-US" altLang="zh-CN" dirty="0">
                  <a:latin typeface="Calibri" pitchFamily="34" charset="0"/>
                  <a:ea typeface="宋体" pitchFamily="2" charset="-122"/>
                </a:endParaRPr>
              </a:p>
            </p:txBody>
          </p:sp>
          <p:sp>
            <p:nvSpPr>
              <p:cNvPr id="12" name="文本框 11"/>
              <p:cNvSpPr txBox="1"/>
              <p:nvPr/>
            </p:nvSpPr>
            <p:spPr>
              <a:xfrm>
                <a:off x="9457436" y="4003976"/>
                <a:ext cx="1935264" cy="508677"/>
              </a:xfrm>
              <a:prstGeom prst="rect">
                <a:avLst/>
              </a:prstGeom>
              <a:noFill/>
            </p:spPr>
            <p:txBody>
              <a:bodyPr wrap="square" rtlCol="0" anchor="b" anchorCtr="0">
                <a:normAutofit/>
              </a:bodyPr>
              <a:lstStyle/>
              <a:p>
                <a:pPr algn="ctr"/>
                <a:r>
                  <a:rPr kumimoji="1" lang="en-US" altLang="zh-CN" b="1">
                    <a:latin typeface="Calibri" pitchFamily="34" charset="0"/>
                    <a:ea typeface="宋体" pitchFamily="2" charset="-122"/>
                  </a:rPr>
                  <a:t>Click to add text</a:t>
                </a:r>
                <a:endParaRPr kumimoji="1" lang="en-US" altLang="zh-CN" b="1" dirty="0">
                  <a:latin typeface="Calibri" pitchFamily="34" charset="0"/>
                  <a:ea typeface="宋体" pitchFamily="2" charset="-122"/>
                </a:endParaRPr>
              </a:p>
            </p:txBody>
          </p:sp>
        </p:grpSp>
      </p:gr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4" name="组合 63"/>
          <p:cNvGrpSpPr/>
          <p:nvPr/>
        </p:nvGrpSpPr>
        <p:grpSpPr>
          <a:xfrm>
            <a:off x="660401" y="1130300"/>
            <a:ext cx="10858500" cy="4988011"/>
            <a:chOff x="660400" y="1130300"/>
            <a:chExt cx="10858500" cy="4988010"/>
          </a:xfrm>
        </p:grpSpPr>
        <p:sp>
          <p:nvSpPr>
            <p:cNvPr id="7" name="任意多边形: 形状 6"/>
            <p:cNvSpPr/>
            <p:nvPr/>
          </p:nvSpPr>
          <p:spPr bwMode="auto">
            <a:xfrm rot="18204882" flipH="1">
              <a:off x="4216584" y="2591447"/>
              <a:ext cx="2174286" cy="1054528"/>
            </a:xfrm>
            <a:custGeom>
              <a:avLst/>
              <a:gdLst>
                <a:gd name="T0" fmla="*/ 13 w 241"/>
                <a:gd name="T1" fmla="*/ 117 h 117"/>
                <a:gd name="T2" fmla="*/ 103 w 241"/>
                <a:gd name="T3" fmla="*/ 104 h 117"/>
                <a:gd name="T4" fmla="*/ 76 w 241"/>
                <a:gd name="T5" fmla="*/ 84 h 117"/>
                <a:gd name="T6" fmla="*/ 152 w 241"/>
                <a:gd name="T7" fmla="*/ 58 h 117"/>
                <a:gd name="T8" fmla="*/ 204 w 241"/>
                <a:gd name="T9" fmla="*/ 70 h 117"/>
                <a:gd name="T10" fmla="*/ 205 w 241"/>
                <a:gd name="T11" fmla="*/ 71 h 117"/>
                <a:gd name="T12" fmla="*/ 200 w 241"/>
                <a:gd name="T13" fmla="*/ 32 h 117"/>
                <a:gd name="T14" fmla="*/ 241 w 241"/>
                <a:gd name="T15" fmla="*/ 26 h 117"/>
                <a:gd name="T16" fmla="*/ 228 w 241"/>
                <a:gd name="T17" fmla="*/ 19 h 117"/>
                <a:gd name="T18" fmla="*/ 137 w 241"/>
                <a:gd name="T19" fmla="*/ 2 h 117"/>
                <a:gd name="T20" fmla="*/ 29 w 241"/>
                <a:gd name="T21" fmla="*/ 49 h 117"/>
                <a:gd name="T22" fmla="*/ 0 w 241"/>
                <a:gd name="T23" fmla="*/ 27 h 117"/>
                <a:gd name="T24" fmla="*/ 13 w 241"/>
                <a:gd name="T25"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1" h="117">
                  <a:moveTo>
                    <a:pt x="13" y="117"/>
                  </a:moveTo>
                  <a:cubicBezTo>
                    <a:pt x="103" y="104"/>
                    <a:pt x="103" y="104"/>
                    <a:pt x="103" y="104"/>
                  </a:cubicBezTo>
                  <a:cubicBezTo>
                    <a:pt x="76" y="84"/>
                    <a:pt x="76" y="84"/>
                    <a:pt x="76" y="84"/>
                  </a:cubicBezTo>
                  <a:cubicBezTo>
                    <a:pt x="97" y="67"/>
                    <a:pt x="124" y="58"/>
                    <a:pt x="152" y="58"/>
                  </a:cubicBezTo>
                  <a:cubicBezTo>
                    <a:pt x="169" y="58"/>
                    <a:pt x="187" y="62"/>
                    <a:pt x="204" y="70"/>
                  </a:cubicBezTo>
                  <a:cubicBezTo>
                    <a:pt x="205" y="70"/>
                    <a:pt x="205" y="70"/>
                    <a:pt x="205" y="71"/>
                  </a:cubicBezTo>
                  <a:cubicBezTo>
                    <a:pt x="200" y="32"/>
                    <a:pt x="200" y="32"/>
                    <a:pt x="200" y="32"/>
                  </a:cubicBezTo>
                  <a:cubicBezTo>
                    <a:pt x="241" y="26"/>
                    <a:pt x="241" y="26"/>
                    <a:pt x="241" y="26"/>
                  </a:cubicBezTo>
                  <a:cubicBezTo>
                    <a:pt x="237" y="24"/>
                    <a:pt x="233" y="21"/>
                    <a:pt x="228" y="19"/>
                  </a:cubicBezTo>
                  <a:cubicBezTo>
                    <a:pt x="199" y="5"/>
                    <a:pt x="168" y="0"/>
                    <a:pt x="137" y="2"/>
                  </a:cubicBezTo>
                  <a:cubicBezTo>
                    <a:pt x="97" y="6"/>
                    <a:pt x="59" y="22"/>
                    <a:pt x="29" y="49"/>
                  </a:cubicBezTo>
                  <a:cubicBezTo>
                    <a:pt x="0" y="27"/>
                    <a:pt x="0" y="27"/>
                    <a:pt x="0" y="27"/>
                  </a:cubicBezTo>
                  <a:lnTo>
                    <a:pt x="13" y="117"/>
                  </a:lnTo>
                  <a:close/>
                </a:path>
              </a:pathLst>
            </a:custGeom>
            <a:solidFill>
              <a:schemeClr val="accent1"/>
            </a:solidFill>
          </p:spPr>
          <p:txBody>
            <a:bodyPr wrap="none" lIns="108000" tIns="108000" rIns="108000" bIns="108000" rtlCol="0" anchor="ctr" anchorCtr="0">
              <a:noAutofit/>
            </a:bodyPr>
            <a:lstStyle/>
            <a:p>
              <a:pPr algn="ctr"/>
              <a:endParaRPr kumimoji="1" lang="zh-CN" altLang="en-US" sz="1200" b="1" dirty="0">
                <a:solidFill>
                  <a:srgbClr val="FFFFFF"/>
                </a:solidFill>
              </a:endParaRPr>
            </a:p>
          </p:txBody>
        </p:sp>
        <p:sp>
          <p:nvSpPr>
            <p:cNvPr id="8" name="任意多边形: 形状 7"/>
            <p:cNvSpPr/>
            <p:nvPr/>
          </p:nvSpPr>
          <p:spPr bwMode="auto">
            <a:xfrm rot="18204882" flipH="1">
              <a:off x="6396855" y="2096449"/>
              <a:ext cx="1054529" cy="2174285"/>
            </a:xfrm>
            <a:custGeom>
              <a:avLst/>
              <a:gdLst>
                <a:gd name="T0" fmla="*/ 117 w 117"/>
                <a:gd name="T1" fmla="*/ 228 h 241"/>
                <a:gd name="T2" fmla="*/ 104 w 117"/>
                <a:gd name="T3" fmla="*/ 139 h 241"/>
                <a:gd name="T4" fmla="*/ 83 w 117"/>
                <a:gd name="T5" fmla="*/ 166 h 241"/>
                <a:gd name="T6" fmla="*/ 58 w 117"/>
                <a:gd name="T7" fmla="*/ 99 h 241"/>
                <a:gd name="T8" fmla="*/ 70 w 117"/>
                <a:gd name="T9" fmla="*/ 37 h 241"/>
                <a:gd name="T10" fmla="*/ 70 w 117"/>
                <a:gd name="T11" fmla="*/ 36 h 241"/>
                <a:gd name="T12" fmla="*/ 31 w 117"/>
                <a:gd name="T13" fmla="*/ 42 h 241"/>
                <a:gd name="T14" fmla="*/ 26 w 117"/>
                <a:gd name="T15" fmla="*/ 0 h 241"/>
                <a:gd name="T16" fmla="*/ 19 w 117"/>
                <a:gd name="T17" fmla="*/ 13 h 241"/>
                <a:gd name="T18" fmla="*/ 2 w 117"/>
                <a:gd name="T19" fmla="*/ 102 h 241"/>
                <a:gd name="T20" fmla="*/ 49 w 117"/>
                <a:gd name="T21" fmla="*/ 212 h 241"/>
                <a:gd name="T22" fmla="*/ 27 w 117"/>
                <a:gd name="T23" fmla="*/ 241 h 241"/>
                <a:gd name="T24" fmla="*/ 117 w 117"/>
                <a:gd name="T25" fmla="*/ 228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7" h="241">
                  <a:moveTo>
                    <a:pt x="117" y="228"/>
                  </a:moveTo>
                  <a:cubicBezTo>
                    <a:pt x="104" y="139"/>
                    <a:pt x="104" y="139"/>
                    <a:pt x="104" y="139"/>
                  </a:cubicBezTo>
                  <a:cubicBezTo>
                    <a:pt x="83" y="166"/>
                    <a:pt x="83" y="166"/>
                    <a:pt x="83" y="166"/>
                  </a:cubicBezTo>
                  <a:cubicBezTo>
                    <a:pt x="69" y="146"/>
                    <a:pt x="60" y="123"/>
                    <a:pt x="58" y="99"/>
                  </a:cubicBezTo>
                  <a:cubicBezTo>
                    <a:pt x="57" y="78"/>
                    <a:pt x="60" y="57"/>
                    <a:pt x="70" y="37"/>
                  </a:cubicBezTo>
                  <a:cubicBezTo>
                    <a:pt x="70" y="37"/>
                    <a:pt x="70" y="37"/>
                    <a:pt x="70" y="36"/>
                  </a:cubicBezTo>
                  <a:cubicBezTo>
                    <a:pt x="31" y="42"/>
                    <a:pt x="31" y="42"/>
                    <a:pt x="31" y="42"/>
                  </a:cubicBezTo>
                  <a:cubicBezTo>
                    <a:pt x="26" y="0"/>
                    <a:pt x="26" y="0"/>
                    <a:pt x="26" y="0"/>
                  </a:cubicBezTo>
                  <a:cubicBezTo>
                    <a:pt x="23" y="5"/>
                    <a:pt x="21" y="9"/>
                    <a:pt x="19" y="13"/>
                  </a:cubicBezTo>
                  <a:cubicBezTo>
                    <a:pt x="5" y="42"/>
                    <a:pt x="0" y="73"/>
                    <a:pt x="2" y="102"/>
                  </a:cubicBezTo>
                  <a:cubicBezTo>
                    <a:pt x="5" y="143"/>
                    <a:pt x="21" y="182"/>
                    <a:pt x="49" y="212"/>
                  </a:cubicBezTo>
                  <a:cubicBezTo>
                    <a:pt x="27" y="241"/>
                    <a:pt x="27" y="241"/>
                    <a:pt x="27" y="241"/>
                  </a:cubicBezTo>
                  <a:lnTo>
                    <a:pt x="117" y="228"/>
                  </a:lnTo>
                  <a:close/>
                </a:path>
              </a:pathLst>
            </a:custGeom>
            <a:solidFill>
              <a:schemeClr val="accent2">
                <a:lumMod val="100000"/>
              </a:schemeClr>
            </a:solidFill>
          </p:spPr>
          <p:txBody>
            <a:bodyPr wrap="none" lIns="108000" tIns="108000" rIns="108000" bIns="108000" rtlCol="0" anchor="ctr" anchorCtr="0">
              <a:noAutofit/>
            </a:bodyPr>
            <a:lstStyle/>
            <a:p>
              <a:pPr algn="ctr"/>
              <a:endParaRPr kumimoji="1" lang="zh-CN" altLang="en-US" sz="1200" b="1">
                <a:solidFill>
                  <a:srgbClr val="FFFFFF"/>
                </a:solidFill>
              </a:endParaRPr>
            </a:p>
          </p:txBody>
        </p:sp>
        <p:sp>
          <p:nvSpPr>
            <p:cNvPr id="9" name="任意多边形: 形状 8"/>
            <p:cNvSpPr/>
            <p:nvPr/>
          </p:nvSpPr>
          <p:spPr bwMode="auto">
            <a:xfrm rot="18204882" flipH="1">
              <a:off x="5783892" y="4279069"/>
              <a:ext cx="2174286" cy="1065399"/>
            </a:xfrm>
            <a:custGeom>
              <a:avLst/>
              <a:gdLst>
                <a:gd name="T0" fmla="*/ 241 w 241"/>
                <a:gd name="T1" fmla="*/ 90 h 118"/>
                <a:gd name="T2" fmla="*/ 228 w 241"/>
                <a:gd name="T3" fmla="*/ 0 h 118"/>
                <a:gd name="T4" fmla="*/ 138 w 241"/>
                <a:gd name="T5" fmla="*/ 13 h 118"/>
                <a:gd name="T6" fmla="*/ 165 w 241"/>
                <a:gd name="T7" fmla="*/ 33 h 118"/>
                <a:gd name="T8" fmla="*/ 96 w 241"/>
                <a:gd name="T9" fmla="*/ 59 h 118"/>
                <a:gd name="T10" fmla="*/ 37 w 241"/>
                <a:gd name="T11" fmla="*/ 47 h 118"/>
                <a:gd name="T12" fmla="*/ 36 w 241"/>
                <a:gd name="T13" fmla="*/ 46 h 118"/>
                <a:gd name="T14" fmla="*/ 42 w 241"/>
                <a:gd name="T15" fmla="*/ 85 h 118"/>
                <a:gd name="T16" fmla="*/ 0 w 241"/>
                <a:gd name="T17" fmla="*/ 91 h 118"/>
                <a:gd name="T18" fmla="*/ 13 w 241"/>
                <a:gd name="T19" fmla="*/ 98 h 118"/>
                <a:gd name="T20" fmla="*/ 112 w 241"/>
                <a:gd name="T21" fmla="*/ 114 h 118"/>
                <a:gd name="T22" fmla="*/ 212 w 241"/>
                <a:gd name="T23" fmla="*/ 68 h 118"/>
                <a:gd name="T24" fmla="*/ 241 w 241"/>
                <a:gd name="T25" fmla="*/ 9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1" h="118">
                  <a:moveTo>
                    <a:pt x="241" y="90"/>
                  </a:moveTo>
                  <a:cubicBezTo>
                    <a:pt x="228" y="0"/>
                    <a:pt x="228" y="0"/>
                    <a:pt x="228" y="0"/>
                  </a:cubicBezTo>
                  <a:cubicBezTo>
                    <a:pt x="138" y="13"/>
                    <a:pt x="138" y="13"/>
                    <a:pt x="138" y="13"/>
                  </a:cubicBezTo>
                  <a:cubicBezTo>
                    <a:pt x="165" y="33"/>
                    <a:pt x="165" y="33"/>
                    <a:pt x="165" y="33"/>
                  </a:cubicBezTo>
                  <a:cubicBezTo>
                    <a:pt x="145" y="48"/>
                    <a:pt x="121" y="57"/>
                    <a:pt x="96" y="59"/>
                  </a:cubicBezTo>
                  <a:cubicBezTo>
                    <a:pt x="76" y="60"/>
                    <a:pt x="56" y="56"/>
                    <a:pt x="37" y="47"/>
                  </a:cubicBezTo>
                  <a:cubicBezTo>
                    <a:pt x="36" y="47"/>
                    <a:pt x="36" y="47"/>
                    <a:pt x="36" y="46"/>
                  </a:cubicBezTo>
                  <a:cubicBezTo>
                    <a:pt x="42" y="85"/>
                    <a:pt x="42" y="85"/>
                    <a:pt x="42" y="85"/>
                  </a:cubicBezTo>
                  <a:cubicBezTo>
                    <a:pt x="0" y="91"/>
                    <a:pt x="0" y="91"/>
                    <a:pt x="0" y="91"/>
                  </a:cubicBezTo>
                  <a:cubicBezTo>
                    <a:pt x="4" y="93"/>
                    <a:pt x="8" y="96"/>
                    <a:pt x="13" y="98"/>
                  </a:cubicBezTo>
                  <a:cubicBezTo>
                    <a:pt x="45" y="113"/>
                    <a:pt x="79" y="118"/>
                    <a:pt x="112" y="114"/>
                  </a:cubicBezTo>
                  <a:cubicBezTo>
                    <a:pt x="149" y="109"/>
                    <a:pt x="184" y="93"/>
                    <a:pt x="212" y="68"/>
                  </a:cubicBezTo>
                  <a:lnTo>
                    <a:pt x="241" y="90"/>
                  </a:lnTo>
                  <a:close/>
                </a:path>
              </a:pathLst>
            </a:custGeom>
            <a:solidFill>
              <a:schemeClr val="accent1"/>
            </a:solidFill>
          </p:spPr>
          <p:txBody>
            <a:bodyPr wrap="none" lIns="108000" tIns="108000" rIns="108000" bIns="108000" rtlCol="0" anchor="ctr" anchorCtr="0">
              <a:noAutofit/>
            </a:bodyPr>
            <a:lstStyle/>
            <a:p>
              <a:pPr algn="ctr"/>
              <a:endParaRPr kumimoji="1" lang="zh-CN" altLang="en-US" sz="1200" b="1" dirty="0">
                <a:solidFill>
                  <a:srgbClr val="FFFFFF"/>
                </a:solidFill>
              </a:endParaRPr>
            </a:p>
          </p:txBody>
        </p:sp>
        <p:sp>
          <p:nvSpPr>
            <p:cNvPr id="10" name="任意多边形: 形状 9"/>
            <p:cNvSpPr/>
            <p:nvPr/>
          </p:nvSpPr>
          <p:spPr bwMode="auto">
            <a:xfrm rot="18204882" flipH="1">
              <a:off x="4715212" y="3658707"/>
              <a:ext cx="1054529" cy="2165587"/>
            </a:xfrm>
            <a:custGeom>
              <a:avLst/>
              <a:gdLst>
                <a:gd name="T0" fmla="*/ 0 w 117"/>
                <a:gd name="T1" fmla="*/ 13 h 240"/>
                <a:gd name="T2" fmla="*/ 13 w 117"/>
                <a:gd name="T3" fmla="*/ 102 h 240"/>
                <a:gd name="T4" fmla="*/ 34 w 117"/>
                <a:gd name="T5" fmla="*/ 75 h 240"/>
                <a:gd name="T6" fmla="*/ 59 w 117"/>
                <a:gd name="T7" fmla="*/ 143 h 240"/>
                <a:gd name="T8" fmla="*/ 47 w 117"/>
                <a:gd name="T9" fmla="*/ 204 h 240"/>
                <a:gd name="T10" fmla="*/ 47 w 117"/>
                <a:gd name="T11" fmla="*/ 205 h 240"/>
                <a:gd name="T12" fmla="*/ 86 w 117"/>
                <a:gd name="T13" fmla="*/ 199 h 240"/>
                <a:gd name="T14" fmla="*/ 92 w 117"/>
                <a:gd name="T15" fmla="*/ 240 h 240"/>
                <a:gd name="T16" fmla="*/ 98 w 117"/>
                <a:gd name="T17" fmla="*/ 228 h 240"/>
                <a:gd name="T18" fmla="*/ 115 w 117"/>
                <a:gd name="T19" fmla="*/ 139 h 240"/>
                <a:gd name="T20" fmla="*/ 68 w 117"/>
                <a:gd name="T21" fmla="*/ 29 h 240"/>
                <a:gd name="T22" fmla="*/ 90 w 117"/>
                <a:gd name="T23" fmla="*/ 0 h 240"/>
                <a:gd name="T24" fmla="*/ 0 w 117"/>
                <a:gd name="T25" fmla="*/ 13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7" h="240">
                  <a:moveTo>
                    <a:pt x="0" y="13"/>
                  </a:moveTo>
                  <a:cubicBezTo>
                    <a:pt x="13" y="102"/>
                    <a:pt x="13" y="102"/>
                    <a:pt x="13" y="102"/>
                  </a:cubicBezTo>
                  <a:cubicBezTo>
                    <a:pt x="34" y="75"/>
                    <a:pt x="34" y="75"/>
                    <a:pt x="34" y="75"/>
                  </a:cubicBezTo>
                  <a:cubicBezTo>
                    <a:pt x="49" y="95"/>
                    <a:pt x="58" y="118"/>
                    <a:pt x="59" y="143"/>
                  </a:cubicBezTo>
                  <a:cubicBezTo>
                    <a:pt x="60" y="163"/>
                    <a:pt x="57" y="184"/>
                    <a:pt x="47" y="204"/>
                  </a:cubicBezTo>
                  <a:cubicBezTo>
                    <a:pt x="47" y="204"/>
                    <a:pt x="47" y="204"/>
                    <a:pt x="47" y="205"/>
                  </a:cubicBezTo>
                  <a:cubicBezTo>
                    <a:pt x="86" y="199"/>
                    <a:pt x="86" y="199"/>
                    <a:pt x="86" y="199"/>
                  </a:cubicBezTo>
                  <a:cubicBezTo>
                    <a:pt x="92" y="240"/>
                    <a:pt x="92" y="240"/>
                    <a:pt x="92" y="240"/>
                  </a:cubicBezTo>
                  <a:cubicBezTo>
                    <a:pt x="94" y="236"/>
                    <a:pt x="96" y="232"/>
                    <a:pt x="98" y="228"/>
                  </a:cubicBezTo>
                  <a:cubicBezTo>
                    <a:pt x="112" y="199"/>
                    <a:pt x="117" y="168"/>
                    <a:pt x="115" y="139"/>
                  </a:cubicBezTo>
                  <a:cubicBezTo>
                    <a:pt x="112" y="98"/>
                    <a:pt x="96" y="59"/>
                    <a:pt x="68" y="29"/>
                  </a:cubicBezTo>
                  <a:cubicBezTo>
                    <a:pt x="90" y="0"/>
                    <a:pt x="90" y="0"/>
                    <a:pt x="90" y="0"/>
                  </a:cubicBezTo>
                  <a:lnTo>
                    <a:pt x="0" y="13"/>
                  </a:lnTo>
                  <a:close/>
                </a:path>
              </a:pathLst>
            </a:custGeom>
            <a:solidFill>
              <a:schemeClr val="accent2">
                <a:lumMod val="100000"/>
              </a:schemeClr>
            </a:solidFill>
          </p:spPr>
          <p:txBody>
            <a:bodyPr wrap="none" lIns="108000" tIns="108000" rIns="108000" bIns="108000" rtlCol="0" anchor="ctr" anchorCtr="0">
              <a:noAutofit/>
            </a:bodyPr>
            <a:lstStyle/>
            <a:p>
              <a:pPr algn="ctr"/>
              <a:endParaRPr kumimoji="1" lang="zh-CN" altLang="en-US" sz="1200" b="1">
                <a:solidFill>
                  <a:srgbClr val="FFFFFF"/>
                </a:solidFill>
              </a:endParaRPr>
            </a:p>
          </p:txBody>
        </p:sp>
        <p:sp>
          <p:nvSpPr>
            <p:cNvPr id="11" name="文本框 10"/>
            <p:cNvSpPr txBox="1"/>
            <p:nvPr/>
          </p:nvSpPr>
          <p:spPr>
            <a:xfrm>
              <a:off x="660400" y="1130300"/>
              <a:ext cx="10858500" cy="696960"/>
            </a:xfrm>
            <a:prstGeom prst="rect">
              <a:avLst/>
            </a:prstGeom>
            <a:noFill/>
          </p:spPr>
          <p:txBody>
            <a:bodyPr vert="horz" wrap="square" rtlCol="0" anchor="t" anchorCtr="0">
              <a:normAutofit/>
            </a:bodyPr>
            <a:lstStyle/>
            <a:p>
              <a:pPr algn="ctr"/>
              <a:r>
                <a:rPr lang="en-US" altLang="zh-CN" sz="2400" b="1" dirty="0">
                  <a:latin typeface="Calibri" pitchFamily="34" charset="0"/>
                  <a:ea typeface="宋体" pitchFamily="2" charset="-122"/>
                </a:rPr>
                <a:t>Unified fonts make reading more fluent</a:t>
              </a:r>
              <a:endParaRPr lang="zh-CN" altLang="en-US" sz="2400" b="1" dirty="0">
                <a:latin typeface="Calibri" pitchFamily="34" charset="0"/>
                <a:ea typeface="宋体" pitchFamily="2" charset="-122"/>
              </a:endParaRPr>
            </a:p>
          </p:txBody>
        </p:sp>
        <p:cxnSp>
          <p:nvCxnSpPr>
            <p:cNvPr id="17" name="直接连接符 16"/>
            <p:cNvCxnSpPr>
              <a:stCxn id="12" idx="1"/>
            </p:cNvCxnSpPr>
            <p:nvPr/>
          </p:nvCxnSpPr>
          <p:spPr>
            <a:xfrm flipH="1" flipV="1">
              <a:off x="4444666" y="2329369"/>
              <a:ext cx="418437" cy="418437"/>
            </a:xfrm>
            <a:prstGeom prst="line">
              <a:avLst/>
            </a:prstGeom>
          </p:spPr>
          <p:style>
            <a:lnRef idx="1">
              <a:schemeClr val="accent1"/>
            </a:lnRef>
            <a:fillRef idx="0">
              <a:schemeClr val="accent1"/>
            </a:fillRef>
            <a:effectRef idx="0">
              <a:schemeClr val="accent1"/>
            </a:effectRef>
            <a:fontRef idx="minor">
              <a:schemeClr val="tx1"/>
            </a:fontRef>
          </p:style>
        </p:cxnSp>
        <p:cxnSp>
          <p:nvCxnSpPr>
            <p:cNvPr id="20" name="直接连接符 19"/>
            <p:cNvCxnSpPr/>
            <p:nvPr/>
          </p:nvCxnSpPr>
          <p:spPr>
            <a:xfrm flipH="1">
              <a:off x="3671147" y="2330187"/>
              <a:ext cx="774401"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直接连接符 27"/>
            <p:cNvCxnSpPr>
              <a:stCxn id="27" idx="1"/>
            </p:cNvCxnSpPr>
            <p:nvPr/>
          </p:nvCxnSpPr>
          <p:spPr>
            <a:xfrm flipV="1">
              <a:off x="7274183" y="2329369"/>
              <a:ext cx="418437" cy="418437"/>
            </a:xfrm>
            <a:prstGeom prst="line">
              <a:avLst/>
            </a:prstGeom>
            <a:ln>
              <a:solidFill>
                <a:schemeClr val="accent2">
                  <a:lumMod val="100000"/>
                </a:schemeClr>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p:nvPr/>
          </p:nvCxnSpPr>
          <p:spPr>
            <a:xfrm>
              <a:off x="7691738" y="2330187"/>
              <a:ext cx="774401" cy="0"/>
            </a:xfrm>
            <a:prstGeom prst="line">
              <a:avLst/>
            </a:prstGeom>
            <a:ln>
              <a:solidFill>
                <a:schemeClr val="accent2">
                  <a:lumMod val="100000"/>
                </a:schemeClr>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31" idx="1"/>
            </p:cNvCxnSpPr>
            <p:nvPr/>
          </p:nvCxnSpPr>
          <p:spPr>
            <a:xfrm flipH="1">
              <a:off x="4444666" y="5132381"/>
              <a:ext cx="418437" cy="418437"/>
            </a:xfrm>
            <a:prstGeom prst="line">
              <a:avLst/>
            </a:prstGeom>
            <a:ln>
              <a:solidFill>
                <a:schemeClr val="accent2">
                  <a:lumMod val="100000"/>
                </a:schemeClr>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p:nvPr/>
          </p:nvCxnSpPr>
          <p:spPr>
            <a:xfrm flipH="1" flipV="1">
              <a:off x="3671147" y="5550000"/>
              <a:ext cx="774401" cy="0"/>
            </a:xfrm>
            <a:prstGeom prst="line">
              <a:avLst/>
            </a:prstGeom>
            <a:ln>
              <a:solidFill>
                <a:schemeClr val="accent2">
                  <a:lumMod val="100000"/>
                </a:schemeClr>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a:stCxn id="35" idx="1"/>
            </p:cNvCxnSpPr>
            <p:nvPr/>
          </p:nvCxnSpPr>
          <p:spPr>
            <a:xfrm>
              <a:off x="7274183" y="5132381"/>
              <a:ext cx="418437" cy="41843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p:nvPr/>
          </p:nvCxnSpPr>
          <p:spPr>
            <a:xfrm flipV="1">
              <a:off x="7691738" y="5550000"/>
              <a:ext cx="774401"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47" name="组合 46"/>
            <p:cNvGrpSpPr/>
            <p:nvPr/>
          </p:nvGrpSpPr>
          <p:grpSpPr>
            <a:xfrm>
              <a:off x="660400" y="1938454"/>
              <a:ext cx="6197121" cy="2525486"/>
              <a:chOff x="660400" y="1938454"/>
              <a:chExt cx="6197121" cy="2525486"/>
            </a:xfrm>
          </p:grpSpPr>
          <p:sp>
            <p:nvSpPr>
              <p:cNvPr id="6" name="矩形: 圆角 5"/>
              <p:cNvSpPr/>
              <p:nvPr/>
            </p:nvSpPr>
            <p:spPr>
              <a:xfrm>
                <a:off x="5321778" y="3469533"/>
                <a:ext cx="1535743" cy="994407"/>
              </a:xfrm>
              <a:prstGeom prst="roundRect">
                <a:avLst>
                  <a:gd name="adj" fmla="val 0"/>
                </a:avLst>
              </a:prstGeom>
              <a:noFill/>
              <a:ln w="508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kumimoji="1" lang="en-US" altLang="zh-CN" sz="2800" b="1" dirty="0">
                    <a:solidFill>
                      <a:schemeClr val="tx1"/>
                    </a:solidFill>
                    <a:latin typeface="Calibri" pitchFamily="34" charset="0"/>
                    <a:ea typeface="宋体" pitchFamily="2" charset="-122"/>
                  </a:rPr>
                  <a:t>PDCA</a:t>
                </a:r>
                <a:endParaRPr kumimoji="1" lang="en-US" altLang="zh-CN" sz="2800" b="1" dirty="0">
                  <a:solidFill>
                    <a:schemeClr val="tx1"/>
                  </a:solidFill>
                  <a:latin typeface="Calibri" pitchFamily="34" charset="0"/>
                  <a:ea typeface="宋体" pitchFamily="2" charset="-122"/>
                </a:endParaRPr>
              </a:p>
            </p:txBody>
          </p:sp>
          <p:sp>
            <p:nvSpPr>
              <p:cNvPr id="12" name="椭圆 11"/>
              <p:cNvSpPr/>
              <p:nvPr/>
            </p:nvSpPr>
            <p:spPr>
              <a:xfrm>
                <a:off x="4840366" y="2725069"/>
                <a:ext cx="155256" cy="155256"/>
              </a:xfrm>
              <a:prstGeom prst="ellipse">
                <a:avLst/>
              </a:prstGeom>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3" name="文本框 42"/>
              <p:cNvSpPr txBox="1"/>
              <p:nvPr/>
            </p:nvSpPr>
            <p:spPr>
              <a:xfrm>
                <a:off x="660400" y="1938454"/>
                <a:ext cx="2894619" cy="598540"/>
              </a:xfrm>
              <a:prstGeom prst="rect">
                <a:avLst/>
              </a:prstGeom>
              <a:noFill/>
            </p:spPr>
            <p:txBody>
              <a:bodyPr wrap="square" lIns="91440" tIns="45720" rIns="91440" bIns="45720" rtlCol="0" anchor="b" anchorCtr="0">
                <a:normAutofit/>
              </a:bodyPr>
              <a:lstStyle/>
              <a:p>
                <a:pPr algn="r"/>
                <a:r>
                  <a:rPr lang="en-US" altLang="zh-CN" b="1">
                    <a:latin typeface="Calibri" pitchFamily="34" charset="0"/>
                    <a:ea typeface="宋体" pitchFamily="2" charset="-122"/>
                  </a:rPr>
                  <a:t>Click to add text</a:t>
                </a:r>
                <a:endParaRPr lang="zh-CN" altLang="en-US" b="1" dirty="0">
                  <a:latin typeface="Calibri" pitchFamily="34" charset="0"/>
                  <a:ea typeface="宋体" pitchFamily="2" charset="-122"/>
                </a:endParaRPr>
              </a:p>
            </p:txBody>
          </p:sp>
          <p:sp>
            <p:nvSpPr>
              <p:cNvPr id="44" name="文本框 43"/>
              <p:cNvSpPr txBox="1"/>
              <p:nvPr/>
            </p:nvSpPr>
            <p:spPr>
              <a:xfrm>
                <a:off x="660400" y="2536996"/>
                <a:ext cx="2894619" cy="686657"/>
              </a:xfrm>
              <a:prstGeom prst="rect">
                <a:avLst/>
              </a:prstGeom>
              <a:noFill/>
            </p:spPr>
            <p:txBody>
              <a:bodyPr wrap="square" lIns="91440" tIns="45720" rIns="91440" bIns="45720" rtlCol="0" anchor="t" anchorCtr="0">
                <a:normAutofit/>
              </a:bodyPr>
              <a:lstStyle/>
              <a:p>
                <a:pPr algn="r">
                  <a:lnSpc>
                    <a:spcPct val="120000"/>
                  </a:lnSpc>
                </a:pPr>
                <a:r>
                  <a:rPr lang="it-IT" altLang="zh-CN" sz="1200">
                    <a:latin typeface="Calibri" pitchFamily="34" charset="0"/>
                    <a:ea typeface="宋体" pitchFamily="2" charset="-122"/>
                  </a:rPr>
                  <a:t>Ipsum vero delenit at dolores sadipscing at justo.</a:t>
                </a:r>
                <a:endParaRPr lang="zh-CN" altLang="en-US" sz="1200" dirty="0">
                  <a:latin typeface="Calibri" pitchFamily="34" charset="0"/>
                  <a:ea typeface="宋体" pitchFamily="2" charset="-122"/>
                </a:endParaRPr>
              </a:p>
            </p:txBody>
          </p:sp>
        </p:grpSp>
        <p:grpSp>
          <p:nvGrpSpPr>
            <p:cNvPr id="48" name="组合 47"/>
            <p:cNvGrpSpPr/>
            <p:nvPr/>
          </p:nvGrpSpPr>
          <p:grpSpPr>
            <a:xfrm>
              <a:off x="7141664" y="1938454"/>
              <a:ext cx="4377236" cy="1285199"/>
              <a:chOff x="7141664" y="1938454"/>
              <a:chExt cx="4377236" cy="1285199"/>
            </a:xfrm>
          </p:grpSpPr>
          <p:sp>
            <p:nvSpPr>
              <p:cNvPr id="27" name="椭圆 26"/>
              <p:cNvSpPr/>
              <p:nvPr/>
            </p:nvSpPr>
            <p:spPr>
              <a:xfrm flipH="1">
                <a:off x="7141664" y="2725069"/>
                <a:ext cx="155256" cy="155256"/>
              </a:xfrm>
              <a:prstGeom prst="ellipse">
                <a:avLst/>
              </a:prstGeom>
              <a:solidFill>
                <a:schemeClr val="accent2">
                  <a:lumMod val="100000"/>
                </a:schemeClr>
              </a:solidFill>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文本框 38"/>
              <p:cNvSpPr txBox="1"/>
              <p:nvPr/>
            </p:nvSpPr>
            <p:spPr>
              <a:xfrm>
                <a:off x="8624281" y="1938454"/>
                <a:ext cx="2894619" cy="598540"/>
              </a:xfrm>
              <a:prstGeom prst="rect">
                <a:avLst/>
              </a:prstGeom>
              <a:noFill/>
            </p:spPr>
            <p:txBody>
              <a:bodyPr wrap="square" lIns="91440" tIns="45720" rIns="91440" bIns="45720" rtlCol="0" anchor="b" anchorCtr="0">
                <a:normAutofit/>
              </a:bodyPr>
              <a:lstStyle/>
              <a:p>
                <a:r>
                  <a:rPr lang="en-US" altLang="zh-CN" b="1">
                    <a:latin typeface="Calibri" pitchFamily="34" charset="0"/>
                    <a:ea typeface="宋体" pitchFamily="2" charset="-122"/>
                  </a:rPr>
                  <a:t>Click to add text</a:t>
                </a:r>
                <a:endParaRPr lang="zh-CN" altLang="en-US" b="1" dirty="0">
                  <a:latin typeface="Calibri" pitchFamily="34" charset="0"/>
                  <a:ea typeface="宋体" pitchFamily="2" charset="-122"/>
                </a:endParaRPr>
              </a:p>
            </p:txBody>
          </p:sp>
          <p:sp>
            <p:nvSpPr>
              <p:cNvPr id="40" name="文本框 39"/>
              <p:cNvSpPr txBox="1"/>
              <p:nvPr/>
            </p:nvSpPr>
            <p:spPr>
              <a:xfrm>
                <a:off x="8624281" y="2536996"/>
                <a:ext cx="2894619" cy="686657"/>
              </a:xfrm>
              <a:prstGeom prst="rect">
                <a:avLst/>
              </a:prstGeom>
              <a:noFill/>
            </p:spPr>
            <p:txBody>
              <a:bodyPr wrap="square" lIns="91440" tIns="45720" rIns="91440" bIns="45720" rtlCol="0" anchor="t" anchorCtr="0">
                <a:normAutofit/>
              </a:bodyPr>
              <a:lstStyle/>
              <a:p>
                <a:pPr>
                  <a:lnSpc>
                    <a:spcPct val="120000"/>
                  </a:lnSpc>
                </a:pPr>
                <a:r>
                  <a:rPr lang="fr-FR" altLang="zh-CN" sz="1200">
                    <a:latin typeface="Calibri" pitchFamily="34" charset="0"/>
                    <a:ea typeface="宋体" pitchFamily="2" charset="-122"/>
                  </a:rPr>
                  <a:t>Sit nonumy diam tation exerci congue rebum feugait.</a:t>
                </a:r>
                <a:endParaRPr lang="zh-CN" altLang="en-US" sz="1200" dirty="0">
                  <a:latin typeface="Calibri" pitchFamily="34" charset="0"/>
                  <a:ea typeface="宋体" pitchFamily="2" charset="-122"/>
                </a:endParaRPr>
              </a:p>
            </p:txBody>
          </p:sp>
        </p:grpSp>
        <p:grpSp>
          <p:nvGrpSpPr>
            <p:cNvPr id="50" name="组合 49"/>
            <p:cNvGrpSpPr/>
            <p:nvPr/>
          </p:nvGrpSpPr>
          <p:grpSpPr>
            <a:xfrm>
              <a:off x="7141664" y="4833111"/>
              <a:ext cx="4377236" cy="1285199"/>
              <a:chOff x="7141664" y="4833111"/>
              <a:chExt cx="4377236" cy="1285199"/>
            </a:xfrm>
          </p:grpSpPr>
          <p:sp>
            <p:nvSpPr>
              <p:cNvPr id="35" name="椭圆 34"/>
              <p:cNvSpPr/>
              <p:nvPr/>
            </p:nvSpPr>
            <p:spPr>
              <a:xfrm flipH="1" flipV="1">
                <a:off x="7141664" y="4999862"/>
                <a:ext cx="155256" cy="155256"/>
              </a:xfrm>
              <a:prstGeom prst="ellipse">
                <a:avLst/>
              </a:prstGeom>
              <a:solidFill>
                <a:schemeClr val="accent1"/>
              </a:solidFill>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文本框 40"/>
              <p:cNvSpPr txBox="1"/>
              <p:nvPr/>
            </p:nvSpPr>
            <p:spPr>
              <a:xfrm>
                <a:off x="8624281" y="4833111"/>
                <a:ext cx="2894619" cy="598540"/>
              </a:xfrm>
              <a:prstGeom prst="rect">
                <a:avLst/>
              </a:prstGeom>
              <a:noFill/>
            </p:spPr>
            <p:txBody>
              <a:bodyPr wrap="square" lIns="91440" tIns="45720" rIns="91440" bIns="45720" rtlCol="0" anchor="b" anchorCtr="0">
                <a:normAutofit/>
              </a:bodyPr>
              <a:lstStyle/>
              <a:p>
                <a:r>
                  <a:rPr lang="en-US" altLang="zh-CN" b="1">
                    <a:latin typeface="Calibri" pitchFamily="34" charset="0"/>
                    <a:ea typeface="宋体" pitchFamily="2" charset="-122"/>
                  </a:rPr>
                  <a:t>Click to add text</a:t>
                </a:r>
                <a:endParaRPr lang="zh-CN" altLang="en-US" b="1" dirty="0">
                  <a:latin typeface="Calibri" pitchFamily="34" charset="0"/>
                  <a:ea typeface="宋体" pitchFamily="2" charset="-122"/>
                </a:endParaRPr>
              </a:p>
            </p:txBody>
          </p:sp>
          <p:sp>
            <p:nvSpPr>
              <p:cNvPr id="42" name="文本框 41"/>
              <p:cNvSpPr txBox="1"/>
              <p:nvPr/>
            </p:nvSpPr>
            <p:spPr>
              <a:xfrm>
                <a:off x="8624281" y="5431653"/>
                <a:ext cx="2894619" cy="686657"/>
              </a:xfrm>
              <a:prstGeom prst="rect">
                <a:avLst/>
              </a:prstGeom>
              <a:noFill/>
            </p:spPr>
            <p:txBody>
              <a:bodyPr wrap="square" lIns="91440" tIns="45720" rIns="91440" bIns="45720" rtlCol="0" anchor="t" anchorCtr="0">
                <a:normAutofit/>
              </a:bodyPr>
              <a:lstStyle/>
              <a:p>
                <a:pPr>
                  <a:lnSpc>
                    <a:spcPct val="120000"/>
                  </a:lnSpc>
                </a:pPr>
                <a:r>
                  <a:rPr lang="sv-SE" altLang="zh-CN" sz="1200">
                    <a:latin typeface="Calibri" pitchFamily="34" charset="0"/>
                    <a:ea typeface="宋体" pitchFamily="2" charset="-122"/>
                  </a:rPr>
                  <a:t>Magna amet luptatum accumsan et sea facilisi gubergren.</a:t>
                </a:r>
                <a:endParaRPr lang="zh-CN" altLang="en-US" sz="1200" dirty="0">
                  <a:latin typeface="Calibri" pitchFamily="34" charset="0"/>
                  <a:ea typeface="宋体" pitchFamily="2" charset="-122"/>
                </a:endParaRPr>
              </a:p>
            </p:txBody>
          </p:sp>
        </p:grpSp>
        <p:grpSp>
          <p:nvGrpSpPr>
            <p:cNvPr id="49" name="组合 48"/>
            <p:cNvGrpSpPr/>
            <p:nvPr/>
          </p:nvGrpSpPr>
          <p:grpSpPr>
            <a:xfrm>
              <a:off x="660400" y="4833111"/>
              <a:ext cx="4335222" cy="1285199"/>
              <a:chOff x="660400" y="4833111"/>
              <a:chExt cx="4335222" cy="1285199"/>
            </a:xfrm>
          </p:grpSpPr>
          <p:sp>
            <p:nvSpPr>
              <p:cNvPr id="31" name="椭圆 30"/>
              <p:cNvSpPr/>
              <p:nvPr/>
            </p:nvSpPr>
            <p:spPr>
              <a:xfrm flipV="1">
                <a:off x="4840366" y="4999862"/>
                <a:ext cx="155256" cy="155256"/>
              </a:xfrm>
              <a:prstGeom prst="ellipse">
                <a:avLst/>
              </a:prstGeom>
              <a:solidFill>
                <a:schemeClr val="accent2">
                  <a:lumMod val="100000"/>
                </a:schemeClr>
              </a:solidFill>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5" name="文本框 44"/>
              <p:cNvSpPr txBox="1"/>
              <p:nvPr/>
            </p:nvSpPr>
            <p:spPr>
              <a:xfrm>
                <a:off x="660400" y="4833111"/>
                <a:ext cx="2894619" cy="598540"/>
              </a:xfrm>
              <a:prstGeom prst="rect">
                <a:avLst/>
              </a:prstGeom>
              <a:noFill/>
            </p:spPr>
            <p:txBody>
              <a:bodyPr wrap="square" lIns="91440" tIns="45720" rIns="91440" bIns="45720" rtlCol="0" anchor="b" anchorCtr="0">
                <a:normAutofit/>
              </a:bodyPr>
              <a:lstStyle/>
              <a:p>
                <a:pPr algn="r"/>
                <a:r>
                  <a:rPr lang="en-US" altLang="zh-CN" b="1">
                    <a:latin typeface="Calibri" pitchFamily="34" charset="0"/>
                    <a:ea typeface="宋体" pitchFamily="2" charset="-122"/>
                  </a:rPr>
                  <a:t>Click to add text</a:t>
                </a:r>
                <a:endParaRPr lang="zh-CN" altLang="en-US" b="1" dirty="0">
                  <a:latin typeface="Calibri" pitchFamily="34" charset="0"/>
                  <a:ea typeface="宋体" pitchFamily="2" charset="-122"/>
                </a:endParaRPr>
              </a:p>
            </p:txBody>
          </p:sp>
          <p:sp>
            <p:nvSpPr>
              <p:cNvPr id="46" name="文本框 45"/>
              <p:cNvSpPr txBox="1"/>
              <p:nvPr/>
            </p:nvSpPr>
            <p:spPr>
              <a:xfrm>
                <a:off x="660400" y="5431653"/>
                <a:ext cx="2894619" cy="686657"/>
              </a:xfrm>
              <a:prstGeom prst="rect">
                <a:avLst/>
              </a:prstGeom>
              <a:noFill/>
            </p:spPr>
            <p:txBody>
              <a:bodyPr wrap="square" lIns="91440" tIns="45720" rIns="91440" bIns="45720" rtlCol="0" anchor="t" anchorCtr="0">
                <a:normAutofit/>
              </a:bodyPr>
              <a:lstStyle/>
              <a:p>
                <a:pPr algn="r">
                  <a:lnSpc>
                    <a:spcPct val="120000"/>
                  </a:lnSpc>
                </a:pPr>
                <a:r>
                  <a:rPr lang="sv-SE" altLang="zh-CN" sz="1200">
                    <a:latin typeface="Calibri" pitchFamily="34" charset="0"/>
                    <a:ea typeface="宋体" pitchFamily="2" charset="-122"/>
                  </a:rPr>
                  <a:t>Consetetur dolor kasd voluptua in consequat at sit lorem no.</a:t>
                </a:r>
                <a:endParaRPr lang="zh-CN" altLang="en-US" sz="1200" dirty="0">
                  <a:latin typeface="Calibri" pitchFamily="34" charset="0"/>
                  <a:ea typeface="宋体" pitchFamily="2" charset="-122"/>
                </a:endParaRPr>
              </a:p>
            </p:txBody>
          </p:sp>
        </p:grpSp>
      </p:gr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3" name="组合 52"/>
          <p:cNvGrpSpPr/>
          <p:nvPr/>
        </p:nvGrpSpPr>
        <p:grpSpPr>
          <a:xfrm>
            <a:off x="660401" y="1130300"/>
            <a:ext cx="10871201" cy="4740315"/>
            <a:chOff x="660399" y="1130300"/>
            <a:chExt cx="10871201" cy="4740314"/>
          </a:xfrm>
        </p:grpSpPr>
        <p:sp>
          <p:nvSpPr>
            <p:cNvPr id="6" name="文本框 5"/>
            <p:cNvSpPr txBox="1"/>
            <p:nvPr/>
          </p:nvSpPr>
          <p:spPr>
            <a:xfrm>
              <a:off x="660399" y="1130300"/>
              <a:ext cx="10858500" cy="604762"/>
            </a:xfrm>
            <a:prstGeom prst="rect">
              <a:avLst/>
            </a:prstGeom>
            <a:noFill/>
          </p:spPr>
          <p:txBody>
            <a:bodyPr wrap="square" anchor="t" anchorCtr="0">
              <a:normAutofit/>
            </a:bodyPr>
            <a:lstStyle/>
            <a:p>
              <a:pPr algn="ctr"/>
              <a:r>
                <a:rPr lang="en-US" altLang="zh-CN" sz="2400" b="1" dirty="0">
                  <a:latin typeface="Calibri" pitchFamily="34" charset="0"/>
                  <a:ea typeface="宋体" pitchFamily="2" charset="-122"/>
                </a:rPr>
                <a:t>Unified fonts make reading more fluent</a:t>
              </a:r>
              <a:endParaRPr lang="zh-CN" altLang="en-US" sz="2400" b="1" dirty="0">
                <a:latin typeface="Calibri" pitchFamily="34" charset="0"/>
                <a:ea typeface="宋体" pitchFamily="2" charset="-122"/>
              </a:endParaRPr>
            </a:p>
          </p:txBody>
        </p:sp>
        <p:grpSp>
          <p:nvGrpSpPr>
            <p:cNvPr id="50" name="组合 49"/>
            <p:cNvGrpSpPr/>
            <p:nvPr/>
          </p:nvGrpSpPr>
          <p:grpSpPr>
            <a:xfrm>
              <a:off x="4851795" y="2783623"/>
              <a:ext cx="2142451" cy="2178744"/>
              <a:chOff x="4851795" y="2783623"/>
              <a:chExt cx="2142451" cy="2178744"/>
            </a:xfrm>
          </p:grpSpPr>
          <p:sp>
            <p:nvSpPr>
              <p:cNvPr id="28" name="任意多边形: 形状 27"/>
              <p:cNvSpPr/>
              <p:nvPr/>
            </p:nvSpPr>
            <p:spPr>
              <a:xfrm rot="1064427">
                <a:off x="5171518" y="2783623"/>
                <a:ext cx="609945" cy="556659"/>
              </a:xfrm>
              <a:custGeom>
                <a:avLst/>
                <a:gdLst>
                  <a:gd name="connsiteX0" fmla="*/ 0 w 609945"/>
                  <a:gd name="connsiteY0" fmla="*/ 83167 h 556659"/>
                  <a:gd name="connsiteX1" fmla="*/ 291743 w 609945"/>
                  <a:gd name="connsiteY1" fmla="*/ 0 h 556659"/>
                  <a:gd name="connsiteX2" fmla="*/ 255727 w 609945"/>
                  <a:gd name="connsiteY2" fmla="*/ 112184 h 556659"/>
                  <a:gd name="connsiteX3" fmla="*/ 309329 w 609945"/>
                  <a:gd name="connsiteY3" fmla="*/ 133446 h 556659"/>
                  <a:gd name="connsiteX4" fmla="*/ 495248 w 609945"/>
                  <a:gd name="connsiteY4" fmla="*/ 273778 h 556659"/>
                  <a:gd name="connsiteX5" fmla="*/ 609945 w 609945"/>
                  <a:gd name="connsiteY5" fmla="*/ 500002 h 556659"/>
                  <a:gd name="connsiteX6" fmla="*/ 484980 w 609945"/>
                  <a:gd name="connsiteY6" fmla="*/ 556659 h 556659"/>
                  <a:gd name="connsiteX7" fmla="*/ 405824 w 609945"/>
                  <a:gd name="connsiteY7" fmla="*/ 382831 h 556659"/>
                  <a:gd name="connsiteX8" fmla="*/ 272790 w 609945"/>
                  <a:gd name="connsiteY8" fmla="*/ 262662 h 556659"/>
                  <a:gd name="connsiteX9" fmla="*/ 215501 w 609945"/>
                  <a:gd name="connsiteY9" fmla="*/ 237481 h 556659"/>
                  <a:gd name="connsiteX10" fmla="*/ 188812 w 609945"/>
                  <a:gd name="connsiteY10" fmla="*/ 320612 h 556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09945" h="556659">
                    <a:moveTo>
                      <a:pt x="0" y="83167"/>
                    </a:moveTo>
                    <a:lnTo>
                      <a:pt x="291743" y="0"/>
                    </a:lnTo>
                    <a:lnTo>
                      <a:pt x="255727" y="112184"/>
                    </a:lnTo>
                    <a:lnTo>
                      <a:pt x="309329" y="133446"/>
                    </a:lnTo>
                    <a:cubicBezTo>
                      <a:pt x="380611" y="166968"/>
                      <a:pt x="443946" y="213381"/>
                      <a:pt x="495248" y="273778"/>
                    </a:cubicBezTo>
                    <a:cubicBezTo>
                      <a:pt x="553932" y="342877"/>
                      <a:pt x="589452" y="421488"/>
                      <a:pt x="609945" y="500002"/>
                    </a:cubicBezTo>
                    <a:lnTo>
                      <a:pt x="484980" y="556659"/>
                    </a:lnTo>
                    <a:cubicBezTo>
                      <a:pt x="467795" y="501192"/>
                      <a:pt x="442414" y="442881"/>
                      <a:pt x="405824" y="382831"/>
                    </a:cubicBezTo>
                    <a:cubicBezTo>
                      <a:pt x="375466" y="332906"/>
                      <a:pt x="329527" y="292594"/>
                      <a:pt x="272790" y="262662"/>
                    </a:cubicBezTo>
                    <a:lnTo>
                      <a:pt x="215501" y="237481"/>
                    </a:lnTo>
                    <a:lnTo>
                      <a:pt x="188812" y="320612"/>
                    </a:lnTo>
                    <a:close/>
                  </a:path>
                </a:pathLst>
              </a:custGeom>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34" name="椭圆 33"/>
              <p:cNvSpPr/>
              <p:nvPr/>
            </p:nvSpPr>
            <p:spPr>
              <a:xfrm>
                <a:off x="5441827" y="3295650"/>
                <a:ext cx="432080" cy="432080"/>
              </a:xfrm>
              <a:prstGeom prst="ellipse">
                <a:avLst/>
              </a:prstGeom>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chorCtr="1">
                <a:normAutofit/>
              </a:bodyPr>
              <a:lstStyle/>
              <a:p>
                <a:pPr algn="ctr"/>
                <a:r>
                  <a:rPr lang="en-US" altLang="zh-CN" sz="1400" b="1" dirty="0">
                    <a:latin typeface="Calibri" pitchFamily="34" charset="0"/>
                    <a:ea typeface="宋体" pitchFamily="2" charset="-122"/>
                  </a:rPr>
                  <a:t>01</a:t>
                </a:r>
                <a:endParaRPr lang="zh-CN" altLang="en-US" sz="1400" b="1" dirty="0">
                  <a:latin typeface="Calibri" pitchFamily="34" charset="0"/>
                  <a:ea typeface="宋体" pitchFamily="2" charset="-122"/>
                </a:endParaRPr>
              </a:p>
            </p:txBody>
          </p:sp>
          <p:sp>
            <p:nvSpPr>
              <p:cNvPr id="38" name="文本框 37"/>
              <p:cNvSpPr txBox="1"/>
              <p:nvPr/>
            </p:nvSpPr>
            <p:spPr>
              <a:xfrm flipH="1">
                <a:off x="4864497" y="4308144"/>
                <a:ext cx="2129749" cy="654223"/>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rmAutofit/>
              </a:bodyPr>
              <a:lstStyle>
                <a:defPPr>
                  <a:defRPr lang="zh-CN"/>
                </a:defPPr>
                <a:lvl1pPr algn="ctr">
                  <a:defRPr sz="1400" b="1"/>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lnSpc>
                    <a:spcPct val="120000"/>
                  </a:lnSpc>
                </a:pPr>
                <a:r>
                  <a:rPr lang="fr-FR" altLang="zh-CN" sz="1200" b="0">
                    <a:solidFill>
                      <a:schemeClr val="tx1"/>
                    </a:solidFill>
                    <a:latin typeface="Calibri" pitchFamily="34" charset="0"/>
                    <a:ea typeface="宋体" pitchFamily="2" charset="-122"/>
                  </a:rPr>
                  <a:t>Consetetur sit sed iriure gubergren accumsan duo sed.</a:t>
                </a:r>
                <a:endParaRPr lang="en-US" altLang="zh-CN" sz="1200" b="0" dirty="0">
                  <a:solidFill>
                    <a:schemeClr val="tx1"/>
                  </a:solidFill>
                  <a:latin typeface="Calibri" pitchFamily="34" charset="0"/>
                  <a:ea typeface="宋体" pitchFamily="2" charset="-122"/>
                </a:endParaRPr>
              </a:p>
            </p:txBody>
          </p:sp>
          <p:sp>
            <p:nvSpPr>
              <p:cNvPr id="39" name="文本框 38"/>
              <p:cNvSpPr txBox="1"/>
              <p:nvPr/>
            </p:nvSpPr>
            <p:spPr>
              <a:xfrm flipH="1">
                <a:off x="4851795" y="3760514"/>
                <a:ext cx="2129749" cy="547630"/>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normAutofit/>
              </a:bodyPr>
              <a:lstStyle>
                <a:defPPr>
                  <a:defRPr lang="zh-CN"/>
                </a:defPPr>
                <a:lvl1pPr algn="ctr">
                  <a:defRPr sz="1400" b="1"/>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n-US" altLang="zh-CN" sz="1800">
                    <a:solidFill>
                      <a:schemeClr val="tx1"/>
                    </a:solidFill>
                    <a:latin typeface="Calibri" pitchFamily="34" charset="0"/>
                    <a:ea typeface="宋体" pitchFamily="2" charset="-122"/>
                  </a:rPr>
                  <a:t>Click to add text</a:t>
                </a:r>
                <a:endParaRPr lang="en-US" altLang="zh-CN" sz="1800" dirty="0">
                  <a:solidFill>
                    <a:schemeClr val="tx1"/>
                  </a:solidFill>
                  <a:latin typeface="Calibri" pitchFamily="34" charset="0"/>
                  <a:ea typeface="宋体" pitchFamily="2" charset="-122"/>
                </a:endParaRPr>
              </a:p>
            </p:txBody>
          </p:sp>
        </p:grpSp>
        <p:grpSp>
          <p:nvGrpSpPr>
            <p:cNvPr id="49" name="组合 48"/>
            <p:cNvGrpSpPr/>
            <p:nvPr/>
          </p:nvGrpSpPr>
          <p:grpSpPr>
            <a:xfrm>
              <a:off x="660400" y="2011811"/>
              <a:ext cx="4375695" cy="1641024"/>
              <a:chOff x="660400" y="2011811"/>
              <a:chExt cx="4375695" cy="1641024"/>
            </a:xfrm>
          </p:grpSpPr>
          <p:sp>
            <p:nvSpPr>
              <p:cNvPr id="29" name="任意多边形: 形状 28"/>
              <p:cNvSpPr/>
              <p:nvPr/>
            </p:nvSpPr>
            <p:spPr>
              <a:xfrm rot="1064427">
                <a:off x="3990648" y="2560483"/>
                <a:ext cx="1045447" cy="1092352"/>
              </a:xfrm>
              <a:custGeom>
                <a:avLst/>
                <a:gdLst>
                  <a:gd name="connsiteX0" fmla="*/ 726345 w 1045447"/>
                  <a:gd name="connsiteY0" fmla="*/ 65907 h 1092352"/>
                  <a:gd name="connsiteX1" fmla="*/ 853859 w 1045447"/>
                  <a:gd name="connsiteY1" fmla="*/ 27260 h 1092352"/>
                  <a:gd name="connsiteX2" fmla="*/ 1027037 w 1045447"/>
                  <a:gd name="connsiteY2" fmla="*/ 0 h 1092352"/>
                  <a:gd name="connsiteX3" fmla="*/ 1045447 w 1045447"/>
                  <a:gd name="connsiteY3" fmla="*/ 245 h 1092352"/>
                  <a:gd name="connsiteX4" fmla="*/ 1016889 w 1045447"/>
                  <a:gd name="connsiteY4" fmla="*/ 138725 h 1092352"/>
                  <a:gd name="connsiteX5" fmla="*/ 935506 w 1045447"/>
                  <a:gd name="connsiteY5" fmla="*/ 150909 h 1092352"/>
                  <a:gd name="connsiteX6" fmla="*/ 259429 w 1045447"/>
                  <a:gd name="connsiteY6" fmla="*/ 825352 h 1092352"/>
                  <a:gd name="connsiteX7" fmla="*/ 256912 w 1045447"/>
                  <a:gd name="connsiteY7" fmla="*/ 841953 h 1092352"/>
                  <a:gd name="connsiteX8" fmla="*/ 336653 w 1045447"/>
                  <a:gd name="connsiteY8" fmla="*/ 843661 h 1092352"/>
                  <a:gd name="connsiteX9" fmla="*/ 162920 w 1045447"/>
                  <a:gd name="connsiteY9" fmla="*/ 1092352 h 1092352"/>
                  <a:gd name="connsiteX10" fmla="*/ 0 w 1045447"/>
                  <a:gd name="connsiteY10" fmla="*/ 836448 h 1092352"/>
                  <a:gd name="connsiteX11" fmla="*/ 96908 w 1045447"/>
                  <a:gd name="connsiteY11" fmla="*/ 838524 h 1092352"/>
                  <a:gd name="connsiteX12" fmla="*/ 103489 w 1045447"/>
                  <a:gd name="connsiteY12" fmla="*/ 789733 h 1092352"/>
                  <a:gd name="connsiteX13" fmla="*/ 388657 w 1045447"/>
                  <a:gd name="connsiteY13" fmla="*/ 266719 h 1092352"/>
                  <a:gd name="connsiteX14" fmla="*/ 726345 w 1045447"/>
                  <a:gd name="connsiteY14" fmla="*/ 65907 h 1092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45447" h="1092352">
                    <a:moveTo>
                      <a:pt x="726345" y="65907"/>
                    </a:moveTo>
                    <a:cubicBezTo>
                      <a:pt x="768114" y="50531"/>
                      <a:pt x="810789" y="37603"/>
                      <a:pt x="853859" y="27260"/>
                    </a:cubicBezTo>
                    <a:cubicBezTo>
                      <a:pt x="911286" y="13469"/>
                      <a:pt x="969416" y="4275"/>
                      <a:pt x="1027037" y="0"/>
                    </a:cubicBezTo>
                    <a:lnTo>
                      <a:pt x="1045447" y="245"/>
                    </a:lnTo>
                    <a:lnTo>
                      <a:pt x="1016889" y="138725"/>
                    </a:lnTo>
                    <a:lnTo>
                      <a:pt x="935506" y="150909"/>
                    </a:lnTo>
                    <a:cubicBezTo>
                      <a:pt x="647426" y="212491"/>
                      <a:pt x="350431" y="425799"/>
                      <a:pt x="259429" y="825352"/>
                    </a:cubicBezTo>
                    <a:lnTo>
                      <a:pt x="256912" y="841953"/>
                    </a:lnTo>
                    <a:lnTo>
                      <a:pt x="336653" y="843661"/>
                    </a:lnTo>
                    <a:lnTo>
                      <a:pt x="162920" y="1092352"/>
                    </a:lnTo>
                    <a:lnTo>
                      <a:pt x="0" y="836448"/>
                    </a:lnTo>
                    <a:lnTo>
                      <a:pt x="96908" y="838524"/>
                    </a:lnTo>
                    <a:lnTo>
                      <a:pt x="103489" y="789733"/>
                    </a:lnTo>
                    <a:cubicBezTo>
                      <a:pt x="138038" y="618945"/>
                      <a:pt x="216926" y="422763"/>
                      <a:pt x="388657" y="266719"/>
                    </a:cubicBezTo>
                    <a:cubicBezTo>
                      <a:pt x="483881" y="180204"/>
                      <a:pt x="601038" y="112037"/>
                      <a:pt x="726345" y="65907"/>
                    </a:cubicBez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35" name="椭圆 34"/>
              <p:cNvSpPr/>
              <p:nvPr/>
            </p:nvSpPr>
            <p:spPr>
              <a:xfrm>
                <a:off x="4259107" y="2649322"/>
                <a:ext cx="432080" cy="432080"/>
              </a:xfrm>
              <a:prstGeom prst="ellipse">
                <a:avLst/>
              </a:prstGeom>
              <a:solidFill>
                <a:schemeClr val="accent2"/>
              </a:solidFill>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chorCtr="1">
                <a:normAutofit/>
              </a:bodyPr>
              <a:lstStyle/>
              <a:p>
                <a:pPr algn="ctr"/>
                <a:r>
                  <a:rPr lang="en-US" altLang="zh-CN" sz="1400" b="1" dirty="0">
                    <a:latin typeface="Calibri" pitchFamily="34" charset="0"/>
                    <a:ea typeface="宋体" pitchFamily="2" charset="-122"/>
                  </a:rPr>
                  <a:t>02</a:t>
                </a:r>
                <a:endParaRPr lang="zh-CN" altLang="en-US" sz="1400" b="1" dirty="0">
                  <a:latin typeface="Calibri" pitchFamily="34" charset="0"/>
                  <a:ea typeface="宋体" pitchFamily="2" charset="-122"/>
                </a:endParaRPr>
              </a:p>
            </p:txBody>
          </p:sp>
          <p:sp>
            <p:nvSpPr>
              <p:cNvPr id="40" name="文本框 39"/>
              <p:cNvSpPr txBox="1"/>
              <p:nvPr/>
            </p:nvSpPr>
            <p:spPr>
              <a:xfrm flipH="1">
                <a:off x="660400" y="2559441"/>
                <a:ext cx="3046520" cy="654223"/>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rmAutofit/>
              </a:bodyPr>
              <a:lstStyle>
                <a:defPPr>
                  <a:defRPr lang="zh-CN"/>
                </a:defPPr>
                <a:lvl1pPr algn="ctr">
                  <a:defRPr sz="1400" b="1"/>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r">
                  <a:lnSpc>
                    <a:spcPct val="120000"/>
                  </a:lnSpc>
                </a:pPr>
                <a:r>
                  <a:rPr lang="nb-NO" altLang="zh-CN" sz="1200" b="0">
                    <a:solidFill>
                      <a:schemeClr val="tx1"/>
                    </a:solidFill>
                    <a:latin typeface="Calibri" pitchFamily="34" charset="0"/>
                    <a:ea typeface="宋体" pitchFamily="2" charset="-122"/>
                  </a:rPr>
                  <a:t>At ut gubergren laoreet te sed amet voluptua vero.</a:t>
                </a:r>
                <a:endParaRPr lang="en-US" altLang="zh-CN" sz="1200" b="0" dirty="0">
                  <a:solidFill>
                    <a:schemeClr val="tx1"/>
                  </a:solidFill>
                  <a:latin typeface="Calibri" pitchFamily="34" charset="0"/>
                  <a:ea typeface="宋体" pitchFamily="2" charset="-122"/>
                </a:endParaRPr>
              </a:p>
            </p:txBody>
          </p:sp>
          <p:sp>
            <p:nvSpPr>
              <p:cNvPr id="41" name="文本框 40"/>
              <p:cNvSpPr txBox="1"/>
              <p:nvPr/>
            </p:nvSpPr>
            <p:spPr>
              <a:xfrm flipH="1">
                <a:off x="660400" y="2011811"/>
                <a:ext cx="3046520" cy="547630"/>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normAutofit/>
              </a:bodyPr>
              <a:lstStyle>
                <a:defPPr>
                  <a:defRPr lang="zh-CN"/>
                </a:defPPr>
                <a:lvl1pPr algn="ctr">
                  <a:defRPr sz="1400" b="1"/>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r"/>
                <a:r>
                  <a:rPr lang="en-US" altLang="zh-CN" sz="1800">
                    <a:solidFill>
                      <a:schemeClr val="tx1"/>
                    </a:solidFill>
                    <a:latin typeface="Calibri" pitchFamily="34" charset="0"/>
                    <a:ea typeface="宋体" pitchFamily="2" charset="-122"/>
                  </a:rPr>
                  <a:t>Click to add text</a:t>
                </a:r>
                <a:endParaRPr lang="en-US" altLang="zh-CN" sz="1800" dirty="0">
                  <a:solidFill>
                    <a:schemeClr val="tx1"/>
                  </a:solidFill>
                  <a:latin typeface="Calibri" pitchFamily="34" charset="0"/>
                  <a:ea typeface="宋体" pitchFamily="2" charset="-122"/>
                </a:endParaRPr>
              </a:p>
            </p:txBody>
          </p:sp>
        </p:grpSp>
        <p:grpSp>
          <p:nvGrpSpPr>
            <p:cNvPr id="51" name="组合 50"/>
            <p:cNvGrpSpPr/>
            <p:nvPr/>
          </p:nvGrpSpPr>
          <p:grpSpPr>
            <a:xfrm>
              <a:off x="660400" y="3939307"/>
              <a:ext cx="5398135" cy="1931307"/>
              <a:chOff x="660400" y="3939307"/>
              <a:chExt cx="5398135" cy="1931307"/>
            </a:xfrm>
          </p:grpSpPr>
          <p:sp>
            <p:nvSpPr>
              <p:cNvPr id="30" name="任意多边形: 形状 29"/>
              <p:cNvSpPr/>
              <p:nvPr/>
            </p:nvSpPr>
            <p:spPr>
              <a:xfrm rot="1064427">
                <a:off x="3652603" y="3939307"/>
                <a:ext cx="2405932" cy="1289093"/>
              </a:xfrm>
              <a:custGeom>
                <a:avLst/>
                <a:gdLst>
                  <a:gd name="connsiteX0" fmla="*/ 0 w 2405932"/>
                  <a:gd name="connsiteY0" fmla="*/ 19322 h 1289093"/>
                  <a:gd name="connsiteX1" fmla="*/ 172743 w 2405932"/>
                  <a:gd name="connsiteY1" fmla="*/ 0 h 1289093"/>
                  <a:gd name="connsiteX2" fmla="*/ 193598 w 2405932"/>
                  <a:gd name="connsiteY2" fmla="*/ 88048 h 1289093"/>
                  <a:gd name="connsiteX3" fmla="*/ 1676160 w 2405932"/>
                  <a:gd name="connsiteY3" fmla="*/ 1108760 h 1289093"/>
                  <a:gd name="connsiteX4" fmla="*/ 2007402 w 2405932"/>
                  <a:gd name="connsiteY4" fmla="*/ 1040406 h 1289093"/>
                  <a:gd name="connsiteX5" fmla="*/ 2140840 w 2405932"/>
                  <a:gd name="connsiteY5" fmla="*/ 999722 h 1289093"/>
                  <a:gd name="connsiteX6" fmla="*/ 2107648 w 2405932"/>
                  <a:gd name="connsiteY6" fmla="*/ 922317 h 1289093"/>
                  <a:gd name="connsiteX7" fmla="*/ 2405932 w 2405932"/>
                  <a:gd name="connsiteY7" fmla="*/ 977602 h 1289093"/>
                  <a:gd name="connsiteX8" fmla="*/ 2240353 w 2405932"/>
                  <a:gd name="connsiteY8" fmla="*/ 1231793 h 1289093"/>
                  <a:gd name="connsiteX9" fmla="*/ 2218391 w 2405932"/>
                  <a:gd name="connsiteY9" fmla="*/ 1180578 h 1289093"/>
                  <a:gd name="connsiteX10" fmla="*/ 2190957 w 2405932"/>
                  <a:gd name="connsiteY10" fmla="*/ 1190466 h 1289093"/>
                  <a:gd name="connsiteX11" fmla="*/ 1781862 w 2405932"/>
                  <a:gd name="connsiteY11" fmla="*/ 1279700 h 1289093"/>
                  <a:gd name="connsiteX12" fmla="*/ 535133 w 2405932"/>
                  <a:gd name="connsiteY12" fmla="*/ 925396 h 1289093"/>
                  <a:gd name="connsiteX13" fmla="*/ 4692 w 2405932"/>
                  <a:gd name="connsiteY13" fmla="*/ 42185 h 1289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05932" h="1289093">
                    <a:moveTo>
                      <a:pt x="0" y="19322"/>
                    </a:moveTo>
                    <a:lnTo>
                      <a:pt x="172743" y="0"/>
                    </a:lnTo>
                    <a:lnTo>
                      <a:pt x="193598" y="88048"/>
                    </a:lnTo>
                    <a:cubicBezTo>
                      <a:pt x="396555" y="766379"/>
                      <a:pt x="1107117" y="1150028"/>
                      <a:pt x="1676160" y="1108760"/>
                    </a:cubicBezTo>
                    <a:cubicBezTo>
                      <a:pt x="1724228" y="1102290"/>
                      <a:pt x="1844341" y="1084689"/>
                      <a:pt x="2007402" y="1040406"/>
                    </a:cubicBezTo>
                    <a:lnTo>
                      <a:pt x="2140840" y="999722"/>
                    </a:lnTo>
                    <a:lnTo>
                      <a:pt x="2107648" y="922317"/>
                    </a:lnTo>
                    <a:lnTo>
                      <a:pt x="2405932" y="977602"/>
                    </a:lnTo>
                    <a:lnTo>
                      <a:pt x="2240353" y="1231793"/>
                    </a:lnTo>
                    <a:lnTo>
                      <a:pt x="2218391" y="1180578"/>
                    </a:lnTo>
                    <a:lnTo>
                      <a:pt x="2190957" y="1190466"/>
                    </a:lnTo>
                    <a:cubicBezTo>
                      <a:pt x="1998833" y="1254881"/>
                      <a:pt x="1861575" y="1272593"/>
                      <a:pt x="1781862" y="1279700"/>
                    </a:cubicBezTo>
                    <a:cubicBezTo>
                      <a:pt x="1634035" y="1292936"/>
                      <a:pt x="1038591" y="1346085"/>
                      <a:pt x="535133" y="925396"/>
                    </a:cubicBezTo>
                    <a:cubicBezTo>
                      <a:pt x="173266" y="622997"/>
                      <a:pt x="48417" y="234041"/>
                      <a:pt x="4692" y="42185"/>
                    </a:cubicBezTo>
                    <a:close/>
                  </a:path>
                </a:pathLst>
              </a:cu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36" name="椭圆 35"/>
              <p:cNvSpPr/>
              <p:nvPr/>
            </p:nvSpPr>
            <p:spPr>
              <a:xfrm>
                <a:off x="4192432" y="4611330"/>
                <a:ext cx="432080" cy="432080"/>
              </a:xfrm>
              <a:prstGeom prst="ellipse">
                <a:avLst/>
              </a:prstGeom>
              <a:solidFill>
                <a:schemeClr val="accent3"/>
              </a:solidFill>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chorCtr="1">
                <a:normAutofit/>
              </a:bodyPr>
              <a:lstStyle/>
              <a:p>
                <a:pPr algn="ctr"/>
                <a:r>
                  <a:rPr lang="en-US" altLang="zh-CN" sz="1400" b="1" dirty="0">
                    <a:latin typeface="Calibri" pitchFamily="34" charset="0"/>
                    <a:ea typeface="宋体" pitchFamily="2" charset="-122"/>
                  </a:rPr>
                  <a:t>03</a:t>
                </a:r>
                <a:endParaRPr lang="zh-CN" altLang="en-US" sz="1400" b="1" dirty="0">
                  <a:latin typeface="Calibri" pitchFamily="34" charset="0"/>
                  <a:ea typeface="宋体" pitchFamily="2" charset="-122"/>
                </a:endParaRPr>
              </a:p>
            </p:txBody>
          </p:sp>
          <p:sp>
            <p:nvSpPr>
              <p:cNvPr id="42" name="文本框 41"/>
              <p:cNvSpPr txBox="1"/>
              <p:nvPr/>
            </p:nvSpPr>
            <p:spPr>
              <a:xfrm flipH="1">
                <a:off x="660400" y="5216391"/>
                <a:ext cx="3046520" cy="654223"/>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rmAutofit/>
              </a:bodyPr>
              <a:lstStyle>
                <a:defPPr>
                  <a:defRPr lang="zh-CN"/>
                </a:defPPr>
                <a:lvl1pPr algn="ctr">
                  <a:defRPr sz="1400" b="1"/>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r">
                  <a:lnSpc>
                    <a:spcPct val="120000"/>
                  </a:lnSpc>
                </a:pPr>
                <a:r>
                  <a:rPr lang="fr-FR" altLang="zh-CN" sz="1200" b="0">
                    <a:solidFill>
                      <a:schemeClr val="tx1"/>
                    </a:solidFill>
                    <a:latin typeface="Calibri" pitchFamily="34" charset="0"/>
                    <a:ea typeface="宋体" pitchFamily="2" charset="-122"/>
                  </a:rPr>
                  <a:t>Sit dignissim dolores exerci commodo diam et clita accumsan.</a:t>
                </a:r>
                <a:endParaRPr lang="en-US" altLang="zh-CN" sz="1200" b="0" dirty="0">
                  <a:solidFill>
                    <a:schemeClr val="tx1"/>
                  </a:solidFill>
                  <a:latin typeface="Calibri" pitchFamily="34" charset="0"/>
                  <a:ea typeface="宋体" pitchFamily="2" charset="-122"/>
                </a:endParaRPr>
              </a:p>
            </p:txBody>
          </p:sp>
          <p:sp>
            <p:nvSpPr>
              <p:cNvPr id="43" name="文本框 42"/>
              <p:cNvSpPr txBox="1"/>
              <p:nvPr/>
            </p:nvSpPr>
            <p:spPr>
              <a:xfrm flipH="1">
                <a:off x="660400" y="4668761"/>
                <a:ext cx="3046520" cy="547630"/>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normAutofit/>
              </a:bodyPr>
              <a:lstStyle>
                <a:defPPr>
                  <a:defRPr lang="zh-CN"/>
                </a:defPPr>
                <a:lvl1pPr algn="ctr">
                  <a:defRPr sz="1400" b="1"/>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r"/>
                <a:r>
                  <a:rPr lang="en-US" altLang="zh-CN" sz="1800">
                    <a:solidFill>
                      <a:schemeClr val="tx1"/>
                    </a:solidFill>
                    <a:latin typeface="Calibri" pitchFamily="34" charset="0"/>
                    <a:ea typeface="宋体" pitchFamily="2" charset="-122"/>
                  </a:rPr>
                  <a:t>Click to add text</a:t>
                </a:r>
                <a:endParaRPr lang="en-US" altLang="zh-CN" sz="1800" dirty="0">
                  <a:solidFill>
                    <a:schemeClr val="tx1"/>
                  </a:solidFill>
                  <a:latin typeface="Calibri" pitchFamily="34" charset="0"/>
                  <a:ea typeface="宋体" pitchFamily="2" charset="-122"/>
                </a:endParaRPr>
              </a:p>
            </p:txBody>
          </p:sp>
        </p:grpSp>
        <p:grpSp>
          <p:nvGrpSpPr>
            <p:cNvPr id="48" name="组合 47"/>
            <p:cNvGrpSpPr/>
            <p:nvPr/>
          </p:nvGrpSpPr>
          <p:grpSpPr>
            <a:xfrm>
              <a:off x="6483975" y="2191994"/>
              <a:ext cx="5047625" cy="3502610"/>
              <a:chOff x="6483975" y="2191994"/>
              <a:chExt cx="5047625" cy="3502610"/>
            </a:xfrm>
          </p:grpSpPr>
          <p:sp>
            <p:nvSpPr>
              <p:cNvPr id="47" name="任意多边形: 形状 46"/>
              <p:cNvSpPr/>
              <p:nvPr/>
            </p:nvSpPr>
            <p:spPr>
              <a:xfrm rot="1064427">
                <a:off x="6483975" y="2191994"/>
                <a:ext cx="1747963" cy="3502610"/>
              </a:xfrm>
              <a:custGeom>
                <a:avLst/>
                <a:gdLst>
                  <a:gd name="connsiteX0" fmla="*/ 1510710 w 1747963"/>
                  <a:gd name="connsiteY0" fmla="*/ 0 h 3502610"/>
                  <a:gd name="connsiteX1" fmla="*/ 1747963 w 1747963"/>
                  <a:gd name="connsiteY1" fmla="*/ 189054 h 3502610"/>
                  <a:gd name="connsiteX2" fmla="*/ 1653137 w 1747963"/>
                  <a:gd name="connsiteY2" fmla="*/ 219390 h 3502610"/>
                  <a:gd name="connsiteX3" fmla="*/ 1654744 w 1747963"/>
                  <a:gd name="connsiteY3" fmla="*/ 225850 h 3502610"/>
                  <a:gd name="connsiteX4" fmla="*/ 1517941 w 1747963"/>
                  <a:gd name="connsiteY4" fmla="*/ 2014536 h 3502610"/>
                  <a:gd name="connsiteX5" fmla="*/ 80969 w 1747963"/>
                  <a:gd name="connsiteY5" fmla="*/ 3497719 h 3502610"/>
                  <a:gd name="connsiteX6" fmla="*/ 70825 w 1747963"/>
                  <a:gd name="connsiteY6" fmla="*/ 3502610 h 3502610"/>
                  <a:gd name="connsiteX7" fmla="*/ 0 w 1747963"/>
                  <a:gd name="connsiteY7" fmla="*/ 3334993 h 3502610"/>
                  <a:gd name="connsiteX8" fmla="*/ 0 w 1747963"/>
                  <a:gd name="connsiteY8" fmla="*/ 3329380 h 3502610"/>
                  <a:gd name="connsiteX9" fmla="*/ 79131 w 1747963"/>
                  <a:gd name="connsiteY9" fmla="*/ 3291309 h 3502610"/>
                  <a:gd name="connsiteX10" fmla="*/ 1096131 w 1747963"/>
                  <a:gd name="connsiteY10" fmla="*/ 2397963 h 3502610"/>
                  <a:gd name="connsiteX11" fmla="*/ 1526860 w 1747963"/>
                  <a:gd name="connsiteY11" fmla="*/ 293186 h 3502610"/>
                  <a:gd name="connsiteX12" fmla="*/ 1517168 w 1747963"/>
                  <a:gd name="connsiteY12" fmla="*/ 262890 h 3502610"/>
                  <a:gd name="connsiteX13" fmla="*/ 1427245 w 1747963"/>
                  <a:gd name="connsiteY13" fmla="*/ 291658 h 3502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47963" h="3502610">
                    <a:moveTo>
                      <a:pt x="1510710" y="0"/>
                    </a:moveTo>
                    <a:lnTo>
                      <a:pt x="1747963" y="189054"/>
                    </a:lnTo>
                    <a:lnTo>
                      <a:pt x="1653137" y="219390"/>
                    </a:lnTo>
                    <a:lnTo>
                      <a:pt x="1654744" y="225850"/>
                    </a:lnTo>
                    <a:cubicBezTo>
                      <a:pt x="1726571" y="527133"/>
                      <a:pt x="1844414" y="1236592"/>
                      <a:pt x="1517941" y="2014536"/>
                    </a:cubicBezTo>
                    <a:cubicBezTo>
                      <a:pt x="1154788" y="2879945"/>
                      <a:pt x="460072" y="3309725"/>
                      <a:pt x="80969" y="3497719"/>
                    </a:cubicBezTo>
                    <a:lnTo>
                      <a:pt x="70825" y="3502610"/>
                    </a:lnTo>
                    <a:lnTo>
                      <a:pt x="0" y="3334993"/>
                    </a:lnTo>
                    <a:lnTo>
                      <a:pt x="0" y="3329380"/>
                    </a:lnTo>
                    <a:lnTo>
                      <a:pt x="79131" y="3291309"/>
                    </a:lnTo>
                    <a:cubicBezTo>
                      <a:pt x="421130" y="3115228"/>
                      <a:pt x="796638" y="2836956"/>
                      <a:pt x="1096131" y="2397963"/>
                    </a:cubicBezTo>
                    <a:cubicBezTo>
                      <a:pt x="1734697" y="1461960"/>
                      <a:pt x="1562662" y="477379"/>
                      <a:pt x="1526860" y="293186"/>
                    </a:cubicBezTo>
                    <a:lnTo>
                      <a:pt x="1517168" y="262890"/>
                    </a:lnTo>
                    <a:lnTo>
                      <a:pt x="1427245" y="291658"/>
                    </a:lnTo>
                    <a:close/>
                  </a:path>
                </a:pathLst>
              </a:cu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37" name="椭圆 36"/>
              <p:cNvSpPr/>
              <p:nvPr/>
            </p:nvSpPr>
            <p:spPr>
              <a:xfrm>
                <a:off x="7567125" y="4151773"/>
                <a:ext cx="432080" cy="432080"/>
              </a:xfrm>
              <a:prstGeom prst="ellipse">
                <a:avLst/>
              </a:prstGeom>
              <a:solidFill>
                <a:schemeClr val="accent4"/>
              </a:solidFill>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chorCtr="1">
                <a:normAutofit/>
              </a:bodyPr>
              <a:lstStyle/>
              <a:p>
                <a:pPr algn="ctr"/>
                <a:r>
                  <a:rPr lang="en-US" altLang="zh-CN" sz="1400" b="1" dirty="0">
                    <a:latin typeface="Calibri" pitchFamily="34" charset="0"/>
                    <a:ea typeface="宋体" pitchFamily="2" charset="-122"/>
                  </a:rPr>
                  <a:t>04</a:t>
                </a:r>
                <a:endParaRPr lang="zh-CN" altLang="en-US" sz="1400" b="1" dirty="0">
                  <a:latin typeface="Calibri" pitchFamily="34" charset="0"/>
                  <a:ea typeface="宋体" pitchFamily="2" charset="-122"/>
                </a:endParaRPr>
              </a:p>
            </p:txBody>
          </p:sp>
          <p:sp>
            <p:nvSpPr>
              <p:cNvPr id="44" name="文本框 43"/>
              <p:cNvSpPr txBox="1"/>
              <p:nvPr/>
            </p:nvSpPr>
            <p:spPr>
              <a:xfrm flipH="1">
                <a:off x="8485081" y="4543619"/>
                <a:ext cx="3046519" cy="654223"/>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rmAutofit/>
              </a:bodyPr>
              <a:lstStyle>
                <a:defPPr>
                  <a:defRPr lang="zh-CN"/>
                </a:defPPr>
                <a:lvl1pPr algn="ctr">
                  <a:defRPr sz="1400" b="1"/>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lnSpc>
                    <a:spcPct val="120000"/>
                  </a:lnSpc>
                </a:pPr>
                <a:r>
                  <a:rPr lang="en-US" altLang="zh-CN" sz="1200" b="0">
                    <a:solidFill>
                      <a:schemeClr val="tx1"/>
                    </a:solidFill>
                    <a:latin typeface="Calibri" pitchFamily="34" charset="0"/>
                    <a:ea typeface="宋体" pitchFamily="2" charset="-122"/>
                  </a:rPr>
                  <a:t>Justo clita volutpat lorem ea assum gubergren tation.</a:t>
                </a:r>
                <a:endParaRPr lang="en-US" altLang="zh-CN" sz="1200" b="0" dirty="0">
                  <a:solidFill>
                    <a:schemeClr val="tx1"/>
                  </a:solidFill>
                  <a:latin typeface="Calibri" pitchFamily="34" charset="0"/>
                  <a:ea typeface="宋体" pitchFamily="2" charset="-122"/>
                </a:endParaRPr>
              </a:p>
            </p:txBody>
          </p:sp>
          <p:sp>
            <p:nvSpPr>
              <p:cNvPr id="45" name="文本框 44"/>
              <p:cNvSpPr txBox="1"/>
              <p:nvPr/>
            </p:nvSpPr>
            <p:spPr>
              <a:xfrm flipH="1">
                <a:off x="8485081" y="3995989"/>
                <a:ext cx="3046519" cy="547630"/>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normAutofit/>
              </a:bodyPr>
              <a:lstStyle>
                <a:defPPr>
                  <a:defRPr lang="zh-CN"/>
                </a:defPPr>
                <a:lvl1pPr algn="ctr">
                  <a:defRPr sz="1400" b="1"/>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n-US" altLang="zh-CN" sz="1800">
                    <a:solidFill>
                      <a:schemeClr val="tx1"/>
                    </a:solidFill>
                    <a:latin typeface="Calibri" pitchFamily="34" charset="0"/>
                    <a:ea typeface="宋体" pitchFamily="2" charset="-122"/>
                  </a:rPr>
                  <a:t>Click to add text</a:t>
                </a:r>
                <a:endParaRPr lang="en-US" altLang="zh-CN" sz="1800" dirty="0">
                  <a:solidFill>
                    <a:schemeClr val="tx1"/>
                  </a:solidFill>
                  <a:latin typeface="Calibri" pitchFamily="34" charset="0"/>
                  <a:ea typeface="宋体" pitchFamily="2" charset="-122"/>
                </a:endParaRPr>
              </a:p>
            </p:txBody>
          </p:sp>
        </p:grpSp>
      </p:gr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e7d195523061f1c0" descr="e7d195523061f1c0d318120d6aeaf1b6ccceb6ba3da59c0775C5DE19DDDEBC09ED96DBD9900D9848D623ECAD1D4904B78047D0015C22C8BE97228BE8B5BFF08FE7A3AE04126DA07312A96C0F69F9BAB71A8D4487C13BBD21E178D4F88753BF1C0AA2D476514934E2BFA1BCD92238D9398A04F1D9D25610EF52C0143E775B4548A6233544C90E9CB7" hidden="1"/>
          <p:cNvSpPr txBox="1"/>
          <p:nvPr/>
        </p:nvSpPr>
        <p:spPr>
          <a:xfrm>
            <a:off x="-355600" y="1803400"/>
            <a:ext cx="262251" cy="1016000"/>
          </a:xfrm>
          <a:prstGeom prst="rect">
            <a:avLst/>
          </a:prstGeom>
          <a:noFill/>
        </p:spPr>
        <p:txBody>
          <a:bodyPr vert="wordArtVert"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00" b="0" i="0" u="none" strike="noStrike" kern="1200" cap="none" spc="0" normalizeH="0" baseline="0" noProof="0">
                <a:ln>
                  <a:noFill/>
                </a:ln>
                <a:solidFill>
                  <a:prstClr val="black"/>
                </a:solidFill>
                <a:effectLst/>
                <a:uLnTx/>
                <a:uFillTx/>
                <a:latin typeface="Arial" panose="020B0604020202090204"/>
                <a:ea typeface="华文楷体" panose="02010600040101010101" pitchFamily="2" charset="-122"/>
                <a:cs typeface="+mn-cs"/>
              </a:rPr>
              <a:t>e7d195523061f1c0d318120d6aeaf1b6ccceb6ba3da59c0775C5DE19DDDEBC09ED96DBD9900D9848D623ECAD1D4904B78047D0015C22C8BE97228BE8B5BFF08FE7A3AE04126DA07312A96C0F69F9BAB71A8D4487C13BBD21E178D4F88753BF1C0AA2D476514934E2BFA1BCD92238D9398A04F1D9D25610EF52C0143E775B4548A6233544C90E9CB7</a:t>
            </a:r>
            <a:endParaRPr kumimoji="0" lang="zh-CN" altLang="en-US" sz="100" b="0" i="0" u="none" strike="noStrike" kern="1200" cap="none" spc="0" normalizeH="0" baseline="0" noProof="0">
              <a:ln>
                <a:noFill/>
              </a:ln>
              <a:solidFill>
                <a:prstClr val="black"/>
              </a:solidFill>
              <a:effectLst/>
              <a:uLnTx/>
              <a:uFillTx/>
              <a:latin typeface="Arial" panose="020B0604020202090204"/>
              <a:ea typeface="华文楷体" panose="02010600040101010101" pitchFamily="2" charset="-122"/>
              <a:cs typeface="+mn-cs"/>
            </a:endParaRPr>
          </a:p>
        </p:txBody>
      </p:sp>
      <p:pic>
        <p:nvPicPr>
          <p:cNvPr id="13" name="图片 12"/>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9903035" y="299594"/>
            <a:ext cx="1837445" cy="501494"/>
          </a:xfrm>
          <a:prstGeom prst="rect">
            <a:avLst/>
          </a:prstGeom>
        </p:spPr>
      </p:pic>
      <p:sp>
        <p:nvSpPr>
          <p:cNvPr id="7" name="文本框 6" descr="e7d195523061f1c074694c8bbf98be7b1e4b015d796375963FD28840057458461C7CA0DAD340D15583DEDFC2E3241C4F392EF3A8B4D067B40CF4F149DD7E51F346B0CAB1BCCF6DB2480C67273C6C9E4C189104F717183E94087134205FA50CFF5631A9B2F1EA4298D25FAC7AC4DB9234F95EB2B78EB4FB73D2644FC933C824692AC31DF40D3E73DF"/>
          <p:cNvSpPr txBox="1"/>
          <p:nvPr/>
        </p:nvSpPr>
        <p:spPr>
          <a:xfrm>
            <a:off x="1008981" y="702741"/>
            <a:ext cx="2489200" cy="443711"/>
          </a:xfrm>
          <a:prstGeom prst="rect">
            <a:avLst/>
          </a:prstGeom>
        </p:spPr>
        <p:txBody>
          <a:bodyPr vert="horz" wrap="square" lIns="0" tIns="12700" rIns="0" bIns="0" rtlCol="0">
            <a:spAutoFit/>
          </a:bodyPr>
          <a:lstStyle>
            <a:defPPr>
              <a:defRPr lang="zh-CN"/>
            </a:defPPr>
            <a:lvl1pPr marL="12700">
              <a:lnSpc>
                <a:spcPct val="100000"/>
              </a:lnSpc>
              <a:spcBef>
                <a:spcPts val="100"/>
              </a:spcBef>
              <a:buNone/>
              <a:defRPr sz="2400" b="1">
                <a:solidFill>
                  <a:srgbClr val="F05A23"/>
                </a:solidFill>
              </a:defRPr>
            </a:lvl1pPr>
          </a:lstStyle>
          <a:p>
            <a:pPr marL="12700" marR="0" lvl="0" indent="0" algn="l" defTabSz="914400" rtl="0" eaLnBrk="1" fontAlgn="auto" latinLnBrk="0" hangingPunct="1">
              <a:lnSpc>
                <a:spcPct val="100000"/>
              </a:lnSpc>
              <a:spcBef>
                <a:spcPts val="100"/>
              </a:spcBef>
              <a:spcAft>
                <a:spcPts val="0"/>
              </a:spcAft>
              <a:buClrTx/>
              <a:buSzTx/>
              <a:buFontTx/>
              <a:buNone/>
              <a:defRPr/>
            </a:pPr>
            <a:r>
              <a:rPr kumimoji="0" lang="zh-CN" altLang="en-US" sz="2800" b="1" i="0" u="none" strike="noStrike" kern="1200" cap="none" spc="0" normalizeH="0" baseline="0" noProof="0" dirty="0">
                <a:ln>
                  <a:noFill/>
                </a:ln>
                <a:solidFill>
                  <a:srgbClr val="F05A23"/>
                </a:solidFill>
                <a:effectLst/>
                <a:uLnTx/>
                <a:uFillTx/>
                <a:latin typeface="楷体" panose="02010609060101010101" pitchFamily="49" charset="-122"/>
                <a:ea typeface="楷体" panose="02010609060101010101" pitchFamily="49" charset="-122"/>
                <a:cs typeface="+mn-cs"/>
              </a:rPr>
              <a:t>课程内容</a:t>
            </a:r>
            <a:endParaRPr kumimoji="0" lang="en-US" altLang="zh-CN" sz="2800" b="1" i="0" u="none" strike="noStrike" kern="1200" cap="none" spc="0" normalizeH="0" baseline="0" noProof="0" dirty="0">
              <a:ln>
                <a:noFill/>
              </a:ln>
              <a:solidFill>
                <a:srgbClr val="F05A23"/>
              </a:solidFill>
              <a:effectLst/>
              <a:uLnTx/>
              <a:uFillTx/>
              <a:latin typeface="楷体" panose="02010609060101010101" pitchFamily="49" charset="-122"/>
              <a:ea typeface="楷体" panose="02010609060101010101" pitchFamily="49" charset="-122"/>
              <a:cs typeface="+mn-cs"/>
            </a:endParaRPr>
          </a:p>
        </p:txBody>
      </p:sp>
      <p:sp>
        <p:nvSpPr>
          <p:cNvPr id="8" name="矩形 7" descr="e7d195523061f1c074694c8bbf98be7b1e4b015d796375963FD28840057458461C7CA0DAD340D15583DEDFC2E3241C4F392EF3A8B4D067B40CF4F149DD7E51F346B0CAB1BCCF6DB2480C67273C6C9E4C189104F717183E94087134205FA50CFF5631A9B2F1EA4298D25FAC7AC4DB9234F95EB2B78EB4FB73D2644FC933C824692AC31DF40D3E73DF"/>
          <p:cNvSpPr/>
          <p:nvPr/>
        </p:nvSpPr>
        <p:spPr>
          <a:xfrm>
            <a:off x="8278029" y="-3048"/>
            <a:ext cx="3920067" cy="6858000"/>
          </a:xfrm>
          <a:prstGeom prst="rect">
            <a:avLst/>
          </a:prstGeom>
          <a:blipFill dpi="0" rotWithShape="1">
            <a:blip r:embed="rId2">
              <a:extLst>
                <a:ext uri="{28A0092B-C50C-407E-A947-70E740481C1C}">
                  <a14:useLocalDpi xmlns:a14="http://schemas.microsoft.com/office/drawing/2010/main" val="0"/>
                </a:ext>
              </a:extLst>
            </a:blip>
            <a:srcRect/>
            <a:stretch>
              <a:fillRect/>
            </a:stretch>
          </a:bli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FFFFFF"/>
              </a:solidFill>
              <a:effectLst/>
              <a:uLnTx/>
              <a:uFillTx/>
              <a:latin typeface="等线" panose="020F0502020204030204"/>
              <a:ea typeface="等线" panose="02010600030101010101" pitchFamily="2" charset="-122"/>
              <a:cs typeface="+mn-cs"/>
            </a:endParaRPr>
          </a:p>
        </p:txBody>
      </p:sp>
      <p:sp>
        <p:nvSpPr>
          <p:cNvPr id="10" name="椭圆 9" descr="e7d195523061f1c074694c8bbf98be7b1e4b015d796375963FD28840057458461C7CA0DAD340D15583DEDFC2E3241C4F392EF3A8B4D067B40CF4F149DD7E51F346B0CAB1BCCF6DB2480C67273C6C9E4C189104F717183E94087134205FA50CFF5631A9B2F1EA4298D25FAC7AC4DB9234F95EB2B78EB4FB73D2644FC933C824692AC31DF40D3E73DF"/>
          <p:cNvSpPr/>
          <p:nvPr/>
        </p:nvSpPr>
        <p:spPr>
          <a:xfrm>
            <a:off x="7587996" y="960179"/>
            <a:ext cx="1392768" cy="1392768"/>
          </a:xfrm>
          <a:prstGeom prst="ellipse">
            <a:avLst/>
          </a:prstGeom>
          <a:gradFill flip="none" rotWithShape="1">
            <a:gsLst>
              <a:gs pos="100000">
                <a:srgbClr val="F46F25"/>
              </a:gs>
              <a:gs pos="32000">
                <a:srgbClr val="F46F25">
                  <a:lumMod val="75000"/>
                </a:srgbClr>
              </a:gs>
            </a:gsLst>
            <a:lin ang="3000000" scaled="0"/>
            <a:tileRect/>
          </a:gradFill>
          <a:ln w="25400" cap="flat" cmpd="sng" algn="ctr">
            <a:noFill/>
            <a:prstDash val="solid"/>
            <a:miter lim="800000"/>
          </a:ln>
          <a:effectLst>
            <a:outerShdw blurRad="304800" dist="114300" dir="6000000" algn="t" rotWithShape="0">
              <a:srgbClr val="F46F25">
                <a:alpha val="40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FFFFFF"/>
              </a:solidFill>
              <a:effectLst/>
              <a:uLnTx/>
              <a:uFillTx/>
              <a:latin typeface="等线" panose="020F0502020204030204"/>
              <a:ea typeface="等线" panose="02010600030101010101" pitchFamily="2" charset="-122"/>
              <a:cs typeface="+mn-cs"/>
            </a:endParaRPr>
          </a:p>
        </p:txBody>
      </p:sp>
      <p:sp>
        <p:nvSpPr>
          <p:cNvPr id="12" name="椭圆 11" descr="e7d195523061f1c074694c8bbf98be7b1e4b015d796375963FD28840057458461C7CA0DAD340D15583DEDFC2E3241C4F392EF3A8B4D067B40CF4F149DD7E51F346B0CAB1BCCF6DB2480C67273C6C9E4C189104F717183E94087134205FA50CFF5631A9B2F1EA4298D25FAC7AC4DB9234F95EB2B78EB4FB73D2644FC933C824692AC31DF40D3E73DF"/>
          <p:cNvSpPr/>
          <p:nvPr/>
        </p:nvSpPr>
        <p:spPr>
          <a:xfrm>
            <a:off x="7587996" y="2885016"/>
            <a:ext cx="1392768" cy="1392768"/>
          </a:xfrm>
          <a:prstGeom prst="ellipse">
            <a:avLst/>
          </a:prstGeom>
          <a:gradFill flip="none" rotWithShape="1">
            <a:gsLst>
              <a:gs pos="100000">
                <a:srgbClr val="F46F25"/>
              </a:gs>
              <a:gs pos="32000">
                <a:srgbClr val="F46F25">
                  <a:lumMod val="75000"/>
                </a:srgbClr>
              </a:gs>
            </a:gsLst>
            <a:lin ang="3000000" scaled="0"/>
            <a:tileRect/>
          </a:gradFill>
          <a:ln w="25400" cap="flat" cmpd="sng" algn="ctr">
            <a:noFill/>
            <a:prstDash val="solid"/>
            <a:miter lim="800000"/>
          </a:ln>
          <a:effectLst>
            <a:outerShdw blurRad="304800" dist="114300" dir="6000000" algn="t" rotWithShape="0">
              <a:srgbClr val="F46F25">
                <a:alpha val="40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FFFFFF"/>
              </a:solidFill>
              <a:effectLst/>
              <a:uLnTx/>
              <a:uFillTx/>
              <a:latin typeface="等线" panose="020F0502020204030204"/>
              <a:ea typeface="等线" panose="02010600030101010101" pitchFamily="2" charset="-122"/>
              <a:cs typeface="+mn-cs"/>
            </a:endParaRPr>
          </a:p>
        </p:txBody>
      </p:sp>
      <p:sp>
        <p:nvSpPr>
          <p:cNvPr id="14" name="椭圆 13" descr="e7d195523061f1c074694c8bbf98be7b1e4b015d796375963FD28840057458461C7CA0DAD340D15583DEDFC2E3241C4F392EF3A8B4D067B40CF4F149DD7E51F346B0CAB1BCCF6DB2480C67273C6C9E4C189104F717183E94087134205FA50CFF5631A9B2F1EA4298D25FAC7AC4DB9234F95EB2B78EB4FB73D2644FC933C824692AC31DF40D3E73DF"/>
          <p:cNvSpPr/>
          <p:nvPr/>
        </p:nvSpPr>
        <p:spPr>
          <a:xfrm>
            <a:off x="7587996" y="4809853"/>
            <a:ext cx="1392768" cy="1392768"/>
          </a:xfrm>
          <a:prstGeom prst="ellipse">
            <a:avLst/>
          </a:prstGeom>
          <a:gradFill flip="none" rotWithShape="1">
            <a:gsLst>
              <a:gs pos="100000">
                <a:srgbClr val="F46F25"/>
              </a:gs>
              <a:gs pos="32000">
                <a:srgbClr val="F46F25">
                  <a:lumMod val="75000"/>
                </a:srgbClr>
              </a:gs>
            </a:gsLst>
            <a:lin ang="3000000" scaled="0"/>
            <a:tileRect/>
          </a:gradFill>
          <a:ln w="25400" cap="flat" cmpd="sng" algn="ctr">
            <a:noFill/>
            <a:prstDash val="solid"/>
            <a:miter lim="800000"/>
          </a:ln>
          <a:effectLst>
            <a:outerShdw blurRad="304800" dist="114300" dir="6000000" algn="t" rotWithShape="0">
              <a:srgbClr val="F46F25">
                <a:alpha val="40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dirty="0">
              <a:ln>
                <a:noFill/>
              </a:ln>
              <a:solidFill>
                <a:srgbClr val="FFFFFF"/>
              </a:solidFill>
              <a:effectLst/>
              <a:uLnTx/>
              <a:uFillTx/>
              <a:latin typeface="等线" panose="020F0502020204030204"/>
              <a:ea typeface="等线" panose="02010600030101010101" pitchFamily="2" charset="-122"/>
              <a:cs typeface="+mn-cs"/>
            </a:endParaRPr>
          </a:p>
        </p:txBody>
      </p:sp>
      <p:sp>
        <p:nvSpPr>
          <p:cNvPr id="15" name="椭圆 14" descr="e7d195523061f1c074694c8bbf98be7b1e4b015d796375963FD28840057458461C7CA0DAD340D15583DEDFC2E3241C4F392EF3A8B4D067B40CF4F149DD7E51F346B0CAB1BCCF6DB2480C67273C6C9E4C189104F717183E94087134205FA50CFF5631A9B2F1EA4298D25FAC7AC4DB9234F95EB2B78EB4FB73D2644FC933C824692AC31DF40D3E73DF"/>
          <p:cNvSpPr/>
          <p:nvPr/>
        </p:nvSpPr>
        <p:spPr>
          <a:xfrm>
            <a:off x="1038741" y="1849246"/>
            <a:ext cx="976842" cy="976842"/>
          </a:xfrm>
          <a:prstGeom prst="ellipse">
            <a:avLst/>
          </a:prstGeom>
          <a:gradFill flip="none" rotWithShape="1">
            <a:gsLst>
              <a:gs pos="100000">
                <a:srgbClr val="FFFFFF">
                  <a:lumMod val="100000"/>
                </a:srgbClr>
              </a:gs>
              <a:gs pos="0">
                <a:srgbClr val="FFFFFF">
                  <a:lumMod val="92000"/>
                </a:srgbClr>
              </a:gs>
            </a:gsLst>
            <a:lin ang="3000000" scaled="0"/>
            <a:tileRect/>
          </a:gradFill>
          <a:ln w="25400" cap="flat" cmpd="sng" algn="ctr">
            <a:gradFill flip="none" rotWithShape="1">
              <a:gsLst>
                <a:gs pos="0">
                  <a:srgbClr val="FFFFFF"/>
                </a:gs>
                <a:gs pos="100000">
                  <a:srgbClr val="FFFFFF">
                    <a:alpha val="0"/>
                  </a:srgbClr>
                </a:gs>
              </a:gsLst>
              <a:lin ang="1800000" scaled="0"/>
              <a:tileRect/>
            </a:gradFill>
            <a:prstDash val="solid"/>
            <a:miter lim="800000"/>
          </a:ln>
          <a:effectLst>
            <a:outerShdw blurRad="203200" dist="114300" dir="2700000" algn="tl" rotWithShape="0">
              <a:prstClr val="black">
                <a:alpha val="2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2800" b="1" i="0" u="none" strike="noStrike" kern="0" cap="none" spc="0" normalizeH="0" baseline="0" noProof="0" dirty="0">
                <a:ln>
                  <a:noFill/>
                </a:ln>
                <a:solidFill>
                  <a:srgbClr val="F46F25"/>
                </a:solidFill>
                <a:effectLst/>
                <a:uLnTx/>
                <a:uFillTx/>
                <a:latin typeface="华文楷体" panose="02010600040101010101" pitchFamily="2" charset="-122"/>
                <a:ea typeface="等线" panose="02010600030101010101" pitchFamily="2" charset="-122"/>
                <a:cs typeface="+mn-cs"/>
              </a:rPr>
              <a:t>1</a:t>
            </a:r>
            <a:endParaRPr kumimoji="0" lang="zh-CN" altLang="en-US" sz="2800" b="1" i="0" u="none" strike="noStrike" kern="0" cap="none" spc="0" normalizeH="0" baseline="0" noProof="0" dirty="0">
              <a:ln>
                <a:noFill/>
              </a:ln>
              <a:solidFill>
                <a:srgbClr val="F46F25"/>
              </a:solidFill>
              <a:effectLst/>
              <a:uLnTx/>
              <a:uFillTx/>
              <a:latin typeface="华文楷体" panose="02010600040101010101" pitchFamily="2" charset="-122"/>
              <a:ea typeface="等线" panose="02010600030101010101" pitchFamily="2" charset="-122"/>
              <a:cs typeface="+mn-cs"/>
            </a:endParaRPr>
          </a:p>
        </p:txBody>
      </p:sp>
      <p:sp>
        <p:nvSpPr>
          <p:cNvPr id="16" name="椭圆 15" descr="e7d195523061f1c074694c8bbf98be7b1e4b015d796375963FD28840057458461C7CA0DAD340D15583DEDFC2E3241C4F392EF3A8B4D067B40CF4F149DD7E51F346B0CAB1BCCF6DB2480C67273C6C9E4C189104F717183E94087134205FA50CFF5631A9B2F1EA4298D25FAC7AC4DB9234F95EB2B78EB4FB73D2644FC933C824692AC31DF40D3E73DF"/>
          <p:cNvSpPr/>
          <p:nvPr/>
        </p:nvSpPr>
        <p:spPr>
          <a:xfrm>
            <a:off x="1038741" y="3110779"/>
            <a:ext cx="976842" cy="976842"/>
          </a:xfrm>
          <a:prstGeom prst="ellipse">
            <a:avLst/>
          </a:prstGeom>
          <a:gradFill flip="none" rotWithShape="1">
            <a:gsLst>
              <a:gs pos="100000">
                <a:srgbClr val="FFFFFF">
                  <a:lumMod val="100000"/>
                </a:srgbClr>
              </a:gs>
              <a:gs pos="0">
                <a:srgbClr val="FFFFFF">
                  <a:lumMod val="92000"/>
                </a:srgbClr>
              </a:gs>
            </a:gsLst>
            <a:lin ang="3000000" scaled="0"/>
            <a:tileRect/>
          </a:gradFill>
          <a:ln w="25400" cap="flat" cmpd="sng" algn="ctr">
            <a:gradFill flip="none" rotWithShape="1">
              <a:gsLst>
                <a:gs pos="0">
                  <a:srgbClr val="FFFFFF"/>
                </a:gs>
                <a:gs pos="100000">
                  <a:srgbClr val="FFFFFF">
                    <a:alpha val="0"/>
                  </a:srgbClr>
                </a:gs>
              </a:gsLst>
              <a:lin ang="1800000" scaled="0"/>
              <a:tileRect/>
            </a:gradFill>
            <a:prstDash val="solid"/>
            <a:miter lim="800000"/>
          </a:ln>
          <a:effectLst>
            <a:outerShdw blurRad="203200" dist="114300" dir="2700000" algn="tl" rotWithShape="0">
              <a:prstClr val="black">
                <a:alpha val="2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2800" b="1" i="0" u="none" strike="noStrike" kern="0" cap="none" spc="0" normalizeH="0" baseline="0" noProof="0" dirty="0">
                <a:ln>
                  <a:noFill/>
                </a:ln>
                <a:solidFill>
                  <a:srgbClr val="F46F25"/>
                </a:solidFill>
                <a:effectLst/>
                <a:uLnTx/>
                <a:uFillTx/>
                <a:latin typeface="华文楷体" panose="02010600040101010101" pitchFamily="2" charset="-122"/>
                <a:ea typeface="等线" panose="02010600030101010101" pitchFamily="2" charset="-122"/>
                <a:cs typeface="+mn-cs"/>
              </a:rPr>
              <a:t>2</a:t>
            </a:r>
            <a:endParaRPr kumimoji="0" lang="zh-CN" altLang="en-US" sz="2800" b="1" i="0" u="none" strike="noStrike" kern="0" cap="none" spc="0" normalizeH="0" baseline="0" noProof="0" dirty="0">
              <a:ln>
                <a:noFill/>
              </a:ln>
              <a:solidFill>
                <a:srgbClr val="F46F25"/>
              </a:solidFill>
              <a:effectLst/>
              <a:uLnTx/>
              <a:uFillTx/>
              <a:latin typeface="华文楷体" panose="02010600040101010101" pitchFamily="2" charset="-122"/>
              <a:ea typeface="等线" panose="02010600030101010101" pitchFamily="2" charset="-122"/>
              <a:cs typeface="+mn-cs"/>
            </a:endParaRPr>
          </a:p>
        </p:txBody>
      </p:sp>
      <p:grpSp>
        <p:nvGrpSpPr>
          <p:cNvPr id="17" name="组合 16" descr="e7d195523061f1c074694c8bbf98be7b1e4b015d796375963FD28840057458461C7CA0DAD340D15583DEDFC2E3241C4F392EF3A8B4D067B40CF4F149DD7E51F346B0CAB1BCCF6DB2480C67273C6C9E4C189104F717183E94087134205FA50CFF5631A9B2F1EA4298D25FAC7AC4DB9234F95EB2B78EB4FB73D2644FC933C824692AC31DF40D3E73DF"/>
          <p:cNvGrpSpPr/>
          <p:nvPr/>
        </p:nvGrpSpPr>
        <p:grpSpPr>
          <a:xfrm>
            <a:off x="8055709" y="1427911"/>
            <a:ext cx="457342" cy="457305"/>
            <a:chOff x="8039076" y="1269976"/>
            <a:chExt cx="457342" cy="457305"/>
          </a:xfrm>
        </p:grpSpPr>
        <p:sp>
          <p:nvSpPr>
            <p:cNvPr id="18" name="任意多边形: 形状 39"/>
            <p:cNvSpPr/>
            <p:nvPr/>
          </p:nvSpPr>
          <p:spPr>
            <a:xfrm>
              <a:off x="8048601" y="1279501"/>
              <a:ext cx="108323" cy="109656"/>
            </a:xfrm>
            <a:custGeom>
              <a:avLst/>
              <a:gdLst>
                <a:gd name="connsiteX0" fmla="*/ 108323 w 108323"/>
                <a:gd name="connsiteY0" fmla="*/ 88035 h 109656"/>
                <a:gd name="connsiteX1" fmla="*/ 24503 w 108323"/>
                <a:gd name="connsiteY1" fmla="*/ 4215 h 109656"/>
                <a:gd name="connsiteX2" fmla="*/ 4215 w 108323"/>
                <a:gd name="connsiteY2" fmla="*/ 4215 h 109656"/>
                <a:gd name="connsiteX3" fmla="*/ 4215 w 108323"/>
                <a:gd name="connsiteY3" fmla="*/ 24503 h 109656"/>
                <a:gd name="connsiteX4" fmla="*/ 89368 w 108323"/>
                <a:gd name="connsiteY4" fmla="*/ 109657 h 109656"/>
                <a:gd name="connsiteX5" fmla="*/ 108323 w 108323"/>
                <a:gd name="connsiteY5" fmla="*/ 88035 h 109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8323" h="109656">
                  <a:moveTo>
                    <a:pt x="108323" y="88035"/>
                  </a:moveTo>
                  <a:lnTo>
                    <a:pt x="24503" y="4215"/>
                  </a:lnTo>
                  <a:cubicBezTo>
                    <a:pt x="18883" y="-1405"/>
                    <a:pt x="9835" y="-1405"/>
                    <a:pt x="4215" y="4215"/>
                  </a:cubicBezTo>
                  <a:cubicBezTo>
                    <a:pt x="-1405" y="9835"/>
                    <a:pt x="-1405" y="18883"/>
                    <a:pt x="4215" y="24503"/>
                  </a:cubicBezTo>
                  <a:lnTo>
                    <a:pt x="89368" y="109657"/>
                  </a:lnTo>
                  <a:cubicBezTo>
                    <a:pt x="91940" y="106704"/>
                    <a:pt x="103942" y="92416"/>
                    <a:pt x="108323" y="88035"/>
                  </a:cubicBezTo>
                  <a:close/>
                </a:path>
              </a:pathLst>
            </a:custGeom>
            <a:solidFill>
              <a:srgbClr val="F46F25">
                <a:lumMod val="60000"/>
                <a:lumOff val="40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000000"/>
                </a:solidFill>
                <a:effectLst/>
                <a:uLnTx/>
                <a:uFillTx/>
                <a:latin typeface="等线" panose="020F0502020204030204"/>
                <a:ea typeface="等线" panose="02010600030101010101" pitchFamily="2" charset="-122"/>
                <a:cs typeface="+mn-cs"/>
              </a:endParaRPr>
            </a:p>
          </p:txBody>
        </p:sp>
        <p:sp>
          <p:nvSpPr>
            <p:cNvPr id="19" name="任意多边形: 形状 40"/>
            <p:cNvSpPr/>
            <p:nvPr/>
          </p:nvSpPr>
          <p:spPr>
            <a:xfrm>
              <a:off x="8039076" y="1269976"/>
              <a:ext cx="139184" cy="139374"/>
            </a:xfrm>
            <a:custGeom>
              <a:avLst/>
              <a:gdLst>
                <a:gd name="connsiteX0" fmla="*/ 139184 w 139184"/>
                <a:gd name="connsiteY0" fmla="*/ 23932 h 139374"/>
                <a:gd name="connsiteX1" fmla="*/ 23932 w 139184"/>
                <a:gd name="connsiteY1" fmla="*/ 139375 h 139374"/>
                <a:gd name="connsiteX2" fmla="*/ 23932 w 139184"/>
                <a:gd name="connsiteY2" fmla="*/ 23932 h 139374"/>
                <a:gd name="connsiteX3" fmla="*/ 139184 w 139184"/>
                <a:gd name="connsiteY3" fmla="*/ 23932 h 139374"/>
              </a:gdLst>
              <a:ahLst/>
              <a:cxnLst>
                <a:cxn ang="0">
                  <a:pos x="connsiteX0" y="connsiteY0"/>
                </a:cxn>
                <a:cxn ang="0">
                  <a:pos x="connsiteX1" y="connsiteY1"/>
                </a:cxn>
                <a:cxn ang="0">
                  <a:pos x="connsiteX2" y="connsiteY2"/>
                </a:cxn>
                <a:cxn ang="0">
                  <a:pos x="connsiteX3" y="connsiteY3"/>
                </a:cxn>
              </a:cxnLst>
              <a:rect l="l" t="t" r="r" b="b"/>
              <a:pathLst>
                <a:path w="139184" h="139374">
                  <a:moveTo>
                    <a:pt x="139184" y="23932"/>
                  </a:moveTo>
                  <a:lnTo>
                    <a:pt x="23932" y="139375"/>
                  </a:lnTo>
                  <a:cubicBezTo>
                    <a:pt x="-7977" y="107466"/>
                    <a:pt x="-7977" y="55840"/>
                    <a:pt x="23932" y="23932"/>
                  </a:cubicBezTo>
                  <a:cubicBezTo>
                    <a:pt x="55650" y="-7977"/>
                    <a:pt x="107371" y="-7977"/>
                    <a:pt x="139184" y="23932"/>
                  </a:cubicBez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000000"/>
                </a:solidFill>
                <a:effectLst/>
                <a:uLnTx/>
                <a:uFillTx/>
                <a:latin typeface="等线" panose="020F0502020204030204"/>
                <a:ea typeface="等线" panose="02010600030101010101" pitchFamily="2" charset="-122"/>
                <a:cs typeface="+mn-cs"/>
              </a:endParaRPr>
            </a:p>
          </p:txBody>
        </p:sp>
        <p:sp>
          <p:nvSpPr>
            <p:cNvPr id="20" name="任意多边形: 形状 41"/>
            <p:cNvSpPr/>
            <p:nvPr/>
          </p:nvSpPr>
          <p:spPr>
            <a:xfrm>
              <a:off x="8378475" y="1279501"/>
              <a:ext cx="108323" cy="109656"/>
            </a:xfrm>
            <a:custGeom>
              <a:avLst/>
              <a:gdLst>
                <a:gd name="connsiteX0" fmla="*/ 0 w 108323"/>
                <a:gd name="connsiteY0" fmla="*/ 88035 h 109656"/>
                <a:gd name="connsiteX1" fmla="*/ 83820 w 108323"/>
                <a:gd name="connsiteY1" fmla="*/ 4215 h 109656"/>
                <a:gd name="connsiteX2" fmla="*/ 104108 w 108323"/>
                <a:gd name="connsiteY2" fmla="*/ 4215 h 109656"/>
                <a:gd name="connsiteX3" fmla="*/ 104108 w 108323"/>
                <a:gd name="connsiteY3" fmla="*/ 24503 h 109656"/>
                <a:gd name="connsiteX4" fmla="*/ 18955 w 108323"/>
                <a:gd name="connsiteY4" fmla="*/ 109657 h 109656"/>
                <a:gd name="connsiteX5" fmla="*/ 0 w 108323"/>
                <a:gd name="connsiteY5" fmla="*/ 88035 h 109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8323" h="109656">
                  <a:moveTo>
                    <a:pt x="0" y="88035"/>
                  </a:moveTo>
                  <a:lnTo>
                    <a:pt x="83820" y="4215"/>
                  </a:lnTo>
                  <a:cubicBezTo>
                    <a:pt x="89440" y="-1405"/>
                    <a:pt x="98489" y="-1405"/>
                    <a:pt x="104108" y="4215"/>
                  </a:cubicBezTo>
                  <a:cubicBezTo>
                    <a:pt x="109728" y="9835"/>
                    <a:pt x="109728" y="18883"/>
                    <a:pt x="104108" y="24503"/>
                  </a:cubicBezTo>
                  <a:lnTo>
                    <a:pt x="18955" y="109657"/>
                  </a:lnTo>
                  <a:cubicBezTo>
                    <a:pt x="16383" y="106704"/>
                    <a:pt x="4381" y="92416"/>
                    <a:pt x="0" y="88035"/>
                  </a:cubicBezTo>
                  <a:close/>
                </a:path>
              </a:pathLst>
            </a:custGeom>
            <a:solidFill>
              <a:srgbClr val="F46F25">
                <a:lumMod val="60000"/>
                <a:lumOff val="40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000000"/>
                </a:solidFill>
                <a:effectLst/>
                <a:uLnTx/>
                <a:uFillTx/>
                <a:latin typeface="等线" panose="020F0502020204030204"/>
                <a:ea typeface="等线" panose="02010600030101010101" pitchFamily="2" charset="-122"/>
                <a:cs typeface="+mn-cs"/>
              </a:endParaRPr>
            </a:p>
          </p:txBody>
        </p:sp>
        <p:sp>
          <p:nvSpPr>
            <p:cNvPr id="21" name="任意多边形: 形状 42"/>
            <p:cNvSpPr/>
            <p:nvPr/>
          </p:nvSpPr>
          <p:spPr>
            <a:xfrm>
              <a:off x="8357139" y="1269976"/>
              <a:ext cx="139279" cy="139374"/>
            </a:xfrm>
            <a:custGeom>
              <a:avLst/>
              <a:gdLst>
                <a:gd name="connsiteX0" fmla="*/ 0 w 139279"/>
                <a:gd name="connsiteY0" fmla="*/ 23932 h 139374"/>
                <a:gd name="connsiteX1" fmla="*/ 115348 w 139279"/>
                <a:gd name="connsiteY1" fmla="*/ 139375 h 139374"/>
                <a:gd name="connsiteX2" fmla="*/ 115348 w 139279"/>
                <a:gd name="connsiteY2" fmla="*/ 23932 h 139374"/>
                <a:gd name="connsiteX3" fmla="*/ 0 w 139279"/>
                <a:gd name="connsiteY3" fmla="*/ 23932 h 139374"/>
              </a:gdLst>
              <a:ahLst/>
              <a:cxnLst>
                <a:cxn ang="0">
                  <a:pos x="connsiteX0" y="connsiteY0"/>
                </a:cxn>
                <a:cxn ang="0">
                  <a:pos x="connsiteX1" y="connsiteY1"/>
                </a:cxn>
                <a:cxn ang="0">
                  <a:pos x="connsiteX2" y="connsiteY2"/>
                </a:cxn>
                <a:cxn ang="0">
                  <a:pos x="connsiteX3" y="connsiteY3"/>
                </a:cxn>
              </a:cxnLst>
              <a:rect l="l" t="t" r="r" b="b"/>
              <a:pathLst>
                <a:path w="139279" h="139374">
                  <a:moveTo>
                    <a:pt x="0" y="23932"/>
                  </a:moveTo>
                  <a:lnTo>
                    <a:pt x="115348" y="139375"/>
                  </a:lnTo>
                  <a:cubicBezTo>
                    <a:pt x="147256" y="107466"/>
                    <a:pt x="147256" y="55840"/>
                    <a:pt x="115348" y="23932"/>
                  </a:cubicBezTo>
                  <a:cubicBezTo>
                    <a:pt x="83534" y="-7977"/>
                    <a:pt x="31814" y="-7977"/>
                    <a:pt x="0" y="23932"/>
                  </a:cubicBez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000000"/>
                </a:solidFill>
                <a:effectLst/>
                <a:uLnTx/>
                <a:uFillTx/>
                <a:latin typeface="等线" panose="020F0502020204030204"/>
                <a:ea typeface="等线" panose="02010600030101010101" pitchFamily="2" charset="-122"/>
                <a:cs typeface="+mn-cs"/>
              </a:endParaRPr>
            </a:p>
          </p:txBody>
        </p:sp>
        <p:sp>
          <p:nvSpPr>
            <p:cNvPr id="22" name="任意多边形: 形状 43"/>
            <p:cNvSpPr/>
            <p:nvPr/>
          </p:nvSpPr>
          <p:spPr>
            <a:xfrm>
              <a:off x="8129029" y="1565574"/>
              <a:ext cx="98938" cy="161707"/>
            </a:xfrm>
            <a:custGeom>
              <a:avLst/>
              <a:gdLst>
                <a:gd name="connsiteX0" fmla="*/ 81711 w 98938"/>
                <a:gd name="connsiteY0" fmla="*/ 2082 h 161707"/>
                <a:gd name="connsiteX1" fmla="*/ 81711 w 98938"/>
                <a:gd name="connsiteY1" fmla="*/ 2082 h 161707"/>
                <a:gd name="connsiteX2" fmla="*/ 45516 w 98938"/>
                <a:gd name="connsiteY2" fmla="*/ 17227 h 161707"/>
                <a:gd name="connsiteX3" fmla="*/ 2082 w 98938"/>
                <a:gd name="connsiteY3" fmla="*/ 123431 h 161707"/>
                <a:gd name="connsiteX4" fmla="*/ 17227 w 98938"/>
                <a:gd name="connsiteY4" fmla="*/ 159626 h 161707"/>
                <a:gd name="connsiteX5" fmla="*/ 17227 w 98938"/>
                <a:gd name="connsiteY5" fmla="*/ 159626 h 161707"/>
                <a:gd name="connsiteX6" fmla="*/ 53422 w 98938"/>
                <a:gd name="connsiteY6" fmla="*/ 144481 h 161707"/>
                <a:gd name="connsiteX7" fmla="*/ 96856 w 98938"/>
                <a:gd name="connsiteY7" fmla="*/ 38277 h 161707"/>
                <a:gd name="connsiteX8" fmla="*/ 81711 w 98938"/>
                <a:gd name="connsiteY8" fmla="*/ 2082 h 161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8938" h="161707">
                  <a:moveTo>
                    <a:pt x="81711" y="2082"/>
                  </a:moveTo>
                  <a:lnTo>
                    <a:pt x="81711" y="2082"/>
                  </a:lnTo>
                  <a:cubicBezTo>
                    <a:pt x="67519" y="-3728"/>
                    <a:pt x="51326" y="3035"/>
                    <a:pt x="45516" y="17227"/>
                  </a:cubicBezTo>
                  <a:lnTo>
                    <a:pt x="2082" y="123431"/>
                  </a:lnTo>
                  <a:cubicBezTo>
                    <a:pt x="-3728" y="137623"/>
                    <a:pt x="3035" y="153815"/>
                    <a:pt x="17227" y="159626"/>
                  </a:cubicBezTo>
                  <a:lnTo>
                    <a:pt x="17227" y="159626"/>
                  </a:lnTo>
                  <a:cubicBezTo>
                    <a:pt x="31419" y="165436"/>
                    <a:pt x="47612" y="158673"/>
                    <a:pt x="53422" y="144481"/>
                  </a:cubicBezTo>
                  <a:lnTo>
                    <a:pt x="96856" y="38277"/>
                  </a:lnTo>
                  <a:cubicBezTo>
                    <a:pt x="102666" y="23990"/>
                    <a:pt x="95903" y="7797"/>
                    <a:pt x="81711" y="2082"/>
                  </a:cubicBezTo>
                  <a:close/>
                </a:path>
              </a:pathLst>
            </a:custGeom>
            <a:solidFill>
              <a:srgbClr val="F46F25">
                <a:lumMod val="60000"/>
                <a:lumOff val="40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000000"/>
                </a:solidFill>
                <a:effectLst/>
                <a:uLnTx/>
                <a:uFillTx/>
                <a:latin typeface="等线" panose="020F0502020204030204"/>
                <a:ea typeface="等线" panose="02010600030101010101" pitchFamily="2" charset="-122"/>
                <a:cs typeface="+mn-cs"/>
              </a:endParaRPr>
            </a:p>
          </p:txBody>
        </p:sp>
        <p:sp>
          <p:nvSpPr>
            <p:cNvPr id="23" name="任意多边形: 形状 44"/>
            <p:cNvSpPr/>
            <p:nvPr/>
          </p:nvSpPr>
          <p:spPr>
            <a:xfrm>
              <a:off x="8307432" y="1565574"/>
              <a:ext cx="98938" cy="161707"/>
            </a:xfrm>
            <a:custGeom>
              <a:avLst/>
              <a:gdLst>
                <a:gd name="connsiteX0" fmla="*/ 17227 w 98938"/>
                <a:gd name="connsiteY0" fmla="*/ 2082 h 161707"/>
                <a:gd name="connsiteX1" fmla="*/ 17227 w 98938"/>
                <a:gd name="connsiteY1" fmla="*/ 2082 h 161707"/>
                <a:gd name="connsiteX2" fmla="*/ 53422 w 98938"/>
                <a:gd name="connsiteY2" fmla="*/ 17227 h 161707"/>
                <a:gd name="connsiteX3" fmla="*/ 96856 w 98938"/>
                <a:gd name="connsiteY3" fmla="*/ 123431 h 161707"/>
                <a:gd name="connsiteX4" fmla="*/ 81711 w 98938"/>
                <a:gd name="connsiteY4" fmla="*/ 159626 h 161707"/>
                <a:gd name="connsiteX5" fmla="*/ 81711 w 98938"/>
                <a:gd name="connsiteY5" fmla="*/ 159626 h 161707"/>
                <a:gd name="connsiteX6" fmla="*/ 45516 w 98938"/>
                <a:gd name="connsiteY6" fmla="*/ 144481 h 161707"/>
                <a:gd name="connsiteX7" fmla="*/ 2082 w 98938"/>
                <a:gd name="connsiteY7" fmla="*/ 38277 h 161707"/>
                <a:gd name="connsiteX8" fmla="*/ 17227 w 98938"/>
                <a:gd name="connsiteY8" fmla="*/ 2082 h 161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8938" h="161707">
                  <a:moveTo>
                    <a:pt x="17227" y="2082"/>
                  </a:moveTo>
                  <a:lnTo>
                    <a:pt x="17227" y="2082"/>
                  </a:lnTo>
                  <a:cubicBezTo>
                    <a:pt x="31419" y="-3728"/>
                    <a:pt x="47612" y="3035"/>
                    <a:pt x="53422" y="17227"/>
                  </a:cubicBezTo>
                  <a:lnTo>
                    <a:pt x="96856" y="123431"/>
                  </a:lnTo>
                  <a:cubicBezTo>
                    <a:pt x="102666" y="137623"/>
                    <a:pt x="95903" y="153815"/>
                    <a:pt x="81711" y="159626"/>
                  </a:cubicBezTo>
                  <a:lnTo>
                    <a:pt x="81711" y="159626"/>
                  </a:lnTo>
                  <a:cubicBezTo>
                    <a:pt x="67519" y="165436"/>
                    <a:pt x="51326" y="158673"/>
                    <a:pt x="45516" y="144481"/>
                  </a:cubicBezTo>
                  <a:lnTo>
                    <a:pt x="2082" y="38277"/>
                  </a:lnTo>
                  <a:cubicBezTo>
                    <a:pt x="-3728" y="23990"/>
                    <a:pt x="3035" y="7797"/>
                    <a:pt x="17227" y="2082"/>
                  </a:cubicBezTo>
                  <a:close/>
                </a:path>
              </a:pathLst>
            </a:custGeom>
            <a:solidFill>
              <a:srgbClr val="F46F25">
                <a:lumMod val="60000"/>
                <a:lumOff val="40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000000"/>
                </a:solidFill>
                <a:effectLst/>
                <a:uLnTx/>
                <a:uFillTx/>
                <a:latin typeface="等线" panose="020F0502020204030204"/>
                <a:ea typeface="等线" panose="02010600030101010101" pitchFamily="2" charset="-122"/>
                <a:cs typeface="+mn-cs"/>
              </a:endParaRPr>
            </a:p>
          </p:txBody>
        </p:sp>
        <p:sp>
          <p:nvSpPr>
            <p:cNvPr id="24" name="任意多边形: 形状 45"/>
            <p:cNvSpPr/>
            <p:nvPr/>
          </p:nvSpPr>
          <p:spPr>
            <a:xfrm rot="17004155">
              <a:off x="8069829" y="1308013"/>
              <a:ext cx="395682" cy="395682"/>
            </a:xfrm>
            <a:custGeom>
              <a:avLst/>
              <a:gdLst>
                <a:gd name="connsiteX0" fmla="*/ 395683 w 395682"/>
                <a:gd name="connsiteY0" fmla="*/ 197841 h 395682"/>
                <a:gd name="connsiteX1" fmla="*/ 197841 w 395682"/>
                <a:gd name="connsiteY1" fmla="*/ 395683 h 395682"/>
                <a:gd name="connsiteX2" fmla="*/ 0 w 395682"/>
                <a:gd name="connsiteY2" fmla="*/ 197841 h 395682"/>
                <a:gd name="connsiteX3" fmla="*/ 197841 w 395682"/>
                <a:gd name="connsiteY3" fmla="*/ 0 h 395682"/>
                <a:gd name="connsiteX4" fmla="*/ 395683 w 395682"/>
                <a:gd name="connsiteY4" fmla="*/ 197841 h 395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5682" h="395682">
                  <a:moveTo>
                    <a:pt x="395683" y="197841"/>
                  </a:moveTo>
                  <a:cubicBezTo>
                    <a:pt x="395683" y="307106"/>
                    <a:pt x="307106" y="395683"/>
                    <a:pt x="197841" y="395683"/>
                  </a:cubicBezTo>
                  <a:cubicBezTo>
                    <a:pt x="88577" y="395683"/>
                    <a:pt x="0" y="307106"/>
                    <a:pt x="0" y="197841"/>
                  </a:cubicBezTo>
                  <a:cubicBezTo>
                    <a:pt x="0" y="88577"/>
                    <a:pt x="88577" y="0"/>
                    <a:pt x="197841" y="0"/>
                  </a:cubicBezTo>
                  <a:cubicBezTo>
                    <a:pt x="307106" y="0"/>
                    <a:pt x="395683" y="88577"/>
                    <a:pt x="395683" y="197841"/>
                  </a:cubicBezTo>
                  <a:close/>
                </a:path>
              </a:pathLst>
            </a:custGeom>
            <a:solidFill>
              <a:srgbClr val="F46F25">
                <a:lumMod val="40000"/>
                <a:lumOff val="60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000000"/>
                </a:solidFill>
                <a:effectLst/>
                <a:uLnTx/>
                <a:uFillTx/>
                <a:latin typeface="等线" panose="020F0502020204030204"/>
                <a:ea typeface="等线" panose="02010600030101010101" pitchFamily="2" charset="-122"/>
                <a:cs typeface="+mn-cs"/>
              </a:endParaRPr>
            </a:p>
          </p:txBody>
        </p:sp>
        <p:sp>
          <p:nvSpPr>
            <p:cNvPr id="25" name="任意多边形: 形状 46"/>
            <p:cNvSpPr/>
            <p:nvPr/>
          </p:nvSpPr>
          <p:spPr>
            <a:xfrm rot="17002403">
              <a:off x="8117549" y="1355743"/>
              <a:ext cx="300233" cy="300233"/>
            </a:xfrm>
            <a:custGeom>
              <a:avLst/>
              <a:gdLst>
                <a:gd name="connsiteX0" fmla="*/ 300233 w 300233"/>
                <a:gd name="connsiteY0" fmla="*/ 150117 h 300233"/>
                <a:gd name="connsiteX1" fmla="*/ 150117 w 300233"/>
                <a:gd name="connsiteY1" fmla="*/ 300233 h 300233"/>
                <a:gd name="connsiteX2" fmla="*/ 0 w 300233"/>
                <a:gd name="connsiteY2" fmla="*/ 150117 h 300233"/>
                <a:gd name="connsiteX3" fmla="*/ 150117 w 300233"/>
                <a:gd name="connsiteY3" fmla="*/ 0 h 300233"/>
                <a:gd name="connsiteX4" fmla="*/ 300233 w 300233"/>
                <a:gd name="connsiteY4" fmla="*/ 150117 h 3002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0233" h="300233">
                  <a:moveTo>
                    <a:pt x="300233" y="150117"/>
                  </a:moveTo>
                  <a:cubicBezTo>
                    <a:pt x="300233" y="233024"/>
                    <a:pt x="233024" y="300233"/>
                    <a:pt x="150117" y="300233"/>
                  </a:cubicBezTo>
                  <a:cubicBezTo>
                    <a:pt x="67209" y="300233"/>
                    <a:pt x="0" y="233024"/>
                    <a:pt x="0" y="150117"/>
                  </a:cubicBezTo>
                  <a:cubicBezTo>
                    <a:pt x="0" y="67209"/>
                    <a:pt x="67209" y="0"/>
                    <a:pt x="150117" y="0"/>
                  </a:cubicBezTo>
                  <a:cubicBezTo>
                    <a:pt x="233024" y="0"/>
                    <a:pt x="300233" y="67209"/>
                    <a:pt x="300233" y="150117"/>
                  </a:cubicBez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000000"/>
                </a:solidFill>
                <a:effectLst/>
                <a:uLnTx/>
                <a:uFillTx/>
                <a:latin typeface="等线" panose="020F0502020204030204"/>
                <a:ea typeface="等线" panose="02010600030101010101" pitchFamily="2" charset="-122"/>
                <a:cs typeface="+mn-cs"/>
              </a:endParaRPr>
            </a:p>
          </p:txBody>
        </p:sp>
        <p:sp>
          <p:nvSpPr>
            <p:cNvPr id="26" name="任意多边形: 形状 47"/>
            <p:cNvSpPr/>
            <p:nvPr/>
          </p:nvSpPr>
          <p:spPr>
            <a:xfrm>
              <a:off x="8253412" y="1402397"/>
              <a:ext cx="77747" cy="166878"/>
            </a:xfrm>
            <a:custGeom>
              <a:avLst/>
              <a:gdLst>
                <a:gd name="connsiteX0" fmla="*/ 63437 w 77747"/>
                <a:gd name="connsiteY0" fmla="*/ 166878 h 166878"/>
                <a:gd name="connsiteX1" fmla="*/ 53340 w 77747"/>
                <a:gd name="connsiteY1" fmla="*/ 162687 h 166878"/>
                <a:gd name="connsiteX2" fmla="*/ 4191 w 77747"/>
                <a:gd name="connsiteY2" fmla="*/ 113538 h 166878"/>
                <a:gd name="connsiteX3" fmla="*/ 0 w 77747"/>
                <a:gd name="connsiteY3" fmla="*/ 103442 h 166878"/>
                <a:gd name="connsiteX4" fmla="*/ 0 w 77747"/>
                <a:gd name="connsiteY4" fmla="*/ 14288 h 166878"/>
                <a:gd name="connsiteX5" fmla="*/ 14288 w 77747"/>
                <a:gd name="connsiteY5" fmla="*/ 0 h 166878"/>
                <a:gd name="connsiteX6" fmla="*/ 28575 w 77747"/>
                <a:gd name="connsiteY6" fmla="*/ 14288 h 166878"/>
                <a:gd name="connsiteX7" fmla="*/ 28575 w 77747"/>
                <a:gd name="connsiteY7" fmla="*/ 97536 h 166878"/>
                <a:gd name="connsiteX8" fmla="*/ 73533 w 77747"/>
                <a:gd name="connsiteY8" fmla="*/ 142494 h 166878"/>
                <a:gd name="connsiteX9" fmla="*/ 73533 w 77747"/>
                <a:gd name="connsiteY9" fmla="*/ 162687 h 166878"/>
                <a:gd name="connsiteX10" fmla="*/ 63437 w 77747"/>
                <a:gd name="connsiteY10" fmla="*/ 166878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747" h="166878">
                  <a:moveTo>
                    <a:pt x="63437" y="166878"/>
                  </a:moveTo>
                  <a:cubicBezTo>
                    <a:pt x="59817" y="166878"/>
                    <a:pt x="56102" y="165449"/>
                    <a:pt x="53340" y="162687"/>
                  </a:cubicBezTo>
                  <a:lnTo>
                    <a:pt x="4191" y="113538"/>
                  </a:lnTo>
                  <a:cubicBezTo>
                    <a:pt x="1524" y="110871"/>
                    <a:pt x="0" y="107252"/>
                    <a:pt x="0" y="103442"/>
                  </a:cubicBezTo>
                  <a:lnTo>
                    <a:pt x="0" y="14288"/>
                  </a:lnTo>
                  <a:cubicBezTo>
                    <a:pt x="0" y="6382"/>
                    <a:pt x="6382" y="0"/>
                    <a:pt x="14288" y="0"/>
                  </a:cubicBezTo>
                  <a:cubicBezTo>
                    <a:pt x="22193" y="0"/>
                    <a:pt x="28575" y="6382"/>
                    <a:pt x="28575" y="14288"/>
                  </a:cubicBezTo>
                  <a:lnTo>
                    <a:pt x="28575" y="97536"/>
                  </a:lnTo>
                  <a:lnTo>
                    <a:pt x="73533" y="142494"/>
                  </a:lnTo>
                  <a:cubicBezTo>
                    <a:pt x="79153" y="148114"/>
                    <a:pt x="79153" y="157163"/>
                    <a:pt x="73533" y="162687"/>
                  </a:cubicBezTo>
                  <a:cubicBezTo>
                    <a:pt x="70771" y="165449"/>
                    <a:pt x="67056" y="166878"/>
                    <a:pt x="63437" y="166878"/>
                  </a:cubicBezTo>
                  <a:close/>
                </a:path>
              </a:pathLst>
            </a:custGeom>
            <a:solidFill>
              <a:srgbClr val="F46F25">
                <a:lumMod val="40000"/>
                <a:lumOff val="60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000000"/>
                </a:solidFill>
                <a:effectLst/>
                <a:uLnTx/>
                <a:uFillTx/>
                <a:latin typeface="等线" panose="020F0502020204030204"/>
                <a:ea typeface="等线" panose="02010600030101010101" pitchFamily="2" charset="-122"/>
                <a:cs typeface="+mn-cs"/>
              </a:endParaRPr>
            </a:p>
          </p:txBody>
        </p:sp>
        <p:sp>
          <p:nvSpPr>
            <p:cNvPr id="27" name="任意多边形: 形状 48"/>
            <p:cNvSpPr/>
            <p:nvPr/>
          </p:nvSpPr>
          <p:spPr>
            <a:xfrm>
              <a:off x="8232647" y="1470786"/>
              <a:ext cx="70104" cy="70104"/>
            </a:xfrm>
            <a:custGeom>
              <a:avLst/>
              <a:gdLst>
                <a:gd name="connsiteX0" fmla="*/ 70104 w 70104"/>
                <a:gd name="connsiteY0" fmla="*/ 35052 h 70104"/>
                <a:gd name="connsiteX1" fmla="*/ 35052 w 70104"/>
                <a:gd name="connsiteY1" fmla="*/ 70104 h 70104"/>
                <a:gd name="connsiteX2" fmla="*/ 0 w 70104"/>
                <a:gd name="connsiteY2" fmla="*/ 35052 h 70104"/>
                <a:gd name="connsiteX3" fmla="*/ 35052 w 70104"/>
                <a:gd name="connsiteY3" fmla="*/ 0 h 70104"/>
                <a:gd name="connsiteX4" fmla="*/ 70104 w 70104"/>
                <a:gd name="connsiteY4" fmla="*/ 35052 h 70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104" h="70104">
                  <a:moveTo>
                    <a:pt x="70104" y="35052"/>
                  </a:moveTo>
                  <a:cubicBezTo>
                    <a:pt x="70104" y="54388"/>
                    <a:pt x="54388" y="70104"/>
                    <a:pt x="35052" y="70104"/>
                  </a:cubicBezTo>
                  <a:cubicBezTo>
                    <a:pt x="15716" y="70104"/>
                    <a:pt x="0" y="54388"/>
                    <a:pt x="0" y="35052"/>
                  </a:cubicBezTo>
                  <a:cubicBezTo>
                    <a:pt x="0" y="15716"/>
                    <a:pt x="15716" y="0"/>
                    <a:pt x="35052" y="0"/>
                  </a:cubicBezTo>
                  <a:cubicBezTo>
                    <a:pt x="54388" y="0"/>
                    <a:pt x="70104" y="15716"/>
                    <a:pt x="70104" y="35052"/>
                  </a:cubicBezTo>
                  <a:close/>
                </a:path>
              </a:pathLst>
            </a:custGeom>
            <a:solidFill>
              <a:srgbClr val="F46F25"/>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000000"/>
                </a:solidFill>
                <a:effectLst/>
                <a:uLnTx/>
                <a:uFillTx/>
                <a:latin typeface="等线" panose="020F0502020204030204"/>
                <a:ea typeface="等线" panose="02010600030101010101" pitchFamily="2" charset="-122"/>
                <a:cs typeface="+mn-cs"/>
              </a:endParaRPr>
            </a:p>
          </p:txBody>
        </p:sp>
      </p:grpSp>
      <p:grpSp>
        <p:nvGrpSpPr>
          <p:cNvPr id="28" name="组合 27" descr="e7d195523061f1c074694c8bbf98be7b1e4b015d796375963FD28840057458461C7CA0DAD340D15583DEDFC2E3241C4F392EF3A8B4D067B40CF4F149DD7E51F346B0CAB1BCCF6DB2480C67273C6C9E4C189104F717183E94087134205FA50CFF5631A9B2F1EA4298D25FAC7AC4DB9234F95EB2B78EB4FB73D2644FC933C824692AC31DF40D3E73DF"/>
          <p:cNvGrpSpPr/>
          <p:nvPr/>
        </p:nvGrpSpPr>
        <p:grpSpPr>
          <a:xfrm>
            <a:off x="8055781" y="3352801"/>
            <a:ext cx="457199" cy="457199"/>
            <a:chOff x="8068733" y="3238500"/>
            <a:chExt cx="457199" cy="457199"/>
          </a:xfrm>
        </p:grpSpPr>
        <p:sp>
          <p:nvSpPr>
            <p:cNvPr id="29" name="任意多边形: 形状 52"/>
            <p:cNvSpPr/>
            <p:nvPr/>
          </p:nvSpPr>
          <p:spPr>
            <a:xfrm>
              <a:off x="8229229" y="3416807"/>
              <a:ext cx="296703" cy="278892"/>
            </a:xfrm>
            <a:custGeom>
              <a:avLst/>
              <a:gdLst>
                <a:gd name="connsiteX0" fmla="*/ 296704 w 296703"/>
                <a:gd name="connsiteY0" fmla="*/ 119253 h 278892"/>
                <a:gd name="connsiteX1" fmla="*/ 256223 w 296703"/>
                <a:gd name="connsiteY1" fmla="*/ 201073 h 278892"/>
                <a:gd name="connsiteX2" fmla="*/ 256223 w 296703"/>
                <a:gd name="connsiteY2" fmla="*/ 278892 h 278892"/>
                <a:gd name="connsiteX3" fmla="*/ 158496 w 296703"/>
                <a:gd name="connsiteY3" fmla="*/ 238220 h 278892"/>
                <a:gd name="connsiteX4" fmla="*/ 148304 w 296703"/>
                <a:gd name="connsiteY4" fmla="*/ 238506 h 278892"/>
                <a:gd name="connsiteX5" fmla="*/ 0 w 296703"/>
                <a:gd name="connsiteY5" fmla="*/ 119253 h 278892"/>
                <a:gd name="connsiteX6" fmla="*/ 148304 w 296703"/>
                <a:gd name="connsiteY6" fmla="*/ 0 h 278892"/>
                <a:gd name="connsiteX7" fmla="*/ 296704 w 296703"/>
                <a:gd name="connsiteY7" fmla="*/ 119253 h 278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6703" h="278892">
                  <a:moveTo>
                    <a:pt x="296704" y="119253"/>
                  </a:moveTo>
                  <a:cubicBezTo>
                    <a:pt x="296704" y="150971"/>
                    <a:pt x="281369" y="179832"/>
                    <a:pt x="256223" y="201073"/>
                  </a:cubicBezTo>
                  <a:lnTo>
                    <a:pt x="256223" y="278892"/>
                  </a:lnTo>
                  <a:lnTo>
                    <a:pt x="158496" y="238220"/>
                  </a:lnTo>
                  <a:cubicBezTo>
                    <a:pt x="155162" y="238411"/>
                    <a:pt x="151733" y="238506"/>
                    <a:pt x="148304" y="238506"/>
                  </a:cubicBezTo>
                  <a:cubicBezTo>
                    <a:pt x="66389" y="238506"/>
                    <a:pt x="0" y="185166"/>
                    <a:pt x="0" y="119253"/>
                  </a:cubicBezTo>
                  <a:cubicBezTo>
                    <a:pt x="0" y="53435"/>
                    <a:pt x="66389" y="0"/>
                    <a:pt x="148304" y="0"/>
                  </a:cubicBezTo>
                  <a:cubicBezTo>
                    <a:pt x="230219" y="0"/>
                    <a:pt x="296704" y="53435"/>
                    <a:pt x="296704" y="119253"/>
                  </a:cubicBezTo>
                  <a:close/>
                </a:path>
              </a:pathLst>
            </a:custGeom>
            <a:solidFill>
              <a:srgbClr val="F46F25">
                <a:lumMod val="60000"/>
                <a:lumOff val="40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000000"/>
                </a:solidFill>
                <a:effectLst/>
                <a:uLnTx/>
                <a:uFillTx/>
                <a:latin typeface="等线" panose="020F0502020204030204"/>
                <a:ea typeface="等线" panose="02010600030101010101" pitchFamily="2" charset="-122"/>
                <a:cs typeface="+mn-cs"/>
              </a:endParaRPr>
            </a:p>
          </p:txBody>
        </p:sp>
        <p:grpSp>
          <p:nvGrpSpPr>
            <p:cNvPr id="30" name="图形 50"/>
            <p:cNvGrpSpPr/>
            <p:nvPr/>
          </p:nvGrpSpPr>
          <p:grpSpPr>
            <a:xfrm>
              <a:off x="8274663" y="3510819"/>
              <a:ext cx="205835" cy="50482"/>
              <a:chOff x="8274663" y="3510819"/>
              <a:chExt cx="205835" cy="50482"/>
            </a:xfrm>
            <a:solidFill>
              <a:srgbClr val="FFFFFF"/>
            </a:solidFill>
          </p:grpSpPr>
          <p:sp>
            <p:nvSpPr>
              <p:cNvPr id="33" name="任意多边形: 形状 54"/>
              <p:cNvSpPr/>
              <p:nvPr/>
            </p:nvSpPr>
            <p:spPr>
              <a:xfrm>
                <a:off x="8274663" y="3510819"/>
                <a:ext cx="50482" cy="50482"/>
              </a:xfrm>
              <a:custGeom>
                <a:avLst/>
                <a:gdLst>
                  <a:gd name="connsiteX0" fmla="*/ 50482 w 50482"/>
                  <a:gd name="connsiteY0" fmla="*/ 25241 h 50482"/>
                  <a:gd name="connsiteX1" fmla="*/ 25241 w 50482"/>
                  <a:gd name="connsiteY1" fmla="*/ 50482 h 50482"/>
                  <a:gd name="connsiteX2" fmla="*/ 0 w 50482"/>
                  <a:gd name="connsiteY2" fmla="*/ 25241 h 50482"/>
                  <a:gd name="connsiteX3" fmla="*/ 25241 w 50482"/>
                  <a:gd name="connsiteY3" fmla="*/ 0 h 50482"/>
                  <a:gd name="connsiteX4" fmla="*/ 50482 w 50482"/>
                  <a:gd name="connsiteY4" fmla="*/ 25241 h 504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482" h="50482">
                    <a:moveTo>
                      <a:pt x="50482" y="25241"/>
                    </a:moveTo>
                    <a:cubicBezTo>
                      <a:pt x="50482" y="39243"/>
                      <a:pt x="39148" y="50482"/>
                      <a:pt x="25241" y="50482"/>
                    </a:cubicBezTo>
                    <a:cubicBezTo>
                      <a:pt x="11239" y="50482"/>
                      <a:pt x="0" y="39148"/>
                      <a:pt x="0" y="25241"/>
                    </a:cubicBezTo>
                    <a:cubicBezTo>
                      <a:pt x="0" y="11240"/>
                      <a:pt x="11335" y="0"/>
                      <a:pt x="25241" y="0"/>
                    </a:cubicBezTo>
                    <a:cubicBezTo>
                      <a:pt x="39148" y="0"/>
                      <a:pt x="50482" y="11335"/>
                      <a:pt x="50482" y="25241"/>
                    </a:cubicBez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000000"/>
                  </a:solidFill>
                  <a:effectLst/>
                  <a:uLnTx/>
                  <a:uFillTx/>
                  <a:latin typeface="等线" panose="020F0502020204030204"/>
                  <a:ea typeface="等线" panose="02010600030101010101" pitchFamily="2" charset="-122"/>
                  <a:cs typeface="+mn-cs"/>
                </a:endParaRPr>
              </a:p>
            </p:txBody>
          </p:sp>
          <p:sp>
            <p:nvSpPr>
              <p:cNvPr id="34" name="任意多边形: 形状 55"/>
              <p:cNvSpPr/>
              <p:nvPr/>
            </p:nvSpPr>
            <p:spPr>
              <a:xfrm>
                <a:off x="8352387" y="3510819"/>
                <a:ext cx="50482" cy="50482"/>
              </a:xfrm>
              <a:custGeom>
                <a:avLst/>
                <a:gdLst>
                  <a:gd name="connsiteX0" fmla="*/ 50483 w 50482"/>
                  <a:gd name="connsiteY0" fmla="*/ 25241 h 50482"/>
                  <a:gd name="connsiteX1" fmla="*/ 25241 w 50482"/>
                  <a:gd name="connsiteY1" fmla="*/ 50482 h 50482"/>
                  <a:gd name="connsiteX2" fmla="*/ 0 w 50482"/>
                  <a:gd name="connsiteY2" fmla="*/ 25241 h 50482"/>
                  <a:gd name="connsiteX3" fmla="*/ 25241 w 50482"/>
                  <a:gd name="connsiteY3" fmla="*/ 0 h 50482"/>
                  <a:gd name="connsiteX4" fmla="*/ 50483 w 50482"/>
                  <a:gd name="connsiteY4" fmla="*/ 25241 h 504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482" h="50482">
                    <a:moveTo>
                      <a:pt x="50483" y="25241"/>
                    </a:moveTo>
                    <a:cubicBezTo>
                      <a:pt x="50483" y="39243"/>
                      <a:pt x="39148" y="50482"/>
                      <a:pt x="25241" y="50482"/>
                    </a:cubicBezTo>
                    <a:cubicBezTo>
                      <a:pt x="11239" y="50482"/>
                      <a:pt x="0" y="39148"/>
                      <a:pt x="0" y="25241"/>
                    </a:cubicBezTo>
                    <a:cubicBezTo>
                      <a:pt x="0" y="11240"/>
                      <a:pt x="11335" y="0"/>
                      <a:pt x="25241" y="0"/>
                    </a:cubicBezTo>
                    <a:cubicBezTo>
                      <a:pt x="39148" y="0"/>
                      <a:pt x="50483" y="11335"/>
                      <a:pt x="50483" y="25241"/>
                    </a:cubicBez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000000"/>
                  </a:solidFill>
                  <a:effectLst/>
                  <a:uLnTx/>
                  <a:uFillTx/>
                  <a:latin typeface="等线" panose="020F0502020204030204"/>
                  <a:ea typeface="等线" panose="02010600030101010101" pitchFamily="2" charset="-122"/>
                  <a:cs typeface="+mn-cs"/>
                </a:endParaRPr>
              </a:p>
            </p:txBody>
          </p:sp>
          <p:sp>
            <p:nvSpPr>
              <p:cNvPr id="35" name="任意多边形: 形状 56"/>
              <p:cNvSpPr/>
              <p:nvPr/>
            </p:nvSpPr>
            <p:spPr>
              <a:xfrm>
                <a:off x="8430016" y="3510819"/>
                <a:ext cx="50482" cy="50482"/>
              </a:xfrm>
              <a:custGeom>
                <a:avLst/>
                <a:gdLst>
                  <a:gd name="connsiteX0" fmla="*/ 50482 w 50482"/>
                  <a:gd name="connsiteY0" fmla="*/ 25241 h 50482"/>
                  <a:gd name="connsiteX1" fmla="*/ 25241 w 50482"/>
                  <a:gd name="connsiteY1" fmla="*/ 50482 h 50482"/>
                  <a:gd name="connsiteX2" fmla="*/ 0 w 50482"/>
                  <a:gd name="connsiteY2" fmla="*/ 25241 h 50482"/>
                  <a:gd name="connsiteX3" fmla="*/ 25241 w 50482"/>
                  <a:gd name="connsiteY3" fmla="*/ 0 h 50482"/>
                  <a:gd name="connsiteX4" fmla="*/ 50482 w 50482"/>
                  <a:gd name="connsiteY4" fmla="*/ 25241 h 504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482" h="50482">
                    <a:moveTo>
                      <a:pt x="50482" y="25241"/>
                    </a:moveTo>
                    <a:cubicBezTo>
                      <a:pt x="50482" y="39243"/>
                      <a:pt x="39148" y="50482"/>
                      <a:pt x="25241" y="50482"/>
                    </a:cubicBezTo>
                    <a:cubicBezTo>
                      <a:pt x="11335" y="50482"/>
                      <a:pt x="0" y="39148"/>
                      <a:pt x="0" y="25241"/>
                    </a:cubicBezTo>
                    <a:cubicBezTo>
                      <a:pt x="0" y="11240"/>
                      <a:pt x="11335" y="0"/>
                      <a:pt x="25241" y="0"/>
                    </a:cubicBezTo>
                    <a:cubicBezTo>
                      <a:pt x="39148" y="0"/>
                      <a:pt x="50482" y="11335"/>
                      <a:pt x="50482" y="25241"/>
                    </a:cubicBez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000000"/>
                  </a:solidFill>
                  <a:effectLst/>
                  <a:uLnTx/>
                  <a:uFillTx/>
                  <a:latin typeface="等线" panose="020F0502020204030204"/>
                  <a:ea typeface="等线" panose="02010600030101010101" pitchFamily="2" charset="-122"/>
                  <a:cs typeface="+mn-cs"/>
                </a:endParaRPr>
              </a:p>
            </p:txBody>
          </p:sp>
        </p:grpSp>
        <p:sp>
          <p:nvSpPr>
            <p:cNvPr id="31" name="任意多边形: 形状 57"/>
            <p:cNvSpPr/>
            <p:nvPr/>
          </p:nvSpPr>
          <p:spPr>
            <a:xfrm>
              <a:off x="8068733" y="3238500"/>
              <a:ext cx="386238" cy="362997"/>
            </a:xfrm>
            <a:custGeom>
              <a:avLst/>
              <a:gdLst>
                <a:gd name="connsiteX0" fmla="*/ 386239 w 386238"/>
                <a:gd name="connsiteY0" fmla="*/ 155258 h 362997"/>
                <a:gd name="connsiteX1" fmla="*/ 193072 w 386238"/>
                <a:gd name="connsiteY1" fmla="*/ 310515 h 362997"/>
                <a:gd name="connsiteX2" fmla="*/ 179642 w 386238"/>
                <a:gd name="connsiteY2" fmla="*/ 310134 h 362997"/>
                <a:gd name="connsiteX3" fmla="*/ 52578 w 386238"/>
                <a:gd name="connsiteY3" fmla="*/ 362998 h 362997"/>
                <a:gd name="connsiteX4" fmla="*/ 52578 w 386238"/>
                <a:gd name="connsiteY4" fmla="*/ 261652 h 362997"/>
                <a:gd name="connsiteX5" fmla="*/ 0 w 386238"/>
                <a:gd name="connsiteY5" fmla="*/ 155258 h 362997"/>
                <a:gd name="connsiteX6" fmla="*/ 193072 w 386238"/>
                <a:gd name="connsiteY6" fmla="*/ 0 h 362997"/>
                <a:gd name="connsiteX7" fmla="*/ 386239 w 386238"/>
                <a:gd name="connsiteY7" fmla="*/ 155258 h 362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6238" h="362997">
                  <a:moveTo>
                    <a:pt x="386239" y="155258"/>
                  </a:moveTo>
                  <a:cubicBezTo>
                    <a:pt x="386239" y="240983"/>
                    <a:pt x="299752" y="310515"/>
                    <a:pt x="193072" y="310515"/>
                  </a:cubicBezTo>
                  <a:cubicBezTo>
                    <a:pt x="188595" y="310515"/>
                    <a:pt x="184118" y="310420"/>
                    <a:pt x="179642" y="310134"/>
                  </a:cubicBezTo>
                  <a:lnTo>
                    <a:pt x="52578" y="362998"/>
                  </a:lnTo>
                  <a:lnTo>
                    <a:pt x="52578" y="261652"/>
                  </a:lnTo>
                  <a:cubicBezTo>
                    <a:pt x="20003" y="233839"/>
                    <a:pt x="0" y="196406"/>
                    <a:pt x="0" y="155258"/>
                  </a:cubicBezTo>
                  <a:cubicBezTo>
                    <a:pt x="0" y="69437"/>
                    <a:pt x="86392" y="0"/>
                    <a:pt x="193072" y="0"/>
                  </a:cubicBezTo>
                  <a:cubicBezTo>
                    <a:pt x="299752" y="0"/>
                    <a:pt x="386239" y="69437"/>
                    <a:pt x="386239" y="155258"/>
                  </a:cubicBezTo>
                  <a:close/>
                </a:path>
              </a:pathLst>
            </a:custGeom>
            <a:solidFill>
              <a:srgbClr val="F46F25">
                <a:lumMod val="40000"/>
                <a:lumOff val="60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000000"/>
                </a:solidFill>
                <a:effectLst/>
                <a:uLnTx/>
                <a:uFillTx/>
                <a:latin typeface="等线" panose="020F0502020204030204"/>
                <a:ea typeface="等线" panose="02010600030101010101" pitchFamily="2" charset="-122"/>
                <a:cs typeface="+mn-cs"/>
              </a:endParaRPr>
            </a:p>
          </p:txBody>
        </p:sp>
        <p:sp>
          <p:nvSpPr>
            <p:cNvPr id="32" name="任意多边形: 形状 58"/>
            <p:cNvSpPr/>
            <p:nvPr/>
          </p:nvSpPr>
          <p:spPr>
            <a:xfrm>
              <a:off x="8192367" y="3295935"/>
              <a:ext cx="139065" cy="195643"/>
            </a:xfrm>
            <a:custGeom>
              <a:avLst/>
              <a:gdLst>
                <a:gd name="connsiteX0" fmla="*/ 85154 w 139065"/>
                <a:gd name="connsiteY0" fmla="*/ 145733 h 195643"/>
                <a:gd name="connsiteX1" fmla="*/ 51435 w 139065"/>
                <a:gd name="connsiteY1" fmla="*/ 145733 h 195643"/>
                <a:gd name="connsiteX2" fmla="*/ 51340 w 139065"/>
                <a:gd name="connsiteY2" fmla="*/ 136874 h 195643"/>
                <a:gd name="connsiteX3" fmla="*/ 56769 w 139065"/>
                <a:gd name="connsiteY3" fmla="*/ 109918 h 195643"/>
                <a:gd name="connsiteX4" fmla="*/ 78486 w 139065"/>
                <a:gd name="connsiteY4" fmla="*/ 86106 h 195643"/>
                <a:gd name="connsiteX5" fmla="*/ 97917 w 139065"/>
                <a:gd name="connsiteY5" fmla="*/ 68771 h 195643"/>
                <a:gd name="connsiteX6" fmla="*/ 102775 w 139065"/>
                <a:gd name="connsiteY6" fmla="*/ 54483 h 195643"/>
                <a:gd name="connsiteX7" fmla="*/ 94107 w 139065"/>
                <a:gd name="connsiteY7" fmla="*/ 35909 h 195643"/>
                <a:gd name="connsiteX8" fmla="*/ 70771 w 139065"/>
                <a:gd name="connsiteY8" fmla="*/ 28194 h 195643"/>
                <a:gd name="connsiteX9" fmla="*/ 47149 w 139065"/>
                <a:gd name="connsiteY9" fmla="*/ 36290 h 195643"/>
                <a:gd name="connsiteX10" fmla="*/ 34100 w 139065"/>
                <a:gd name="connsiteY10" fmla="*/ 60865 h 195643"/>
                <a:gd name="connsiteX11" fmla="*/ 0 w 139065"/>
                <a:gd name="connsiteY11" fmla="*/ 56674 h 195643"/>
                <a:gd name="connsiteX12" fmla="*/ 20193 w 139065"/>
                <a:gd name="connsiteY12" fmla="*/ 16478 h 195643"/>
                <a:gd name="connsiteX13" fmla="*/ 69342 w 139065"/>
                <a:gd name="connsiteY13" fmla="*/ 0 h 195643"/>
                <a:gd name="connsiteX14" fmla="*/ 120206 w 139065"/>
                <a:gd name="connsiteY14" fmla="*/ 16764 h 195643"/>
                <a:gd name="connsiteX15" fmla="*/ 139065 w 139065"/>
                <a:gd name="connsiteY15" fmla="*/ 55721 h 195643"/>
                <a:gd name="connsiteX16" fmla="*/ 132112 w 139065"/>
                <a:gd name="connsiteY16" fmla="*/ 78962 h 195643"/>
                <a:gd name="connsiteX17" fmla="*/ 102394 w 139065"/>
                <a:gd name="connsiteY17" fmla="*/ 108871 h 195643"/>
                <a:gd name="connsiteX18" fmla="*/ 87821 w 139065"/>
                <a:gd name="connsiteY18" fmla="*/ 124587 h 195643"/>
                <a:gd name="connsiteX19" fmla="*/ 85154 w 139065"/>
                <a:gd name="connsiteY19" fmla="*/ 145733 h 195643"/>
                <a:gd name="connsiteX20" fmla="*/ 51435 w 139065"/>
                <a:gd name="connsiteY20" fmla="*/ 195644 h 195643"/>
                <a:gd name="connsiteX21" fmla="*/ 51435 w 139065"/>
                <a:gd name="connsiteY21" fmla="*/ 158496 h 195643"/>
                <a:gd name="connsiteX22" fmla="*/ 88583 w 139065"/>
                <a:gd name="connsiteY22" fmla="*/ 158496 h 195643"/>
                <a:gd name="connsiteX23" fmla="*/ 88583 w 139065"/>
                <a:gd name="connsiteY23" fmla="*/ 195644 h 195643"/>
                <a:gd name="connsiteX24" fmla="*/ 51435 w 139065"/>
                <a:gd name="connsiteY24" fmla="*/ 195644 h 195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39065" h="195643">
                  <a:moveTo>
                    <a:pt x="85154" y="145733"/>
                  </a:moveTo>
                  <a:lnTo>
                    <a:pt x="51435" y="145733"/>
                  </a:lnTo>
                  <a:cubicBezTo>
                    <a:pt x="51340" y="140875"/>
                    <a:pt x="51340" y="137922"/>
                    <a:pt x="51340" y="136874"/>
                  </a:cubicBezTo>
                  <a:cubicBezTo>
                    <a:pt x="51340" y="125921"/>
                    <a:pt x="53150" y="116967"/>
                    <a:pt x="56769" y="109918"/>
                  </a:cubicBezTo>
                  <a:cubicBezTo>
                    <a:pt x="60389" y="102870"/>
                    <a:pt x="67628" y="94964"/>
                    <a:pt x="78486" y="86106"/>
                  </a:cubicBezTo>
                  <a:cubicBezTo>
                    <a:pt x="89345" y="77248"/>
                    <a:pt x="95822" y="71533"/>
                    <a:pt x="97917" y="68771"/>
                  </a:cubicBezTo>
                  <a:cubicBezTo>
                    <a:pt x="101156" y="64484"/>
                    <a:pt x="102775" y="59722"/>
                    <a:pt x="102775" y="54483"/>
                  </a:cubicBezTo>
                  <a:cubicBezTo>
                    <a:pt x="102775" y="47244"/>
                    <a:pt x="99917" y="41053"/>
                    <a:pt x="94107" y="35909"/>
                  </a:cubicBezTo>
                  <a:cubicBezTo>
                    <a:pt x="88297" y="30766"/>
                    <a:pt x="80582" y="28194"/>
                    <a:pt x="70771" y="28194"/>
                  </a:cubicBezTo>
                  <a:cubicBezTo>
                    <a:pt x="61341" y="28194"/>
                    <a:pt x="53435" y="30861"/>
                    <a:pt x="47149" y="36290"/>
                  </a:cubicBezTo>
                  <a:cubicBezTo>
                    <a:pt x="40767" y="41624"/>
                    <a:pt x="36481" y="49911"/>
                    <a:pt x="34100" y="60865"/>
                  </a:cubicBezTo>
                  <a:lnTo>
                    <a:pt x="0" y="56674"/>
                  </a:lnTo>
                  <a:cubicBezTo>
                    <a:pt x="953" y="40862"/>
                    <a:pt x="7715" y="27527"/>
                    <a:pt x="20193" y="16478"/>
                  </a:cubicBezTo>
                  <a:cubicBezTo>
                    <a:pt x="32671" y="5429"/>
                    <a:pt x="49054" y="0"/>
                    <a:pt x="69342" y="0"/>
                  </a:cubicBezTo>
                  <a:cubicBezTo>
                    <a:pt x="90678" y="0"/>
                    <a:pt x="107633" y="5620"/>
                    <a:pt x="120206" y="16764"/>
                  </a:cubicBezTo>
                  <a:cubicBezTo>
                    <a:pt x="132779" y="27908"/>
                    <a:pt x="139065" y="40862"/>
                    <a:pt x="139065" y="55721"/>
                  </a:cubicBezTo>
                  <a:cubicBezTo>
                    <a:pt x="139065" y="63913"/>
                    <a:pt x="136779" y="71628"/>
                    <a:pt x="132112" y="78962"/>
                  </a:cubicBezTo>
                  <a:cubicBezTo>
                    <a:pt x="127445" y="86297"/>
                    <a:pt x="117634" y="96202"/>
                    <a:pt x="102394" y="108871"/>
                  </a:cubicBezTo>
                  <a:cubicBezTo>
                    <a:pt x="94583" y="115348"/>
                    <a:pt x="89726" y="120682"/>
                    <a:pt x="87821" y="124587"/>
                  </a:cubicBezTo>
                  <a:cubicBezTo>
                    <a:pt x="85916" y="128397"/>
                    <a:pt x="84963" y="135541"/>
                    <a:pt x="85154" y="145733"/>
                  </a:cubicBezTo>
                  <a:close/>
                  <a:moveTo>
                    <a:pt x="51435" y="195644"/>
                  </a:moveTo>
                  <a:lnTo>
                    <a:pt x="51435" y="158496"/>
                  </a:lnTo>
                  <a:lnTo>
                    <a:pt x="88583" y="158496"/>
                  </a:lnTo>
                  <a:lnTo>
                    <a:pt x="88583" y="195644"/>
                  </a:lnTo>
                  <a:lnTo>
                    <a:pt x="51435" y="195644"/>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000000"/>
                </a:solidFill>
                <a:effectLst/>
                <a:uLnTx/>
                <a:uFillTx/>
                <a:latin typeface="等线" panose="020F0502020204030204"/>
                <a:ea typeface="等线" panose="02010600030101010101" pitchFamily="2" charset="-122"/>
                <a:cs typeface="+mn-cs"/>
              </a:endParaRPr>
            </a:p>
          </p:txBody>
        </p:sp>
      </p:grpSp>
      <p:grpSp>
        <p:nvGrpSpPr>
          <p:cNvPr id="36" name="组合 35" descr="e7d195523061f1c074694c8bbf98be7b1e4b015d796375963FD28840057458461C7CA0DAD340D15583DEDFC2E3241C4F392EF3A8B4D067B40CF4F149DD7E51F346B0CAB1BCCF6DB2480C67273C6C9E4C189104F717183E94087134205FA50CFF5631A9B2F1EA4298D25FAC7AC4DB9234F95EB2B78EB4FB73D2644FC933C824692AC31DF40D3E73DF"/>
          <p:cNvGrpSpPr/>
          <p:nvPr/>
        </p:nvGrpSpPr>
        <p:grpSpPr>
          <a:xfrm>
            <a:off x="8110864" y="5277638"/>
            <a:ext cx="457099" cy="457199"/>
            <a:chOff x="8089347" y="5113131"/>
            <a:chExt cx="457099" cy="457199"/>
          </a:xfrm>
        </p:grpSpPr>
        <p:sp>
          <p:nvSpPr>
            <p:cNvPr id="37" name="任意多边形: 形状 62"/>
            <p:cNvSpPr/>
            <p:nvPr/>
          </p:nvSpPr>
          <p:spPr>
            <a:xfrm>
              <a:off x="8089347" y="5156374"/>
              <a:ext cx="351758" cy="413956"/>
            </a:xfrm>
            <a:custGeom>
              <a:avLst/>
              <a:gdLst>
                <a:gd name="connsiteX0" fmla="*/ 351758 w 351758"/>
                <a:gd name="connsiteY0" fmla="*/ 23908 h 413956"/>
                <a:gd name="connsiteX1" fmla="*/ 351758 w 351758"/>
                <a:gd name="connsiteY1" fmla="*/ 390049 h 413956"/>
                <a:gd name="connsiteX2" fmla="*/ 327946 w 351758"/>
                <a:gd name="connsiteY2" fmla="*/ 413957 h 413956"/>
                <a:gd name="connsiteX3" fmla="*/ 23813 w 351758"/>
                <a:gd name="connsiteY3" fmla="*/ 413957 h 413956"/>
                <a:gd name="connsiteX4" fmla="*/ 0 w 351758"/>
                <a:gd name="connsiteY4" fmla="*/ 390049 h 413956"/>
                <a:gd name="connsiteX5" fmla="*/ 0 w 351758"/>
                <a:gd name="connsiteY5" fmla="*/ 23908 h 413956"/>
                <a:gd name="connsiteX6" fmla="*/ 23813 w 351758"/>
                <a:gd name="connsiteY6" fmla="*/ 0 h 413956"/>
                <a:gd name="connsiteX7" fmla="*/ 327946 w 351758"/>
                <a:gd name="connsiteY7" fmla="*/ 0 h 413956"/>
                <a:gd name="connsiteX8" fmla="*/ 351758 w 351758"/>
                <a:gd name="connsiteY8" fmla="*/ 23908 h 413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1758" h="413956">
                  <a:moveTo>
                    <a:pt x="351758" y="23908"/>
                  </a:moveTo>
                  <a:lnTo>
                    <a:pt x="351758" y="390049"/>
                  </a:lnTo>
                  <a:cubicBezTo>
                    <a:pt x="351758" y="403289"/>
                    <a:pt x="341090" y="413957"/>
                    <a:pt x="327946" y="413957"/>
                  </a:cubicBezTo>
                  <a:lnTo>
                    <a:pt x="23813" y="413957"/>
                  </a:lnTo>
                  <a:cubicBezTo>
                    <a:pt x="10668" y="413957"/>
                    <a:pt x="0" y="403289"/>
                    <a:pt x="0" y="390049"/>
                  </a:cubicBezTo>
                  <a:lnTo>
                    <a:pt x="0" y="23908"/>
                  </a:lnTo>
                  <a:cubicBezTo>
                    <a:pt x="0" y="10668"/>
                    <a:pt x="10668" y="0"/>
                    <a:pt x="23813" y="0"/>
                  </a:cubicBezTo>
                  <a:lnTo>
                    <a:pt x="327946" y="0"/>
                  </a:lnTo>
                  <a:cubicBezTo>
                    <a:pt x="341090" y="0"/>
                    <a:pt x="351758" y="10668"/>
                    <a:pt x="351758" y="23908"/>
                  </a:cubicBezTo>
                  <a:close/>
                </a:path>
              </a:pathLst>
            </a:custGeom>
            <a:solidFill>
              <a:srgbClr val="F46F25">
                <a:lumMod val="40000"/>
                <a:lumOff val="60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000000"/>
                </a:solidFill>
                <a:effectLst/>
                <a:uLnTx/>
                <a:uFillTx/>
                <a:latin typeface="等线" panose="020F0502020204030204"/>
                <a:ea typeface="等线" panose="02010600030101010101" pitchFamily="2" charset="-122"/>
                <a:cs typeface="+mn-cs"/>
              </a:endParaRPr>
            </a:p>
          </p:txBody>
        </p:sp>
        <p:sp>
          <p:nvSpPr>
            <p:cNvPr id="38" name="任意多边形: 形状 63"/>
            <p:cNvSpPr/>
            <p:nvPr/>
          </p:nvSpPr>
          <p:spPr>
            <a:xfrm>
              <a:off x="8130685" y="5193903"/>
              <a:ext cx="269176" cy="335184"/>
            </a:xfrm>
            <a:custGeom>
              <a:avLst/>
              <a:gdLst>
                <a:gd name="connsiteX0" fmla="*/ 0 w 269176"/>
                <a:gd name="connsiteY0" fmla="*/ 0 h 335184"/>
                <a:gd name="connsiteX1" fmla="*/ 269177 w 269176"/>
                <a:gd name="connsiteY1" fmla="*/ 0 h 335184"/>
                <a:gd name="connsiteX2" fmla="*/ 269177 w 269176"/>
                <a:gd name="connsiteY2" fmla="*/ 335185 h 335184"/>
                <a:gd name="connsiteX3" fmla="*/ 0 w 269176"/>
                <a:gd name="connsiteY3" fmla="*/ 335185 h 335184"/>
              </a:gdLst>
              <a:ahLst/>
              <a:cxnLst>
                <a:cxn ang="0">
                  <a:pos x="connsiteX0" y="connsiteY0"/>
                </a:cxn>
                <a:cxn ang="0">
                  <a:pos x="connsiteX1" y="connsiteY1"/>
                </a:cxn>
                <a:cxn ang="0">
                  <a:pos x="connsiteX2" y="connsiteY2"/>
                </a:cxn>
                <a:cxn ang="0">
                  <a:pos x="connsiteX3" y="connsiteY3"/>
                </a:cxn>
              </a:cxnLst>
              <a:rect l="l" t="t" r="r" b="b"/>
              <a:pathLst>
                <a:path w="269176" h="335184">
                  <a:moveTo>
                    <a:pt x="0" y="0"/>
                  </a:moveTo>
                  <a:lnTo>
                    <a:pt x="269177" y="0"/>
                  </a:lnTo>
                  <a:lnTo>
                    <a:pt x="269177" y="335185"/>
                  </a:lnTo>
                  <a:lnTo>
                    <a:pt x="0" y="335185"/>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000000"/>
                </a:solidFill>
                <a:effectLst/>
                <a:uLnTx/>
                <a:uFillTx/>
                <a:latin typeface="等线" panose="020F0502020204030204"/>
                <a:ea typeface="等线" panose="02010600030101010101" pitchFamily="2" charset="-122"/>
                <a:cs typeface="+mn-cs"/>
              </a:endParaRPr>
            </a:p>
          </p:txBody>
        </p:sp>
        <p:sp>
          <p:nvSpPr>
            <p:cNvPr id="39" name="任意多边形: 形状 64"/>
            <p:cNvSpPr/>
            <p:nvPr/>
          </p:nvSpPr>
          <p:spPr>
            <a:xfrm>
              <a:off x="8189454" y="5113131"/>
              <a:ext cx="151542" cy="98297"/>
            </a:xfrm>
            <a:custGeom>
              <a:avLst/>
              <a:gdLst>
                <a:gd name="connsiteX0" fmla="*/ 151543 w 151542"/>
                <a:gd name="connsiteY0" fmla="*/ 98298 h 98297"/>
                <a:gd name="connsiteX1" fmla="*/ 151543 w 151542"/>
                <a:gd name="connsiteY1" fmla="*/ 45625 h 98297"/>
                <a:gd name="connsiteX2" fmla="*/ 137922 w 151542"/>
                <a:gd name="connsiteY2" fmla="*/ 32004 h 98297"/>
                <a:gd name="connsiteX3" fmla="*/ 107728 w 151542"/>
                <a:gd name="connsiteY3" fmla="*/ 32004 h 98297"/>
                <a:gd name="connsiteX4" fmla="*/ 107728 w 151542"/>
                <a:gd name="connsiteY4" fmla="*/ 32004 h 98297"/>
                <a:gd name="connsiteX5" fmla="*/ 75724 w 151542"/>
                <a:gd name="connsiteY5" fmla="*/ 0 h 98297"/>
                <a:gd name="connsiteX6" fmla="*/ 43815 w 151542"/>
                <a:gd name="connsiteY6" fmla="*/ 32004 h 98297"/>
                <a:gd name="connsiteX7" fmla="*/ 43815 w 151542"/>
                <a:gd name="connsiteY7" fmla="*/ 32004 h 98297"/>
                <a:gd name="connsiteX8" fmla="*/ 13621 w 151542"/>
                <a:gd name="connsiteY8" fmla="*/ 32004 h 98297"/>
                <a:gd name="connsiteX9" fmla="*/ 0 w 151542"/>
                <a:gd name="connsiteY9" fmla="*/ 45625 h 98297"/>
                <a:gd name="connsiteX10" fmla="*/ 0 w 151542"/>
                <a:gd name="connsiteY10" fmla="*/ 98298 h 98297"/>
                <a:gd name="connsiteX11" fmla="*/ 151543 w 151542"/>
                <a:gd name="connsiteY11" fmla="*/ 98298 h 98297"/>
                <a:gd name="connsiteX12" fmla="*/ 75724 w 151542"/>
                <a:gd name="connsiteY12" fmla="*/ 20860 h 98297"/>
                <a:gd name="connsiteX13" fmla="*/ 86868 w 151542"/>
                <a:gd name="connsiteY13" fmla="*/ 32004 h 98297"/>
                <a:gd name="connsiteX14" fmla="*/ 75724 w 151542"/>
                <a:gd name="connsiteY14" fmla="*/ 43148 h 98297"/>
                <a:gd name="connsiteX15" fmla="*/ 64675 w 151542"/>
                <a:gd name="connsiteY15" fmla="*/ 32004 h 98297"/>
                <a:gd name="connsiteX16" fmla="*/ 75724 w 151542"/>
                <a:gd name="connsiteY16" fmla="*/ 20860 h 98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1542" h="98297">
                  <a:moveTo>
                    <a:pt x="151543" y="98298"/>
                  </a:moveTo>
                  <a:lnTo>
                    <a:pt x="151543" y="45625"/>
                  </a:lnTo>
                  <a:cubicBezTo>
                    <a:pt x="151543" y="38100"/>
                    <a:pt x="145447" y="32004"/>
                    <a:pt x="137922" y="32004"/>
                  </a:cubicBezTo>
                  <a:lnTo>
                    <a:pt x="107728" y="32004"/>
                  </a:lnTo>
                  <a:lnTo>
                    <a:pt x="107728" y="32004"/>
                  </a:lnTo>
                  <a:cubicBezTo>
                    <a:pt x="107728" y="14383"/>
                    <a:pt x="93440" y="0"/>
                    <a:pt x="75724" y="0"/>
                  </a:cubicBezTo>
                  <a:cubicBezTo>
                    <a:pt x="58103" y="0"/>
                    <a:pt x="43815" y="14383"/>
                    <a:pt x="43815" y="32004"/>
                  </a:cubicBezTo>
                  <a:lnTo>
                    <a:pt x="43815" y="32004"/>
                  </a:lnTo>
                  <a:lnTo>
                    <a:pt x="13621" y="32004"/>
                  </a:lnTo>
                  <a:cubicBezTo>
                    <a:pt x="6096" y="32004"/>
                    <a:pt x="0" y="38100"/>
                    <a:pt x="0" y="45625"/>
                  </a:cubicBezTo>
                  <a:lnTo>
                    <a:pt x="0" y="98298"/>
                  </a:lnTo>
                  <a:lnTo>
                    <a:pt x="151543" y="98298"/>
                  </a:lnTo>
                  <a:close/>
                  <a:moveTo>
                    <a:pt x="75724" y="20860"/>
                  </a:moveTo>
                  <a:cubicBezTo>
                    <a:pt x="81915" y="20860"/>
                    <a:pt x="86868" y="25908"/>
                    <a:pt x="86868" y="32004"/>
                  </a:cubicBezTo>
                  <a:cubicBezTo>
                    <a:pt x="86868" y="38195"/>
                    <a:pt x="81820" y="43148"/>
                    <a:pt x="75724" y="43148"/>
                  </a:cubicBezTo>
                  <a:cubicBezTo>
                    <a:pt x="69723" y="43148"/>
                    <a:pt x="64675" y="38100"/>
                    <a:pt x="64675" y="32004"/>
                  </a:cubicBezTo>
                  <a:cubicBezTo>
                    <a:pt x="64675" y="25813"/>
                    <a:pt x="69628" y="20860"/>
                    <a:pt x="75724" y="20860"/>
                  </a:cubicBezTo>
                  <a:close/>
                </a:path>
              </a:pathLst>
            </a:custGeom>
            <a:solidFill>
              <a:srgbClr val="F46F25">
                <a:lumMod val="60000"/>
                <a:lumOff val="40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000000"/>
                </a:solidFill>
                <a:effectLst/>
                <a:uLnTx/>
                <a:uFillTx/>
                <a:latin typeface="等线" panose="020F0502020204030204"/>
                <a:ea typeface="等线" panose="02010600030101010101" pitchFamily="2" charset="-122"/>
                <a:cs typeface="+mn-cs"/>
              </a:endParaRPr>
            </a:p>
          </p:txBody>
        </p:sp>
        <p:sp>
          <p:nvSpPr>
            <p:cNvPr id="40" name="任意多边形: 形状 66"/>
            <p:cNvSpPr/>
            <p:nvPr/>
          </p:nvSpPr>
          <p:spPr>
            <a:xfrm>
              <a:off x="8163927" y="5257053"/>
              <a:ext cx="52387" cy="52482"/>
            </a:xfrm>
            <a:custGeom>
              <a:avLst/>
              <a:gdLst>
                <a:gd name="connsiteX0" fmla="*/ 52388 w 52387"/>
                <a:gd name="connsiteY0" fmla="*/ 52483 h 52482"/>
                <a:gd name="connsiteX1" fmla="*/ 0 w 52387"/>
                <a:gd name="connsiteY1" fmla="*/ 52483 h 52482"/>
                <a:gd name="connsiteX2" fmla="*/ 0 w 52387"/>
                <a:gd name="connsiteY2" fmla="*/ 0 h 52482"/>
                <a:gd name="connsiteX3" fmla="*/ 52388 w 52387"/>
                <a:gd name="connsiteY3" fmla="*/ 0 h 52482"/>
                <a:gd name="connsiteX4" fmla="*/ 52388 w 52387"/>
                <a:gd name="connsiteY4" fmla="*/ 52483 h 52482"/>
                <a:gd name="connsiteX5" fmla="*/ 5429 w 52387"/>
                <a:gd name="connsiteY5" fmla="*/ 47053 h 52482"/>
                <a:gd name="connsiteX6" fmla="*/ 46958 w 52387"/>
                <a:gd name="connsiteY6" fmla="*/ 47053 h 52482"/>
                <a:gd name="connsiteX7" fmla="*/ 46958 w 52387"/>
                <a:gd name="connsiteY7" fmla="*/ 5429 h 52482"/>
                <a:gd name="connsiteX8" fmla="*/ 5429 w 52387"/>
                <a:gd name="connsiteY8" fmla="*/ 5429 h 52482"/>
                <a:gd name="connsiteX9" fmla="*/ 5429 w 52387"/>
                <a:gd name="connsiteY9" fmla="*/ 47053 h 52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387" h="52482">
                  <a:moveTo>
                    <a:pt x="52388" y="52483"/>
                  </a:moveTo>
                  <a:lnTo>
                    <a:pt x="0" y="52483"/>
                  </a:lnTo>
                  <a:lnTo>
                    <a:pt x="0" y="0"/>
                  </a:lnTo>
                  <a:lnTo>
                    <a:pt x="52388" y="0"/>
                  </a:lnTo>
                  <a:lnTo>
                    <a:pt x="52388" y="52483"/>
                  </a:lnTo>
                  <a:close/>
                  <a:moveTo>
                    <a:pt x="5429" y="47053"/>
                  </a:moveTo>
                  <a:lnTo>
                    <a:pt x="46958" y="47053"/>
                  </a:lnTo>
                  <a:lnTo>
                    <a:pt x="46958" y="5429"/>
                  </a:lnTo>
                  <a:lnTo>
                    <a:pt x="5429" y="5429"/>
                  </a:lnTo>
                  <a:lnTo>
                    <a:pt x="5429" y="47053"/>
                  </a:lnTo>
                  <a:close/>
                </a:path>
              </a:pathLst>
            </a:custGeom>
            <a:solidFill>
              <a:srgbClr val="F46F25">
                <a:lumMod val="40000"/>
                <a:lumOff val="60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000000"/>
                </a:solidFill>
                <a:effectLst/>
                <a:uLnTx/>
                <a:uFillTx/>
                <a:latin typeface="等线" panose="020F0502020204030204"/>
                <a:ea typeface="等线" panose="02010600030101010101" pitchFamily="2" charset="-122"/>
                <a:cs typeface="+mn-cs"/>
              </a:endParaRPr>
            </a:p>
          </p:txBody>
        </p:sp>
        <p:sp>
          <p:nvSpPr>
            <p:cNvPr id="41" name="任意多边形: 形状 69"/>
            <p:cNvSpPr/>
            <p:nvPr/>
          </p:nvSpPr>
          <p:spPr>
            <a:xfrm>
              <a:off x="8163927" y="5353446"/>
              <a:ext cx="52387" cy="52482"/>
            </a:xfrm>
            <a:custGeom>
              <a:avLst/>
              <a:gdLst>
                <a:gd name="connsiteX0" fmla="*/ 52388 w 52387"/>
                <a:gd name="connsiteY0" fmla="*/ 52483 h 52482"/>
                <a:gd name="connsiteX1" fmla="*/ 0 w 52387"/>
                <a:gd name="connsiteY1" fmla="*/ 52483 h 52482"/>
                <a:gd name="connsiteX2" fmla="*/ 0 w 52387"/>
                <a:gd name="connsiteY2" fmla="*/ 0 h 52482"/>
                <a:gd name="connsiteX3" fmla="*/ 52388 w 52387"/>
                <a:gd name="connsiteY3" fmla="*/ 0 h 52482"/>
                <a:gd name="connsiteX4" fmla="*/ 52388 w 52387"/>
                <a:gd name="connsiteY4" fmla="*/ 52483 h 52482"/>
                <a:gd name="connsiteX5" fmla="*/ 5429 w 52387"/>
                <a:gd name="connsiteY5" fmla="*/ 47054 h 52482"/>
                <a:gd name="connsiteX6" fmla="*/ 46958 w 52387"/>
                <a:gd name="connsiteY6" fmla="*/ 47054 h 52482"/>
                <a:gd name="connsiteX7" fmla="*/ 46958 w 52387"/>
                <a:gd name="connsiteY7" fmla="*/ 5429 h 52482"/>
                <a:gd name="connsiteX8" fmla="*/ 5429 w 52387"/>
                <a:gd name="connsiteY8" fmla="*/ 5429 h 52482"/>
                <a:gd name="connsiteX9" fmla="*/ 5429 w 52387"/>
                <a:gd name="connsiteY9" fmla="*/ 47054 h 52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387" h="52482">
                  <a:moveTo>
                    <a:pt x="52388" y="52483"/>
                  </a:moveTo>
                  <a:lnTo>
                    <a:pt x="0" y="52483"/>
                  </a:lnTo>
                  <a:lnTo>
                    <a:pt x="0" y="0"/>
                  </a:lnTo>
                  <a:lnTo>
                    <a:pt x="52388" y="0"/>
                  </a:lnTo>
                  <a:lnTo>
                    <a:pt x="52388" y="52483"/>
                  </a:lnTo>
                  <a:close/>
                  <a:moveTo>
                    <a:pt x="5429" y="47054"/>
                  </a:moveTo>
                  <a:lnTo>
                    <a:pt x="46958" y="47054"/>
                  </a:lnTo>
                  <a:lnTo>
                    <a:pt x="46958" y="5429"/>
                  </a:lnTo>
                  <a:lnTo>
                    <a:pt x="5429" y="5429"/>
                  </a:lnTo>
                  <a:lnTo>
                    <a:pt x="5429" y="47054"/>
                  </a:lnTo>
                  <a:close/>
                </a:path>
              </a:pathLst>
            </a:custGeom>
            <a:solidFill>
              <a:srgbClr val="F46F25">
                <a:lumMod val="40000"/>
                <a:lumOff val="60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000000"/>
                </a:solidFill>
                <a:effectLst/>
                <a:uLnTx/>
                <a:uFillTx/>
                <a:latin typeface="等线" panose="020F0502020204030204"/>
                <a:ea typeface="等线" panose="02010600030101010101" pitchFamily="2" charset="-122"/>
                <a:cs typeface="+mn-cs"/>
              </a:endParaRPr>
            </a:p>
          </p:txBody>
        </p:sp>
        <p:sp>
          <p:nvSpPr>
            <p:cNvPr id="42" name="任意多边形: 形状 72"/>
            <p:cNvSpPr/>
            <p:nvPr/>
          </p:nvSpPr>
          <p:spPr>
            <a:xfrm>
              <a:off x="8163927" y="5449839"/>
              <a:ext cx="52387" cy="52482"/>
            </a:xfrm>
            <a:custGeom>
              <a:avLst/>
              <a:gdLst>
                <a:gd name="connsiteX0" fmla="*/ 52388 w 52387"/>
                <a:gd name="connsiteY0" fmla="*/ 52483 h 52482"/>
                <a:gd name="connsiteX1" fmla="*/ 0 w 52387"/>
                <a:gd name="connsiteY1" fmla="*/ 52483 h 52482"/>
                <a:gd name="connsiteX2" fmla="*/ 0 w 52387"/>
                <a:gd name="connsiteY2" fmla="*/ 0 h 52482"/>
                <a:gd name="connsiteX3" fmla="*/ 52388 w 52387"/>
                <a:gd name="connsiteY3" fmla="*/ 0 h 52482"/>
                <a:gd name="connsiteX4" fmla="*/ 52388 w 52387"/>
                <a:gd name="connsiteY4" fmla="*/ 52483 h 52482"/>
                <a:gd name="connsiteX5" fmla="*/ 5429 w 52387"/>
                <a:gd name="connsiteY5" fmla="*/ 47054 h 52482"/>
                <a:gd name="connsiteX6" fmla="*/ 46958 w 52387"/>
                <a:gd name="connsiteY6" fmla="*/ 47054 h 52482"/>
                <a:gd name="connsiteX7" fmla="*/ 46958 w 52387"/>
                <a:gd name="connsiteY7" fmla="*/ 5429 h 52482"/>
                <a:gd name="connsiteX8" fmla="*/ 5429 w 52387"/>
                <a:gd name="connsiteY8" fmla="*/ 5429 h 52482"/>
                <a:gd name="connsiteX9" fmla="*/ 5429 w 52387"/>
                <a:gd name="connsiteY9" fmla="*/ 47054 h 52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387" h="52482">
                  <a:moveTo>
                    <a:pt x="52388" y="52483"/>
                  </a:moveTo>
                  <a:lnTo>
                    <a:pt x="0" y="52483"/>
                  </a:lnTo>
                  <a:lnTo>
                    <a:pt x="0" y="0"/>
                  </a:lnTo>
                  <a:lnTo>
                    <a:pt x="52388" y="0"/>
                  </a:lnTo>
                  <a:lnTo>
                    <a:pt x="52388" y="52483"/>
                  </a:lnTo>
                  <a:close/>
                  <a:moveTo>
                    <a:pt x="5429" y="47054"/>
                  </a:moveTo>
                  <a:lnTo>
                    <a:pt x="46958" y="47054"/>
                  </a:lnTo>
                  <a:lnTo>
                    <a:pt x="46958" y="5429"/>
                  </a:lnTo>
                  <a:lnTo>
                    <a:pt x="5429" y="5429"/>
                  </a:lnTo>
                  <a:lnTo>
                    <a:pt x="5429" y="47054"/>
                  </a:lnTo>
                  <a:close/>
                </a:path>
              </a:pathLst>
            </a:custGeom>
            <a:solidFill>
              <a:srgbClr val="F46F25">
                <a:lumMod val="40000"/>
                <a:lumOff val="60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000000"/>
                </a:solidFill>
                <a:effectLst/>
                <a:uLnTx/>
                <a:uFillTx/>
                <a:latin typeface="等线" panose="020F0502020204030204"/>
                <a:ea typeface="等线" panose="02010600030101010101" pitchFamily="2" charset="-122"/>
                <a:cs typeface="+mn-cs"/>
              </a:endParaRPr>
            </a:p>
          </p:txBody>
        </p:sp>
        <p:grpSp>
          <p:nvGrpSpPr>
            <p:cNvPr id="43" name="组合 42"/>
            <p:cNvGrpSpPr/>
            <p:nvPr/>
          </p:nvGrpSpPr>
          <p:grpSpPr>
            <a:xfrm>
              <a:off x="8158553" y="5249267"/>
              <a:ext cx="73294" cy="245530"/>
              <a:chOff x="8150616" y="5249267"/>
              <a:chExt cx="73294" cy="245530"/>
            </a:xfrm>
            <a:solidFill>
              <a:srgbClr val="F46F25">
                <a:lumMod val="40000"/>
                <a:lumOff val="60000"/>
              </a:srgbClr>
            </a:solidFill>
          </p:grpSpPr>
          <p:sp>
            <p:nvSpPr>
              <p:cNvPr id="49" name="任意多边形: 形状 67"/>
              <p:cNvSpPr/>
              <p:nvPr/>
            </p:nvSpPr>
            <p:spPr>
              <a:xfrm>
                <a:off x="8150616" y="5249267"/>
                <a:ext cx="73294" cy="52744"/>
              </a:xfrm>
              <a:custGeom>
                <a:avLst/>
                <a:gdLst>
                  <a:gd name="connsiteX0" fmla="*/ 28551 w 73294"/>
                  <a:gd name="connsiteY0" fmla="*/ 52745 h 52744"/>
                  <a:gd name="connsiteX1" fmla="*/ 22836 w 73294"/>
                  <a:gd name="connsiteY1" fmla="*/ 50363 h 52744"/>
                  <a:gd name="connsiteX2" fmla="*/ 2357 w 73294"/>
                  <a:gd name="connsiteY2" fmla="*/ 29885 h 52744"/>
                  <a:gd name="connsiteX3" fmla="*/ 2357 w 73294"/>
                  <a:gd name="connsiteY3" fmla="*/ 18359 h 52744"/>
                  <a:gd name="connsiteX4" fmla="*/ 13883 w 73294"/>
                  <a:gd name="connsiteY4" fmla="*/ 18359 h 52744"/>
                  <a:gd name="connsiteX5" fmla="*/ 28646 w 73294"/>
                  <a:gd name="connsiteY5" fmla="*/ 33123 h 52744"/>
                  <a:gd name="connsiteX6" fmla="*/ 59412 w 73294"/>
                  <a:gd name="connsiteY6" fmla="*/ 2357 h 52744"/>
                  <a:gd name="connsiteX7" fmla="*/ 70937 w 73294"/>
                  <a:gd name="connsiteY7" fmla="*/ 2357 h 52744"/>
                  <a:gd name="connsiteX8" fmla="*/ 70937 w 73294"/>
                  <a:gd name="connsiteY8" fmla="*/ 13883 h 52744"/>
                  <a:gd name="connsiteX9" fmla="*/ 34361 w 73294"/>
                  <a:gd name="connsiteY9" fmla="*/ 50459 h 52744"/>
                  <a:gd name="connsiteX10" fmla="*/ 28551 w 73294"/>
                  <a:gd name="connsiteY10" fmla="*/ 52745 h 52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3294" h="52744">
                    <a:moveTo>
                      <a:pt x="28551" y="52745"/>
                    </a:moveTo>
                    <a:cubicBezTo>
                      <a:pt x="26456" y="52745"/>
                      <a:pt x="24360" y="51983"/>
                      <a:pt x="22836" y="50363"/>
                    </a:cubicBezTo>
                    <a:lnTo>
                      <a:pt x="2357" y="29885"/>
                    </a:lnTo>
                    <a:cubicBezTo>
                      <a:pt x="-786" y="26741"/>
                      <a:pt x="-786" y="21503"/>
                      <a:pt x="2357" y="18359"/>
                    </a:cubicBezTo>
                    <a:cubicBezTo>
                      <a:pt x="5501" y="15216"/>
                      <a:pt x="10739" y="15216"/>
                      <a:pt x="13883" y="18359"/>
                    </a:cubicBezTo>
                    <a:lnTo>
                      <a:pt x="28646" y="33123"/>
                    </a:lnTo>
                    <a:lnTo>
                      <a:pt x="59412" y="2357"/>
                    </a:lnTo>
                    <a:cubicBezTo>
                      <a:pt x="62555" y="-786"/>
                      <a:pt x="67794" y="-786"/>
                      <a:pt x="70937" y="2357"/>
                    </a:cubicBezTo>
                    <a:cubicBezTo>
                      <a:pt x="74081" y="5501"/>
                      <a:pt x="74081" y="10739"/>
                      <a:pt x="70937" y="13883"/>
                    </a:cubicBezTo>
                    <a:lnTo>
                      <a:pt x="34361" y="50459"/>
                    </a:lnTo>
                    <a:cubicBezTo>
                      <a:pt x="32647" y="51983"/>
                      <a:pt x="30647" y="52745"/>
                      <a:pt x="28551" y="52745"/>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000000"/>
                  </a:solidFill>
                  <a:effectLst/>
                  <a:uLnTx/>
                  <a:uFillTx/>
                  <a:latin typeface="等线" panose="020F0502020204030204"/>
                  <a:ea typeface="等线" panose="02010600030101010101" pitchFamily="2" charset="-122"/>
                  <a:cs typeface="+mn-cs"/>
                </a:endParaRPr>
              </a:p>
            </p:txBody>
          </p:sp>
          <p:sp>
            <p:nvSpPr>
              <p:cNvPr id="50" name="任意多边形: 形状 70"/>
              <p:cNvSpPr/>
              <p:nvPr/>
            </p:nvSpPr>
            <p:spPr>
              <a:xfrm>
                <a:off x="8150616" y="5345660"/>
                <a:ext cx="73294" cy="52744"/>
              </a:xfrm>
              <a:custGeom>
                <a:avLst/>
                <a:gdLst>
                  <a:gd name="connsiteX0" fmla="*/ 28551 w 73294"/>
                  <a:gd name="connsiteY0" fmla="*/ 52745 h 52744"/>
                  <a:gd name="connsiteX1" fmla="*/ 22836 w 73294"/>
                  <a:gd name="connsiteY1" fmla="*/ 50363 h 52744"/>
                  <a:gd name="connsiteX2" fmla="*/ 2357 w 73294"/>
                  <a:gd name="connsiteY2" fmla="*/ 29885 h 52744"/>
                  <a:gd name="connsiteX3" fmla="*/ 2357 w 73294"/>
                  <a:gd name="connsiteY3" fmla="*/ 18359 h 52744"/>
                  <a:gd name="connsiteX4" fmla="*/ 13883 w 73294"/>
                  <a:gd name="connsiteY4" fmla="*/ 18359 h 52744"/>
                  <a:gd name="connsiteX5" fmla="*/ 28646 w 73294"/>
                  <a:gd name="connsiteY5" fmla="*/ 33123 h 52744"/>
                  <a:gd name="connsiteX6" fmla="*/ 59412 w 73294"/>
                  <a:gd name="connsiteY6" fmla="*/ 2357 h 52744"/>
                  <a:gd name="connsiteX7" fmla="*/ 70937 w 73294"/>
                  <a:gd name="connsiteY7" fmla="*/ 2357 h 52744"/>
                  <a:gd name="connsiteX8" fmla="*/ 70937 w 73294"/>
                  <a:gd name="connsiteY8" fmla="*/ 13883 h 52744"/>
                  <a:gd name="connsiteX9" fmla="*/ 34361 w 73294"/>
                  <a:gd name="connsiteY9" fmla="*/ 50459 h 52744"/>
                  <a:gd name="connsiteX10" fmla="*/ 28551 w 73294"/>
                  <a:gd name="connsiteY10" fmla="*/ 52745 h 52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3294" h="52744">
                    <a:moveTo>
                      <a:pt x="28551" y="52745"/>
                    </a:moveTo>
                    <a:cubicBezTo>
                      <a:pt x="26456" y="52745"/>
                      <a:pt x="24360" y="51983"/>
                      <a:pt x="22836" y="50363"/>
                    </a:cubicBezTo>
                    <a:lnTo>
                      <a:pt x="2357" y="29885"/>
                    </a:lnTo>
                    <a:cubicBezTo>
                      <a:pt x="-786" y="26741"/>
                      <a:pt x="-786" y="21503"/>
                      <a:pt x="2357" y="18359"/>
                    </a:cubicBezTo>
                    <a:cubicBezTo>
                      <a:pt x="5501" y="15216"/>
                      <a:pt x="10739" y="15216"/>
                      <a:pt x="13883" y="18359"/>
                    </a:cubicBezTo>
                    <a:lnTo>
                      <a:pt x="28646" y="33123"/>
                    </a:lnTo>
                    <a:lnTo>
                      <a:pt x="59412" y="2357"/>
                    </a:lnTo>
                    <a:cubicBezTo>
                      <a:pt x="62555" y="-786"/>
                      <a:pt x="67794" y="-786"/>
                      <a:pt x="70937" y="2357"/>
                    </a:cubicBezTo>
                    <a:cubicBezTo>
                      <a:pt x="74081" y="5501"/>
                      <a:pt x="74081" y="10739"/>
                      <a:pt x="70937" y="13883"/>
                    </a:cubicBezTo>
                    <a:lnTo>
                      <a:pt x="34361" y="50459"/>
                    </a:lnTo>
                    <a:cubicBezTo>
                      <a:pt x="32647" y="51983"/>
                      <a:pt x="30647" y="52745"/>
                      <a:pt x="28551" y="52745"/>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000000"/>
                  </a:solidFill>
                  <a:effectLst/>
                  <a:uLnTx/>
                  <a:uFillTx/>
                  <a:latin typeface="等线" panose="020F0502020204030204"/>
                  <a:ea typeface="等线" panose="02010600030101010101" pitchFamily="2" charset="-122"/>
                  <a:cs typeface="+mn-cs"/>
                </a:endParaRPr>
              </a:p>
            </p:txBody>
          </p:sp>
          <p:sp>
            <p:nvSpPr>
              <p:cNvPr id="51" name="任意多边形: 形状 73"/>
              <p:cNvSpPr/>
              <p:nvPr/>
            </p:nvSpPr>
            <p:spPr>
              <a:xfrm>
                <a:off x="8150616" y="5442053"/>
                <a:ext cx="73294" cy="52744"/>
              </a:xfrm>
              <a:custGeom>
                <a:avLst/>
                <a:gdLst>
                  <a:gd name="connsiteX0" fmla="*/ 28551 w 73294"/>
                  <a:gd name="connsiteY0" fmla="*/ 52745 h 52744"/>
                  <a:gd name="connsiteX1" fmla="*/ 22836 w 73294"/>
                  <a:gd name="connsiteY1" fmla="*/ 50363 h 52744"/>
                  <a:gd name="connsiteX2" fmla="*/ 2357 w 73294"/>
                  <a:gd name="connsiteY2" fmla="*/ 29885 h 52744"/>
                  <a:gd name="connsiteX3" fmla="*/ 2357 w 73294"/>
                  <a:gd name="connsiteY3" fmla="*/ 18359 h 52744"/>
                  <a:gd name="connsiteX4" fmla="*/ 13883 w 73294"/>
                  <a:gd name="connsiteY4" fmla="*/ 18359 h 52744"/>
                  <a:gd name="connsiteX5" fmla="*/ 28646 w 73294"/>
                  <a:gd name="connsiteY5" fmla="*/ 33123 h 52744"/>
                  <a:gd name="connsiteX6" fmla="*/ 59412 w 73294"/>
                  <a:gd name="connsiteY6" fmla="*/ 2357 h 52744"/>
                  <a:gd name="connsiteX7" fmla="*/ 70937 w 73294"/>
                  <a:gd name="connsiteY7" fmla="*/ 2357 h 52744"/>
                  <a:gd name="connsiteX8" fmla="*/ 70937 w 73294"/>
                  <a:gd name="connsiteY8" fmla="*/ 13883 h 52744"/>
                  <a:gd name="connsiteX9" fmla="*/ 34361 w 73294"/>
                  <a:gd name="connsiteY9" fmla="*/ 50459 h 52744"/>
                  <a:gd name="connsiteX10" fmla="*/ 28551 w 73294"/>
                  <a:gd name="connsiteY10" fmla="*/ 52745 h 52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3294" h="52744">
                    <a:moveTo>
                      <a:pt x="28551" y="52745"/>
                    </a:moveTo>
                    <a:cubicBezTo>
                      <a:pt x="26456" y="52745"/>
                      <a:pt x="24360" y="51983"/>
                      <a:pt x="22836" y="50363"/>
                    </a:cubicBezTo>
                    <a:lnTo>
                      <a:pt x="2357" y="29885"/>
                    </a:lnTo>
                    <a:cubicBezTo>
                      <a:pt x="-786" y="26741"/>
                      <a:pt x="-786" y="21503"/>
                      <a:pt x="2357" y="18359"/>
                    </a:cubicBezTo>
                    <a:cubicBezTo>
                      <a:pt x="5501" y="15216"/>
                      <a:pt x="10739" y="15216"/>
                      <a:pt x="13883" y="18359"/>
                    </a:cubicBezTo>
                    <a:lnTo>
                      <a:pt x="28646" y="33123"/>
                    </a:lnTo>
                    <a:lnTo>
                      <a:pt x="59412" y="2357"/>
                    </a:lnTo>
                    <a:cubicBezTo>
                      <a:pt x="62555" y="-786"/>
                      <a:pt x="67794" y="-786"/>
                      <a:pt x="70937" y="2357"/>
                    </a:cubicBezTo>
                    <a:cubicBezTo>
                      <a:pt x="74081" y="5501"/>
                      <a:pt x="74081" y="10739"/>
                      <a:pt x="70937" y="13883"/>
                    </a:cubicBezTo>
                    <a:lnTo>
                      <a:pt x="34361" y="50459"/>
                    </a:lnTo>
                    <a:cubicBezTo>
                      <a:pt x="32647" y="51983"/>
                      <a:pt x="30647" y="52745"/>
                      <a:pt x="28551" y="52745"/>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000000"/>
                  </a:solidFill>
                  <a:effectLst/>
                  <a:uLnTx/>
                  <a:uFillTx/>
                  <a:latin typeface="等线" panose="020F0502020204030204"/>
                  <a:ea typeface="等线" panose="02010600030101010101" pitchFamily="2" charset="-122"/>
                  <a:cs typeface="+mn-cs"/>
                </a:endParaRPr>
              </a:p>
            </p:txBody>
          </p:sp>
        </p:grpSp>
        <p:sp>
          <p:nvSpPr>
            <p:cNvPr id="44" name="任意多边形: 形状 74"/>
            <p:cNvSpPr/>
            <p:nvPr/>
          </p:nvSpPr>
          <p:spPr>
            <a:xfrm rot="18397686">
              <a:off x="8482418" y="5141469"/>
              <a:ext cx="52862" cy="36955"/>
            </a:xfrm>
            <a:custGeom>
              <a:avLst/>
              <a:gdLst>
                <a:gd name="connsiteX0" fmla="*/ 0 w 52862"/>
                <a:gd name="connsiteY0" fmla="*/ 0 h 36955"/>
                <a:gd name="connsiteX1" fmla="*/ 52862 w 52862"/>
                <a:gd name="connsiteY1" fmla="*/ 0 h 36955"/>
                <a:gd name="connsiteX2" fmla="*/ 52862 w 52862"/>
                <a:gd name="connsiteY2" fmla="*/ 36956 h 36955"/>
                <a:gd name="connsiteX3" fmla="*/ 0 w 52862"/>
                <a:gd name="connsiteY3" fmla="*/ 36956 h 36955"/>
              </a:gdLst>
              <a:ahLst/>
              <a:cxnLst>
                <a:cxn ang="0">
                  <a:pos x="connsiteX0" y="connsiteY0"/>
                </a:cxn>
                <a:cxn ang="0">
                  <a:pos x="connsiteX1" y="connsiteY1"/>
                </a:cxn>
                <a:cxn ang="0">
                  <a:pos x="connsiteX2" y="connsiteY2"/>
                </a:cxn>
                <a:cxn ang="0">
                  <a:pos x="connsiteX3" y="connsiteY3"/>
                </a:cxn>
              </a:cxnLst>
              <a:rect l="l" t="t" r="r" b="b"/>
              <a:pathLst>
                <a:path w="52862" h="36955">
                  <a:moveTo>
                    <a:pt x="0" y="0"/>
                  </a:moveTo>
                  <a:lnTo>
                    <a:pt x="52862" y="0"/>
                  </a:lnTo>
                  <a:lnTo>
                    <a:pt x="52862" y="36956"/>
                  </a:lnTo>
                  <a:lnTo>
                    <a:pt x="0" y="36956"/>
                  </a:lnTo>
                  <a:close/>
                </a:path>
              </a:pathLst>
            </a:custGeom>
            <a:solidFill>
              <a:srgbClr val="F46F25">
                <a:lumMod val="20000"/>
                <a:lumOff val="80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000000"/>
                </a:solidFill>
                <a:effectLst/>
                <a:uLnTx/>
                <a:uFillTx/>
                <a:latin typeface="等线" panose="020F0502020204030204"/>
                <a:ea typeface="等线" panose="02010600030101010101" pitchFamily="2" charset="-122"/>
                <a:cs typeface="+mn-cs"/>
              </a:endParaRPr>
            </a:p>
          </p:txBody>
        </p:sp>
        <p:sp>
          <p:nvSpPr>
            <p:cNvPr id="45" name="任意多边形: 形状 75"/>
            <p:cNvSpPr/>
            <p:nvPr/>
          </p:nvSpPr>
          <p:spPr>
            <a:xfrm>
              <a:off x="8277941" y="5164829"/>
              <a:ext cx="247935" cy="305679"/>
            </a:xfrm>
            <a:custGeom>
              <a:avLst/>
              <a:gdLst>
                <a:gd name="connsiteX0" fmla="*/ 199930 w 247935"/>
                <a:gd name="connsiteY0" fmla="*/ 2309 h 305679"/>
                <a:gd name="connsiteX1" fmla="*/ 247936 w 247935"/>
                <a:gd name="connsiteY1" fmla="*/ 6881 h 305679"/>
                <a:gd name="connsiteX2" fmla="*/ 90107 w 247935"/>
                <a:gd name="connsiteY2" fmla="*/ 219098 h 305679"/>
                <a:gd name="connsiteX3" fmla="*/ 0 w 247935"/>
                <a:gd name="connsiteY3" fmla="*/ 305680 h 305679"/>
                <a:gd name="connsiteX4" fmla="*/ 0 w 247935"/>
                <a:gd name="connsiteY4" fmla="*/ 305680 h 305679"/>
                <a:gd name="connsiteX5" fmla="*/ 0 w 247935"/>
                <a:gd name="connsiteY5" fmla="*/ 305680 h 305679"/>
                <a:gd name="connsiteX6" fmla="*/ 56960 w 247935"/>
                <a:gd name="connsiteY6" fmla="*/ 194523 h 305679"/>
                <a:gd name="connsiteX7" fmla="*/ 199930 w 247935"/>
                <a:gd name="connsiteY7" fmla="*/ 2309 h 305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7935" h="305679">
                  <a:moveTo>
                    <a:pt x="199930" y="2309"/>
                  </a:moveTo>
                  <a:cubicBezTo>
                    <a:pt x="219551" y="-4835"/>
                    <a:pt x="247936" y="6881"/>
                    <a:pt x="247936" y="6881"/>
                  </a:cubicBezTo>
                  <a:lnTo>
                    <a:pt x="90107" y="219098"/>
                  </a:lnTo>
                  <a:cubicBezTo>
                    <a:pt x="65056" y="252721"/>
                    <a:pt x="34671" y="281963"/>
                    <a:pt x="0" y="305680"/>
                  </a:cubicBezTo>
                  <a:lnTo>
                    <a:pt x="0" y="305680"/>
                  </a:lnTo>
                  <a:lnTo>
                    <a:pt x="0" y="305680"/>
                  </a:lnTo>
                  <a:cubicBezTo>
                    <a:pt x="12668" y="265675"/>
                    <a:pt x="31909" y="228146"/>
                    <a:pt x="56960" y="194523"/>
                  </a:cubicBezTo>
                  <a:lnTo>
                    <a:pt x="199930" y="2309"/>
                  </a:lnTo>
                  <a:close/>
                </a:path>
              </a:pathLst>
            </a:custGeom>
            <a:solidFill>
              <a:srgbClr val="F46F25">
                <a:lumMod val="60000"/>
                <a:lumOff val="40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000000"/>
                </a:solidFill>
                <a:effectLst/>
                <a:uLnTx/>
                <a:uFillTx/>
                <a:latin typeface="等线" panose="020F0502020204030204"/>
                <a:ea typeface="等线" panose="02010600030101010101" pitchFamily="2" charset="-122"/>
                <a:cs typeface="+mn-cs"/>
              </a:endParaRPr>
            </a:p>
          </p:txBody>
        </p:sp>
        <p:sp>
          <p:nvSpPr>
            <p:cNvPr id="46" name="任意多边形: 形状 76"/>
            <p:cNvSpPr/>
            <p:nvPr/>
          </p:nvSpPr>
          <p:spPr>
            <a:xfrm rot="18397686">
              <a:off x="8348120" y="5330727"/>
              <a:ext cx="36955" cy="41241"/>
            </a:xfrm>
            <a:custGeom>
              <a:avLst/>
              <a:gdLst>
                <a:gd name="connsiteX0" fmla="*/ 0 w 36955"/>
                <a:gd name="connsiteY0" fmla="*/ 0 h 41241"/>
                <a:gd name="connsiteX1" fmla="*/ 36956 w 36955"/>
                <a:gd name="connsiteY1" fmla="*/ 0 h 41241"/>
                <a:gd name="connsiteX2" fmla="*/ 36956 w 36955"/>
                <a:gd name="connsiteY2" fmla="*/ 41242 h 41241"/>
                <a:gd name="connsiteX3" fmla="*/ 0 w 36955"/>
                <a:gd name="connsiteY3" fmla="*/ 41242 h 41241"/>
              </a:gdLst>
              <a:ahLst/>
              <a:cxnLst>
                <a:cxn ang="0">
                  <a:pos x="connsiteX0" y="connsiteY0"/>
                </a:cxn>
                <a:cxn ang="0">
                  <a:pos x="connsiteX1" y="connsiteY1"/>
                </a:cxn>
                <a:cxn ang="0">
                  <a:pos x="connsiteX2" y="connsiteY2"/>
                </a:cxn>
                <a:cxn ang="0">
                  <a:pos x="connsiteX3" y="connsiteY3"/>
                </a:cxn>
              </a:cxnLst>
              <a:rect l="l" t="t" r="r" b="b"/>
              <a:pathLst>
                <a:path w="36955" h="41241">
                  <a:moveTo>
                    <a:pt x="0" y="0"/>
                  </a:moveTo>
                  <a:lnTo>
                    <a:pt x="36956" y="0"/>
                  </a:lnTo>
                  <a:lnTo>
                    <a:pt x="36956" y="41242"/>
                  </a:lnTo>
                  <a:lnTo>
                    <a:pt x="0" y="41242"/>
                  </a:lnTo>
                  <a:close/>
                </a:path>
              </a:pathLst>
            </a:custGeom>
            <a:solidFill>
              <a:srgbClr val="F46F25">
                <a:lumMod val="20000"/>
                <a:lumOff val="80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000000"/>
                </a:solidFill>
                <a:effectLst/>
                <a:uLnTx/>
                <a:uFillTx/>
                <a:latin typeface="等线" panose="020F0502020204030204"/>
                <a:ea typeface="等线" panose="02010600030101010101" pitchFamily="2" charset="-122"/>
                <a:cs typeface="+mn-cs"/>
              </a:endParaRPr>
            </a:p>
          </p:txBody>
        </p:sp>
        <p:sp>
          <p:nvSpPr>
            <p:cNvPr id="47" name="任意多边形: 形状 77"/>
            <p:cNvSpPr/>
            <p:nvPr/>
          </p:nvSpPr>
          <p:spPr>
            <a:xfrm>
              <a:off x="8515781" y="5113135"/>
              <a:ext cx="30665" cy="32189"/>
            </a:xfrm>
            <a:custGeom>
              <a:avLst/>
              <a:gdLst>
                <a:gd name="connsiteX0" fmla="*/ 0 w 30665"/>
                <a:gd name="connsiteY0" fmla="*/ 18950 h 32189"/>
                <a:gd name="connsiteX1" fmla="*/ 17717 w 30665"/>
                <a:gd name="connsiteY1" fmla="*/ 32190 h 32189"/>
                <a:gd name="connsiteX2" fmla="*/ 28480 w 30665"/>
                <a:gd name="connsiteY2" fmla="*/ 17616 h 32189"/>
                <a:gd name="connsiteX3" fmla="*/ 26194 w 30665"/>
                <a:gd name="connsiteY3" fmla="*/ 2186 h 32189"/>
                <a:gd name="connsiteX4" fmla="*/ 26194 w 30665"/>
                <a:gd name="connsiteY4" fmla="*/ 2186 h 32189"/>
                <a:gd name="connsiteX5" fmla="*/ 10763 w 30665"/>
                <a:gd name="connsiteY5" fmla="*/ 4472 h 32189"/>
                <a:gd name="connsiteX6" fmla="*/ 0 w 30665"/>
                <a:gd name="connsiteY6" fmla="*/ 18950 h 3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665" h="32189">
                  <a:moveTo>
                    <a:pt x="0" y="18950"/>
                  </a:moveTo>
                  <a:lnTo>
                    <a:pt x="17717" y="32190"/>
                  </a:lnTo>
                  <a:lnTo>
                    <a:pt x="28480" y="17616"/>
                  </a:lnTo>
                  <a:cubicBezTo>
                    <a:pt x="32099" y="12759"/>
                    <a:pt x="31147" y="5805"/>
                    <a:pt x="26194" y="2186"/>
                  </a:cubicBezTo>
                  <a:lnTo>
                    <a:pt x="26194" y="2186"/>
                  </a:lnTo>
                  <a:cubicBezTo>
                    <a:pt x="21336" y="-1434"/>
                    <a:pt x="14383" y="-481"/>
                    <a:pt x="10763" y="4472"/>
                  </a:cubicBezTo>
                  <a:lnTo>
                    <a:pt x="0" y="18950"/>
                  </a:lnTo>
                  <a:close/>
                </a:path>
              </a:pathLst>
            </a:custGeom>
            <a:solidFill>
              <a:srgbClr val="F46F25">
                <a:lumMod val="60000"/>
                <a:lumOff val="40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000000"/>
                </a:solidFill>
                <a:effectLst/>
                <a:uLnTx/>
                <a:uFillTx/>
                <a:latin typeface="等线" panose="020F0502020204030204"/>
                <a:ea typeface="等线" panose="02010600030101010101" pitchFamily="2" charset="-122"/>
                <a:cs typeface="+mn-cs"/>
              </a:endParaRPr>
            </a:p>
          </p:txBody>
        </p:sp>
        <p:sp>
          <p:nvSpPr>
            <p:cNvPr id="48" name="任意多边形: 形状 78"/>
            <p:cNvSpPr/>
            <p:nvPr/>
          </p:nvSpPr>
          <p:spPr>
            <a:xfrm>
              <a:off x="8428843" y="5130587"/>
              <a:ext cx="82556" cy="87008"/>
            </a:xfrm>
            <a:custGeom>
              <a:avLst/>
              <a:gdLst>
                <a:gd name="connsiteX0" fmla="*/ 82556 w 82556"/>
                <a:gd name="connsiteY0" fmla="*/ 14262 h 87008"/>
                <a:gd name="connsiteX1" fmla="*/ 76936 w 82556"/>
                <a:gd name="connsiteY1" fmla="*/ 21787 h 87008"/>
                <a:gd name="connsiteX2" fmla="*/ 62649 w 82556"/>
                <a:gd name="connsiteY2" fmla="*/ 11119 h 87008"/>
                <a:gd name="connsiteX3" fmla="*/ 19215 w 82556"/>
                <a:gd name="connsiteY3" fmla="*/ 66173 h 87008"/>
                <a:gd name="connsiteX4" fmla="*/ 16738 w 82556"/>
                <a:gd name="connsiteY4" fmla="*/ 80080 h 87008"/>
                <a:gd name="connsiteX5" fmla="*/ 1879 w 82556"/>
                <a:gd name="connsiteY5" fmla="*/ 85128 h 87008"/>
                <a:gd name="connsiteX6" fmla="*/ 1879 w 82556"/>
                <a:gd name="connsiteY6" fmla="*/ 85128 h 87008"/>
                <a:gd name="connsiteX7" fmla="*/ 1879 w 82556"/>
                <a:gd name="connsiteY7" fmla="*/ 85128 h 87008"/>
                <a:gd name="connsiteX8" fmla="*/ 927 w 82556"/>
                <a:gd name="connsiteY8" fmla="*/ 78556 h 87008"/>
                <a:gd name="connsiteX9" fmla="*/ 57982 w 82556"/>
                <a:gd name="connsiteY9" fmla="*/ 1879 h 87008"/>
                <a:gd name="connsiteX10" fmla="*/ 64554 w 82556"/>
                <a:gd name="connsiteY10" fmla="*/ 927 h 87008"/>
                <a:gd name="connsiteX11" fmla="*/ 82556 w 82556"/>
                <a:gd name="connsiteY11" fmla="*/ 14262 h 87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2556" h="87008">
                  <a:moveTo>
                    <a:pt x="82556" y="14262"/>
                  </a:moveTo>
                  <a:lnTo>
                    <a:pt x="76936" y="21787"/>
                  </a:lnTo>
                  <a:lnTo>
                    <a:pt x="62649" y="11119"/>
                  </a:lnTo>
                  <a:lnTo>
                    <a:pt x="19215" y="66173"/>
                  </a:lnTo>
                  <a:cubicBezTo>
                    <a:pt x="23215" y="70650"/>
                    <a:pt x="20453" y="75031"/>
                    <a:pt x="16738" y="80080"/>
                  </a:cubicBezTo>
                  <a:cubicBezTo>
                    <a:pt x="12452" y="85795"/>
                    <a:pt x="7594" y="89414"/>
                    <a:pt x="1879" y="85128"/>
                  </a:cubicBezTo>
                  <a:lnTo>
                    <a:pt x="1879" y="85128"/>
                  </a:lnTo>
                  <a:lnTo>
                    <a:pt x="1879" y="85128"/>
                  </a:lnTo>
                  <a:cubicBezTo>
                    <a:pt x="-216" y="83604"/>
                    <a:pt x="-597" y="80651"/>
                    <a:pt x="927" y="78556"/>
                  </a:cubicBezTo>
                  <a:lnTo>
                    <a:pt x="57982" y="1879"/>
                  </a:lnTo>
                  <a:cubicBezTo>
                    <a:pt x="59506" y="-216"/>
                    <a:pt x="62458" y="-597"/>
                    <a:pt x="64554" y="927"/>
                  </a:cubicBezTo>
                  <a:lnTo>
                    <a:pt x="82556" y="14262"/>
                  </a:lnTo>
                  <a:close/>
                </a:path>
              </a:pathLst>
            </a:custGeom>
            <a:solidFill>
              <a:srgbClr val="F46F25">
                <a:lumMod val="20000"/>
                <a:lumOff val="80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000000"/>
                </a:solidFill>
                <a:effectLst/>
                <a:uLnTx/>
                <a:uFillTx/>
                <a:latin typeface="等线" panose="020F0502020204030204"/>
                <a:ea typeface="等线" panose="02010600030101010101" pitchFamily="2" charset="-122"/>
                <a:cs typeface="+mn-cs"/>
              </a:endParaRPr>
            </a:p>
          </p:txBody>
        </p:sp>
      </p:grpSp>
      <p:sp>
        <p:nvSpPr>
          <p:cNvPr id="52" name="文本框 51"/>
          <p:cNvSpPr txBox="1"/>
          <p:nvPr/>
        </p:nvSpPr>
        <p:spPr>
          <a:xfrm>
            <a:off x="2260047" y="1498245"/>
            <a:ext cx="4902237" cy="1057066"/>
          </a:xfrm>
          <a:prstGeom prst="rect">
            <a:avLst/>
          </a:prstGeom>
        </p:spPr>
        <p:txBody>
          <a:bodyPr vert="horz" wrap="square" lIns="91440" tIns="45720" rIns="91440" bIns="45720" rtlCol="0">
            <a:noAutofit/>
          </a:bodyPr>
          <a:lstStyle/>
          <a:p>
            <a:pPr marL="106045" marR="0" lvl="0" indent="0" algn="l" defTabSz="914400" rtl="0" eaLnBrk="1" fontAlgn="auto" latinLnBrk="0" hangingPunct="1">
              <a:lnSpc>
                <a:spcPct val="300000"/>
              </a:lnSpc>
              <a:spcBef>
                <a:spcPts val="0"/>
              </a:spcBef>
              <a:spcAft>
                <a:spcPts val="0"/>
              </a:spcAft>
              <a:buClrTx/>
              <a:buSzTx/>
              <a:buFontTx/>
              <a:buNone/>
              <a:defRPr/>
            </a:pPr>
            <a:r>
              <a:rPr lang="en-US" altLang="zh-CN" sz="2800" b="1" dirty="0">
                <a:solidFill>
                  <a:srgbClr val="F05A23"/>
                </a:solidFill>
                <a:latin typeface="Abadi" panose="020B0604020104020204" pitchFamily="34" charset="0"/>
                <a:ea typeface="楷体" panose="02010609060101010101" pitchFamily="49" charset="-122"/>
              </a:rPr>
              <a:t>XXX</a:t>
            </a:r>
            <a:endParaRPr kumimoji="0" lang="en-US" altLang="zh-CN" sz="2800" b="1" i="0" u="none" strike="noStrike" kern="1200" cap="none" spc="0" normalizeH="0" baseline="0" noProof="0" dirty="0">
              <a:ln>
                <a:noFill/>
              </a:ln>
              <a:solidFill>
                <a:srgbClr val="F05A23"/>
              </a:solidFill>
              <a:effectLst/>
              <a:uLnTx/>
              <a:uFillTx/>
              <a:latin typeface="楷体" panose="02010609060101010101" pitchFamily="49" charset="-122"/>
              <a:ea typeface="楷体" panose="02010609060101010101" pitchFamily="49" charset="-122"/>
              <a:cs typeface="+mn-cs"/>
            </a:endParaRPr>
          </a:p>
        </p:txBody>
      </p:sp>
      <p:sp>
        <p:nvSpPr>
          <p:cNvPr id="53" name="文本框 52"/>
          <p:cNvSpPr txBox="1"/>
          <p:nvPr/>
        </p:nvSpPr>
        <p:spPr>
          <a:xfrm>
            <a:off x="2294991" y="2738413"/>
            <a:ext cx="6094926" cy="1148712"/>
          </a:xfrm>
          <a:prstGeom prst="rect">
            <a:avLst/>
          </a:prstGeom>
          <a:noFill/>
        </p:spPr>
        <p:txBody>
          <a:bodyPr wrap="square">
            <a:spAutoFit/>
          </a:bodyPr>
          <a:lstStyle/>
          <a:p>
            <a:pPr marL="106045" marR="0" lvl="0" indent="0" algn="l" defTabSz="914400" rtl="0" eaLnBrk="1" fontAlgn="auto" latinLnBrk="0" hangingPunct="1">
              <a:lnSpc>
                <a:spcPct val="300000"/>
              </a:lnSpc>
              <a:spcBef>
                <a:spcPts val="0"/>
              </a:spcBef>
              <a:spcAft>
                <a:spcPts val="0"/>
              </a:spcAft>
              <a:buClrTx/>
              <a:buSzTx/>
              <a:buFontTx/>
              <a:buNone/>
              <a:defRPr/>
            </a:pPr>
            <a:r>
              <a:rPr lang="en-US" altLang="zh-CN" sz="2800" b="1" dirty="0">
                <a:solidFill>
                  <a:srgbClr val="F05A23"/>
                </a:solidFill>
                <a:latin typeface="Abadi" panose="020B0604020104020204" pitchFamily="34" charset="0"/>
                <a:ea typeface="楷体" panose="02010609060101010101" pitchFamily="49" charset="-122"/>
              </a:rPr>
              <a:t>XXX</a:t>
            </a:r>
            <a:endParaRPr kumimoji="0" lang="en-US" altLang="zh-CN" sz="2800" b="1" i="0" u="none" strike="noStrike" kern="1200" cap="none" spc="0" normalizeH="0" baseline="0" noProof="0" dirty="0">
              <a:ln>
                <a:noFill/>
              </a:ln>
              <a:solidFill>
                <a:srgbClr val="F46F25"/>
              </a:solidFill>
              <a:effectLst/>
              <a:uLnTx/>
              <a:uFillTx/>
              <a:latin typeface="楷体" panose="02010609060101010101" pitchFamily="49" charset="-122"/>
              <a:ea typeface="楷体" panose="02010609060101010101" pitchFamily="49" charset="-122"/>
              <a:cs typeface="+mn-cs"/>
            </a:endParaRPr>
          </a:p>
        </p:txBody>
      </p:sp>
      <p:pic>
        <p:nvPicPr>
          <p:cNvPr id="54" name="图片 53"/>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10070200" y="299594"/>
            <a:ext cx="1837445" cy="501494"/>
          </a:xfrm>
          <a:prstGeom prst="rect">
            <a:avLst/>
          </a:prstGeom>
        </p:spPr>
      </p:pic>
      <p:sp>
        <p:nvSpPr>
          <p:cNvPr id="2" name="椭圆 1" descr="e7d195523061f1c074694c8bbf98be7b1e4b015d796375963FD28840057458461C7CA0DAD340D15583DEDFC2E3241C4F392EF3A8B4D067B40CF4F149DD7E51F346B0CAB1BCCF6DB2480C67273C6C9E4C189104F717183E94087134205FA50CFF5631A9B2F1EA4298D25FAC7AC4DB9234F95EB2B78EB4FB73D2644FC933C824692AC31DF40D3E73DF"/>
          <p:cNvSpPr/>
          <p:nvPr/>
        </p:nvSpPr>
        <p:spPr>
          <a:xfrm>
            <a:off x="1071136" y="4329902"/>
            <a:ext cx="976842" cy="976842"/>
          </a:xfrm>
          <a:prstGeom prst="ellipse">
            <a:avLst/>
          </a:prstGeom>
          <a:gradFill flip="none" rotWithShape="1">
            <a:gsLst>
              <a:gs pos="100000">
                <a:srgbClr val="FFFFFF">
                  <a:lumMod val="100000"/>
                </a:srgbClr>
              </a:gs>
              <a:gs pos="0">
                <a:srgbClr val="FFFFFF">
                  <a:lumMod val="92000"/>
                </a:srgbClr>
              </a:gs>
            </a:gsLst>
            <a:lin ang="3000000" scaled="0"/>
            <a:tileRect/>
          </a:gradFill>
          <a:ln w="25400" cap="flat" cmpd="sng" algn="ctr">
            <a:gradFill flip="none" rotWithShape="1">
              <a:gsLst>
                <a:gs pos="0">
                  <a:srgbClr val="FFFFFF"/>
                </a:gs>
                <a:gs pos="100000">
                  <a:srgbClr val="FFFFFF">
                    <a:alpha val="0"/>
                  </a:srgbClr>
                </a:gs>
              </a:gsLst>
              <a:lin ang="1800000" scaled="0"/>
              <a:tileRect/>
            </a:gradFill>
            <a:prstDash val="solid"/>
            <a:miter lim="800000"/>
          </a:ln>
          <a:effectLst>
            <a:outerShdw blurRad="203200" dist="114300" dir="2700000" algn="tl" rotWithShape="0">
              <a:prstClr val="black">
                <a:alpha val="2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2800" b="1" i="0" u="none" strike="noStrike" kern="0" cap="none" spc="0" normalizeH="0" baseline="0" noProof="0" dirty="0">
                <a:ln>
                  <a:noFill/>
                </a:ln>
                <a:solidFill>
                  <a:srgbClr val="F46F25"/>
                </a:solidFill>
                <a:effectLst/>
                <a:uLnTx/>
                <a:uFillTx/>
                <a:latin typeface="华文楷体" panose="02010600040101010101" pitchFamily="2" charset="-122"/>
                <a:ea typeface="等线" panose="02010600030101010101" pitchFamily="2" charset="-122"/>
                <a:cs typeface="+mn-cs"/>
              </a:rPr>
              <a:t>3</a:t>
            </a:r>
            <a:endParaRPr kumimoji="0" lang="zh-CN" altLang="en-US" sz="2800" b="1" i="0" u="none" strike="noStrike" kern="0" cap="none" spc="0" normalizeH="0" baseline="0" noProof="0" dirty="0">
              <a:ln>
                <a:noFill/>
              </a:ln>
              <a:solidFill>
                <a:srgbClr val="F46F25"/>
              </a:solidFill>
              <a:effectLst/>
              <a:uLnTx/>
              <a:uFillTx/>
              <a:latin typeface="华文楷体" panose="02010600040101010101" pitchFamily="2" charset="-122"/>
              <a:ea typeface="等线" panose="02010600030101010101" pitchFamily="2" charset="-122"/>
              <a:cs typeface="+mn-cs"/>
            </a:endParaRPr>
          </a:p>
        </p:txBody>
      </p:sp>
      <p:sp>
        <p:nvSpPr>
          <p:cNvPr id="3" name="文本框 2"/>
          <p:cNvSpPr txBox="1"/>
          <p:nvPr/>
        </p:nvSpPr>
        <p:spPr>
          <a:xfrm>
            <a:off x="2327386" y="3957536"/>
            <a:ext cx="6094926" cy="1148712"/>
          </a:xfrm>
          <a:prstGeom prst="rect">
            <a:avLst/>
          </a:prstGeom>
          <a:noFill/>
        </p:spPr>
        <p:txBody>
          <a:bodyPr wrap="square">
            <a:spAutoFit/>
          </a:bodyPr>
          <a:lstStyle/>
          <a:p>
            <a:pPr marL="106045" marR="0" lvl="0" indent="0" algn="l" defTabSz="914400" rtl="0" eaLnBrk="1" fontAlgn="auto" latinLnBrk="0" hangingPunct="1">
              <a:lnSpc>
                <a:spcPct val="300000"/>
              </a:lnSpc>
              <a:spcBef>
                <a:spcPts val="0"/>
              </a:spcBef>
              <a:spcAft>
                <a:spcPts val="0"/>
              </a:spcAft>
              <a:buClrTx/>
              <a:buSzTx/>
              <a:buFontTx/>
              <a:buNone/>
              <a:defRPr/>
            </a:pPr>
            <a:r>
              <a:rPr lang="en-US" altLang="zh-CN" sz="2800" b="1" dirty="0">
                <a:solidFill>
                  <a:srgbClr val="F05A23"/>
                </a:solidFill>
                <a:latin typeface="Abadi" panose="020B0604020104020204" pitchFamily="34" charset="0"/>
                <a:ea typeface="楷体" panose="02010609060101010101" pitchFamily="49" charset="-122"/>
              </a:rPr>
              <a:t>XXX</a:t>
            </a:r>
            <a:endParaRPr kumimoji="0" lang="en-US" altLang="zh-CN" sz="2800" b="1" i="0" u="none" strike="noStrike" kern="1200" cap="none" spc="0" normalizeH="0" baseline="0" noProof="0" dirty="0">
              <a:ln>
                <a:noFill/>
              </a:ln>
              <a:solidFill>
                <a:srgbClr val="F46F25"/>
              </a:solidFill>
              <a:effectLst/>
              <a:uLnTx/>
              <a:uFillTx/>
              <a:latin typeface="楷体" panose="02010609060101010101" pitchFamily="49" charset="-122"/>
              <a:ea typeface="楷体" panose="02010609060101010101" pitchFamily="49" charset="-122"/>
              <a:cs typeface="+mn-cs"/>
            </a:endParaRP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3" name="组合 32"/>
          <p:cNvGrpSpPr/>
          <p:nvPr/>
        </p:nvGrpSpPr>
        <p:grpSpPr>
          <a:xfrm>
            <a:off x="654051" y="1130300"/>
            <a:ext cx="10891551" cy="5003800"/>
            <a:chOff x="654051" y="1130300"/>
            <a:chExt cx="10891550" cy="5003800"/>
          </a:xfrm>
        </p:grpSpPr>
        <p:sp>
          <p:nvSpPr>
            <p:cNvPr id="24" name="任意多边形: 形状 23"/>
            <p:cNvSpPr/>
            <p:nvPr/>
          </p:nvSpPr>
          <p:spPr bwMode="auto">
            <a:xfrm rot="10800000" flipV="1">
              <a:off x="3525502" y="4800624"/>
              <a:ext cx="398188" cy="402612"/>
            </a:xfrm>
            <a:custGeom>
              <a:avLst/>
              <a:gdLst>
                <a:gd name="T0" fmla="*/ 0 w 180"/>
                <a:gd name="T1" fmla="*/ 0 h 182"/>
                <a:gd name="T2" fmla="*/ 180 w 180"/>
                <a:gd name="T3" fmla="*/ 0 h 182"/>
                <a:gd name="T4" fmla="*/ 180 w 180"/>
                <a:gd name="T5" fmla="*/ 182 h 182"/>
                <a:gd name="T6" fmla="*/ 0 w 180"/>
                <a:gd name="T7" fmla="*/ 0 h 182"/>
              </a:gdLst>
              <a:ahLst/>
              <a:cxnLst>
                <a:cxn ang="0">
                  <a:pos x="T0" y="T1"/>
                </a:cxn>
                <a:cxn ang="0">
                  <a:pos x="T2" y="T3"/>
                </a:cxn>
                <a:cxn ang="0">
                  <a:pos x="T4" y="T5"/>
                </a:cxn>
                <a:cxn ang="0">
                  <a:pos x="T6" y="T7"/>
                </a:cxn>
              </a:cxnLst>
              <a:rect l="0" t="0" r="r" b="b"/>
              <a:pathLst>
                <a:path w="180" h="182">
                  <a:moveTo>
                    <a:pt x="0" y="0"/>
                  </a:moveTo>
                  <a:lnTo>
                    <a:pt x="180" y="0"/>
                  </a:lnTo>
                  <a:lnTo>
                    <a:pt x="180" y="182"/>
                  </a:lnTo>
                  <a:lnTo>
                    <a:pt x="0" y="0"/>
                  </a:lnTo>
                  <a:close/>
                </a:path>
              </a:pathLst>
            </a:custGeom>
            <a:solidFill>
              <a:schemeClr val="accent2">
                <a:alpha val="50000"/>
              </a:schemeClr>
            </a:solidFill>
            <a:ln>
              <a:noFill/>
            </a:ln>
          </p:spPr>
          <p:txBody>
            <a:bodyPr vert="horz" wrap="square" lIns="91440" tIns="45720" rIns="91440" bIns="45720" numCol="1" anchor="t" anchorCtr="0" compatLnSpc="1"/>
            <a:lstStyle/>
            <a:p>
              <a:pPr defTabSz="914400">
                <a:defRPr/>
              </a:pPr>
              <a:endParaRPr lang="en-US"/>
            </a:p>
          </p:txBody>
        </p:sp>
        <p:sp>
          <p:nvSpPr>
            <p:cNvPr id="25" name="任意多边形: 形状 24"/>
            <p:cNvSpPr/>
            <p:nvPr/>
          </p:nvSpPr>
          <p:spPr bwMode="auto">
            <a:xfrm rot="10800000" flipV="1">
              <a:off x="3525500" y="5004142"/>
              <a:ext cx="199094" cy="331823"/>
            </a:xfrm>
            <a:custGeom>
              <a:avLst/>
              <a:gdLst>
                <a:gd name="T0" fmla="*/ 45 w 45"/>
                <a:gd name="T1" fmla="*/ 45 h 75"/>
                <a:gd name="T2" fmla="*/ 0 w 45"/>
                <a:gd name="T3" fmla="*/ 0 h 75"/>
                <a:gd name="T4" fmla="*/ 0 w 45"/>
                <a:gd name="T5" fmla="*/ 63 h 75"/>
                <a:gd name="T6" fmla="*/ 7 w 45"/>
                <a:gd name="T7" fmla="*/ 74 h 75"/>
                <a:gd name="T8" fmla="*/ 19 w 45"/>
                <a:gd name="T9" fmla="*/ 71 h 75"/>
                <a:gd name="T10" fmla="*/ 45 w 45"/>
                <a:gd name="T11" fmla="*/ 45 h 75"/>
              </a:gdLst>
              <a:ahLst/>
              <a:cxnLst>
                <a:cxn ang="0">
                  <a:pos x="T0" y="T1"/>
                </a:cxn>
                <a:cxn ang="0">
                  <a:pos x="T2" y="T3"/>
                </a:cxn>
                <a:cxn ang="0">
                  <a:pos x="T4" y="T5"/>
                </a:cxn>
                <a:cxn ang="0">
                  <a:pos x="T6" y="T7"/>
                </a:cxn>
                <a:cxn ang="0">
                  <a:pos x="T8" y="T9"/>
                </a:cxn>
                <a:cxn ang="0">
                  <a:pos x="T10" y="T11"/>
                </a:cxn>
              </a:cxnLst>
              <a:rect l="0" t="0" r="r" b="b"/>
              <a:pathLst>
                <a:path w="45" h="75">
                  <a:moveTo>
                    <a:pt x="45" y="45"/>
                  </a:moveTo>
                  <a:cubicBezTo>
                    <a:pt x="0" y="0"/>
                    <a:pt x="0" y="0"/>
                    <a:pt x="0" y="0"/>
                  </a:cubicBezTo>
                  <a:cubicBezTo>
                    <a:pt x="0" y="63"/>
                    <a:pt x="0" y="63"/>
                    <a:pt x="0" y="63"/>
                  </a:cubicBezTo>
                  <a:cubicBezTo>
                    <a:pt x="0" y="68"/>
                    <a:pt x="3" y="72"/>
                    <a:pt x="7" y="74"/>
                  </a:cubicBezTo>
                  <a:cubicBezTo>
                    <a:pt x="11" y="75"/>
                    <a:pt x="16" y="74"/>
                    <a:pt x="19" y="71"/>
                  </a:cubicBezTo>
                  <a:lnTo>
                    <a:pt x="45" y="45"/>
                  </a:lnTo>
                  <a:close/>
                </a:path>
              </a:pathLst>
            </a:custGeom>
            <a:solidFill>
              <a:schemeClr val="accent2">
                <a:alpha val="10000"/>
              </a:schemeClr>
            </a:solidFill>
            <a:ln>
              <a:noFill/>
            </a:ln>
          </p:spPr>
          <p:txBody>
            <a:bodyPr vert="horz" wrap="square" lIns="91440" tIns="45720" rIns="91440" bIns="45720" numCol="1" anchor="t" anchorCtr="0" compatLnSpc="1"/>
            <a:lstStyle/>
            <a:p>
              <a:pPr defTabSz="914400">
                <a:defRPr/>
              </a:pPr>
              <a:endParaRPr lang="en-US"/>
            </a:p>
          </p:txBody>
        </p:sp>
        <p:cxnSp>
          <p:nvCxnSpPr>
            <p:cNvPr id="4" name="直接连接符 3"/>
            <p:cNvCxnSpPr/>
            <p:nvPr/>
          </p:nvCxnSpPr>
          <p:spPr>
            <a:xfrm>
              <a:off x="669925" y="5559566"/>
              <a:ext cx="10850563" cy="0"/>
            </a:xfrm>
            <a:prstGeom prst="line">
              <a:avLst/>
            </a:prstGeom>
            <a:ln w="3175" cap="rnd">
              <a:solidFill>
                <a:schemeClr val="tx2">
                  <a:alpha val="50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sp>
          <p:nvSpPr>
            <p:cNvPr id="21" name="任意多边形: 形状 20"/>
            <p:cNvSpPr/>
            <p:nvPr/>
          </p:nvSpPr>
          <p:spPr bwMode="auto">
            <a:xfrm rot="10800000" flipV="1">
              <a:off x="7323901" y="3653899"/>
              <a:ext cx="398188" cy="402612"/>
            </a:xfrm>
            <a:custGeom>
              <a:avLst/>
              <a:gdLst>
                <a:gd name="T0" fmla="*/ 0 w 180"/>
                <a:gd name="T1" fmla="*/ 0 h 182"/>
                <a:gd name="T2" fmla="*/ 180 w 180"/>
                <a:gd name="T3" fmla="*/ 0 h 182"/>
                <a:gd name="T4" fmla="*/ 180 w 180"/>
                <a:gd name="T5" fmla="*/ 182 h 182"/>
                <a:gd name="T6" fmla="*/ 0 w 180"/>
                <a:gd name="T7" fmla="*/ 0 h 182"/>
              </a:gdLst>
              <a:ahLst/>
              <a:cxnLst>
                <a:cxn ang="0">
                  <a:pos x="T0" y="T1"/>
                </a:cxn>
                <a:cxn ang="0">
                  <a:pos x="T2" y="T3"/>
                </a:cxn>
                <a:cxn ang="0">
                  <a:pos x="T4" y="T5"/>
                </a:cxn>
                <a:cxn ang="0">
                  <a:pos x="T6" y="T7"/>
                </a:cxn>
              </a:cxnLst>
              <a:rect l="0" t="0" r="r" b="b"/>
              <a:pathLst>
                <a:path w="180" h="182">
                  <a:moveTo>
                    <a:pt x="0" y="0"/>
                  </a:moveTo>
                  <a:lnTo>
                    <a:pt x="180" y="0"/>
                  </a:lnTo>
                  <a:lnTo>
                    <a:pt x="180" y="182"/>
                  </a:lnTo>
                  <a:lnTo>
                    <a:pt x="0" y="0"/>
                  </a:lnTo>
                  <a:close/>
                </a:path>
              </a:pathLst>
            </a:custGeom>
            <a:solidFill>
              <a:schemeClr val="accent1">
                <a:alpha val="50000"/>
              </a:schemeClr>
            </a:solidFill>
            <a:ln>
              <a:noFill/>
            </a:ln>
          </p:spPr>
          <p:txBody>
            <a:bodyPr vert="horz" wrap="square" lIns="91440" tIns="45720" rIns="91440" bIns="45720" numCol="1" anchor="t" anchorCtr="0" compatLnSpc="1"/>
            <a:lstStyle/>
            <a:p>
              <a:pPr defTabSz="914400">
                <a:defRPr/>
              </a:pPr>
              <a:endParaRPr lang="en-US"/>
            </a:p>
          </p:txBody>
        </p:sp>
        <p:sp>
          <p:nvSpPr>
            <p:cNvPr id="22" name="任意多边形: 形状 21"/>
            <p:cNvSpPr/>
            <p:nvPr/>
          </p:nvSpPr>
          <p:spPr bwMode="auto">
            <a:xfrm rot="10800000" flipV="1">
              <a:off x="7323899" y="3857417"/>
              <a:ext cx="199094" cy="331823"/>
            </a:xfrm>
            <a:custGeom>
              <a:avLst/>
              <a:gdLst>
                <a:gd name="T0" fmla="*/ 45 w 45"/>
                <a:gd name="T1" fmla="*/ 45 h 75"/>
                <a:gd name="T2" fmla="*/ 0 w 45"/>
                <a:gd name="T3" fmla="*/ 0 h 75"/>
                <a:gd name="T4" fmla="*/ 0 w 45"/>
                <a:gd name="T5" fmla="*/ 63 h 75"/>
                <a:gd name="T6" fmla="*/ 7 w 45"/>
                <a:gd name="T7" fmla="*/ 74 h 75"/>
                <a:gd name="T8" fmla="*/ 19 w 45"/>
                <a:gd name="T9" fmla="*/ 71 h 75"/>
                <a:gd name="T10" fmla="*/ 45 w 45"/>
                <a:gd name="T11" fmla="*/ 45 h 75"/>
              </a:gdLst>
              <a:ahLst/>
              <a:cxnLst>
                <a:cxn ang="0">
                  <a:pos x="T0" y="T1"/>
                </a:cxn>
                <a:cxn ang="0">
                  <a:pos x="T2" y="T3"/>
                </a:cxn>
                <a:cxn ang="0">
                  <a:pos x="T4" y="T5"/>
                </a:cxn>
                <a:cxn ang="0">
                  <a:pos x="T6" y="T7"/>
                </a:cxn>
                <a:cxn ang="0">
                  <a:pos x="T8" y="T9"/>
                </a:cxn>
                <a:cxn ang="0">
                  <a:pos x="T10" y="T11"/>
                </a:cxn>
              </a:cxnLst>
              <a:rect l="0" t="0" r="r" b="b"/>
              <a:pathLst>
                <a:path w="45" h="75">
                  <a:moveTo>
                    <a:pt x="45" y="45"/>
                  </a:moveTo>
                  <a:cubicBezTo>
                    <a:pt x="0" y="0"/>
                    <a:pt x="0" y="0"/>
                    <a:pt x="0" y="0"/>
                  </a:cubicBezTo>
                  <a:cubicBezTo>
                    <a:pt x="0" y="63"/>
                    <a:pt x="0" y="63"/>
                    <a:pt x="0" y="63"/>
                  </a:cubicBezTo>
                  <a:cubicBezTo>
                    <a:pt x="0" y="68"/>
                    <a:pt x="3" y="72"/>
                    <a:pt x="7" y="74"/>
                  </a:cubicBezTo>
                  <a:cubicBezTo>
                    <a:pt x="11" y="75"/>
                    <a:pt x="16" y="74"/>
                    <a:pt x="19" y="71"/>
                  </a:cubicBezTo>
                  <a:lnTo>
                    <a:pt x="45" y="45"/>
                  </a:lnTo>
                  <a:close/>
                </a:path>
              </a:pathLst>
            </a:custGeom>
            <a:solidFill>
              <a:schemeClr val="accent1">
                <a:alpha val="10000"/>
              </a:schemeClr>
            </a:solidFill>
            <a:ln>
              <a:noFill/>
            </a:ln>
          </p:spPr>
          <p:txBody>
            <a:bodyPr vert="horz" wrap="square" lIns="91440" tIns="45720" rIns="91440" bIns="45720" numCol="1" anchor="t" anchorCtr="0" compatLnSpc="1"/>
            <a:lstStyle/>
            <a:p>
              <a:pPr defTabSz="914400">
                <a:defRPr/>
              </a:pPr>
              <a:endParaRPr lang="en-US"/>
            </a:p>
          </p:txBody>
        </p:sp>
        <p:sp>
          <p:nvSpPr>
            <p:cNvPr id="18" name="任意多边形: 形状 17"/>
            <p:cNvSpPr/>
            <p:nvPr/>
          </p:nvSpPr>
          <p:spPr bwMode="auto">
            <a:xfrm rot="10800000" flipV="1">
              <a:off x="11122300" y="2507174"/>
              <a:ext cx="398188" cy="402612"/>
            </a:xfrm>
            <a:custGeom>
              <a:avLst/>
              <a:gdLst>
                <a:gd name="T0" fmla="*/ 0 w 180"/>
                <a:gd name="T1" fmla="*/ 0 h 182"/>
                <a:gd name="T2" fmla="*/ 180 w 180"/>
                <a:gd name="T3" fmla="*/ 0 h 182"/>
                <a:gd name="T4" fmla="*/ 180 w 180"/>
                <a:gd name="T5" fmla="*/ 182 h 182"/>
                <a:gd name="T6" fmla="*/ 0 w 180"/>
                <a:gd name="T7" fmla="*/ 0 h 182"/>
              </a:gdLst>
              <a:ahLst/>
              <a:cxnLst>
                <a:cxn ang="0">
                  <a:pos x="T0" y="T1"/>
                </a:cxn>
                <a:cxn ang="0">
                  <a:pos x="T2" y="T3"/>
                </a:cxn>
                <a:cxn ang="0">
                  <a:pos x="T4" y="T5"/>
                </a:cxn>
                <a:cxn ang="0">
                  <a:pos x="T6" y="T7"/>
                </a:cxn>
              </a:cxnLst>
              <a:rect l="0" t="0" r="r" b="b"/>
              <a:pathLst>
                <a:path w="180" h="182">
                  <a:moveTo>
                    <a:pt x="0" y="0"/>
                  </a:moveTo>
                  <a:lnTo>
                    <a:pt x="180" y="0"/>
                  </a:lnTo>
                  <a:lnTo>
                    <a:pt x="180" y="182"/>
                  </a:lnTo>
                  <a:lnTo>
                    <a:pt x="0" y="0"/>
                  </a:lnTo>
                  <a:close/>
                </a:path>
              </a:pathLst>
            </a:custGeom>
            <a:solidFill>
              <a:schemeClr val="accent2">
                <a:alpha val="50000"/>
              </a:schemeClr>
            </a:solidFill>
            <a:ln>
              <a:noFill/>
            </a:ln>
          </p:spPr>
          <p:txBody>
            <a:bodyPr vert="horz" wrap="square" lIns="91440" tIns="45720" rIns="91440" bIns="45720" numCol="1" anchor="t" anchorCtr="0" compatLnSpc="1"/>
            <a:lstStyle/>
            <a:p>
              <a:pPr defTabSz="914400">
                <a:defRPr/>
              </a:pPr>
              <a:endParaRPr lang="en-US"/>
            </a:p>
          </p:txBody>
        </p:sp>
        <p:sp>
          <p:nvSpPr>
            <p:cNvPr id="19" name="任意多边形: 形状 18"/>
            <p:cNvSpPr/>
            <p:nvPr/>
          </p:nvSpPr>
          <p:spPr bwMode="auto">
            <a:xfrm rot="10800000" flipV="1">
              <a:off x="11122298" y="2710692"/>
              <a:ext cx="199094" cy="331823"/>
            </a:xfrm>
            <a:custGeom>
              <a:avLst/>
              <a:gdLst>
                <a:gd name="T0" fmla="*/ 45 w 45"/>
                <a:gd name="T1" fmla="*/ 45 h 75"/>
                <a:gd name="T2" fmla="*/ 0 w 45"/>
                <a:gd name="T3" fmla="*/ 0 h 75"/>
                <a:gd name="T4" fmla="*/ 0 w 45"/>
                <a:gd name="T5" fmla="*/ 63 h 75"/>
                <a:gd name="T6" fmla="*/ 7 w 45"/>
                <a:gd name="T7" fmla="*/ 74 h 75"/>
                <a:gd name="T8" fmla="*/ 19 w 45"/>
                <a:gd name="T9" fmla="*/ 71 h 75"/>
                <a:gd name="T10" fmla="*/ 45 w 45"/>
                <a:gd name="T11" fmla="*/ 45 h 75"/>
              </a:gdLst>
              <a:ahLst/>
              <a:cxnLst>
                <a:cxn ang="0">
                  <a:pos x="T0" y="T1"/>
                </a:cxn>
                <a:cxn ang="0">
                  <a:pos x="T2" y="T3"/>
                </a:cxn>
                <a:cxn ang="0">
                  <a:pos x="T4" y="T5"/>
                </a:cxn>
                <a:cxn ang="0">
                  <a:pos x="T6" y="T7"/>
                </a:cxn>
                <a:cxn ang="0">
                  <a:pos x="T8" y="T9"/>
                </a:cxn>
                <a:cxn ang="0">
                  <a:pos x="T10" y="T11"/>
                </a:cxn>
              </a:cxnLst>
              <a:rect l="0" t="0" r="r" b="b"/>
              <a:pathLst>
                <a:path w="45" h="75">
                  <a:moveTo>
                    <a:pt x="45" y="45"/>
                  </a:moveTo>
                  <a:cubicBezTo>
                    <a:pt x="0" y="0"/>
                    <a:pt x="0" y="0"/>
                    <a:pt x="0" y="0"/>
                  </a:cubicBezTo>
                  <a:cubicBezTo>
                    <a:pt x="0" y="63"/>
                    <a:pt x="0" y="63"/>
                    <a:pt x="0" y="63"/>
                  </a:cubicBezTo>
                  <a:cubicBezTo>
                    <a:pt x="0" y="68"/>
                    <a:pt x="3" y="72"/>
                    <a:pt x="7" y="74"/>
                  </a:cubicBezTo>
                  <a:cubicBezTo>
                    <a:pt x="11" y="75"/>
                    <a:pt x="16" y="74"/>
                    <a:pt x="19" y="71"/>
                  </a:cubicBezTo>
                  <a:lnTo>
                    <a:pt x="45" y="45"/>
                  </a:lnTo>
                  <a:close/>
                </a:path>
              </a:pathLst>
            </a:custGeom>
            <a:solidFill>
              <a:schemeClr val="accent2">
                <a:alpha val="10000"/>
              </a:schemeClr>
            </a:solidFill>
            <a:ln>
              <a:noFill/>
            </a:ln>
          </p:spPr>
          <p:txBody>
            <a:bodyPr vert="horz" wrap="square" lIns="91440" tIns="45720" rIns="91440" bIns="45720" numCol="1" anchor="t" anchorCtr="0" compatLnSpc="1"/>
            <a:lstStyle/>
            <a:p>
              <a:pPr defTabSz="914400">
                <a:defRPr/>
              </a:pPr>
              <a:endParaRPr lang="en-US"/>
            </a:p>
          </p:txBody>
        </p:sp>
        <p:cxnSp>
          <p:nvCxnSpPr>
            <p:cNvPr id="16" name="直接连接符 15"/>
            <p:cNvCxnSpPr/>
            <p:nvPr/>
          </p:nvCxnSpPr>
          <p:spPr>
            <a:xfrm flipV="1">
              <a:off x="7522993" y="4242190"/>
              <a:ext cx="0" cy="1227378"/>
            </a:xfrm>
            <a:prstGeom prst="line">
              <a:avLst/>
            </a:prstGeom>
            <a:ln w="3175" cap="rnd">
              <a:solidFill>
                <a:schemeClr val="tx2">
                  <a:alpha val="50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cxnSp>
          <p:nvCxnSpPr>
            <p:cNvPr id="17" name="直接连接符 16"/>
            <p:cNvCxnSpPr/>
            <p:nvPr/>
          </p:nvCxnSpPr>
          <p:spPr>
            <a:xfrm flipV="1">
              <a:off x="11344234" y="3089426"/>
              <a:ext cx="0" cy="2380142"/>
            </a:xfrm>
            <a:prstGeom prst="line">
              <a:avLst/>
            </a:prstGeom>
            <a:ln w="3175" cap="rnd">
              <a:solidFill>
                <a:schemeClr val="tx2">
                  <a:alpha val="50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sp>
          <p:nvSpPr>
            <p:cNvPr id="27" name="文本框 26"/>
            <p:cNvSpPr txBox="1"/>
            <p:nvPr/>
          </p:nvSpPr>
          <p:spPr>
            <a:xfrm>
              <a:off x="660400" y="1130300"/>
              <a:ext cx="7053368" cy="1329882"/>
            </a:xfrm>
            <a:prstGeom prst="rect">
              <a:avLst/>
            </a:prstGeom>
            <a:noFill/>
          </p:spPr>
          <p:txBody>
            <a:bodyPr vert="horz" wrap="square" rtlCol="0" anchor="t" anchorCtr="0">
              <a:normAutofit/>
            </a:bodyPr>
            <a:lstStyle/>
            <a:p>
              <a:r>
                <a:rPr lang="en-US" altLang="zh-CN" sz="2400" b="1" dirty="0">
                  <a:latin typeface="Calibri" pitchFamily="34" charset="0"/>
                  <a:ea typeface="宋体" pitchFamily="2" charset="-122"/>
                </a:rPr>
                <a:t>Unified fonts make reading more fluent</a:t>
              </a:r>
              <a:endParaRPr lang="zh-CN" altLang="en-US" sz="2400" b="1" dirty="0">
                <a:latin typeface="Calibri" pitchFamily="34" charset="0"/>
                <a:ea typeface="宋体" pitchFamily="2" charset="-122"/>
              </a:endParaRPr>
            </a:p>
          </p:txBody>
        </p:sp>
        <p:grpSp>
          <p:nvGrpSpPr>
            <p:cNvPr id="29" name="组合 28"/>
            <p:cNvGrpSpPr/>
            <p:nvPr/>
          </p:nvGrpSpPr>
          <p:grpSpPr>
            <a:xfrm>
              <a:off x="654051" y="3210655"/>
              <a:ext cx="3269639" cy="2923445"/>
              <a:chOff x="654051" y="3210655"/>
              <a:chExt cx="3269639" cy="2923445"/>
            </a:xfrm>
          </p:grpSpPr>
          <p:sp>
            <p:nvSpPr>
              <p:cNvPr id="26" name="矩形 25"/>
              <p:cNvSpPr/>
              <p:nvPr/>
            </p:nvSpPr>
            <p:spPr bwMode="auto">
              <a:xfrm rot="10800000" flipV="1">
                <a:off x="654051" y="4197966"/>
                <a:ext cx="3261318" cy="602657"/>
              </a:xfrm>
              <a:prstGeom prst="rect">
                <a:avLst/>
              </a:prstGeom>
              <a:solidFill>
                <a:schemeClr val="accent2">
                  <a:alpha val="15000"/>
                </a:schemeClr>
              </a:solidFill>
              <a:ln>
                <a:noFill/>
              </a:ln>
            </p:spPr>
            <p:txBody>
              <a:bodyPr vert="horz" wrap="square" lIns="91440" tIns="45720" rIns="91440" bIns="45720" numCol="1" anchor="ctr" anchorCtr="1" compatLnSpc="1">
                <a:normAutofit/>
              </a:bodyPr>
              <a:lstStyle/>
              <a:p>
                <a:pPr algn="ctr" defTabSz="914400">
                  <a:defRPr/>
                </a:pPr>
                <a:r>
                  <a:rPr lang="en-US" b="1">
                    <a:latin typeface="Calibri" pitchFamily="34" charset="0"/>
                    <a:ea typeface="宋体" pitchFamily="2" charset="-122"/>
                  </a:rPr>
                  <a:t>Click to add text</a:t>
                </a:r>
                <a:endParaRPr lang="en-US" b="1" dirty="0">
                  <a:latin typeface="Calibri" pitchFamily="34" charset="0"/>
                  <a:ea typeface="宋体" pitchFamily="2" charset="-122"/>
                </a:endParaRPr>
              </a:p>
            </p:txBody>
          </p:sp>
          <p:sp>
            <p:nvSpPr>
              <p:cNvPr id="5" name="椭圆 4"/>
              <p:cNvSpPr/>
              <p:nvPr/>
            </p:nvSpPr>
            <p:spPr bwMode="auto">
              <a:xfrm>
                <a:off x="3610295" y="5469568"/>
                <a:ext cx="179996" cy="179996"/>
              </a:xfrm>
              <a:prstGeom prst="ellipse">
                <a:avLst/>
              </a:prstGeom>
              <a:solidFill>
                <a:schemeClr val="accent2"/>
              </a:solidFill>
              <a:ln w="22225">
                <a:solidFill>
                  <a:srgbClr val="FFFFFF"/>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zh-CN" altLang="en-US" dirty="0">
                  <a:solidFill>
                    <a:schemeClr val="tx1"/>
                  </a:solidFill>
                </a:endParaRPr>
              </a:p>
            </p:txBody>
          </p:sp>
          <p:sp>
            <p:nvSpPr>
              <p:cNvPr id="6" name="文本框 5"/>
              <p:cNvSpPr txBox="1"/>
              <p:nvPr/>
            </p:nvSpPr>
            <p:spPr bwMode="auto">
              <a:xfrm>
                <a:off x="2273300" y="5692295"/>
                <a:ext cx="1617768" cy="44180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b"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r" eaLnBrk="1" hangingPunct="1">
                  <a:lnSpc>
                    <a:spcPct val="100000"/>
                  </a:lnSpc>
                  <a:spcBef>
                    <a:spcPct val="0"/>
                  </a:spcBef>
                </a:pPr>
                <a:r>
                  <a:rPr lang="en-US" altLang="zh-CN" sz="2000" b="1" i="1" dirty="0">
                    <a:latin typeface="Calibri" pitchFamily="34" charset="0"/>
                    <a:ea typeface="宋体" pitchFamily="2" charset="-122"/>
                  </a:rPr>
                  <a:t>01</a:t>
                </a:r>
                <a:endParaRPr lang="en-US" altLang="zh-CN" sz="2000" b="1" i="1" dirty="0">
                  <a:latin typeface="Calibri" pitchFamily="34" charset="0"/>
                  <a:ea typeface="宋体" pitchFamily="2" charset="-122"/>
                </a:endParaRPr>
              </a:p>
            </p:txBody>
          </p:sp>
          <p:sp>
            <p:nvSpPr>
              <p:cNvPr id="7" name="矩形 6"/>
              <p:cNvSpPr/>
              <p:nvPr/>
            </p:nvSpPr>
            <p:spPr bwMode="auto">
              <a:xfrm>
                <a:off x="669925" y="3210655"/>
                <a:ext cx="3253765" cy="9989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20000"/>
                  </a:lnSpc>
                  <a:spcBef>
                    <a:spcPct val="0"/>
                  </a:spcBef>
                </a:pPr>
                <a:r>
                  <a:rPr lang="en-US" altLang="zh-CN" sz="1200" dirty="0">
                    <a:latin typeface="Calibri" pitchFamily="34" charset="0"/>
                    <a:ea typeface="宋体" pitchFamily="2" charset="-122"/>
                  </a:rPr>
                  <a:t>In </a:t>
                </a:r>
                <a:r>
                  <a:rPr lang="en-US" altLang="zh-CN" sz="1200" dirty="0" err="1">
                    <a:latin typeface="Calibri" pitchFamily="34" charset="0"/>
                    <a:ea typeface="宋体" pitchFamily="2" charset="-122"/>
                  </a:rPr>
                  <a:t>hendrerit</a:t>
                </a:r>
                <a:r>
                  <a:rPr lang="en-US" altLang="zh-CN" sz="1200" dirty="0">
                    <a:latin typeface="Calibri" pitchFamily="34" charset="0"/>
                    <a:ea typeface="宋体" pitchFamily="2" charset="-122"/>
                  </a:rPr>
                  <a:t> </a:t>
                </a:r>
                <a:r>
                  <a:rPr lang="en-US" altLang="zh-CN" sz="1200" dirty="0" err="1">
                    <a:latin typeface="Calibri" pitchFamily="34" charset="0"/>
                    <a:ea typeface="宋体" pitchFamily="2" charset="-122"/>
                  </a:rPr>
                  <a:t>accumsan</a:t>
                </a:r>
                <a:r>
                  <a:rPr lang="en-US" altLang="zh-CN" sz="1200" dirty="0">
                    <a:latin typeface="Calibri" pitchFamily="34" charset="0"/>
                    <a:ea typeface="宋体" pitchFamily="2" charset="-122"/>
                  </a:rPr>
                  <a:t> autem vel sed </a:t>
                </a:r>
                <a:r>
                  <a:rPr lang="en-US" altLang="zh-CN" sz="1200" dirty="0" err="1">
                    <a:latin typeface="Calibri" pitchFamily="34" charset="0"/>
                    <a:ea typeface="宋体" pitchFamily="2" charset="-122"/>
                  </a:rPr>
                  <a:t>sadipscing</a:t>
                </a:r>
                <a:r>
                  <a:rPr lang="en-US" altLang="zh-CN" sz="1200" dirty="0">
                    <a:latin typeface="Calibri" pitchFamily="34" charset="0"/>
                    <a:ea typeface="宋体" pitchFamily="2" charset="-122"/>
                  </a:rPr>
                  <a:t> </a:t>
                </a:r>
                <a:r>
                  <a:rPr lang="en-US" altLang="zh-CN" sz="1200" dirty="0" err="1">
                    <a:latin typeface="Calibri" pitchFamily="34" charset="0"/>
                    <a:ea typeface="宋体" pitchFamily="2" charset="-122"/>
                  </a:rPr>
                  <a:t>dolores</a:t>
                </a:r>
                <a:r>
                  <a:rPr lang="en-US" altLang="zh-CN" sz="1200" dirty="0">
                    <a:latin typeface="Calibri" pitchFamily="34" charset="0"/>
                    <a:ea typeface="宋体" pitchFamily="2" charset="-122"/>
                  </a:rPr>
                  <a:t>.</a:t>
                </a:r>
                <a:endParaRPr lang="zh-CN" altLang="en-US" sz="1200" dirty="0">
                  <a:latin typeface="Calibri" pitchFamily="34" charset="0"/>
                  <a:ea typeface="宋体" pitchFamily="2" charset="-122"/>
                </a:endParaRPr>
              </a:p>
            </p:txBody>
          </p:sp>
        </p:grpSp>
        <p:grpSp>
          <p:nvGrpSpPr>
            <p:cNvPr id="30" name="组合 29"/>
            <p:cNvGrpSpPr/>
            <p:nvPr/>
          </p:nvGrpSpPr>
          <p:grpSpPr>
            <a:xfrm>
              <a:off x="4452450" y="3051241"/>
              <a:ext cx="3261318" cy="3082859"/>
              <a:chOff x="4452450" y="3051241"/>
              <a:chExt cx="3261318" cy="3082859"/>
            </a:xfrm>
          </p:grpSpPr>
          <p:sp>
            <p:nvSpPr>
              <p:cNvPr id="23" name="矩形 22"/>
              <p:cNvSpPr/>
              <p:nvPr/>
            </p:nvSpPr>
            <p:spPr bwMode="auto">
              <a:xfrm rot="10800000" flipV="1">
                <a:off x="4452450" y="3051241"/>
                <a:ext cx="3261318" cy="602657"/>
              </a:xfrm>
              <a:prstGeom prst="rect">
                <a:avLst/>
              </a:prstGeom>
              <a:solidFill>
                <a:schemeClr val="accent1">
                  <a:alpha val="15000"/>
                </a:schemeClr>
              </a:solidFill>
              <a:ln>
                <a:noFill/>
              </a:ln>
            </p:spPr>
            <p:txBody>
              <a:bodyPr vert="horz" wrap="square" lIns="91440" tIns="45720" rIns="91440" bIns="45720" numCol="1" anchor="ctr" anchorCtr="1" compatLnSpc="1">
                <a:normAutofit/>
              </a:bodyPr>
              <a:lstStyle/>
              <a:p>
                <a:pPr algn="ctr" defTabSz="914400">
                  <a:defRPr/>
                </a:pPr>
                <a:r>
                  <a:rPr lang="en-US" b="1" dirty="0">
                    <a:latin typeface="Calibri" pitchFamily="34" charset="0"/>
                    <a:ea typeface="宋体" pitchFamily="2" charset="-122"/>
                  </a:rPr>
                  <a:t>Click to add text</a:t>
                </a:r>
                <a:endParaRPr lang="en-US" b="1" dirty="0">
                  <a:latin typeface="Calibri" pitchFamily="34" charset="0"/>
                  <a:ea typeface="宋体" pitchFamily="2" charset="-122"/>
                </a:endParaRPr>
              </a:p>
            </p:txBody>
          </p:sp>
          <p:sp>
            <p:nvSpPr>
              <p:cNvPr id="10" name="椭圆 9"/>
              <p:cNvSpPr/>
              <p:nvPr/>
            </p:nvSpPr>
            <p:spPr bwMode="auto">
              <a:xfrm>
                <a:off x="7432995" y="5469568"/>
                <a:ext cx="179996" cy="179996"/>
              </a:xfrm>
              <a:prstGeom prst="ellipse">
                <a:avLst/>
              </a:prstGeom>
              <a:solidFill>
                <a:schemeClr val="accent1"/>
              </a:solidFill>
              <a:ln w="22225">
                <a:solidFill>
                  <a:srgbClr val="FFFFFF"/>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zh-CN" altLang="en-US" dirty="0">
                  <a:solidFill>
                    <a:schemeClr val="tx1"/>
                  </a:solidFill>
                </a:endParaRPr>
              </a:p>
            </p:txBody>
          </p:sp>
          <p:sp>
            <p:nvSpPr>
              <p:cNvPr id="11" name="文本框 10"/>
              <p:cNvSpPr txBox="1"/>
              <p:nvPr/>
            </p:nvSpPr>
            <p:spPr bwMode="auto">
              <a:xfrm>
                <a:off x="6096000" y="5692295"/>
                <a:ext cx="1617768" cy="44180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b"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r" eaLnBrk="1" hangingPunct="1">
                  <a:lnSpc>
                    <a:spcPct val="100000"/>
                  </a:lnSpc>
                  <a:spcBef>
                    <a:spcPct val="0"/>
                  </a:spcBef>
                </a:pPr>
                <a:r>
                  <a:rPr lang="en-US" altLang="zh-CN" sz="2000" b="1" i="1" dirty="0">
                    <a:latin typeface="Calibri" pitchFamily="34" charset="0"/>
                    <a:ea typeface="宋体" pitchFamily="2" charset="-122"/>
                  </a:rPr>
                  <a:t>02</a:t>
                </a:r>
                <a:endParaRPr lang="en-US" altLang="zh-CN" sz="2000" b="1" i="1" dirty="0">
                  <a:latin typeface="Calibri" pitchFamily="34" charset="0"/>
                  <a:ea typeface="宋体" pitchFamily="2" charset="-122"/>
                </a:endParaRPr>
              </a:p>
            </p:txBody>
          </p:sp>
          <p:sp>
            <p:nvSpPr>
              <p:cNvPr id="14" name="矩形 13"/>
              <p:cNvSpPr/>
              <p:nvPr/>
            </p:nvSpPr>
            <p:spPr bwMode="auto">
              <a:xfrm>
                <a:off x="4455929" y="3735221"/>
                <a:ext cx="2859649" cy="9989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20000"/>
                  </a:lnSpc>
                  <a:spcBef>
                    <a:spcPct val="0"/>
                  </a:spcBef>
                </a:pPr>
                <a:r>
                  <a:rPr lang="pt-BR" altLang="zh-CN" sz="1200">
                    <a:latin typeface="Calibri" pitchFamily="34" charset="0"/>
                    <a:ea typeface="宋体" pitchFamily="2" charset="-122"/>
                  </a:rPr>
                  <a:t>Molestie accusam congue dolor autem dolor eirmod assum.</a:t>
                </a:r>
                <a:endParaRPr lang="zh-CN" altLang="en-US" sz="1200" dirty="0">
                  <a:latin typeface="Calibri" pitchFamily="34" charset="0"/>
                  <a:ea typeface="宋体" pitchFamily="2" charset="-122"/>
                </a:endParaRPr>
              </a:p>
            </p:txBody>
          </p:sp>
        </p:grpSp>
        <p:grpSp>
          <p:nvGrpSpPr>
            <p:cNvPr id="31" name="组合 30"/>
            <p:cNvGrpSpPr/>
            <p:nvPr/>
          </p:nvGrpSpPr>
          <p:grpSpPr>
            <a:xfrm>
              <a:off x="8250849" y="1904516"/>
              <a:ext cx="3294752" cy="4229584"/>
              <a:chOff x="8250849" y="1904516"/>
              <a:chExt cx="3294752" cy="4229584"/>
            </a:xfrm>
          </p:grpSpPr>
          <p:sp>
            <p:nvSpPr>
              <p:cNvPr id="20" name="矩形 19"/>
              <p:cNvSpPr/>
              <p:nvPr/>
            </p:nvSpPr>
            <p:spPr bwMode="auto">
              <a:xfrm rot="10800000" flipV="1">
                <a:off x="8250849" y="1904516"/>
                <a:ext cx="3261318" cy="602657"/>
              </a:xfrm>
              <a:prstGeom prst="rect">
                <a:avLst/>
              </a:prstGeom>
              <a:solidFill>
                <a:schemeClr val="accent2">
                  <a:alpha val="15000"/>
                </a:schemeClr>
              </a:solidFill>
              <a:ln>
                <a:noFill/>
              </a:ln>
            </p:spPr>
            <p:txBody>
              <a:bodyPr vert="horz" wrap="square" lIns="91440" tIns="45720" rIns="91440" bIns="45720" numCol="1" anchor="ctr" anchorCtr="1" compatLnSpc="1">
                <a:normAutofit/>
              </a:bodyPr>
              <a:lstStyle/>
              <a:p>
                <a:pPr algn="ctr" defTabSz="914400">
                  <a:defRPr/>
                </a:pPr>
                <a:r>
                  <a:rPr lang="en-US" b="1" dirty="0">
                    <a:latin typeface="Calibri" pitchFamily="34" charset="0"/>
                    <a:ea typeface="宋体" pitchFamily="2" charset="-122"/>
                  </a:rPr>
                  <a:t>Click to add text</a:t>
                </a:r>
                <a:endParaRPr lang="en-US" b="1" dirty="0">
                  <a:latin typeface="Calibri" pitchFamily="34" charset="0"/>
                  <a:ea typeface="宋体" pitchFamily="2" charset="-122"/>
                </a:endParaRPr>
              </a:p>
            </p:txBody>
          </p:sp>
          <p:sp>
            <p:nvSpPr>
              <p:cNvPr id="12" name="椭圆 11"/>
              <p:cNvSpPr/>
              <p:nvPr/>
            </p:nvSpPr>
            <p:spPr bwMode="auto">
              <a:xfrm>
                <a:off x="11254236" y="5469568"/>
                <a:ext cx="179996" cy="179996"/>
              </a:xfrm>
              <a:prstGeom prst="ellipse">
                <a:avLst/>
              </a:prstGeom>
              <a:solidFill>
                <a:schemeClr val="accent2"/>
              </a:solidFill>
              <a:ln w="22225">
                <a:solidFill>
                  <a:srgbClr val="FFFFFF"/>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zh-CN" altLang="en-US" dirty="0">
                  <a:solidFill>
                    <a:schemeClr val="tx1"/>
                  </a:solidFill>
                </a:endParaRPr>
              </a:p>
            </p:txBody>
          </p:sp>
          <p:sp>
            <p:nvSpPr>
              <p:cNvPr id="13" name="文本框 12"/>
              <p:cNvSpPr txBox="1"/>
              <p:nvPr/>
            </p:nvSpPr>
            <p:spPr bwMode="auto">
              <a:xfrm>
                <a:off x="9979985" y="5692295"/>
                <a:ext cx="1565616" cy="44180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b"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r" eaLnBrk="1" hangingPunct="1">
                  <a:lnSpc>
                    <a:spcPct val="100000"/>
                  </a:lnSpc>
                  <a:spcBef>
                    <a:spcPct val="0"/>
                  </a:spcBef>
                </a:pPr>
                <a:r>
                  <a:rPr lang="en-US" altLang="zh-CN" sz="2000" b="1" i="1" dirty="0">
                    <a:latin typeface="Calibri" pitchFamily="34" charset="0"/>
                    <a:ea typeface="宋体" pitchFamily="2" charset="-122"/>
                  </a:rPr>
                  <a:t>03</a:t>
                </a:r>
                <a:endParaRPr lang="en-US" altLang="zh-CN" sz="2000" b="1" i="1" dirty="0">
                  <a:latin typeface="Calibri" pitchFamily="34" charset="0"/>
                  <a:ea typeface="宋体" pitchFamily="2" charset="-122"/>
                </a:endParaRPr>
              </a:p>
            </p:txBody>
          </p:sp>
          <p:sp>
            <p:nvSpPr>
              <p:cNvPr id="15" name="矩形 14"/>
              <p:cNvSpPr/>
              <p:nvPr/>
            </p:nvSpPr>
            <p:spPr bwMode="auto">
              <a:xfrm>
                <a:off x="8266949" y="2554125"/>
                <a:ext cx="2859649" cy="9989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20000"/>
                  </a:lnSpc>
                  <a:spcBef>
                    <a:spcPct val="0"/>
                  </a:spcBef>
                </a:pPr>
                <a:r>
                  <a:rPr lang="pt-BR" altLang="zh-CN" sz="1200" dirty="0">
                    <a:latin typeface="Calibri" pitchFamily="34" charset="0"/>
                    <a:ea typeface="宋体" pitchFamily="2" charset="-122"/>
                  </a:rPr>
                  <a:t>Clita suscipit lorem sit no hendrerit diam justo erat ipsum.</a:t>
                </a:r>
                <a:endParaRPr lang="zh-CN" altLang="en-US" sz="1200" dirty="0">
                  <a:latin typeface="Calibri" pitchFamily="34" charset="0"/>
                  <a:ea typeface="宋体" pitchFamily="2" charset="-122"/>
                </a:endParaRPr>
              </a:p>
            </p:txBody>
          </p:sp>
        </p:grpSp>
      </p:gr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660401" y="1130302"/>
            <a:ext cx="10858500" cy="5003799"/>
            <a:chOff x="660400" y="1130301"/>
            <a:chExt cx="10858500" cy="5003798"/>
          </a:xfrm>
        </p:grpSpPr>
        <p:cxnSp>
          <p:nvCxnSpPr>
            <p:cNvPr id="22" name="直接连接符 21"/>
            <p:cNvCxnSpPr/>
            <p:nvPr/>
          </p:nvCxnSpPr>
          <p:spPr>
            <a:xfrm>
              <a:off x="6209846" y="2089516"/>
              <a:ext cx="0" cy="3241318"/>
            </a:xfrm>
            <a:prstGeom prst="line">
              <a:avLst/>
            </a:prstGeom>
            <a:ln>
              <a:solidFill>
                <a:schemeClr val="accent2">
                  <a:lumMod val="100000"/>
                  <a:alpha val="50000"/>
                </a:schemeClr>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15" idx="3"/>
              <a:endCxn id="19" idx="1"/>
            </p:cNvCxnSpPr>
            <p:nvPr/>
          </p:nvCxnSpPr>
          <p:spPr>
            <a:xfrm>
              <a:off x="2914578" y="3702780"/>
              <a:ext cx="309933" cy="0"/>
            </a:xfrm>
            <a:prstGeom prst="line">
              <a:avLst/>
            </a:prstGeom>
            <a:ln>
              <a:solidFill>
                <a:schemeClr val="accent2">
                  <a:lumMod val="100000"/>
                  <a:alpha val="50000"/>
                </a:schemeClr>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p:nvPr/>
          </p:nvCxnSpPr>
          <p:spPr>
            <a:xfrm>
              <a:off x="5478689" y="3702780"/>
              <a:ext cx="993177" cy="0"/>
            </a:xfrm>
            <a:prstGeom prst="line">
              <a:avLst/>
            </a:prstGeom>
            <a:ln>
              <a:solidFill>
                <a:schemeClr val="accent2">
                  <a:lumMod val="100000"/>
                  <a:alpha val="50000"/>
                </a:schemeClr>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a:endCxn id="30" idx="1"/>
            </p:cNvCxnSpPr>
            <p:nvPr/>
          </p:nvCxnSpPr>
          <p:spPr>
            <a:xfrm>
              <a:off x="6209846" y="5330834"/>
              <a:ext cx="262020" cy="0"/>
            </a:xfrm>
            <a:prstGeom prst="line">
              <a:avLst/>
            </a:prstGeom>
            <a:ln>
              <a:solidFill>
                <a:schemeClr val="accent2">
                  <a:lumMod val="100000"/>
                  <a:alpha val="50000"/>
                </a:schemeClr>
              </a:solidFill>
            </a:ln>
          </p:spPr>
          <p:style>
            <a:lnRef idx="1">
              <a:schemeClr val="accent1"/>
            </a:lnRef>
            <a:fillRef idx="0">
              <a:schemeClr val="accent1"/>
            </a:fillRef>
            <a:effectRef idx="0">
              <a:schemeClr val="accent1"/>
            </a:effectRef>
            <a:fontRef idx="minor">
              <a:schemeClr val="tx1"/>
            </a:fontRef>
          </p:style>
        </p:cxnSp>
        <p:cxnSp>
          <p:nvCxnSpPr>
            <p:cNvPr id="46" name="直接连接符 45"/>
            <p:cNvCxnSpPr/>
            <p:nvPr/>
          </p:nvCxnSpPr>
          <p:spPr>
            <a:xfrm>
              <a:off x="6209846" y="2098198"/>
              <a:ext cx="262020" cy="0"/>
            </a:xfrm>
            <a:prstGeom prst="line">
              <a:avLst/>
            </a:prstGeom>
            <a:ln>
              <a:solidFill>
                <a:schemeClr val="accent2">
                  <a:lumMod val="100000"/>
                  <a:alpha val="50000"/>
                </a:schemeClr>
              </a:solidFill>
            </a:ln>
          </p:spPr>
          <p:style>
            <a:lnRef idx="1">
              <a:schemeClr val="accent1"/>
            </a:lnRef>
            <a:fillRef idx="0">
              <a:schemeClr val="accent1"/>
            </a:fillRef>
            <a:effectRef idx="0">
              <a:schemeClr val="accent1"/>
            </a:effectRef>
            <a:fontRef idx="minor">
              <a:schemeClr val="tx1"/>
            </a:fontRef>
          </p:style>
        </p:cxnSp>
        <p:cxnSp>
          <p:nvCxnSpPr>
            <p:cNvPr id="47" name="直接连接符 46"/>
            <p:cNvCxnSpPr/>
            <p:nvPr/>
          </p:nvCxnSpPr>
          <p:spPr>
            <a:xfrm>
              <a:off x="8726045" y="3702780"/>
              <a:ext cx="538678" cy="0"/>
            </a:xfrm>
            <a:prstGeom prst="line">
              <a:avLst/>
            </a:prstGeom>
            <a:ln>
              <a:solidFill>
                <a:schemeClr val="accent2">
                  <a:lumMod val="100000"/>
                  <a:alpha val="50000"/>
                </a:schemeClr>
              </a:solidFill>
            </a:ln>
          </p:spPr>
          <p:style>
            <a:lnRef idx="1">
              <a:schemeClr val="accent1"/>
            </a:lnRef>
            <a:fillRef idx="0">
              <a:schemeClr val="accent1"/>
            </a:fillRef>
            <a:effectRef idx="0">
              <a:schemeClr val="accent1"/>
            </a:effectRef>
            <a:fontRef idx="minor">
              <a:schemeClr val="tx1"/>
            </a:fontRef>
          </p:style>
        </p:cxnSp>
        <p:cxnSp>
          <p:nvCxnSpPr>
            <p:cNvPr id="48" name="直接连接符 47"/>
            <p:cNvCxnSpPr/>
            <p:nvPr/>
          </p:nvCxnSpPr>
          <p:spPr>
            <a:xfrm>
              <a:off x="8726045" y="2098198"/>
              <a:ext cx="538678" cy="0"/>
            </a:xfrm>
            <a:prstGeom prst="line">
              <a:avLst/>
            </a:prstGeom>
            <a:ln>
              <a:solidFill>
                <a:schemeClr val="accent2">
                  <a:lumMod val="100000"/>
                  <a:alpha val="50000"/>
                </a:schemeClr>
              </a:solidFill>
            </a:ln>
          </p:spPr>
          <p:style>
            <a:lnRef idx="1">
              <a:schemeClr val="accent1"/>
            </a:lnRef>
            <a:fillRef idx="0">
              <a:schemeClr val="accent1"/>
            </a:fillRef>
            <a:effectRef idx="0">
              <a:schemeClr val="accent1"/>
            </a:effectRef>
            <a:fontRef idx="minor">
              <a:schemeClr val="tx1"/>
            </a:fontRef>
          </p:style>
        </p:cxnSp>
        <p:sp>
          <p:nvSpPr>
            <p:cNvPr id="61" name="矩形 60"/>
            <p:cNvSpPr/>
            <p:nvPr/>
          </p:nvSpPr>
          <p:spPr>
            <a:xfrm>
              <a:off x="660400" y="1250453"/>
              <a:ext cx="5059733" cy="9604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t" anchorCtr="0">
              <a:normAutofit/>
            </a:bodyPr>
            <a:lstStyle/>
            <a:p>
              <a:r>
                <a:rPr kumimoji="1" lang="en-US" altLang="zh-CN" sz="2400" b="1" dirty="0">
                  <a:solidFill>
                    <a:schemeClr val="tx1"/>
                  </a:solidFill>
                  <a:latin typeface="Calibri" pitchFamily="34" charset="0"/>
                  <a:ea typeface="宋体" pitchFamily="2" charset="-122"/>
                </a:rPr>
                <a:t>Unified fonts make reading more fluent</a:t>
              </a:r>
              <a:endParaRPr kumimoji="1" lang="en-US" altLang="zh-CN" sz="2400" b="1" dirty="0">
                <a:solidFill>
                  <a:schemeClr val="tx1"/>
                </a:solidFill>
                <a:latin typeface="Calibri" pitchFamily="34" charset="0"/>
                <a:ea typeface="宋体" pitchFamily="2" charset="-122"/>
              </a:endParaRPr>
            </a:p>
          </p:txBody>
        </p:sp>
        <p:sp>
          <p:nvSpPr>
            <p:cNvPr id="62" name="矩形 61"/>
            <p:cNvSpPr/>
            <p:nvPr/>
          </p:nvSpPr>
          <p:spPr>
            <a:xfrm>
              <a:off x="660400" y="1130301"/>
              <a:ext cx="1037063" cy="5842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63" name="组合 62"/>
            <p:cNvGrpSpPr/>
            <p:nvPr/>
          </p:nvGrpSpPr>
          <p:grpSpPr>
            <a:xfrm>
              <a:off x="660400" y="3101433"/>
              <a:ext cx="2254178" cy="1404612"/>
              <a:chOff x="660400" y="3101433"/>
              <a:chExt cx="2254178" cy="1404612"/>
            </a:xfrm>
          </p:grpSpPr>
          <p:sp>
            <p:nvSpPr>
              <p:cNvPr id="14" name="任意多边形: 形状 13"/>
              <p:cNvSpPr/>
              <p:nvPr/>
            </p:nvSpPr>
            <p:spPr>
              <a:xfrm>
                <a:off x="820702" y="3101433"/>
                <a:ext cx="361950" cy="345062"/>
              </a:xfrm>
              <a:custGeom>
                <a:avLst/>
                <a:gdLst>
                  <a:gd name="T0" fmla="*/ 1098 w 1098"/>
                  <a:gd name="T1" fmla="*/ 839 h 1048"/>
                  <a:gd name="T2" fmla="*/ 1098 w 1098"/>
                  <a:gd name="T3" fmla="*/ 1048 h 1048"/>
                  <a:gd name="T4" fmla="*/ 0 w 1098"/>
                  <a:gd name="T5" fmla="*/ 1048 h 1048"/>
                  <a:gd name="T6" fmla="*/ 0 w 1098"/>
                  <a:gd name="T7" fmla="*/ 839 h 1048"/>
                  <a:gd name="T8" fmla="*/ 891 w 1098"/>
                  <a:gd name="T9" fmla="*/ 839 h 1048"/>
                  <a:gd name="T10" fmla="*/ 856 w 1098"/>
                  <a:gd name="T11" fmla="*/ 707 h 1048"/>
                  <a:gd name="T12" fmla="*/ 743 w 1098"/>
                  <a:gd name="T13" fmla="*/ 653 h 1048"/>
                  <a:gd name="T14" fmla="*/ 722 w 1098"/>
                  <a:gd name="T15" fmla="*/ 666 h 1048"/>
                  <a:gd name="T16" fmla="*/ 679 w 1098"/>
                  <a:gd name="T17" fmla="*/ 666 h 1048"/>
                  <a:gd name="T18" fmla="*/ 655 w 1098"/>
                  <a:gd name="T19" fmla="*/ 641 h 1048"/>
                  <a:gd name="T20" fmla="*/ 679 w 1098"/>
                  <a:gd name="T21" fmla="*/ 617 h 1048"/>
                  <a:gd name="T22" fmla="*/ 722 w 1098"/>
                  <a:gd name="T23" fmla="*/ 617 h 1048"/>
                  <a:gd name="T24" fmla="*/ 745 w 1098"/>
                  <a:gd name="T25" fmla="*/ 634 h 1048"/>
                  <a:gd name="T26" fmla="*/ 871 w 1098"/>
                  <a:gd name="T27" fmla="*/ 696 h 1048"/>
                  <a:gd name="T28" fmla="*/ 910 w 1098"/>
                  <a:gd name="T29" fmla="*/ 839 h 1048"/>
                  <a:gd name="T30" fmla="*/ 1098 w 1098"/>
                  <a:gd name="T31" fmla="*/ 839 h 1048"/>
                  <a:gd name="T32" fmla="*/ 1098 w 1098"/>
                  <a:gd name="T33" fmla="*/ 839 h 1048"/>
                  <a:gd name="T34" fmla="*/ 549 w 1098"/>
                  <a:gd name="T35" fmla="*/ 459 h 1048"/>
                  <a:gd name="T36" fmla="*/ 778 w 1098"/>
                  <a:gd name="T37" fmla="*/ 229 h 1048"/>
                  <a:gd name="T38" fmla="*/ 549 w 1098"/>
                  <a:gd name="T39" fmla="*/ 0 h 1048"/>
                  <a:gd name="T40" fmla="*/ 320 w 1098"/>
                  <a:gd name="T41" fmla="*/ 229 h 1048"/>
                  <a:gd name="T42" fmla="*/ 549 w 1098"/>
                  <a:gd name="T43" fmla="*/ 459 h 1048"/>
                  <a:gd name="T44" fmla="*/ 830 w 1098"/>
                  <a:gd name="T45" fmla="*/ 729 h 1048"/>
                  <a:gd name="T46" fmla="*/ 756 w 1098"/>
                  <a:gd name="T47" fmla="*/ 690 h 1048"/>
                  <a:gd name="T48" fmla="*/ 722 w 1098"/>
                  <a:gd name="T49" fmla="*/ 701 h 1048"/>
                  <a:gd name="T50" fmla="*/ 679 w 1098"/>
                  <a:gd name="T51" fmla="*/ 701 h 1048"/>
                  <a:gd name="T52" fmla="*/ 621 w 1098"/>
                  <a:gd name="T53" fmla="*/ 643 h 1048"/>
                  <a:gd name="T54" fmla="*/ 679 w 1098"/>
                  <a:gd name="T55" fmla="*/ 585 h 1048"/>
                  <a:gd name="T56" fmla="*/ 722 w 1098"/>
                  <a:gd name="T57" fmla="*/ 585 h 1048"/>
                  <a:gd name="T58" fmla="*/ 765 w 1098"/>
                  <a:gd name="T59" fmla="*/ 605 h 1048"/>
                  <a:gd name="T60" fmla="*/ 885 w 1098"/>
                  <a:gd name="T61" fmla="*/ 663 h 1048"/>
                  <a:gd name="T62" fmla="*/ 885 w 1098"/>
                  <a:gd name="T63" fmla="*/ 659 h 1048"/>
                  <a:gd name="T64" fmla="*/ 874 w 1098"/>
                  <a:gd name="T65" fmla="*/ 607 h 1048"/>
                  <a:gd name="T66" fmla="*/ 697 w 1098"/>
                  <a:gd name="T67" fmla="*/ 437 h 1048"/>
                  <a:gd name="T68" fmla="*/ 549 w 1098"/>
                  <a:gd name="T69" fmla="*/ 496 h 1048"/>
                  <a:gd name="T70" fmla="*/ 401 w 1098"/>
                  <a:gd name="T71" fmla="*/ 437 h 1048"/>
                  <a:gd name="T72" fmla="*/ 212 w 1098"/>
                  <a:gd name="T73" fmla="*/ 681 h 1048"/>
                  <a:gd name="T74" fmla="*/ 212 w 1098"/>
                  <a:gd name="T75" fmla="*/ 807 h 1048"/>
                  <a:gd name="T76" fmla="*/ 857 w 1098"/>
                  <a:gd name="T77" fmla="*/ 807 h 1048"/>
                  <a:gd name="T78" fmla="*/ 830 w 1098"/>
                  <a:gd name="T79" fmla="*/ 729 h 1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98" h="1048">
                    <a:moveTo>
                      <a:pt x="1098" y="839"/>
                    </a:moveTo>
                    <a:lnTo>
                      <a:pt x="1098" y="1048"/>
                    </a:lnTo>
                    <a:lnTo>
                      <a:pt x="0" y="1048"/>
                    </a:lnTo>
                    <a:lnTo>
                      <a:pt x="0" y="839"/>
                    </a:lnTo>
                    <a:lnTo>
                      <a:pt x="891" y="839"/>
                    </a:lnTo>
                    <a:cubicBezTo>
                      <a:pt x="892" y="794"/>
                      <a:pt x="884" y="744"/>
                      <a:pt x="856" y="707"/>
                    </a:cubicBezTo>
                    <a:cubicBezTo>
                      <a:pt x="832" y="675"/>
                      <a:pt x="794" y="656"/>
                      <a:pt x="743" y="653"/>
                    </a:cubicBezTo>
                    <a:cubicBezTo>
                      <a:pt x="739" y="660"/>
                      <a:pt x="731" y="666"/>
                      <a:pt x="722" y="666"/>
                    </a:cubicBezTo>
                    <a:lnTo>
                      <a:pt x="679" y="666"/>
                    </a:lnTo>
                    <a:cubicBezTo>
                      <a:pt x="666" y="666"/>
                      <a:pt x="655" y="655"/>
                      <a:pt x="655" y="641"/>
                    </a:cubicBezTo>
                    <a:cubicBezTo>
                      <a:pt x="655" y="628"/>
                      <a:pt x="666" y="617"/>
                      <a:pt x="679" y="617"/>
                    </a:cubicBezTo>
                    <a:lnTo>
                      <a:pt x="722" y="617"/>
                    </a:lnTo>
                    <a:cubicBezTo>
                      <a:pt x="733" y="617"/>
                      <a:pt x="742" y="624"/>
                      <a:pt x="745" y="634"/>
                    </a:cubicBezTo>
                    <a:cubicBezTo>
                      <a:pt x="801" y="638"/>
                      <a:pt x="843" y="659"/>
                      <a:pt x="871" y="696"/>
                    </a:cubicBezTo>
                    <a:cubicBezTo>
                      <a:pt x="903" y="737"/>
                      <a:pt x="911" y="791"/>
                      <a:pt x="910" y="839"/>
                    </a:cubicBezTo>
                    <a:lnTo>
                      <a:pt x="1098" y="839"/>
                    </a:lnTo>
                    <a:lnTo>
                      <a:pt x="1098" y="839"/>
                    </a:lnTo>
                    <a:close/>
                    <a:moveTo>
                      <a:pt x="549" y="459"/>
                    </a:moveTo>
                    <a:cubicBezTo>
                      <a:pt x="676" y="459"/>
                      <a:pt x="778" y="356"/>
                      <a:pt x="778" y="229"/>
                    </a:cubicBezTo>
                    <a:cubicBezTo>
                      <a:pt x="778" y="103"/>
                      <a:pt x="676" y="0"/>
                      <a:pt x="549" y="0"/>
                    </a:cubicBezTo>
                    <a:cubicBezTo>
                      <a:pt x="423" y="0"/>
                      <a:pt x="320" y="103"/>
                      <a:pt x="320" y="229"/>
                    </a:cubicBezTo>
                    <a:cubicBezTo>
                      <a:pt x="320" y="356"/>
                      <a:pt x="423" y="459"/>
                      <a:pt x="549" y="459"/>
                    </a:cubicBezTo>
                    <a:close/>
                    <a:moveTo>
                      <a:pt x="830" y="729"/>
                    </a:moveTo>
                    <a:cubicBezTo>
                      <a:pt x="813" y="708"/>
                      <a:pt x="789" y="695"/>
                      <a:pt x="756" y="690"/>
                    </a:cubicBezTo>
                    <a:cubicBezTo>
                      <a:pt x="746" y="697"/>
                      <a:pt x="734" y="701"/>
                      <a:pt x="722" y="701"/>
                    </a:cubicBezTo>
                    <a:lnTo>
                      <a:pt x="679" y="701"/>
                    </a:lnTo>
                    <a:cubicBezTo>
                      <a:pt x="648" y="701"/>
                      <a:pt x="621" y="675"/>
                      <a:pt x="621" y="643"/>
                    </a:cubicBezTo>
                    <a:cubicBezTo>
                      <a:pt x="621" y="611"/>
                      <a:pt x="647" y="585"/>
                      <a:pt x="679" y="585"/>
                    </a:cubicBezTo>
                    <a:lnTo>
                      <a:pt x="722" y="585"/>
                    </a:lnTo>
                    <a:cubicBezTo>
                      <a:pt x="738" y="585"/>
                      <a:pt x="754" y="593"/>
                      <a:pt x="765" y="605"/>
                    </a:cubicBezTo>
                    <a:cubicBezTo>
                      <a:pt x="815" y="611"/>
                      <a:pt x="855" y="631"/>
                      <a:pt x="885" y="663"/>
                    </a:cubicBezTo>
                    <a:cubicBezTo>
                      <a:pt x="885" y="662"/>
                      <a:pt x="885" y="660"/>
                      <a:pt x="885" y="659"/>
                    </a:cubicBezTo>
                    <a:lnTo>
                      <a:pt x="874" y="607"/>
                    </a:lnTo>
                    <a:cubicBezTo>
                      <a:pt x="849" y="524"/>
                      <a:pt x="782" y="459"/>
                      <a:pt x="697" y="437"/>
                    </a:cubicBezTo>
                    <a:cubicBezTo>
                      <a:pt x="659" y="473"/>
                      <a:pt x="606" y="496"/>
                      <a:pt x="549" y="496"/>
                    </a:cubicBezTo>
                    <a:cubicBezTo>
                      <a:pt x="492" y="496"/>
                      <a:pt x="440" y="473"/>
                      <a:pt x="401" y="437"/>
                    </a:cubicBezTo>
                    <a:cubicBezTo>
                      <a:pt x="293" y="466"/>
                      <a:pt x="212" y="564"/>
                      <a:pt x="212" y="681"/>
                    </a:cubicBezTo>
                    <a:lnTo>
                      <a:pt x="212" y="807"/>
                    </a:lnTo>
                    <a:lnTo>
                      <a:pt x="857" y="807"/>
                    </a:lnTo>
                    <a:cubicBezTo>
                      <a:pt x="853" y="775"/>
                      <a:pt x="844" y="748"/>
                      <a:pt x="830" y="729"/>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5" name="矩形: 圆角 14"/>
              <p:cNvSpPr/>
              <p:nvPr/>
            </p:nvSpPr>
            <p:spPr>
              <a:xfrm>
                <a:off x="660400" y="3508228"/>
                <a:ext cx="2254178" cy="389104"/>
              </a:xfrm>
              <a:prstGeom prst="roundRect">
                <a:avLst>
                  <a:gd name="adj" fmla="val 50000"/>
                </a:avLst>
              </a:prstGeom>
              <a:solidFill>
                <a:schemeClr val="accent2">
                  <a:lumMod val="100000"/>
                  <a:alpha val="1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chorCtr="1">
                <a:normAutofit fontScale="77500" lnSpcReduction="20000"/>
              </a:bodyPr>
              <a:lstStyle/>
              <a:p>
                <a:pPr algn="ctr"/>
                <a:r>
                  <a:rPr lang="en-US" altLang="zh-CN" b="1">
                    <a:solidFill>
                      <a:schemeClr val="tx1"/>
                    </a:solidFill>
                    <a:latin typeface="Calibri" pitchFamily="34" charset="0"/>
                    <a:ea typeface="宋体" pitchFamily="2" charset="-122"/>
                  </a:rPr>
                  <a:t>Click to add text</a:t>
                </a:r>
                <a:endParaRPr lang="zh-CN" altLang="en-US" b="1" dirty="0">
                  <a:solidFill>
                    <a:schemeClr val="tx1"/>
                  </a:solidFill>
                  <a:latin typeface="Calibri" pitchFamily="34" charset="0"/>
                  <a:ea typeface="宋体" pitchFamily="2" charset="-122"/>
                </a:endParaRPr>
              </a:p>
            </p:txBody>
          </p:sp>
          <p:sp>
            <p:nvSpPr>
              <p:cNvPr id="53" name="矩形 52"/>
              <p:cNvSpPr/>
              <p:nvPr/>
            </p:nvSpPr>
            <p:spPr>
              <a:xfrm>
                <a:off x="660400" y="3959064"/>
                <a:ext cx="2254178" cy="54698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t" anchorCtr="1">
                <a:normAutofit/>
              </a:bodyPr>
              <a:lstStyle/>
              <a:p>
                <a:pPr algn="ctr">
                  <a:lnSpc>
                    <a:spcPct val="120000"/>
                  </a:lnSpc>
                </a:pPr>
                <a:r>
                  <a:rPr lang="en-US" altLang="zh-CN" sz="1200">
                    <a:solidFill>
                      <a:schemeClr val="tx1"/>
                    </a:solidFill>
                    <a:latin typeface="Calibri" pitchFamily="34" charset="0"/>
                    <a:ea typeface="宋体" pitchFamily="2" charset="-122"/>
                  </a:rPr>
                  <a:t>Takimata gubergren stet dolores duis ipsum eirmod.</a:t>
                </a:r>
                <a:endParaRPr lang="zh-CN" altLang="en-US" sz="1200" dirty="0">
                  <a:solidFill>
                    <a:schemeClr val="tx1"/>
                  </a:solidFill>
                  <a:latin typeface="Calibri" pitchFamily="34" charset="0"/>
                  <a:ea typeface="宋体" pitchFamily="2" charset="-122"/>
                </a:endParaRPr>
              </a:p>
            </p:txBody>
          </p:sp>
        </p:grpSp>
        <p:grpSp>
          <p:nvGrpSpPr>
            <p:cNvPr id="64" name="组合 63"/>
            <p:cNvGrpSpPr/>
            <p:nvPr/>
          </p:nvGrpSpPr>
          <p:grpSpPr>
            <a:xfrm>
              <a:off x="3224511" y="3101433"/>
              <a:ext cx="2254178" cy="1404612"/>
              <a:chOff x="3224511" y="3101433"/>
              <a:chExt cx="2254178" cy="1404612"/>
            </a:xfrm>
          </p:grpSpPr>
          <p:sp>
            <p:nvSpPr>
              <p:cNvPr id="18" name="任意多边形: 形状 17"/>
              <p:cNvSpPr/>
              <p:nvPr/>
            </p:nvSpPr>
            <p:spPr>
              <a:xfrm>
                <a:off x="3384813" y="3101433"/>
                <a:ext cx="361950" cy="345062"/>
              </a:xfrm>
              <a:custGeom>
                <a:avLst/>
                <a:gdLst>
                  <a:gd name="T0" fmla="*/ 1098 w 1098"/>
                  <a:gd name="T1" fmla="*/ 839 h 1048"/>
                  <a:gd name="T2" fmla="*/ 1098 w 1098"/>
                  <a:gd name="T3" fmla="*/ 1048 h 1048"/>
                  <a:gd name="T4" fmla="*/ 0 w 1098"/>
                  <a:gd name="T5" fmla="*/ 1048 h 1048"/>
                  <a:gd name="T6" fmla="*/ 0 w 1098"/>
                  <a:gd name="T7" fmla="*/ 839 h 1048"/>
                  <a:gd name="T8" fmla="*/ 891 w 1098"/>
                  <a:gd name="T9" fmla="*/ 839 h 1048"/>
                  <a:gd name="T10" fmla="*/ 856 w 1098"/>
                  <a:gd name="T11" fmla="*/ 707 h 1048"/>
                  <a:gd name="T12" fmla="*/ 743 w 1098"/>
                  <a:gd name="T13" fmla="*/ 653 h 1048"/>
                  <a:gd name="T14" fmla="*/ 722 w 1098"/>
                  <a:gd name="T15" fmla="*/ 666 h 1048"/>
                  <a:gd name="T16" fmla="*/ 679 w 1098"/>
                  <a:gd name="T17" fmla="*/ 666 h 1048"/>
                  <a:gd name="T18" fmla="*/ 655 w 1098"/>
                  <a:gd name="T19" fmla="*/ 641 h 1048"/>
                  <a:gd name="T20" fmla="*/ 679 w 1098"/>
                  <a:gd name="T21" fmla="*/ 617 h 1048"/>
                  <a:gd name="T22" fmla="*/ 722 w 1098"/>
                  <a:gd name="T23" fmla="*/ 617 h 1048"/>
                  <a:gd name="T24" fmla="*/ 745 w 1098"/>
                  <a:gd name="T25" fmla="*/ 634 h 1048"/>
                  <a:gd name="T26" fmla="*/ 871 w 1098"/>
                  <a:gd name="T27" fmla="*/ 696 h 1048"/>
                  <a:gd name="T28" fmla="*/ 910 w 1098"/>
                  <a:gd name="T29" fmla="*/ 839 h 1048"/>
                  <a:gd name="T30" fmla="*/ 1098 w 1098"/>
                  <a:gd name="T31" fmla="*/ 839 h 1048"/>
                  <a:gd name="T32" fmla="*/ 1098 w 1098"/>
                  <a:gd name="T33" fmla="*/ 839 h 1048"/>
                  <a:gd name="T34" fmla="*/ 549 w 1098"/>
                  <a:gd name="T35" fmla="*/ 459 h 1048"/>
                  <a:gd name="T36" fmla="*/ 778 w 1098"/>
                  <a:gd name="T37" fmla="*/ 229 h 1048"/>
                  <a:gd name="T38" fmla="*/ 549 w 1098"/>
                  <a:gd name="T39" fmla="*/ 0 h 1048"/>
                  <a:gd name="T40" fmla="*/ 320 w 1098"/>
                  <a:gd name="T41" fmla="*/ 229 h 1048"/>
                  <a:gd name="T42" fmla="*/ 549 w 1098"/>
                  <a:gd name="T43" fmla="*/ 459 h 1048"/>
                  <a:gd name="T44" fmla="*/ 830 w 1098"/>
                  <a:gd name="T45" fmla="*/ 729 h 1048"/>
                  <a:gd name="T46" fmla="*/ 756 w 1098"/>
                  <a:gd name="T47" fmla="*/ 690 h 1048"/>
                  <a:gd name="T48" fmla="*/ 722 w 1098"/>
                  <a:gd name="T49" fmla="*/ 701 h 1048"/>
                  <a:gd name="T50" fmla="*/ 679 w 1098"/>
                  <a:gd name="T51" fmla="*/ 701 h 1048"/>
                  <a:gd name="T52" fmla="*/ 621 w 1098"/>
                  <a:gd name="T53" fmla="*/ 643 h 1048"/>
                  <a:gd name="T54" fmla="*/ 679 w 1098"/>
                  <a:gd name="T55" fmla="*/ 585 h 1048"/>
                  <a:gd name="T56" fmla="*/ 722 w 1098"/>
                  <a:gd name="T57" fmla="*/ 585 h 1048"/>
                  <a:gd name="T58" fmla="*/ 765 w 1098"/>
                  <a:gd name="T59" fmla="*/ 605 h 1048"/>
                  <a:gd name="T60" fmla="*/ 885 w 1098"/>
                  <a:gd name="T61" fmla="*/ 663 h 1048"/>
                  <a:gd name="T62" fmla="*/ 885 w 1098"/>
                  <a:gd name="T63" fmla="*/ 659 h 1048"/>
                  <a:gd name="T64" fmla="*/ 874 w 1098"/>
                  <a:gd name="T65" fmla="*/ 607 h 1048"/>
                  <a:gd name="T66" fmla="*/ 697 w 1098"/>
                  <a:gd name="T67" fmla="*/ 437 h 1048"/>
                  <a:gd name="T68" fmla="*/ 549 w 1098"/>
                  <a:gd name="T69" fmla="*/ 496 h 1048"/>
                  <a:gd name="T70" fmla="*/ 401 w 1098"/>
                  <a:gd name="T71" fmla="*/ 437 h 1048"/>
                  <a:gd name="T72" fmla="*/ 212 w 1098"/>
                  <a:gd name="T73" fmla="*/ 681 h 1048"/>
                  <a:gd name="T74" fmla="*/ 212 w 1098"/>
                  <a:gd name="T75" fmla="*/ 807 h 1048"/>
                  <a:gd name="T76" fmla="*/ 857 w 1098"/>
                  <a:gd name="T77" fmla="*/ 807 h 1048"/>
                  <a:gd name="T78" fmla="*/ 830 w 1098"/>
                  <a:gd name="T79" fmla="*/ 729 h 1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98" h="1048">
                    <a:moveTo>
                      <a:pt x="1098" y="839"/>
                    </a:moveTo>
                    <a:lnTo>
                      <a:pt x="1098" y="1048"/>
                    </a:lnTo>
                    <a:lnTo>
                      <a:pt x="0" y="1048"/>
                    </a:lnTo>
                    <a:lnTo>
                      <a:pt x="0" y="839"/>
                    </a:lnTo>
                    <a:lnTo>
                      <a:pt x="891" y="839"/>
                    </a:lnTo>
                    <a:cubicBezTo>
                      <a:pt x="892" y="794"/>
                      <a:pt x="884" y="744"/>
                      <a:pt x="856" y="707"/>
                    </a:cubicBezTo>
                    <a:cubicBezTo>
                      <a:pt x="832" y="675"/>
                      <a:pt x="794" y="656"/>
                      <a:pt x="743" y="653"/>
                    </a:cubicBezTo>
                    <a:cubicBezTo>
                      <a:pt x="739" y="660"/>
                      <a:pt x="731" y="666"/>
                      <a:pt x="722" y="666"/>
                    </a:cubicBezTo>
                    <a:lnTo>
                      <a:pt x="679" y="666"/>
                    </a:lnTo>
                    <a:cubicBezTo>
                      <a:pt x="666" y="666"/>
                      <a:pt x="655" y="655"/>
                      <a:pt x="655" y="641"/>
                    </a:cubicBezTo>
                    <a:cubicBezTo>
                      <a:pt x="655" y="628"/>
                      <a:pt x="666" y="617"/>
                      <a:pt x="679" y="617"/>
                    </a:cubicBezTo>
                    <a:lnTo>
                      <a:pt x="722" y="617"/>
                    </a:lnTo>
                    <a:cubicBezTo>
                      <a:pt x="733" y="617"/>
                      <a:pt x="742" y="624"/>
                      <a:pt x="745" y="634"/>
                    </a:cubicBezTo>
                    <a:cubicBezTo>
                      <a:pt x="801" y="638"/>
                      <a:pt x="843" y="659"/>
                      <a:pt x="871" y="696"/>
                    </a:cubicBezTo>
                    <a:cubicBezTo>
                      <a:pt x="903" y="737"/>
                      <a:pt x="911" y="791"/>
                      <a:pt x="910" y="839"/>
                    </a:cubicBezTo>
                    <a:lnTo>
                      <a:pt x="1098" y="839"/>
                    </a:lnTo>
                    <a:lnTo>
                      <a:pt x="1098" y="839"/>
                    </a:lnTo>
                    <a:close/>
                    <a:moveTo>
                      <a:pt x="549" y="459"/>
                    </a:moveTo>
                    <a:cubicBezTo>
                      <a:pt x="676" y="459"/>
                      <a:pt x="778" y="356"/>
                      <a:pt x="778" y="229"/>
                    </a:cubicBezTo>
                    <a:cubicBezTo>
                      <a:pt x="778" y="103"/>
                      <a:pt x="676" y="0"/>
                      <a:pt x="549" y="0"/>
                    </a:cubicBezTo>
                    <a:cubicBezTo>
                      <a:pt x="423" y="0"/>
                      <a:pt x="320" y="103"/>
                      <a:pt x="320" y="229"/>
                    </a:cubicBezTo>
                    <a:cubicBezTo>
                      <a:pt x="320" y="356"/>
                      <a:pt x="423" y="459"/>
                      <a:pt x="549" y="459"/>
                    </a:cubicBezTo>
                    <a:close/>
                    <a:moveTo>
                      <a:pt x="830" y="729"/>
                    </a:moveTo>
                    <a:cubicBezTo>
                      <a:pt x="813" y="708"/>
                      <a:pt x="789" y="695"/>
                      <a:pt x="756" y="690"/>
                    </a:cubicBezTo>
                    <a:cubicBezTo>
                      <a:pt x="746" y="697"/>
                      <a:pt x="734" y="701"/>
                      <a:pt x="722" y="701"/>
                    </a:cubicBezTo>
                    <a:lnTo>
                      <a:pt x="679" y="701"/>
                    </a:lnTo>
                    <a:cubicBezTo>
                      <a:pt x="648" y="701"/>
                      <a:pt x="621" y="675"/>
                      <a:pt x="621" y="643"/>
                    </a:cubicBezTo>
                    <a:cubicBezTo>
                      <a:pt x="621" y="611"/>
                      <a:pt x="647" y="585"/>
                      <a:pt x="679" y="585"/>
                    </a:cubicBezTo>
                    <a:lnTo>
                      <a:pt x="722" y="585"/>
                    </a:lnTo>
                    <a:cubicBezTo>
                      <a:pt x="738" y="585"/>
                      <a:pt x="754" y="593"/>
                      <a:pt x="765" y="605"/>
                    </a:cubicBezTo>
                    <a:cubicBezTo>
                      <a:pt x="815" y="611"/>
                      <a:pt x="855" y="631"/>
                      <a:pt x="885" y="663"/>
                    </a:cubicBezTo>
                    <a:cubicBezTo>
                      <a:pt x="885" y="662"/>
                      <a:pt x="885" y="660"/>
                      <a:pt x="885" y="659"/>
                    </a:cubicBezTo>
                    <a:lnTo>
                      <a:pt x="874" y="607"/>
                    </a:lnTo>
                    <a:cubicBezTo>
                      <a:pt x="849" y="524"/>
                      <a:pt x="782" y="459"/>
                      <a:pt x="697" y="437"/>
                    </a:cubicBezTo>
                    <a:cubicBezTo>
                      <a:pt x="659" y="473"/>
                      <a:pt x="606" y="496"/>
                      <a:pt x="549" y="496"/>
                    </a:cubicBezTo>
                    <a:cubicBezTo>
                      <a:pt x="492" y="496"/>
                      <a:pt x="440" y="473"/>
                      <a:pt x="401" y="437"/>
                    </a:cubicBezTo>
                    <a:cubicBezTo>
                      <a:pt x="293" y="466"/>
                      <a:pt x="212" y="564"/>
                      <a:pt x="212" y="681"/>
                    </a:cubicBezTo>
                    <a:lnTo>
                      <a:pt x="212" y="807"/>
                    </a:lnTo>
                    <a:lnTo>
                      <a:pt x="857" y="807"/>
                    </a:lnTo>
                    <a:cubicBezTo>
                      <a:pt x="853" y="775"/>
                      <a:pt x="844" y="748"/>
                      <a:pt x="830" y="729"/>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9" name="矩形: 圆角 18"/>
              <p:cNvSpPr/>
              <p:nvPr/>
            </p:nvSpPr>
            <p:spPr>
              <a:xfrm>
                <a:off x="3224511" y="3508228"/>
                <a:ext cx="2254178" cy="389104"/>
              </a:xfrm>
              <a:prstGeom prst="roundRect">
                <a:avLst>
                  <a:gd name="adj" fmla="val 50000"/>
                </a:avLst>
              </a:prstGeom>
              <a:solidFill>
                <a:schemeClr val="accent2">
                  <a:lumMod val="100000"/>
                  <a:alpha val="1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chorCtr="1">
                <a:normAutofit fontScale="77500" lnSpcReduction="20000"/>
              </a:bodyPr>
              <a:lstStyle/>
              <a:p>
                <a:pPr algn="ctr"/>
                <a:r>
                  <a:rPr lang="en-US" altLang="zh-CN" b="1">
                    <a:solidFill>
                      <a:schemeClr val="tx1"/>
                    </a:solidFill>
                    <a:latin typeface="Calibri" pitchFamily="34" charset="0"/>
                    <a:ea typeface="宋体" pitchFamily="2" charset="-122"/>
                  </a:rPr>
                  <a:t>Click to add text</a:t>
                </a:r>
                <a:endParaRPr lang="zh-CN" altLang="en-US" b="1" dirty="0">
                  <a:solidFill>
                    <a:schemeClr val="tx1"/>
                  </a:solidFill>
                  <a:latin typeface="Calibri" pitchFamily="34" charset="0"/>
                  <a:ea typeface="宋体" pitchFamily="2" charset="-122"/>
                </a:endParaRPr>
              </a:p>
            </p:txBody>
          </p:sp>
          <p:sp>
            <p:nvSpPr>
              <p:cNvPr id="54" name="矩形 53"/>
              <p:cNvSpPr/>
              <p:nvPr/>
            </p:nvSpPr>
            <p:spPr>
              <a:xfrm>
                <a:off x="3224511" y="3959064"/>
                <a:ext cx="2254178" cy="54698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t" anchorCtr="1">
                <a:normAutofit/>
              </a:bodyPr>
              <a:lstStyle/>
              <a:p>
                <a:pPr algn="ctr">
                  <a:lnSpc>
                    <a:spcPct val="120000"/>
                  </a:lnSpc>
                </a:pPr>
                <a:r>
                  <a:rPr lang="da-DK" altLang="zh-CN" sz="1200">
                    <a:solidFill>
                      <a:schemeClr val="tx1"/>
                    </a:solidFill>
                    <a:latin typeface="Calibri" pitchFamily="34" charset="0"/>
                    <a:ea typeface="宋体" pitchFamily="2" charset="-122"/>
                  </a:rPr>
                  <a:t>Justo stet stet minim magna sit stet erat kasd commodo.</a:t>
                </a:r>
                <a:endParaRPr lang="zh-CN" altLang="en-US" sz="1200" dirty="0">
                  <a:solidFill>
                    <a:schemeClr val="tx1"/>
                  </a:solidFill>
                  <a:latin typeface="Calibri" pitchFamily="34" charset="0"/>
                  <a:ea typeface="宋体" pitchFamily="2" charset="-122"/>
                </a:endParaRPr>
              </a:p>
            </p:txBody>
          </p:sp>
        </p:grpSp>
        <p:grpSp>
          <p:nvGrpSpPr>
            <p:cNvPr id="65" name="组合 64"/>
            <p:cNvGrpSpPr/>
            <p:nvPr/>
          </p:nvGrpSpPr>
          <p:grpSpPr>
            <a:xfrm>
              <a:off x="6471866" y="1496851"/>
              <a:ext cx="2254178" cy="1404612"/>
              <a:chOff x="6471866" y="1496851"/>
              <a:chExt cx="2254178" cy="1404612"/>
            </a:xfrm>
          </p:grpSpPr>
          <p:sp>
            <p:nvSpPr>
              <p:cNvPr id="25" name="任意多边形: 形状 24"/>
              <p:cNvSpPr/>
              <p:nvPr/>
            </p:nvSpPr>
            <p:spPr>
              <a:xfrm>
                <a:off x="6632168" y="1496851"/>
                <a:ext cx="361950" cy="345062"/>
              </a:xfrm>
              <a:custGeom>
                <a:avLst/>
                <a:gdLst>
                  <a:gd name="T0" fmla="*/ 1098 w 1098"/>
                  <a:gd name="T1" fmla="*/ 839 h 1048"/>
                  <a:gd name="T2" fmla="*/ 1098 w 1098"/>
                  <a:gd name="T3" fmla="*/ 1048 h 1048"/>
                  <a:gd name="T4" fmla="*/ 0 w 1098"/>
                  <a:gd name="T5" fmla="*/ 1048 h 1048"/>
                  <a:gd name="T6" fmla="*/ 0 w 1098"/>
                  <a:gd name="T7" fmla="*/ 839 h 1048"/>
                  <a:gd name="T8" fmla="*/ 891 w 1098"/>
                  <a:gd name="T9" fmla="*/ 839 h 1048"/>
                  <a:gd name="T10" fmla="*/ 856 w 1098"/>
                  <a:gd name="T11" fmla="*/ 707 h 1048"/>
                  <a:gd name="T12" fmla="*/ 743 w 1098"/>
                  <a:gd name="T13" fmla="*/ 653 h 1048"/>
                  <a:gd name="T14" fmla="*/ 722 w 1098"/>
                  <a:gd name="T15" fmla="*/ 666 h 1048"/>
                  <a:gd name="T16" fmla="*/ 679 w 1098"/>
                  <a:gd name="T17" fmla="*/ 666 h 1048"/>
                  <a:gd name="T18" fmla="*/ 655 w 1098"/>
                  <a:gd name="T19" fmla="*/ 641 h 1048"/>
                  <a:gd name="T20" fmla="*/ 679 w 1098"/>
                  <a:gd name="T21" fmla="*/ 617 h 1048"/>
                  <a:gd name="T22" fmla="*/ 722 w 1098"/>
                  <a:gd name="T23" fmla="*/ 617 h 1048"/>
                  <a:gd name="T24" fmla="*/ 745 w 1098"/>
                  <a:gd name="T25" fmla="*/ 634 h 1048"/>
                  <a:gd name="T26" fmla="*/ 871 w 1098"/>
                  <a:gd name="T27" fmla="*/ 696 h 1048"/>
                  <a:gd name="T28" fmla="*/ 910 w 1098"/>
                  <a:gd name="T29" fmla="*/ 839 h 1048"/>
                  <a:gd name="T30" fmla="*/ 1098 w 1098"/>
                  <a:gd name="T31" fmla="*/ 839 h 1048"/>
                  <a:gd name="T32" fmla="*/ 1098 w 1098"/>
                  <a:gd name="T33" fmla="*/ 839 h 1048"/>
                  <a:gd name="T34" fmla="*/ 549 w 1098"/>
                  <a:gd name="T35" fmla="*/ 459 h 1048"/>
                  <a:gd name="T36" fmla="*/ 778 w 1098"/>
                  <a:gd name="T37" fmla="*/ 229 h 1048"/>
                  <a:gd name="T38" fmla="*/ 549 w 1098"/>
                  <a:gd name="T39" fmla="*/ 0 h 1048"/>
                  <a:gd name="T40" fmla="*/ 320 w 1098"/>
                  <a:gd name="T41" fmla="*/ 229 h 1048"/>
                  <a:gd name="T42" fmla="*/ 549 w 1098"/>
                  <a:gd name="T43" fmla="*/ 459 h 1048"/>
                  <a:gd name="T44" fmla="*/ 830 w 1098"/>
                  <a:gd name="T45" fmla="*/ 729 h 1048"/>
                  <a:gd name="T46" fmla="*/ 756 w 1098"/>
                  <a:gd name="T47" fmla="*/ 690 h 1048"/>
                  <a:gd name="T48" fmla="*/ 722 w 1098"/>
                  <a:gd name="T49" fmla="*/ 701 h 1048"/>
                  <a:gd name="T50" fmla="*/ 679 w 1098"/>
                  <a:gd name="T51" fmla="*/ 701 h 1048"/>
                  <a:gd name="T52" fmla="*/ 621 w 1098"/>
                  <a:gd name="T53" fmla="*/ 643 h 1048"/>
                  <a:gd name="T54" fmla="*/ 679 w 1098"/>
                  <a:gd name="T55" fmla="*/ 585 h 1048"/>
                  <a:gd name="T56" fmla="*/ 722 w 1098"/>
                  <a:gd name="T57" fmla="*/ 585 h 1048"/>
                  <a:gd name="T58" fmla="*/ 765 w 1098"/>
                  <a:gd name="T59" fmla="*/ 605 h 1048"/>
                  <a:gd name="T60" fmla="*/ 885 w 1098"/>
                  <a:gd name="T61" fmla="*/ 663 h 1048"/>
                  <a:gd name="T62" fmla="*/ 885 w 1098"/>
                  <a:gd name="T63" fmla="*/ 659 h 1048"/>
                  <a:gd name="T64" fmla="*/ 874 w 1098"/>
                  <a:gd name="T65" fmla="*/ 607 h 1048"/>
                  <a:gd name="T66" fmla="*/ 697 w 1098"/>
                  <a:gd name="T67" fmla="*/ 437 h 1048"/>
                  <a:gd name="T68" fmla="*/ 549 w 1098"/>
                  <a:gd name="T69" fmla="*/ 496 h 1048"/>
                  <a:gd name="T70" fmla="*/ 401 w 1098"/>
                  <a:gd name="T71" fmla="*/ 437 h 1048"/>
                  <a:gd name="T72" fmla="*/ 212 w 1098"/>
                  <a:gd name="T73" fmla="*/ 681 h 1048"/>
                  <a:gd name="T74" fmla="*/ 212 w 1098"/>
                  <a:gd name="T75" fmla="*/ 807 h 1048"/>
                  <a:gd name="T76" fmla="*/ 857 w 1098"/>
                  <a:gd name="T77" fmla="*/ 807 h 1048"/>
                  <a:gd name="T78" fmla="*/ 830 w 1098"/>
                  <a:gd name="T79" fmla="*/ 729 h 1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98" h="1048">
                    <a:moveTo>
                      <a:pt x="1098" y="839"/>
                    </a:moveTo>
                    <a:lnTo>
                      <a:pt x="1098" y="1048"/>
                    </a:lnTo>
                    <a:lnTo>
                      <a:pt x="0" y="1048"/>
                    </a:lnTo>
                    <a:lnTo>
                      <a:pt x="0" y="839"/>
                    </a:lnTo>
                    <a:lnTo>
                      <a:pt x="891" y="839"/>
                    </a:lnTo>
                    <a:cubicBezTo>
                      <a:pt x="892" y="794"/>
                      <a:pt x="884" y="744"/>
                      <a:pt x="856" y="707"/>
                    </a:cubicBezTo>
                    <a:cubicBezTo>
                      <a:pt x="832" y="675"/>
                      <a:pt x="794" y="656"/>
                      <a:pt x="743" y="653"/>
                    </a:cubicBezTo>
                    <a:cubicBezTo>
                      <a:pt x="739" y="660"/>
                      <a:pt x="731" y="666"/>
                      <a:pt x="722" y="666"/>
                    </a:cubicBezTo>
                    <a:lnTo>
                      <a:pt x="679" y="666"/>
                    </a:lnTo>
                    <a:cubicBezTo>
                      <a:pt x="666" y="666"/>
                      <a:pt x="655" y="655"/>
                      <a:pt x="655" y="641"/>
                    </a:cubicBezTo>
                    <a:cubicBezTo>
                      <a:pt x="655" y="628"/>
                      <a:pt x="666" y="617"/>
                      <a:pt x="679" y="617"/>
                    </a:cubicBezTo>
                    <a:lnTo>
                      <a:pt x="722" y="617"/>
                    </a:lnTo>
                    <a:cubicBezTo>
                      <a:pt x="733" y="617"/>
                      <a:pt x="742" y="624"/>
                      <a:pt x="745" y="634"/>
                    </a:cubicBezTo>
                    <a:cubicBezTo>
                      <a:pt x="801" y="638"/>
                      <a:pt x="843" y="659"/>
                      <a:pt x="871" y="696"/>
                    </a:cubicBezTo>
                    <a:cubicBezTo>
                      <a:pt x="903" y="737"/>
                      <a:pt x="911" y="791"/>
                      <a:pt x="910" y="839"/>
                    </a:cubicBezTo>
                    <a:lnTo>
                      <a:pt x="1098" y="839"/>
                    </a:lnTo>
                    <a:lnTo>
                      <a:pt x="1098" y="839"/>
                    </a:lnTo>
                    <a:close/>
                    <a:moveTo>
                      <a:pt x="549" y="459"/>
                    </a:moveTo>
                    <a:cubicBezTo>
                      <a:pt x="676" y="459"/>
                      <a:pt x="778" y="356"/>
                      <a:pt x="778" y="229"/>
                    </a:cubicBezTo>
                    <a:cubicBezTo>
                      <a:pt x="778" y="103"/>
                      <a:pt x="676" y="0"/>
                      <a:pt x="549" y="0"/>
                    </a:cubicBezTo>
                    <a:cubicBezTo>
                      <a:pt x="423" y="0"/>
                      <a:pt x="320" y="103"/>
                      <a:pt x="320" y="229"/>
                    </a:cubicBezTo>
                    <a:cubicBezTo>
                      <a:pt x="320" y="356"/>
                      <a:pt x="423" y="459"/>
                      <a:pt x="549" y="459"/>
                    </a:cubicBezTo>
                    <a:close/>
                    <a:moveTo>
                      <a:pt x="830" y="729"/>
                    </a:moveTo>
                    <a:cubicBezTo>
                      <a:pt x="813" y="708"/>
                      <a:pt x="789" y="695"/>
                      <a:pt x="756" y="690"/>
                    </a:cubicBezTo>
                    <a:cubicBezTo>
                      <a:pt x="746" y="697"/>
                      <a:pt x="734" y="701"/>
                      <a:pt x="722" y="701"/>
                    </a:cubicBezTo>
                    <a:lnTo>
                      <a:pt x="679" y="701"/>
                    </a:lnTo>
                    <a:cubicBezTo>
                      <a:pt x="648" y="701"/>
                      <a:pt x="621" y="675"/>
                      <a:pt x="621" y="643"/>
                    </a:cubicBezTo>
                    <a:cubicBezTo>
                      <a:pt x="621" y="611"/>
                      <a:pt x="647" y="585"/>
                      <a:pt x="679" y="585"/>
                    </a:cubicBezTo>
                    <a:lnTo>
                      <a:pt x="722" y="585"/>
                    </a:lnTo>
                    <a:cubicBezTo>
                      <a:pt x="738" y="585"/>
                      <a:pt x="754" y="593"/>
                      <a:pt x="765" y="605"/>
                    </a:cubicBezTo>
                    <a:cubicBezTo>
                      <a:pt x="815" y="611"/>
                      <a:pt x="855" y="631"/>
                      <a:pt x="885" y="663"/>
                    </a:cubicBezTo>
                    <a:cubicBezTo>
                      <a:pt x="885" y="662"/>
                      <a:pt x="885" y="660"/>
                      <a:pt x="885" y="659"/>
                    </a:cubicBezTo>
                    <a:lnTo>
                      <a:pt x="874" y="607"/>
                    </a:lnTo>
                    <a:cubicBezTo>
                      <a:pt x="849" y="524"/>
                      <a:pt x="782" y="459"/>
                      <a:pt x="697" y="437"/>
                    </a:cubicBezTo>
                    <a:cubicBezTo>
                      <a:pt x="659" y="473"/>
                      <a:pt x="606" y="496"/>
                      <a:pt x="549" y="496"/>
                    </a:cubicBezTo>
                    <a:cubicBezTo>
                      <a:pt x="492" y="496"/>
                      <a:pt x="440" y="473"/>
                      <a:pt x="401" y="437"/>
                    </a:cubicBezTo>
                    <a:cubicBezTo>
                      <a:pt x="293" y="466"/>
                      <a:pt x="212" y="564"/>
                      <a:pt x="212" y="681"/>
                    </a:cubicBezTo>
                    <a:lnTo>
                      <a:pt x="212" y="807"/>
                    </a:lnTo>
                    <a:lnTo>
                      <a:pt x="857" y="807"/>
                    </a:lnTo>
                    <a:cubicBezTo>
                      <a:pt x="853" y="775"/>
                      <a:pt x="844" y="748"/>
                      <a:pt x="830" y="729"/>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6" name="矩形: 圆角 25"/>
              <p:cNvSpPr/>
              <p:nvPr/>
            </p:nvSpPr>
            <p:spPr>
              <a:xfrm>
                <a:off x="6471866" y="1903646"/>
                <a:ext cx="2254178" cy="389104"/>
              </a:xfrm>
              <a:prstGeom prst="roundRect">
                <a:avLst>
                  <a:gd name="adj" fmla="val 50000"/>
                </a:avLst>
              </a:prstGeom>
              <a:solidFill>
                <a:schemeClr val="accent2">
                  <a:lumMod val="100000"/>
                  <a:alpha val="1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chorCtr="1">
                <a:normAutofit fontScale="77500" lnSpcReduction="20000"/>
              </a:bodyPr>
              <a:lstStyle/>
              <a:p>
                <a:pPr algn="ctr"/>
                <a:r>
                  <a:rPr lang="en-US" altLang="zh-CN" b="1">
                    <a:solidFill>
                      <a:schemeClr val="tx1"/>
                    </a:solidFill>
                    <a:latin typeface="Calibri" pitchFamily="34" charset="0"/>
                    <a:ea typeface="宋体" pitchFamily="2" charset="-122"/>
                  </a:rPr>
                  <a:t>Click to add text</a:t>
                </a:r>
                <a:endParaRPr lang="zh-CN" altLang="en-US" b="1" dirty="0">
                  <a:solidFill>
                    <a:schemeClr val="tx1"/>
                  </a:solidFill>
                  <a:latin typeface="Calibri" pitchFamily="34" charset="0"/>
                  <a:ea typeface="宋体" pitchFamily="2" charset="-122"/>
                </a:endParaRPr>
              </a:p>
            </p:txBody>
          </p:sp>
          <p:sp>
            <p:nvSpPr>
              <p:cNvPr id="55" name="矩形 54"/>
              <p:cNvSpPr/>
              <p:nvPr/>
            </p:nvSpPr>
            <p:spPr>
              <a:xfrm>
                <a:off x="6471866" y="2354482"/>
                <a:ext cx="2254178" cy="54698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t" anchorCtr="1">
                <a:normAutofit/>
              </a:bodyPr>
              <a:lstStyle/>
              <a:p>
                <a:pPr algn="ctr">
                  <a:lnSpc>
                    <a:spcPct val="120000"/>
                  </a:lnSpc>
                </a:pPr>
                <a:r>
                  <a:rPr lang="en-US" altLang="zh-CN" sz="1200">
                    <a:solidFill>
                      <a:schemeClr val="tx1"/>
                    </a:solidFill>
                    <a:latin typeface="Calibri" pitchFamily="34" charset="0"/>
                    <a:ea typeface="宋体" pitchFamily="2" charset="-122"/>
                  </a:rPr>
                  <a:t>Ipsum invidunt vel nonumy erat consetetur sit lorem blandit.</a:t>
                </a:r>
                <a:endParaRPr lang="zh-CN" altLang="en-US" sz="1200" dirty="0">
                  <a:solidFill>
                    <a:schemeClr val="tx1"/>
                  </a:solidFill>
                  <a:latin typeface="Calibri" pitchFamily="34" charset="0"/>
                  <a:ea typeface="宋体" pitchFamily="2" charset="-122"/>
                </a:endParaRPr>
              </a:p>
            </p:txBody>
          </p:sp>
        </p:grpSp>
        <p:grpSp>
          <p:nvGrpSpPr>
            <p:cNvPr id="66" name="组合 65"/>
            <p:cNvGrpSpPr/>
            <p:nvPr/>
          </p:nvGrpSpPr>
          <p:grpSpPr>
            <a:xfrm>
              <a:off x="6471866" y="3105610"/>
              <a:ext cx="2254178" cy="1404612"/>
              <a:chOff x="6471866" y="3105610"/>
              <a:chExt cx="2254178" cy="1404612"/>
            </a:xfrm>
          </p:grpSpPr>
          <p:sp>
            <p:nvSpPr>
              <p:cNvPr id="27" name="任意多边形: 形状 26"/>
              <p:cNvSpPr/>
              <p:nvPr/>
            </p:nvSpPr>
            <p:spPr>
              <a:xfrm>
                <a:off x="6632168" y="3105610"/>
                <a:ext cx="361950" cy="345062"/>
              </a:xfrm>
              <a:custGeom>
                <a:avLst/>
                <a:gdLst>
                  <a:gd name="T0" fmla="*/ 1098 w 1098"/>
                  <a:gd name="T1" fmla="*/ 839 h 1048"/>
                  <a:gd name="T2" fmla="*/ 1098 w 1098"/>
                  <a:gd name="T3" fmla="*/ 1048 h 1048"/>
                  <a:gd name="T4" fmla="*/ 0 w 1098"/>
                  <a:gd name="T5" fmla="*/ 1048 h 1048"/>
                  <a:gd name="T6" fmla="*/ 0 w 1098"/>
                  <a:gd name="T7" fmla="*/ 839 h 1048"/>
                  <a:gd name="T8" fmla="*/ 891 w 1098"/>
                  <a:gd name="T9" fmla="*/ 839 h 1048"/>
                  <a:gd name="T10" fmla="*/ 856 w 1098"/>
                  <a:gd name="T11" fmla="*/ 707 h 1048"/>
                  <a:gd name="T12" fmla="*/ 743 w 1098"/>
                  <a:gd name="T13" fmla="*/ 653 h 1048"/>
                  <a:gd name="T14" fmla="*/ 722 w 1098"/>
                  <a:gd name="T15" fmla="*/ 666 h 1048"/>
                  <a:gd name="T16" fmla="*/ 679 w 1098"/>
                  <a:gd name="T17" fmla="*/ 666 h 1048"/>
                  <a:gd name="T18" fmla="*/ 655 w 1098"/>
                  <a:gd name="T19" fmla="*/ 641 h 1048"/>
                  <a:gd name="T20" fmla="*/ 679 w 1098"/>
                  <a:gd name="T21" fmla="*/ 617 h 1048"/>
                  <a:gd name="T22" fmla="*/ 722 w 1098"/>
                  <a:gd name="T23" fmla="*/ 617 h 1048"/>
                  <a:gd name="T24" fmla="*/ 745 w 1098"/>
                  <a:gd name="T25" fmla="*/ 634 h 1048"/>
                  <a:gd name="T26" fmla="*/ 871 w 1098"/>
                  <a:gd name="T27" fmla="*/ 696 h 1048"/>
                  <a:gd name="T28" fmla="*/ 910 w 1098"/>
                  <a:gd name="T29" fmla="*/ 839 h 1048"/>
                  <a:gd name="T30" fmla="*/ 1098 w 1098"/>
                  <a:gd name="T31" fmla="*/ 839 h 1048"/>
                  <a:gd name="T32" fmla="*/ 1098 w 1098"/>
                  <a:gd name="T33" fmla="*/ 839 h 1048"/>
                  <a:gd name="T34" fmla="*/ 549 w 1098"/>
                  <a:gd name="T35" fmla="*/ 459 h 1048"/>
                  <a:gd name="T36" fmla="*/ 778 w 1098"/>
                  <a:gd name="T37" fmla="*/ 229 h 1048"/>
                  <a:gd name="T38" fmla="*/ 549 w 1098"/>
                  <a:gd name="T39" fmla="*/ 0 h 1048"/>
                  <a:gd name="T40" fmla="*/ 320 w 1098"/>
                  <a:gd name="T41" fmla="*/ 229 h 1048"/>
                  <a:gd name="T42" fmla="*/ 549 w 1098"/>
                  <a:gd name="T43" fmla="*/ 459 h 1048"/>
                  <a:gd name="T44" fmla="*/ 830 w 1098"/>
                  <a:gd name="T45" fmla="*/ 729 h 1048"/>
                  <a:gd name="T46" fmla="*/ 756 w 1098"/>
                  <a:gd name="T47" fmla="*/ 690 h 1048"/>
                  <a:gd name="T48" fmla="*/ 722 w 1098"/>
                  <a:gd name="T49" fmla="*/ 701 h 1048"/>
                  <a:gd name="T50" fmla="*/ 679 w 1098"/>
                  <a:gd name="T51" fmla="*/ 701 h 1048"/>
                  <a:gd name="T52" fmla="*/ 621 w 1098"/>
                  <a:gd name="T53" fmla="*/ 643 h 1048"/>
                  <a:gd name="T54" fmla="*/ 679 w 1098"/>
                  <a:gd name="T55" fmla="*/ 585 h 1048"/>
                  <a:gd name="T56" fmla="*/ 722 w 1098"/>
                  <a:gd name="T57" fmla="*/ 585 h 1048"/>
                  <a:gd name="T58" fmla="*/ 765 w 1098"/>
                  <a:gd name="T59" fmla="*/ 605 h 1048"/>
                  <a:gd name="T60" fmla="*/ 885 w 1098"/>
                  <a:gd name="T61" fmla="*/ 663 h 1048"/>
                  <a:gd name="T62" fmla="*/ 885 w 1098"/>
                  <a:gd name="T63" fmla="*/ 659 h 1048"/>
                  <a:gd name="T64" fmla="*/ 874 w 1098"/>
                  <a:gd name="T65" fmla="*/ 607 h 1048"/>
                  <a:gd name="T66" fmla="*/ 697 w 1098"/>
                  <a:gd name="T67" fmla="*/ 437 h 1048"/>
                  <a:gd name="T68" fmla="*/ 549 w 1098"/>
                  <a:gd name="T69" fmla="*/ 496 h 1048"/>
                  <a:gd name="T70" fmla="*/ 401 w 1098"/>
                  <a:gd name="T71" fmla="*/ 437 h 1048"/>
                  <a:gd name="T72" fmla="*/ 212 w 1098"/>
                  <a:gd name="T73" fmla="*/ 681 h 1048"/>
                  <a:gd name="T74" fmla="*/ 212 w 1098"/>
                  <a:gd name="T75" fmla="*/ 807 h 1048"/>
                  <a:gd name="T76" fmla="*/ 857 w 1098"/>
                  <a:gd name="T77" fmla="*/ 807 h 1048"/>
                  <a:gd name="T78" fmla="*/ 830 w 1098"/>
                  <a:gd name="T79" fmla="*/ 729 h 1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98" h="1048">
                    <a:moveTo>
                      <a:pt x="1098" y="839"/>
                    </a:moveTo>
                    <a:lnTo>
                      <a:pt x="1098" y="1048"/>
                    </a:lnTo>
                    <a:lnTo>
                      <a:pt x="0" y="1048"/>
                    </a:lnTo>
                    <a:lnTo>
                      <a:pt x="0" y="839"/>
                    </a:lnTo>
                    <a:lnTo>
                      <a:pt x="891" y="839"/>
                    </a:lnTo>
                    <a:cubicBezTo>
                      <a:pt x="892" y="794"/>
                      <a:pt x="884" y="744"/>
                      <a:pt x="856" y="707"/>
                    </a:cubicBezTo>
                    <a:cubicBezTo>
                      <a:pt x="832" y="675"/>
                      <a:pt x="794" y="656"/>
                      <a:pt x="743" y="653"/>
                    </a:cubicBezTo>
                    <a:cubicBezTo>
                      <a:pt x="739" y="660"/>
                      <a:pt x="731" y="666"/>
                      <a:pt x="722" y="666"/>
                    </a:cubicBezTo>
                    <a:lnTo>
                      <a:pt x="679" y="666"/>
                    </a:lnTo>
                    <a:cubicBezTo>
                      <a:pt x="666" y="666"/>
                      <a:pt x="655" y="655"/>
                      <a:pt x="655" y="641"/>
                    </a:cubicBezTo>
                    <a:cubicBezTo>
                      <a:pt x="655" y="628"/>
                      <a:pt x="666" y="617"/>
                      <a:pt x="679" y="617"/>
                    </a:cubicBezTo>
                    <a:lnTo>
                      <a:pt x="722" y="617"/>
                    </a:lnTo>
                    <a:cubicBezTo>
                      <a:pt x="733" y="617"/>
                      <a:pt x="742" y="624"/>
                      <a:pt x="745" y="634"/>
                    </a:cubicBezTo>
                    <a:cubicBezTo>
                      <a:pt x="801" y="638"/>
                      <a:pt x="843" y="659"/>
                      <a:pt x="871" y="696"/>
                    </a:cubicBezTo>
                    <a:cubicBezTo>
                      <a:pt x="903" y="737"/>
                      <a:pt x="911" y="791"/>
                      <a:pt x="910" y="839"/>
                    </a:cubicBezTo>
                    <a:lnTo>
                      <a:pt x="1098" y="839"/>
                    </a:lnTo>
                    <a:lnTo>
                      <a:pt x="1098" y="839"/>
                    </a:lnTo>
                    <a:close/>
                    <a:moveTo>
                      <a:pt x="549" y="459"/>
                    </a:moveTo>
                    <a:cubicBezTo>
                      <a:pt x="676" y="459"/>
                      <a:pt x="778" y="356"/>
                      <a:pt x="778" y="229"/>
                    </a:cubicBezTo>
                    <a:cubicBezTo>
                      <a:pt x="778" y="103"/>
                      <a:pt x="676" y="0"/>
                      <a:pt x="549" y="0"/>
                    </a:cubicBezTo>
                    <a:cubicBezTo>
                      <a:pt x="423" y="0"/>
                      <a:pt x="320" y="103"/>
                      <a:pt x="320" y="229"/>
                    </a:cubicBezTo>
                    <a:cubicBezTo>
                      <a:pt x="320" y="356"/>
                      <a:pt x="423" y="459"/>
                      <a:pt x="549" y="459"/>
                    </a:cubicBezTo>
                    <a:close/>
                    <a:moveTo>
                      <a:pt x="830" y="729"/>
                    </a:moveTo>
                    <a:cubicBezTo>
                      <a:pt x="813" y="708"/>
                      <a:pt x="789" y="695"/>
                      <a:pt x="756" y="690"/>
                    </a:cubicBezTo>
                    <a:cubicBezTo>
                      <a:pt x="746" y="697"/>
                      <a:pt x="734" y="701"/>
                      <a:pt x="722" y="701"/>
                    </a:cubicBezTo>
                    <a:lnTo>
                      <a:pt x="679" y="701"/>
                    </a:lnTo>
                    <a:cubicBezTo>
                      <a:pt x="648" y="701"/>
                      <a:pt x="621" y="675"/>
                      <a:pt x="621" y="643"/>
                    </a:cubicBezTo>
                    <a:cubicBezTo>
                      <a:pt x="621" y="611"/>
                      <a:pt x="647" y="585"/>
                      <a:pt x="679" y="585"/>
                    </a:cubicBezTo>
                    <a:lnTo>
                      <a:pt x="722" y="585"/>
                    </a:lnTo>
                    <a:cubicBezTo>
                      <a:pt x="738" y="585"/>
                      <a:pt x="754" y="593"/>
                      <a:pt x="765" y="605"/>
                    </a:cubicBezTo>
                    <a:cubicBezTo>
                      <a:pt x="815" y="611"/>
                      <a:pt x="855" y="631"/>
                      <a:pt x="885" y="663"/>
                    </a:cubicBezTo>
                    <a:cubicBezTo>
                      <a:pt x="885" y="662"/>
                      <a:pt x="885" y="660"/>
                      <a:pt x="885" y="659"/>
                    </a:cubicBezTo>
                    <a:lnTo>
                      <a:pt x="874" y="607"/>
                    </a:lnTo>
                    <a:cubicBezTo>
                      <a:pt x="849" y="524"/>
                      <a:pt x="782" y="459"/>
                      <a:pt x="697" y="437"/>
                    </a:cubicBezTo>
                    <a:cubicBezTo>
                      <a:pt x="659" y="473"/>
                      <a:pt x="606" y="496"/>
                      <a:pt x="549" y="496"/>
                    </a:cubicBezTo>
                    <a:cubicBezTo>
                      <a:pt x="492" y="496"/>
                      <a:pt x="440" y="473"/>
                      <a:pt x="401" y="437"/>
                    </a:cubicBezTo>
                    <a:cubicBezTo>
                      <a:pt x="293" y="466"/>
                      <a:pt x="212" y="564"/>
                      <a:pt x="212" y="681"/>
                    </a:cubicBezTo>
                    <a:lnTo>
                      <a:pt x="212" y="807"/>
                    </a:lnTo>
                    <a:lnTo>
                      <a:pt x="857" y="807"/>
                    </a:lnTo>
                    <a:cubicBezTo>
                      <a:pt x="853" y="775"/>
                      <a:pt x="844" y="748"/>
                      <a:pt x="830" y="729"/>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8" name="矩形: 圆角 27"/>
              <p:cNvSpPr/>
              <p:nvPr/>
            </p:nvSpPr>
            <p:spPr>
              <a:xfrm>
                <a:off x="6471866" y="3512405"/>
                <a:ext cx="2254178" cy="389104"/>
              </a:xfrm>
              <a:prstGeom prst="roundRect">
                <a:avLst>
                  <a:gd name="adj" fmla="val 50000"/>
                </a:avLst>
              </a:prstGeom>
              <a:solidFill>
                <a:schemeClr val="accent2">
                  <a:lumMod val="100000"/>
                  <a:alpha val="1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chorCtr="1">
                <a:normAutofit fontScale="77500" lnSpcReduction="20000"/>
              </a:bodyPr>
              <a:lstStyle/>
              <a:p>
                <a:pPr algn="ctr"/>
                <a:r>
                  <a:rPr lang="en-US" altLang="zh-CN" b="1">
                    <a:solidFill>
                      <a:schemeClr val="tx1"/>
                    </a:solidFill>
                    <a:latin typeface="Calibri" pitchFamily="34" charset="0"/>
                    <a:ea typeface="宋体" pitchFamily="2" charset="-122"/>
                  </a:rPr>
                  <a:t>Click to add text</a:t>
                </a:r>
                <a:endParaRPr lang="zh-CN" altLang="en-US" b="1" dirty="0">
                  <a:solidFill>
                    <a:schemeClr val="tx1"/>
                  </a:solidFill>
                  <a:latin typeface="Calibri" pitchFamily="34" charset="0"/>
                  <a:ea typeface="宋体" pitchFamily="2" charset="-122"/>
                </a:endParaRPr>
              </a:p>
            </p:txBody>
          </p:sp>
          <p:sp>
            <p:nvSpPr>
              <p:cNvPr id="56" name="矩形 55"/>
              <p:cNvSpPr/>
              <p:nvPr/>
            </p:nvSpPr>
            <p:spPr>
              <a:xfrm>
                <a:off x="6471866" y="3963241"/>
                <a:ext cx="2254178" cy="54698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t" anchorCtr="1">
                <a:normAutofit/>
              </a:bodyPr>
              <a:lstStyle/>
              <a:p>
                <a:pPr algn="ctr">
                  <a:lnSpc>
                    <a:spcPct val="120000"/>
                  </a:lnSpc>
                </a:pPr>
                <a:r>
                  <a:rPr lang="en-US" altLang="zh-CN" sz="1200">
                    <a:solidFill>
                      <a:schemeClr val="tx1"/>
                    </a:solidFill>
                    <a:latin typeface="Calibri" pitchFamily="34" charset="0"/>
                    <a:ea typeface="宋体" pitchFamily="2" charset="-122"/>
                  </a:rPr>
                  <a:t>Sit luptatum amet facilisis lorem ipsum ut amet amet.</a:t>
                </a:r>
                <a:endParaRPr lang="zh-CN" altLang="en-US" sz="1200" dirty="0">
                  <a:solidFill>
                    <a:schemeClr val="tx1"/>
                  </a:solidFill>
                  <a:latin typeface="Calibri" pitchFamily="34" charset="0"/>
                  <a:ea typeface="宋体" pitchFamily="2" charset="-122"/>
                </a:endParaRPr>
              </a:p>
            </p:txBody>
          </p:sp>
        </p:grpSp>
        <p:grpSp>
          <p:nvGrpSpPr>
            <p:cNvPr id="67" name="组合 66"/>
            <p:cNvGrpSpPr/>
            <p:nvPr/>
          </p:nvGrpSpPr>
          <p:grpSpPr>
            <a:xfrm>
              <a:off x="6471866" y="4729487"/>
              <a:ext cx="2254178" cy="1404612"/>
              <a:chOff x="6471866" y="4729487"/>
              <a:chExt cx="2254178" cy="1404612"/>
            </a:xfrm>
          </p:grpSpPr>
          <p:sp>
            <p:nvSpPr>
              <p:cNvPr id="29" name="任意多边形: 形状 28"/>
              <p:cNvSpPr/>
              <p:nvPr/>
            </p:nvSpPr>
            <p:spPr>
              <a:xfrm>
                <a:off x="6632168" y="4729487"/>
                <a:ext cx="361950" cy="345062"/>
              </a:xfrm>
              <a:custGeom>
                <a:avLst/>
                <a:gdLst>
                  <a:gd name="T0" fmla="*/ 1098 w 1098"/>
                  <a:gd name="T1" fmla="*/ 839 h 1048"/>
                  <a:gd name="T2" fmla="*/ 1098 w 1098"/>
                  <a:gd name="T3" fmla="*/ 1048 h 1048"/>
                  <a:gd name="T4" fmla="*/ 0 w 1098"/>
                  <a:gd name="T5" fmla="*/ 1048 h 1048"/>
                  <a:gd name="T6" fmla="*/ 0 w 1098"/>
                  <a:gd name="T7" fmla="*/ 839 h 1048"/>
                  <a:gd name="T8" fmla="*/ 891 w 1098"/>
                  <a:gd name="T9" fmla="*/ 839 h 1048"/>
                  <a:gd name="T10" fmla="*/ 856 w 1098"/>
                  <a:gd name="T11" fmla="*/ 707 h 1048"/>
                  <a:gd name="T12" fmla="*/ 743 w 1098"/>
                  <a:gd name="T13" fmla="*/ 653 h 1048"/>
                  <a:gd name="T14" fmla="*/ 722 w 1098"/>
                  <a:gd name="T15" fmla="*/ 666 h 1048"/>
                  <a:gd name="T16" fmla="*/ 679 w 1098"/>
                  <a:gd name="T17" fmla="*/ 666 h 1048"/>
                  <a:gd name="T18" fmla="*/ 655 w 1098"/>
                  <a:gd name="T19" fmla="*/ 641 h 1048"/>
                  <a:gd name="T20" fmla="*/ 679 w 1098"/>
                  <a:gd name="T21" fmla="*/ 617 h 1048"/>
                  <a:gd name="T22" fmla="*/ 722 w 1098"/>
                  <a:gd name="T23" fmla="*/ 617 h 1048"/>
                  <a:gd name="T24" fmla="*/ 745 w 1098"/>
                  <a:gd name="T25" fmla="*/ 634 h 1048"/>
                  <a:gd name="T26" fmla="*/ 871 w 1098"/>
                  <a:gd name="T27" fmla="*/ 696 h 1048"/>
                  <a:gd name="T28" fmla="*/ 910 w 1098"/>
                  <a:gd name="T29" fmla="*/ 839 h 1048"/>
                  <a:gd name="T30" fmla="*/ 1098 w 1098"/>
                  <a:gd name="T31" fmla="*/ 839 h 1048"/>
                  <a:gd name="T32" fmla="*/ 1098 w 1098"/>
                  <a:gd name="T33" fmla="*/ 839 h 1048"/>
                  <a:gd name="T34" fmla="*/ 549 w 1098"/>
                  <a:gd name="T35" fmla="*/ 459 h 1048"/>
                  <a:gd name="T36" fmla="*/ 778 w 1098"/>
                  <a:gd name="T37" fmla="*/ 229 h 1048"/>
                  <a:gd name="T38" fmla="*/ 549 w 1098"/>
                  <a:gd name="T39" fmla="*/ 0 h 1048"/>
                  <a:gd name="T40" fmla="*/ 320 w 1098"/>
                  <a:gd name="T41" fmla="*/ 229 h 1048"/>
                  <a:gd name="T42" fmla="*/ 549 w 1098"/>
                  <a:gd name="T43" fmla="*/ 459 h 1048"/>
                  <a:gd name="T44" fmla="*/ 830 w 1098"/>
                  <a:gd name="T45" fmla="*/ 729 h 1048"/>
                  <a:gd name="T46" fmla="*/ 756 w 1098"/>
                  <a:gd name="T47" fmla="*/ 690 h 1048"/>
                  <a:gd name="T48" fmla="*/ 722 w 1098"/>
                  <a:gd name="T49" fmla="*/ 701 h 1048"/>
                  <a:gd name="T50" fmla="*/ 679 w 1098"/>
                  <a:gd name="T51" fmla="*/ 701 h 1048"/>
                  <a:gd name="T52" fmla="*/ 621 w 1098"/>
                  <a:gd name="T53" fmla="*/ 643 h 1048"/>
                  <a:gd name="T54" fmla="*/ 679 w 1098"/>
                  <a:gd name="T55" fmla="*/ 585 h 1048"/>
                  <a:gd name="T56" fmla="*/ 722 w 1098"/>
                  <a:gd name="T57" fmla="*/ 585 h 1048"/>
                  <a:gd name="T58" fmla="*/ 765 w 1098"/>
                  <a:gd name="T59" fmla="*/ 605 h 1048"/>
                  <a:gd name="T60" fmla="*/ 885 w 1098"/>
                  <a:gd name="T61" fmla="*/ 663 h 1048"/>
                  <a:gd name="T62" fmla="*/ 885 w 1098"/>
                  <a:gd name="T63" fmla="*/ 659 h 1048"/>
                  <a:gd name="T64" fmla="*/ 874 w 1098"/>
                  <a:gd name="T65" fmla="*/ 607 h 1048"/>
                  <a:gd name="T66" fmla="*/ 697 w 1098"/>
                  <a:gd name="T67" fmla="*/ 437 h 1048"/>
                  <a:gd name="T68" fmla="*/ 549 w 1098"/>
                  <a:gd name="T69" fmla="*/ 496 h 1048"/>
                  <a:gd name="T70" fmla="*/ 401 w 1098"/>
                  <a:gd name="T71" fmla="*/ 437 h 1048"/>
                  <a:gd name="T72" fmla="*/ 212 w 1098"/>
                  <a:gd name="T73" fmla="*/ 681 h 1048"/>
                  <a:gd name="T74" fmla="*/ 212 w 1098"/>
                  <a:gd name="T75" fmla="*/ 807 h 1048"/>
                  <a:gd name="T76" fmla="*/ 857 w 1098"/>
                  <a:gd name="T77" fmla="*/ 807 h 1048"/>
                  <a:gd name="T78" fmla="*/ 830 w 1098"/>
                  <a:gd name="T79" fmla="*/ 729 h 1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98" h="1048">
                    <a:moveTo>
                      <a:pt x="1098" y="839"/>
                    </a:moveTo>
                    <a:lnTo>
                      <a:pt x="1098" y="1048"/>
                    </a:lnTo>
                    <a:lnTo>
                      <a:pt x="0" y="1048"/>
                    </a:lnTo>
                    <a:lnTo>
                      <a:pt x="0" y="839"/>
                    </a:lnTo>
                    <a:lnTo>
                      <a:pt x="891" y="839"/>
                    </a:lnTo>
                    <a:cubicBezTo>
                      <a:pt x="892" y="794"/>
                      <a:pt x="884" y="744"/>
                      <a:pt x="856" y="707"/>
                    </a:cubicBezTo>
                    <a:cubicBezTo>
                      <a:pt x="832" y="675"/>
                      <a:pt x="794" y="656"/>
                      <a:pt x="743" y="653"/>
                    </a:cubicBezTo>
                    <a:cubicBezTo>
                      <a:pt x="739" y="660"/>
                      <a:pt x="731" y="666"/>
                      <a:pt x="722" y="666"/>
                    </a:cubicBezTo>
                    <a:lnTo>
                      <a:pt x="679" y="666"/>
                    </a:lnTo>
                    <a:cubicBezTo>
                      <a:pt x="666" y="666"/>
                      <a:pt x="655" y="655"/>
                      <a:pt x="655" y="641"/>
                    </a:cubicBezTo>
                    <a:cubicBezTo>
                      <a:pt x="655" y="628"/>
                      <a:pt x="666" y="617"/>
                      <a:pt x="679" y="617"/>
                    </a:cubicBezTo>
                    <a:lnTo>
                      <a:pt x="722" y="617"/>
                    </a:lnTo>
                    <a:cubicBezTo>
                      <a:pt x="733" y="617"/>
                      <a:pt x="742" y="624"/>
                      <a:pt x="745" y="634"/>
                    </a:cubicBezTo>
                    <a:cubicBezTo>
                      <a:pt x="801" y="638"/>
                      <a:pt x="843" y="659"/>
                      <a:pt x="871" y="696"/>
                    </a:cubicBezTo>
                    <a:cubicBezTo>
                      <a:pt x="903" y="737"/>
                      <a:pt x="911" y="791"/>
                      <a:pt x="910" y="839"/>
                    </a:cubicBezTo>
                    <a:lnTo>
                      <a:pt x="1098" y="839"/>
                    </a:lnTo>
                    <a:lnTo>
                      <a:pt x="1098" y="839"/>
                    </a:lnTo>
                    <a:close/>
                    <a:moveTo>
                      <a:pt x="549" y="459"/>
                    </a:moveTo>
                    <a:cubicBezTo>
                      <a:pt x="676" y="459"/>
                      <a:pt x="778" y="356"/>
                      <a:pt x="778" y="229"/>
                    </a:cubicBezTo>
                    <a:cubicBezTo>
                      <a:pt x="778" y="103"/>
                      <a:pt x="676" y="0"/>
                      <a:pt x="549" y="0"/>
                    </a:cubicBezTo>
                    <a:cubicBezTo>
                      <a:pt x="423" y="0"/>
                      <a:pt x="320" y="103"/>
                      <a:pt x="320" y="229"/>
                    </a:cubicBezTo>
                    <a:cubicBezTo>
                      <a:pt x="320" y="356"/>
                      <a:pt x="423" y="459"/>
                      <a:pt x="549" y="459"/>
                    </a:cubicBezTo>
                    <a:close/>
                    <a:moveTo>
                      <a:pt x="830" y="729"/>
                    </a:moveTo>
                    <a:cubicBezTo>
                      <a:pt x="813" y="708"/>
                      <a:pt x="789" y="695"/>
                      <a:pt x="756" y="690"/>
                    </a:cubicBezTo>
                    <a:cubicBezTo>
                      <a:pt x="746" y="697"/>
                      <a:pt x="734" y="701"/>
                      <a:pt x="722" y="701"/>
                    </a:cubicBezTo>
                    <a:lnTo>
                      <a:pt x="679" y="701"/>
                    </a:lnTo>
                    <a:cubicBezTo>
                      <a:pt x="648" y="701"/>
                      <a:pt x="621" y="675"/>
                      <a:pt x="621" y="643"/>
                    </a:cubicBezTo>
                    <a:cubicBezTo>
                      <a:pt x="621" y="611"/>
                      <a:pt x="647" y="585"/>
                      <a:pt x="679" y="585"/>
                    </a:cubicBezTo>
                    <a:lnTo>
                      <a:pt x="722" y="585"/>
                    </a:lnTo>
                    <a:cubicBezTo>
                      <a:pt x="738" y="585"/>
                      <a:pt x="754" y="593"/>
                      <a:pt x="765" y="605"/>
                    </a:cubicBezTo>
                    <a:cubicBezTo>
                      <a:pt x="815" y="611"/>
                      <a:pt x="855" y="631"/>
                      <a:pt x="885" y="663"/>
                    </a:cubicBezTo>
                    <a:cubicBezTo>
                      <a:pt x="885" y="662"/>
                      <a:pt x="885" y="660"/>
                      <a:pt x="885" y="659"/>
                    </a:cubicBezTo>
                    <a:lnTo>
                      <a:pt x="874" y="607"/>
                    </a:lnTo>
                    <a:cubicBezTo>
                      <a:pt x="849" y="524"/>
                      <a:pt x="782" y="459"/>
                      <a:pt x="697" y="437"/>
                    </a:cubicBezTo>
                    <a:cubicBezTo>
                      <a:pt x="659" y="473"/>
                      <a:pt x="606" y="496"/>
                      <a:pt x="549" y="496"/>
                    </a:cubicBezTo>
                    <a:cubicBezTo>
                      <a:pt x="492" y="496"/>
                      <a:pt x="440" y="473"/>
                      <a:pt x="401" y="437"/>
                    </a:cubicBezTo>
                    <a:cubicBezTo>
                      <a:pt x="293" y="466"/>
                      <a:pt x="212" y="564"/>
                      <a:pt x="212" y="681"/>
                    </a:cubicBezTo>
                    <a:lnTo>
                      <a:pt x="212" y="807"/>
                    </a:lnTo>
                    <a:lnTo>
                      <a:pt x="857" y="807"/>
                    </a:lnTo>
                    <a:cubicBezTo>
                      <a:pt x="853" y="775"/>
                      <a:pt x="844" y="748"/>
                      <a:pt x="830" y="729"/>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0" name="矩形: 圆角 29"/>
              <p:cNvSpPr/>
              <p:nvPr/>
            </p:nvSpPr>
            <p:spPr>
              <a:xfrm>
                <a:off x="6471866" y="5136282"/>
                <a:ext cx="2254178" cy="389104"/>
              </a:xfrm>
              <a:prstGeom prst="roundRect">
                <a:avLst>
                  <a:gd name="adj" fmla="val 50000"/>
                </a:avLst>
              </a:prstGeom>
              <a:solidFill>
                <a:schemeClr val="accent2">
                  <a:lumMod val="100000"/>
                  <a:alpha val="1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chorCtr="1">
                <a:normAutofit fontScale="77500" lnSpcReduction="20000"/>
              </a:bodyPr>
              <a:lstStyle/>
              <a:p>
                <a:pPr algn="ctr"/>
                <a:r>
                  <a:rPr lang="en-US" altLang="zh-CN" b="1">
                    <a:solidFill>
                      <a:schemeClr val="tx1"/>
                    </a:solidFill>
                    <a:latin typeface="Calibri" pitchFamily="34" charset="0"/>
                    <a:ea typeface="宋体" pitchFamily="2" charset="-122"/>
                  </a:rPr>
                  <a:t>Click to add text</a:t>
                </a:r>
                <a:endParaRPr lang="zh-CN" altLang="en-US" b="1" dirty="0">
                  <a:solidFill>
                    <a:schemeClr val="tx1"/>
                  </a:solidFill>
                  <a:latin typeface="Calibri" pitchFamily="34" charset="0"/>
                  <a:ea typeface="宋体" pitchFamily="2" charset="-122"/>
                </a:endParaRPr>
              </a:p>
            </p:txBody>
          </p:sp>
          <p:sp>
            <p:nvSpPr>
              <p:cNvPr id="57" name="矩形 56"/>
              <p:cNvSpPr/>
              <p:nvPr/>
            </p:nvSpPr>
            <p:spPr>
              <a:xfrm>
                <a:off x="6471866" y="5587118"/>
                <a:ext cx="2254178" cy="54698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t" anchorCtr="1">
                <a:normAutofit/>
              </a:bodyPr>
              <a:lstStyle/>
              <a:p>
                <a:pPr algn="ctr">
                  <a:lnSpc>
                    <a:spcPct val="120000"/>
                  </a:lnSpc>
                </a:pPr>
                <a:r>
                  <a:rPr lang="en-US" altLang="zh-CN" sz="1200">
                    <a:solidFill>
                      <a:schemeClr val="tx1"/>
                    </a:solidFill>
                    <a:latin typeface="Calibri" pitchFamily="34" charset="0"/>
                    <a:ea typeface="宋体" pitchFamily="2" charset="-122"/>
                  </a:rPr>
                  <a:t>Amet eos lobortis feugiat sed eos ea est takimata veniam.</a:t>
                </a:r>
                <a:endParaRPr lang="zh-CN" altLang="en-US" sz="1200" dirty="0">
                  <a:solidFill>
                    <a:schemeClr val="tx1"/>
                  </a:solidFill>
                  <a:latin typeface="Calibri" pitchFamily="34" charset="0"/>
                  <a:ea typeface="宋体" pitchFamily="2" charset="-122"/>
                </a:endParaRPr>
              </a:p>
            </p:txBody>
          </p:sp>
        </p:grpSp>
        <p:grpSp>
          <p:nvGrpSpPr>
            <p:cNvPr id="68" name="组合 67"/>
            <p:cNvGrpSpPr/>
            <p:nvPr/>
          </p:nvGrpSpPr>
          <p:grpSpPr>
            <a:xfrm>
              <a:off x="9264722" y="1496851"/>
              <a:ext cx="2254178" cy="1404612"/>
              <a:chOff x="9264722" y="1496851"/>
              <a:chExt cx="2254178" cy="1404612"/>
            </a:xfrm>
          </p:grpSpPr>
          <p:sp>
            <p:nvSpPr>
              <p:cNvPr id="31" name="任意多边形: 形状 30"/>
              <p:cNvSpPr/>
              <p:nvPr/>
            </p:nvSpPr>
            <p:spPr>
              <a:xfrm>
                <a:off x="9425024" y="1496851"/>
                <a:ext cx="361950" cy="345062"/>
              </a:xfrm>
              <a:custGeom>
                <a:avLst/>
                <a:gdLst>
                  <a:gd name="T0" fmla="*/ 1098 w 1098"/>
                  <a:gd name="T1" fmla="*/ 839 h 1048"/>
                  <a:gd name="T2" fmla="*/ 1098 w 1098"/>
                  <a:gd name="T3" fmla="*/ 1048 h 1048"/>
                  <a:gd name="T4" fmla="*/ 0 w 1098"/>
                  <a:gd name="T5" fmla="*/ 1048 h 1048"/>
                  <a:gd name="T6" fmla="*/ 0 w 1098"/>
                  <a:gd name="T7" fmla="*/ 839 h 1048"/>
                  <a:gd name="T8" fmla="*/ 891 w 1098"/>
                  <a:gd name="T9" fmla="*/ 839 h 1048"/>
                  <a:gd name="T10" fmla="*/ 856 w 1098"/>
                  <a:gd name="T11" fmla="*/ 707 h 1048"/>
                  <a:gd name="T12" fmla="*/ 743 w 1098"/>
                  <a:gd name="T13" fmla="*/ 653 h 1048"/>
                  <a:gd name="T14" fmla="*/ 722 w 1098"/>
                  <a:gd name="T15" fmla="*/ 666 h 1048"/>
                  <a:gd name="T16" fmla="*/ 679 w 1098"/>
                  <a:gd name="T17" fmla="*/ 666 h 1048"/>
                  <a:gd name="T18" fmla="*/ 655 w 1098"/>
                  <a:gd name="T19" fmla="*/ 641 h 1048"/>
                  <a:gd name="T20" fmla="*/ 679 w 1098"/>
                  <a:gd name="T21" fmla="*/ 617 h 1048"/>
                  <a:gd name="T22" fmla="*/ 722 w 1098"/>
                  <a:gd name="T23" fmla="*/ 617 h 1048"/>
                  <a:gd name="T24" fmla="*/ 745 w 1098"/>
                  <a:gd name="T25" fmla="*/ 634 h 1048"/>
                  <a:gd name="T26" fmla="*/ 871 w 1098"/>
                  <a:gd name="T27" fmla="*/ 696 h 1048"/>
                  <a:gd name="T28" fmla="*/ 910 w 1098"/>
                  <a:gd name="T29" fmla="*/ 839 h 1048"/>
                  <a:gd name="T30" fmla="*/ 1098 w 1098"/>
                  <a:gd name="T31" fmla="*/ 839 h 1048"/>
                  <a:gd name="T32" fmla="*/ 1098 w 1098"/>
                  <a:gd name="T33" fmla="*/ 839 h 1048"/>
                  <a:gd name="T34" fmla="*/ 549 w 1098"/>
                  <a:gd name="T35" fmla="*/ 459 h 1048"/>
                  <a:gd name="T36" fmla="*/ 778 w 1098"/>
                  <a:gd name="T37" fmla="*/ 229 h 1048"/>
                  <a:gd name="T38" fmla="*/ 549 w 1098"/>
                  <a:gd name="T39" fmla="*/ 0 h 1048"/>
                  <a:gd name="T40" fmla="*/ 320 w 1098"/>
                  <a:gd name="T41" fmla="*/ 229 h 1048"/>
                  <a:gd name="T42" fmla="*/ 549 w 1098"/>
                  <a:gd name="T43" fmla="*/ 459 h 1048"/>
                  <a:gd name="T44" fmla="*/ 830 w 1098"/>
                  <a:gd name="T45" fmla="*/ 729 h 1048"/>
                  <a:gd name="T46" fmla="*/ 756 w 1098"/>
                  <a:gd name="T47" fmla="*/ 690 h 1048"/>
                  <a:gd name="T48" fmla="*/ 722 w 1098"/>
                  <a:gd name="T49" fmla="*/ 701 h 1048"/>
                  <a:gd name="T50" fmla="*/ 679 w 1098"/>
                  <a:gd name="T51" fmla="*/ 701 h 1048"/>
                  <a:gd name="T52" fmla="*/ 621 w 1098"/>
                  <a:gd name="T53" fmla="*/ 643 h 1048"/>
                  <a:gd name="T54" fmla="*/ 679 w 1098"/>
                  <a:gd name="T55" fmla="*/ 585 h 1048"/>
                  <a:gd name="T56" fmla="*/ 722 w 1098"/>
                  <a:gd name="T57" fmla="*/ 585 h 1048"/>
                  <a:gd name="T58" fmla="*/ 765 w 1098"/>
                  <a:gd name="T59" fmla="*/ 605 h 1048"/>
                  <a:gd name="T60" fmla="*/ 885 w 1098"/>
                  <a:gd name="T61" fmla="*/ 663 h 1048"/>
                  <a:gd name="T62" fmla="*/ 885 w 1098"/>
                  <a:gd name="T63" fmla="*/ 659 h 1048"/>
                  <a:gd name="T64" fmla="*/ 874 w 1098"/>
                  <a:gd name="T65" fmla="*/ 607 h 1048"/>
                  <a:gd name="T66" fmla="*/ 697 w 1098"/>
                  <a:gd name="T67" fmla="*/ 437 h 1048"/>
                  <a:gd name="T68" fmla="*/ 549 w 1098"/>
                  <a:gd name="T69" fmla="*/ 496 h 1048"/>
                  <a:gd name="T70" fmla="*/ 401 w 1098"/>
                  <a:gd name="T71" fmla="*/ 437 h 1048"/>
                  <a:gd name="T72" fmla="*/ 212 w 1098"/>
                  <a:gd name="T73" fmla="*/ 681 h 1048"/>
                  <a:gd name="T74" fmla="*/ 212 w 1098"/>
                  <a:gd name="T75" fmla="*/ 807 h 1048"/>
                  <a:gd name="T76" fmla="*/ 857 w 1098"/>
                  <a:gd name="T77" fmla="*/ 807 h 1048"/>
                  <a:gd name="T78" fmla="*/ 830 w 1098"/>
                  <a:gd name="T79" fmla="*/ 729 h 1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98" h="1048">
                    <a:moveTo>
                      <a:pt x="1098" y="839"/>
                    </a:moveTo>
                    <a:lnTo>
                      <a:pt x="1098" y="1048"/>
                    </a:lnTo>
                    <a:lnTo>
                      <a:pt x="0" y="1048"/>
                    </a:lnTo>
                    <a:lnTo>
                      <a:pt x="0" y="839"/>
                    </a:lnTo>
                    <a:lnTo>
                      <a:pt x="891" y="839"/>
                    </a:lnTo>
                    <a:cubicBezTo>
                      <a:pt x="892" y="794"/>
                      <a:pt x="884" y="744"/>
                      <a:pt x="856" y="707"/>
                    </a:cubicBezTo>
                    <a:cubicBezTo>
                      <a:pt x="832" y="675"/>
                      <a:pt x="794" y="656"/>
                      <a:pt x="743" y="653"/>
                    </a:cubicBezTo>
                    <a:cubicBezTo>
                      <a:pt x="739" y="660"/>
                      <a:pt x="731" y="666"/>
                      <a:pt x="722" y="666"/>
                    </a:cubicBezTo>
                    <a:lnTo>
                      <a:pt x="679" y="666"/>
                    </a:lnTo>
                    <a:cubicBezTo>
                      <a:pt x="666" y="666"/>
                      <a:pt x="655" y="655"/>
                      <a:pt x="655" y="641"/>
                    </a:cubicBezTo>
                    <a:cubicBezTo>
                      <a:pt x="655" y="628"/>
                      <a:pt x="666" y="617"/>
                      <a:pt x="679" y="617"/>
                    </a:cubicBezTo>
                    <a:lnTo>
                      <a:pt x="722" y="617"/>
                    </a:lnTo>
                    <a:cubicBezTo>
                      <a:pt x="733" y="617"/>
                      <a:pt x="742" y="624"/>
                      <a:pt x="745" y="634"/>
                    </a:cubicBezTo>
                    <a:cubicBezTo>
                      <a:pt x="801" y="638"/>
                      <a:pt x="843" y="659"/>
                      <a:pt x="871" y="696"/>
                    </a:cubicBezTo>
                    <a:cubicBezTo>
                      <a:pt x="903" y="737"/>
                      <a:pt x="911" y="791"/>
                      <a:pt x="910" y="839"/>
                    </a:cubicBezTo>
                    <a:lnTo>
                      <a:pt x="1098" y="839"/>
                    </a:lnTo>
                    <a:lnTo>
                      <a:pt x="1098" y="839"/>
                    </a:lnTo>
                    <a:close/>
                    <a:moveTo>
                      <a:pt x="549" y="459"/>
                    </a:moveTo>
                    <a:cubicBezTo>
                      <a:pt x="676" y="459"/>
                      <a:pt x="778" y="356"/>
                      <a:pt x="778" y="229"/>
                    </a:cubicBezTo>
                    <a:cubicBezTo>
                      <a:pt x="778" y="103"/>
                      <a:pt x="676" y="0"/>
                      <a:pt x="549" y="0"/>
                    </a:cubicBezTo>
                    <a:cubicBezTo>
                      <a:pt x="423" y="0"/>
                      <a:pt x="320" y="103"/>
                      <a:pt x="320" y="229"/>
                    </a:cubicBezTo>
                    <a:cubicBezTo>
                      <a:pt x="320" y="356"/>
                      <a:pt x="423" y="459"/>
                      <a:pt x="549" y="459"/>
                    </a:cubicBezTo>
                    <a:close/>
                    <a:moveTo>
                      <a:pt x="830" y="729"/>
                    </a:moveTo>
                    <a:cubicBezTo>
                      <a:pt x="813" y="708"/>
                      <a:pt x="789" y="695"/>
                      <a:pt x="756" y="690"/>
                    </a:cubicBezTo>
                    <a:cubicBezTo>
                      <a:pt x="746" y="697"/>
                      <a:pt x="734" y="701"/>
                      <a:pt x="722" y="701"/>
                    </a:cubicBezTo>
                    <a:lnTo>
                      <a:pt x="679" y="701"/>
                    </a:lnTo>
                    <a:cubicBezTo>
                      <a:pt x="648" y="701"/>
                      <a:pt x="621" y="675"/>
                      <a:pt x="621" y="643"/>
                    </a:cubicBezTo>
                    <a:cubicBezTo>
                      <a:pt x="621" y="611"/>
                      <a:pt x="647" y="585"/>
                      <a:pt x="679" y="585"/>
                    </a:cubicBezTo>
                    <a:lnTo>
                      <a:pt x="722" y="585"/>
                    </a:lnTo>
                    <a:cubicBezTo>
                      <a:pt x="738" y="585"/>
                      <a:pt x="754" y="593"/>
                      <a:pt x="765" y="605"/>
                    </a:cubicBezTo>
                    <a:cubicBezTo>
                      <a:pt x="815" y="611"/>
                      <a:pt x="855" y="631"/>
                      <a:pt x="885" y="663"/>
                    </a:cubicBezTo>
                    <a:cubicBezTo>
                      <a:pt x="885" y="662"/>
                      <a:pt x="885" y="660"/>
                      <a:pt x="885" y="659"/>
                    </a:cubicBezTo>
                    <a:lnTo>
                      <a:pt x="874" y="607"/>
                    </a:lnTo>
                    <a:cubicBezTo>
                      <a:pt x="849" y="524"/>
                      <a:pt x="782" y="459"/>
                      <a:pt x="697" y="437"/>
                    </a:cubicBezTo>
                    <a:cubicBezTo>
                      <a:pt x="659" y="473"/>
                      <a:pt x="606" y="496"/>
                      <a:pt x="549" y="496"/>
                    </a:cubicBezTo>
                    <a:cubicBezTo>
                      <a:pt x="492" y="496"/>
                      <a:pt x="440" y="473"/>
                      <a:pt x="401" y="437"/>
                    </a:cubicBezTo>
                    <a:cubicBezTo>
                      <a:pt x="293" y="466"/>
                      <a:pt x="212" y="564"/>
                      <a:pt x="212" y="681"/>
                    </a:cubicBezTo>
                    <a:lnTo>
                      <a:pt x="212" y="807"/>
                    </a:lnTo>
                    <a:lnTo>
                      <a:pt x="857" y="807"/>
                    </a:lnTo>
                    <a:cubicBezTo>
                      <a:pt x="853" y="775"/>
                      <a:pt x="844" y="748"/>
                      <a:pt x="830" y="729"/>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2" name="矩形: 圆角 31"/>
              <p:cNvSpPr/>
              <p:nvPr/>
            </p:nvSpPr>
            <p:spPr>
              <a:xfrm>
                <a:off x="9264722" y="1903646"/>
                <a:ext cx="2254178" cy="389104"/>
              </a:xfrm>
              <a:prstGeom prst="roundRect">
                <a:avLst>
                  <a:gd name="adj" fmla="val 50000"/>
                </a:avLst>
              </a:prstGeom>
              <a:solidFill>
                <a:schemeClr val="accent2">
                  <a:lumMod val="100000"/>
                  <a:alpha val="1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chorCtr="1">
                <a:normAutofit fontScale="77500" lnSpcReduction="20000"/>
              </a:bodyPr>
              <a:lstStyle/>
              <a:p>
                <a:pPr algn="ctr"/>
                <a:r>
                  <a:rPr lang="en-US" altLang="zh-CN" b="1">
                    <a:solidFill>
                      <a:schemeClr val="tx1"/>
                    </a:solidFill>
                    <a:latin typeface="Calibri" pitchFamily="34" charset="0"/>
                    <a:ea typeface="宋体" pitchFamily="2" charset="-122"/>
                  </a:rPr>
                  <a:t>Click to add text</a:t>
                </a:r>
                <a:endParaRPr lang="zh-CN" altLang="en-US" b="1" dirty="0">
                  <a:solidFill>
                    <a:schemeClr val="tx1"/>
                  </a:solidFill>
                  <a:latin typeface="Calibri" pitchFamily="34" charset="0"/>
                  <a:ea typeface="宋体" pitchFamily="2" charset="-122"/>
                </a:endParaRPr>
              </a:p>
            </p:txBody>
          </p:sp>
          <p:sp>
            <p:nvSpPr>
              <p:cNvPr id="58" name="矩形 57"/>
              <p:cNvSpPr/>
              <p:nvPr/>
            </p:nvSpPr>
            <p:spPr>
              <a:xfrm>
                <a:off x="9264722" y="2354482"/>
                <a:ext cx="2254178" cy="54698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t" anchorCtr="1">
                <a:normAutofit/>
              </a:bodyPr>
              <a:lstStyle/>
              <a:p>
                <a:pPr algn="ctr">
                  <a:lnSpc>
                    <a:spcPct val="120000"/>
                  </a:lnSpc>
                </a:pPr>
                <a:r>
                  <a:rPr lang="pt-BR" altLang="zh-CN" sz="1200">
                    <a:solidFill>
                      <a:schemeClr val="tx1"/>
                    </a:solidFill>
                    <a:latin typeface="Calibri" pitchFamily="34" charset="0"/>
                    <a:ea typeface="宋体" pitchFamily="2" charset="-122"/>
                  </a:rPr>
                  <a:t>Autem augue feugiat ex sit magna diam consetetur ipsum.</a:t>
                </a:r>
                <a:endParaRPr lang="zh-CN" altLang="en-US" sz="1200" dirty="0">
                  <a:solidFill>
                    <a:schemeClr val="tx1"/>
                  </a:solidFill>
                  <a:latin typeface="Calibri" pitchFamily="34" charset="0"/>
                  <a:ea typeface="宋体" pitchFamily="2" charset="-122"/>
                </a:endParaRPr>
              </a:p>
            </p:txBody>
          </p:sp>
        </p:grpSp>
        <p:grpSp>
          <p:nvGrpSpPr>
            <p:cNvPr id="69" name="组合 68"/>
            <p:cNvGrpSpPr/>
            <p:nvPr/>
          </p:nvGrpSpPr>
          <p:grpSpPr>
            <a:xfrm>
              <a:off x="9264722" y="3105610"/>
              <a:ext cx="2254178" cy="1404612"/>
              <a:chOff x="9264722" y="3105610"/>
              <a:chExt cx="2254178" cy="1404612"/>
            </a:xfrm>
          </p:grpSpPr>
          <p:sp>
            <p:nvSpPr>
              <p:cNvPr id="33" name="任意多边形: 形状 32"/>
              <p:cNvSpPr/>
              <p:nvPr/>
            </p:nvSpPr>
            <p:spPr>
              <a:xfrm>
                <a:off x="9425024" y="3105610"/>
                <a:ext cx="361950" cy="345062"/>
              </a:xfrm>
              <a:custGeom>
                <a:avLst/>
                <a:gdLst>
                  <a:gd name="T0" fmla="*/ 1098 w 1098"/>
                  <a:gd name="T1" fmla="*/ 839 h 1048"/>
                  <a:gd name="T2" fmla="*/ 1098 w 1098"/>
                  <a:gd name="T3" fmla="*/ 1048 h 1048"/>
                  <a:gd name="T4" fmla="*/ 0 w 1098"/>
                  <a:gd name="T5" fmla="*/ 1048 h 1048"/>
                  <a:gd name="T6" fmla="*/ 0 w 1098"/>
                  <a:gd name="T7" fmla="*/ 839 h 1048"/>
                  <a:gd name="T8" fmla="*/ 891 w 1098"/>
                  <a:gd name="T9" fmla="*/ 839 h 1048"/>
                  <a:gd name="T10" fmla="*/ 856 w 1098"/>
                  <a:gd name="T11" fmla="*/ 707 h 1048"/>
                  <a:gd name="T12" fmla="*/ 743 w 1098"/>
                  <a:gd name="T13" fmla="*/ 653 h 1048"/>
                  <a:gd name="T14" fmla="*/ 722 w 1098"/>
                  <a:gd name="T15" fmla="*/ 666 h 1048"/>
                  <a:gd name="T16" fmla="*/ 679 w 1098"/>
                  <a:gd name="T17" fmla="*/ 666 h 1048"/>
                  <a:gd name="T18" fmla="*/ 655 w 1098"/>
                  <a:gd name="T19" fmla="*/ 641 h 1048"/>
                  <a:gd name="T20" fmla="*/ 679 w 1098"/>
                  <a:gd name="T21" fmla="*/ 617 h 1048"/>
                  <a:gd name="T22" fmla="*/ 722 w 1098"/>
                  <a:gd name="T23" fmla="*/ 617 h 1048"/>
                  <a:gd name="T24" fmla="*/ 745 w 1098"/>
                  <a:gd name="T25" fmla="*/ 634 h 1048"/>
                  <a:gd name="T26" fmla="*/ 871 w 1098"/>
                  <a:gd name="T27" fmla="*/ 696 h 1048"/>
                  <a:gd name="T28" fmla="*/ 910 w 1098"/>
                  <a:gd name="T29" fmla="*/ 839 h 1048"/>
                  <a:gd name="T30" fmla="*/ 1098 w 1098"/>
                  <a:gd name="T31" fmla="*/ 839 h 1048"/>
                  <a:gd name="T32" fmla="*/ 1098 w 1098"/>
                  <a:gd name="T33" fmla="*/ 839 h 1048"/>
                  <a:gd name="T34" fmla="*/ 549 w 1098"/>
                  <a:gd name="T35" fmla="*/ 459 h 1048"/>
                  <a:gd name="T36" fmla="*/ 778 w 1098"/>
                  <a:gd name="T37" fmla="*/ 229 h 1048"/>
                  <a:gd name="T38" fmla="*/ 549 w 1098"/>
                  <a:gd name="T39" fmla="*/ 0 h 1048"/>
                  <a:gd name="T40" fmla="*/ 320 w 1098"/>
                  <a:gd name="T41" fmla="*/ 229 h 1048"/>
                  <a:gd name="T42" fmla="*/ 549 w 1098"/>
                  <a:gd name="T43" fmla="*/ 459 h 1048"/>
                  <a:gd name="T44" fmla="*/ 830 w 1098"/>
                  <a:gd name="T45" fmla="*/ 729 h 1048"/>
                  <a:gd name="T46" fmla="*/ 756 w 1098"/>
                  <a:gd name="T47" fmla="*/ 690 h 1048"/>
                  <a:gd name="T48" fmla="*/ 722 w 1098"/>
                  <a:gd name="T49" fmla="*/ 701 h 1048"/>
                  <a:gd name="T50" fmla="*/ 679 w 1098"/>
                  <a:gd name="T51" fmla="*/ 701 h 1048"/>
                  <a:gd name="T52" fmla="*/ 621 w 1098"/>
                  <a:gd name="T53" fmla="*/ 643 h 1048"/>
                  <a:gd name="T54" fmla="*/ 679 w 1098"/>
                  <a:gd name="T55" fmla="*/ 585 h 1048"/>
                  <a:gd name="T56" fmla="*/ 722 w 1098"/>
                  <a:gd name="T57" fmla="*/ 585 h 1048"/>
                  <a:gd name="T58" fmla="*/ 765 w 1098"/>
                  <a:gd name="T59" fmla="*/ 605 h 1048"/>
                  <a:gd name="T60" fmla="*/ 885 w 1098"/>
                  <a:gd name="T61" fmla="*/ 663 h 1048"/>
                  <a:gd name="T62" fmla="*/ 885 w 1098"/>
                  <a:gd name="T63" fmla="*/ 659 h 1048"/>
                  <a:gd name="T64" fmla="*/ 874 w 1098"/>
                  <a:gd name="T65" fmla="*/ 607 h 1048"/>
                  <a:gd name="T66" fmla="*/ 697 w 1098"/>
                  <a:gd name="T67" fmla="*/ 437 h 1048"/>
                  <a:gd name="T68" fmla="*/ 549 w 1098"/>
                  <a:gd name="T69" fmla="*/ 496 h 1048"/>
                  <a:gd name="T70" fmla="*/ 401 w 1098"/>
                  <a:gd name="T71" fmla="*/ 437 h 1048"/>
                  <a:gd name="T72" fmla="*/ 212 w 1098"/>
                  <a:gd name="T73" fmla="*/ 681 h 1048"/>
                  <a:gd name="T74" fmla="*/ 212 w 1098"/>
                  <a:gd name="T75" fmla="*/ 807 h 1048"/>
                  <a:gd name="T76" fmla="*/ 857 w 1098"/>
                  <a:gd name="T77" fmla="*/ 807 h 1048"/>
                  <a:gd name="T78" fmla="*/ 830 w 1098"/>
                  <a:gd name="T79" fmla="*/ 729 h 1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98" h="1048">
                    <a:moveTo>
                      <a:pt x="1098" y="839"/>
                    </a:moveTo>
                    <a:lnTo>
                      <a:pt x="1098" y="1048"/>
                    </a:lnTo>
                    <a:lnTo>
                      <a:pt x="0" y="1048"/>
                    </a:lnTo>
                    <a:lnTo>
                      <a:pt x="0" y="839"/>
                    </a:lnTo>
                    <a:lnTo>
                      <a:pt x="891" y="839"/>
                    </a:lnTo>
                    <a:cubicBezTo>
                      <a:pt x="892" y="794"/>
                      <a:pt x="884" y="744"/>
                      <a:pt x="856" y="707"/>
                    </a:cubicBezTo>
                    <a:cubicBezTo>
                      <a:pt x="832" y="675"/>
                      <a:pt x="794" y="656"/>
                      <a:pt x="743" y="653"/>
                    </a:cubicBezTo>
                    <a:cubicBezTo>
                      <a:pt x="739" y="660"/>
                      <a:pt x="731" y="666"/>
                      <a:pt x="722" y="666"/>
                    </a:cubicBezTo>
                    <a:lnTo>
                      <a:pt x="679" y="666"/>
                    </a:lnTo>
                    <a:cubicBezTo>
                      <a:pt x="666" y="666"/>
                      <a:pt x="655" y="655"/>
                      <a:pt x="655" y="641"/>
                    </a:cubicBezTo>
                    <a:cubicBezTo>
                      <a:pt x="655" y="628"/>
                      <a:pt x="666" y="617"/>
                      <a:pt x="679" y="617"/>
                    </a:cubicBezTo>
                    <a:lnTo>
                      <a:pt x="722" y="617"/>
                    </a:lnTo>
                    <a:cubicBezTo>
                      <a:pt x="733" y="617"/>
                      <a:pt x="742" y="624"/>
                      <a:pt x="745" y="634"/>
                    </a:cubicBezTo>
                    <a:cubicBezTo>
                      <a:pt x="801" y="638"/>
                      <a:pt x="843" y="659"/>
                      <a:pt x="871" y="696"/>
                    </a:cubicBezTo>
                    <a:cubicBezTo>
                      <a:pt x="903" y="737"/>
                      <a:pt x="911" y="791"/>
                      <a:pt x="910" y="839"/>
                    </a:cubicBezTo>
                    <a:lnTo>
                      <a:pt x="1098" y="839"/>
                    </a:lnTo>
                    <a:lnTo>
                      <a:pt x="1098" y="839"/>
                    </a:lnTo>
                    <a:close/>
                    <a:moveTo>
                      <a:pt x="549" y="459"/>
                    </a:moveTo>
                    <a:cubicBezTo>
                      <a:pt x="676" y="459"/>
                      <a:pt x="778" y="356"/>
                      <a:pt x="778" y="229"/>
                    </a:cubicBezTo>
                    <a:cubicBezTo>
                      <a:pt x="778" y="103"/>
                      <a:pt x="676" y="0"/>
                      <a:pt x="549" y="0"/>
                    </a:cubicBezTo>
                    <a:cubicBezTo>
                      <a:pt x="423" y="0"/>
                      <a:pt x="320" y="103"/>
                      <a:pt x="320" y="229"/>
                    </a:cubicBezTo>
                    <a:cubicBezTo>
                      <a:pt x="320" y="356"/>
                      <a:pt x="423" y="459"/>
                      <a:pt x="549" y="459"/>
                    </a:cubicBezTo>
                    <a:close/>
                    <a:moveTo>
                      <a:pt x="830" y="729"/>
                    </a:moveTo>
                    <a:cubicBezTo>
                      <a:pt x="813" y="708"/>
                      <a:pt x="789" y="695"/>
                      <a:pt x="756" y="690"/>
                    </a:cubicBezTo>
                    <a:cubicBezTo>
                      <a:pt x="746" y="697"/>
                      <a:pt x="734" y="701"/>
                      <a:pt x="722" y="701"/>
                    </a:cubicBezTo>
                    <a:lnTo>
                      <a:pt x="679" y="701"/>
                    </a:lnTo>
                    <a:cubicBezTo>
                      <a:pt x="648" y="701"/>
                      <a:pt x="621" y="675"/>
                      <a:pt x="621" y="643"/>
                    </a:cubicBezTo>
                    <a:cubicBezTo>
                      <a:pt x="621" y="611"/>
                      <a:pt x="647" y="585"/>
                      <a:pt x="679" y="585"/>
                    </a:cubicBezTo>
                    <a:lnTo>
                      <a:pt x="722" y="585"/>
                    </a:lnTo>
                    <a:cubicBezTo>
                      <a:pt x="738" y="585"/>
                      <a:pt x="754" y="593"/>
                      <a:pt x="765" y="605"/>
                    </a:cubicBezTo>
                    <a:cubicBezTo>
                      <a:pt x="815" y="611"/>
                      <a:pt x="855" y="631"/>
                      <a:pt x="885" y="663"/>
                    </a:cubicBezTo>
                    <a:cubicBezTo>
                      <a:pt x="885" y="662"/>
                      <a:pt x="885" y="660"/>
                      <a:pt x="885" y="659"/>
                    </a:cubicBezTo>
                    <a:lnTo>
                      <a:pt x="874" y="607"/>
                    </a:lnTo>
                    <a:cubicBezTo>
                      <a:pt x="849" y="524"/>
                      <a:pt x="782" y="459"/>
                      <a:pt x="697" y="437"/>
                    </a:cubicBezTo>
                    <a:cubicBezTo>
                      <a:pt x="659" y="473"/>
                      <a:pt x="606" y="496"/>
                      <a:pt x="549" y="496"/>
                    </a:cubicBezTo>
                    <a:cubicBezTo>
                      <a:pt x="492" y="496"/>
                      <a:pt x="440" y="473"/>
                      <a:pt x="401" y="437"/>
                    </a:cubicBezTo>
                    <a:cubicBezTo>
                      <a:pt x="293" y="466"/>
                      <a:pt x="212" y="564"/>
                      <a:pt x="212" y="681"/>
                    </a:cubicBezTo>
                    <a:lnTo>
                      <a:pt x="212" y="807"/>
                    </a:lnTo>
                    <a:lnTo>
                      <a:pt x="857" y="807"/>
                    </a:lnTo>
                    <a:cubicBezTo>
                      <a:pt x="853" y="775"/>
                      <a:pt x="844" y="748"/>
                      <a:pt x="830" y="729"/>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4" name="矩形: 圆角 33"/>
              <p:cNvSpPr/>
              <p:nvPr/>
            </p:nvSpPr>
            <p:spPr>
              <a:xfrm>
                <a:off x="9264722" y="3512405"/>
                <a:ext cx="2254178" cy="389104"/>
              </a:xfrm>
              <a:prstGeom prst="roundRect">
                <a:avLst>
                  <a:gd name="adj" fmla="val 50000"/>
                </a:avLst>
              </a:prstGeom>
              <a:solidFill>
                <a:schemeClr val="accent2">
                  <a:lumMod val="100000"/>
                  <a:alpha val="1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chorCtr="1">
                <a:normAutofit fontScale="77500" lnSpcReduction="20000"/>
              </a:bodyPr>
              <a:lstStyle/>
              <a:p>
                <a:pPr algn="ctr"/>
                <a:r>
                  <a:rPr lang="en-US" altLang="zh-CN" b="1">
                    <a:solidFill>
                      <a:schemeClr val="tx1"/>
                    </a:solidFill>
                    <a:latin typeface="Calibri" pitchFamily="34" charset="0"/>
                    <a:ea typeface="宋体" pitchFamily="2" charset="-122"/>
                  </a:rPr>
                  <a:t>Click to add text</a:t>
                </a:r>
                <a:endParaRPr lang="zh-CN" altLang="en-US" b="1" dirty="0">
                  <a:solidFill>
                    <a:schemeClr val="tx1"/>
                  </a:solidFill>
                  <a:latin typeface="Calibri" pitchFamily="34" charset="0"/>
                  <a:ea typeface="宋体" pitchFamily="2" charset="-122"/>
                </a:endParaRPr>
              </a:p>
            </p:txBody>
          </p:sp>
          <p:sp>
            <p:nvSpPr>
              <p:cNvPr id="59" name="矩形 58"/>
              <p:cNvSpPr/>
              <p:nvPr/>
            </p:nvSpPr>
            <p:spPr>
              <a:xfrm>
                <a:off x="9264722" y="3963241"/>
                <a:ext cx="2254178" cy="54698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t" anchorCtr="1">
                <a:normAutofit/>
              </a:bodyPr>
              <a:lstStyle/>
              <a:p>
                <a:pPr algn="ctr">
                  <a:lnSpc>
                    <a:spcPct val="120000"/>
                  </a:lnSpc>
                </a:pPr>
                <a:r>
                  <a:rPr lang="en-US" altLang="zh-CN" sz="1200">
                    <a:solidFill>
                      <a:schemeClr val="tx1"/>
                    </a:solidFill>
                    <a:latin typeface="Calibri" pitchFamily="34" charset="0"/>
                    <a:ea typeface="宋体" pitchFamily="2" charset="-122"/>
                  </a:rPr>
                  <a:t>Vero ipsum clita diam et justo nostrud aliquyam no.</a:t>
                </a:r>
                <a:endParaRPr lang="zh-CN" altLang="en-US" sz="1200" dirty="0">
                  <a:solidFill>
                    <a:schemeClr val="tx1"/>
                  </a:solidFill>
                  <a:latin typeface="Calibri" pitchFamily="34" charset="0"/>
                  <a:ea typeface="宋体" pitchFamily="2" charset="-122"/>
                </a:endParaRPr>
              </a:p>
            </p:txBody>
          </p:sp>
        </p:grpSp>
      </p:gr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 name="组合 21"/>
          <p:cNvGrpSpPr/>
          <p:nvPr/>
        </p:nvGrpSpPr>
        <p:grpSpPr>
          <a:xfrm>
            <a:off x="666751" y="1130300"/>
            <a:ext cx="10858500" cy="4973016"/>
            <a:chOff x="666750" y="1130300"/>
            <a:chExt cx="10858500" cy="4973016"/>
          </a:xfrm>
        </p:grpSpPr>
        <p:sp>
          <p:nvSpPr>
            <p:cNvPr id="19" name="矩形 18"/>
            <p:cNvSpPr/>
            <p:nvPr/>
          </p:nvSpPr>
          <p:spPr>
            <a:xfrm>
              <a:off x="666750" y="1130300"/>
              <a:ext cx="10858500" cy="610292"/>
            </a:xfrm>
            <a:prstGeom prst="rect">
              <a:avLst/>
            </a:prstGeom>
          </p:spPr>
          <p:txBody>
            <a:bodyPr wrap="square" anchor="b" anchorCtr="0">
              <a:normAutofit/>
            </a:bodyPr>
            <a:lstStyle/>
            <a:p>
              <a:pPr algn="ctr">
                <a:buSzPct val="25000"/>
              </a:pPr>
              <a:r>
                <a:rPr lang="en-US" altLang="zh-CN" sz="2400" b="1" dirty="0">
                  <a:latin typeface="Calibri" pitchFamily="34" charset="0"/>
                  <a:ea typeface="宋体" pitchFamily="2" charset="-122"/>
                </a:rPr>
                <a:t>Unified fonts</a:t>
              </a:r>
              <a:r>
                <a:rPr lang="zh-CN" altLang="en-US" sz="2400" b="1" dirty="0">
                  <a:latin typeface="Calibri" pitchFamily="34" charset="0"/>
                  <a:ea typeface="宋体" pitchFamily="2" charset="-122"/>
                </a:rPr>
                <a:t> </a:t>
              </a:r>
              <a:r>
                <a:rPr lang="en-US" altLang="zh-CN" sz="2400" b="1" dirty="0">
                  <a:latin typeface="Calibri" pitchFamily="34" charset="0"/>
                  <a:ea typeface="宋体" pitchFamily="2" charset="-122"/>
                </a:rPr>
                <a:t>make reading more fluent.</a:t>
              </a:r>
              <a:endParaRPr lang="en-US" altLang="zh-CN" sz="2400" b="1" dirty="0">
                <a:latin typeface="Calibri" pitchFamily="34" charset="0"/>
                <a:ea typeface="宋体" pitchFamily="2" charset="-122"/>
              </a:endParaRPr>
            </a:p>
          </p:txBody>
        </p:sp>
        <p:grpSp>
          <p:nvGrpSpPr>
            <p:cNvPr id="21" name="组合 20"/>
            <p:cNvGrpSpPr/>
            <p:nvPr/>
          </p:nvGrpSpPr>
          <p:grpSpPr>
            <a:xfrm>
              <a:off x="666750" y="2290071"/>
              <a:ext cx="10529475" cy="3813245"/>
              <a:chOff x="666750" y="2290071"/>
              <a:chExt cx="10529475" cy="3813245"/>
            </a:xfrm>
          </p:grpSpPr>
          <p:grpSp>
            <p:nvGrpSpPr>
              <p:cNvPr id="2" name="组合 1"/>
              <p:cNvGrpSpPr/>
              <p:nvPr/>
            </p:nvGrpSpPr>
            <p:grpSpPr>
              <a:xfrm>
                <a:off x="3105150" y="2353850"/>
                <a:ext cx="8091075" cy="3696305"/>
                <a:chOff x="2084074" y="2237771"/>
                <a:chExt cx="8091075" cy="3696305"/>
              </a:xfrm>
            </p:grpSpPr>
            <p:cxnSp>
              <p:nvCxnSpPr>
                <p:cNvPr id="3" name="直接连接符 2"/>
                <p:cNvCxnSpPr/>
                <p:nvPr/>
              </p:nvCxnSpPr>
              <p:spPr>
                <a:xfrm flipH="1">
                  <a:off x="2084074" y="2683122"/>
                  <a:ext cx="641195" cy="0"/>
                </a:xfrm>
                <a:prstGeom prst="line">
                  <a:avLst/>
                </a:prstGeom>
                <a:ln w="12700"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 name="直接连接符 3"/>
                <p:cNvCxnSpPr/>
                <p:nvPr/>
              </p:nvCxnSpPr>
              <p:spPr>
                <a:xfrm flipH="1">
                  <a:off x="2084074" y="5497021"/>
                  <a:ext cx="641195" cy="0"/>
                </a:xfrm>
                <a:prstGeom prst="line">
                  <a:avLst/>
                </a:prstGeom>
                <a:ln w="12700"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 name="直接连接符 4"/>
                <p:cNvCxnSpPr/>
                <p:nvPr/>
              </p:nvCxnSpPr>
              <p:spPr>
                <a:xfrm flipH="1">
                  <a:off x="2084074" y="4105522"/>
                  <a:ext cx="641195" cy="0"/>
                </a:xfrm>
                <a:prstGeom prst="line">
                  <a:avLst/>
                </a:prstGeom>
                <a:ln w="12700" cap="rnd">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7" name="组合 6"/>
                <p:cNvGrpSpPr/>
                <p:nvPr/>
              </p:nvGrpSpPr>
              <p:grpSpPr>
                <a:xfrm>
                  <a:off x="2692401" y="2237771"/>
                  <a:ext cx="7482748" cy="901320"/>
                  <a:chOff x="2540001" y="1808139"/>
                  <a:chExt cx="7482748" cy="901320"/>
                </a:xfrm>
              </p:grpSpPr>
              <p:sp>
                <p:nvSpPr>
                  <p:cNvPr id="16" name="矩形: 圆角 15"/>
                  <p:cNvSpPr/>
                  <p:nvPr/>
                </p:nvSpPr>
                <p:spPr>
                  <a:xfrm>
                    <a:off x="2540001" y="1808139"/>
                    <a:ext cx="3722187" cy="901320"/>
                  </a:xfrm>
                  <a:prstGeom prst="roundRect">
                    <a:avLst>
                      <a:gd name="adj" fmla="val 50000"/>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a:solidFill>
                          <a:schemeClr val="accent1"/>
                        </a:solidFill>
                        <a:latin typeface="Calibri" pitchFamily="34" charset="0"/>
                        <a:ea typeface="宋体" pitchFamily="2" charset="-122"/>
                      </a:rPr>
                      <a:t>Click to add text</a:t>
                    </a:r>
                    <a:endParaRPr lang="zh-CN" altLang="en-US" b="1" dirty="0">
                      <a:solidFill>
                        <a:schemeClr val="accent1"/>
                      </a:solidFill>
                      <a:latin typeface="Calibri" pitchFamily="34" charset="0"/>
                      <a:ea typeface="宋体" pitchFamily="2" charset="-122"/>
                    </a:endParaRPr>
                  </a:p>
                </p:txBody>
              </p:sp>
              <p:sp>
                <p:nvSpPr>
                  <p:cNvPr id="17" name="椭圆 16"/>
                  <p:cNvSpPr/>
                  <p:nvPr/>
                </p:nvSpPr>
                <p:spPr>
                  <a:xfrm>
                    <a:off x="2589893" y="1862799"/>
                    <a:ext cx="792000" cy="792000"/>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a:solidFill>
                          <a:srgbClr val="FFFFFF"/>
                        </a:solidFill>
                        <a:latin typeface="Calibri" pitchFamily="34" charset="0"/>
                        <a:ea typeface="宋体" pitchFamily="2" charset="-122"/>
                      </a:rPr>
                      <a:t>01</a:t>
                    </a:r>
                    <a:endParaRPr lang="zh-CN" altLang="en-US" b="1" dirty="0">
                      <a:solidFill>
                        <a:srgbClr val="FFFFFF"/>
                      </a:solidFill>
                      <a:latin typeface="Calibri" pitchFamily="34" charset="0"/>
                      <a:ea typeface="宋体" pitchFamily="2" charset="-122"/>
                    </a:endParaRPr>
                  </a:p>
                </p:txBody>
              </p:sp>
              <p:sp>
                <p:nvSpPr>
                  <p:cNvPr id="18" name="文本框 17"/>
                  <p:cNvSpPr txBox="1"/>
                  <p:nvPr/>
                </p:nvSpPr>
                <p:spPr>
                  <a:xfrm>
                    <a:off x="6406968" y="1995887"/>
                    <a:ext cx="3615781" cy="520784"/>
                  </a:xfrm>
                  <a:prstGeom prst="rect">
                    <a:avLst/>
                  </a:prstGeom>
                  <a:noFill/>
                </p:spPr>
                <p:txBody>
                  <a:bodyPr wrap="square" rtlCol="0">
                    <a:spAutoFit/>
                  </a:bodyPr>
                  <a:lstStyle>
                    <a:defPPr>
                      <a:defRPr lang="zh-CN"/>
                    </a:defPPr>
                    <a:lvl1pPr algn="ctr">
                      <a:lnSpc>
                        <a:spcPct val="150000"/>
                      </a:lnSpc>
                      <a:defRPr sz="1200">
                        <a:solidFill>
                          <a:schemeClr val="bg1">
                            <a:lumMod val="50000"/>
                          </a:schemeClr>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l">
                      <a:lnSpc>
                        <a:spcPct val="120000"/>
                      </a:lnSpc>
                    </a:pPr>
                    <a:r>
                      <a:rPr lang="it-IT" altLang="zh-CN">
                        <a:solidFill>
                          <a:schemeClr val="tx1"/>
                        </a:solidFill>
                        <a:latin typeface="Calibri" pitchFamily="34" charset="0"/>
                        <a:ea typeface="宋体" pitchFamily="2" charset="-122"/>
                      </a:rPr>
                      <a:t>Dolor consetetur ut iusto sed dolor tation amet erat erat.</a:t>
                    </a:r>
                    <a:endParaRPr lang="en-US" altLang="zh-CN" dirty="0">
                      <a:solidFill>
                        <a:schemeClr val="tx1"/>
                      </a:solidFill>
                      <a:latin typeface="Calibri" pitchFamily="34" charset="0"/>
                      <a:ea typeface="宋体" pitchFamily="2" charset="-122"/>
                    </a:endParaRPr>
                  </a:p>
                </p:txBody>
              </p:sp>
            </p:grpSp>
            <p:grpSp>
              <p:nvGrpSpPr>
                <p:cNvPr id="8" name="组合 7"/>
                <p:cNvGrpSpPr/>
                <p:nvPr/>
              </p:nvGrpSpPr>
              <p:grpSpPr>
                <a:xfrm>
                  <a:off x="2692401" y="5032756"/>
                  <a:ext cx="7482748" cy="901320"/>
                  <a:chOff x="2540001" y="1808139"/>
                  <a:chExt cx="7482748" cy="901320"/>
                </a:xfrm>
              </p:grpSpPr>
              <p:sp>
                <p:nvSpPr>
                  <p:cNvPr id="13" name="矩形: 圆角 12"/>
                  <p:cNvSpPr/>
                  <p:nvPr/>
                </p:nvSpPr>
                <p:spPr>
                  <a:xfrm>
                    <a:off x="2540001" y="1808139"/>
                    <a:ext cx="3722187" cy="901320"/>
                  </a:xfrm>
                  <a:prstGeom prst="roundRect">
                    <a:avLst>
                      <a:gd name="adj" fmla="val 50000"/>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a:solidFill>
                          <a:schemeClr val="accent1"/>
                        </a:solidFill>
                        <a:latin typeface="Calibri" pitchFamily="34" charset="0"/>
                        <a:ea typeface="宋体" pitchFamily="2" charset="-122"/>
                      </a:rPr>
                      <a:t>Click to add text</a:t>
                    </a:r>
                    <a:endParaRPr lang="zh-CN" altLang="en-US" b="1" dirty="0">
                      <a:solidFill>
                        <a:schemeClr val="accent1"/>
                      </a:solidFill>
                      <a:latin typeface="Calibri" pitchFamily="34" charset="0"/>
                      <a:ea typeface="宋体" pitchFamily="2" charset="-122"/>
                    </a:endParaRPr>
                  </a:p>
                </p:txBody>
              </p:sp>
              <p:sp>
                <p:nvSpPr>
                  <p:cNvPr id="14" name="椭圆 13"/>
                  <p:cNvSpPr/>
                  <p:nvPr/>
                </p:nvSpPr>
                <p:spPr>
                  <a:xfrm>
                    <a:off x="2589893" y="1862799"/>
                    <a:ext cx="792000" cy="792000"/>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a:solidFill>
                          <a:srgbClr val="FFFFFF"/>
                        </a:solidFill>
                        <a:latin typeface="Calibri" pitchFamily="34" charset="0"/>
                        <a:ea typeface="宋体" pitchFamily="2" charset="-122"/>
                      </a:rPr>
                      <a:t>03</a:t>
                    </a:r>
                    <a:endParaRPr lang="zh-CN" altLang="en-US" b="1" dirty="0">
                      <a:solidFill>
                        <a:srgbClr val="FFFFFF"/>
                      </a:solidFill>
                      <a:latin typeface="Calibri" pitchFamily="34" charset="0"/>
                      <a:ea typeface="宋体" pitchFamily="2" charset="-122"/>
                    </a:endParaRPr>
                  </a:p>
                </p:txBody>
              </p:sp>
              <p:sp>
                <p:nvSpPr>
                  <p:cNvPr id="15" name="文本框 14"/>
                  <p:cNvSpPr txBox="1"/>
                  <p:nvPr/>
                </p:nvSpPr>
                <p:spPr>
                  <a:xfrm>
                    <a:off x="6406968" y="1995887"/>
                    <a:ext cx="3615781" cy="299184"/>
                  </a:xfrm>
                  <a:prstGeom prst="rect">
                    <a:avLst/>
                  </a:prstGeom>
                  <a:noFill/>
                </p:spPr>
                <p:txBody>
                  <a:bodyPr wrap="square" rtlCol="0">
                    <a:spAutoFit/>
                  </a:bodyPr>
                  <a:lstStyle>
                    <a:defPPr>
                      <a:defRPr lang="zh-CN"/>
                    </a:defPPr>
                    <a:lvl1pPr algn="ctr">
                      <a:lnSpc>
                        <a:spcPct val="150000"/>
                      </a:lnSpc>
                      <a:defRPr sz="1200">
                        <a:solidFill>
                          <a:schemeClr val="bg1">
                            <a:lumMod val="50000"/>
                          </a:schemeClr>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l">
                      <a:lnSpc>
                        <a:spcPct val="120000"/>
                      </a:lnSpc>
                    </a:pPr>
                    <a:r>
                      <a:rPr lang="nb-NO" altLang="zh-CN">
                        <a:solidFill>
                          <a:schemeClr val="tx1"/>
                        </a:solidFill>
                        <a:latin typeface="Calibri" pitchFamily="34" charset="0"/>
                        <a:ea typeface="宋体" pitchFamily="2" charset="-122"/>
                      </a:rPr>
                      <a:t>Sanctus at eirmod et ipsum ut molestie at eos diam.</a:t>
                    </a:r>
                    <a:endParaRPr lang="en-US" altLang="zh-CN" dirty="0">
                      <a:solidFill>
                        <a:schemeClr val="tx1"/>
                      </a:solidFill>
                      <a:latin typeface="Calibri" pitchFamily="34" charset="0"/>
                      <a:ea typeface="宋体" pitchFamily="2" charset="-122"/>
                    </a:endParaRPr>
                  </a:p>
                </p:txBody>
              </p:sp>
            </p:grpSp>
            <p:grpSp>
              <p:nvGrpSpPr>
                <p:cNvPr id="9" name="组合 8"/>
                <p:cNvGrpSpPr/>
                <p:nvPr/>
              </p:nvGrpSpPr>
              <p:grpSpPr>
                <a:xfrm>
                  <a:off x="2692401" y="3635264"/>
                  <a:ext cx="7482748" cy="901320"/>
                  <a:chOff x="2540001" y="1808139"/>
                  <a:chExt cx="7482748" cy="901320"/>
                </a:xfrm>
              </p:grpSpPr>
              <p:sp>
                <p:nvSpPr>
                  <p:cNvPr id="10" name="矩形: 圆角 9"/>
                  <p:cNvSpPr/>
                  <p:nvPr/>
                </p:nvSpPr>
                <p:spPr>
                  <a:xfrm>
                    <a:off x="2540001" y="1808139"/>
                    <a:ext cx="3722187" cy="901320"/>
                  </a:xfrm>
                  <a:prstGeom prst="roundRect">
                    <a:avLst>
                      <a:gd name="adj" fmla="val 50000"/>
                    </a:avLst>
                  </a:prstGeom>
                  <a:solidFill>
                    <a:schemeClr val="accent2">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a:solidFill>
                          <a:schemeClr val="accent2"/>
                        </a:solidFill>
                        <a:latin typeface="Calibri" pitchFamily="34" charset="0"/>
                        <a:ea typeface="宋体" pitchFamily="2" charset="-122"/>
                      </a:rPr>
                      <a:t>Click to add text</a:t>
                    </a:r>
                    <a:endParaRPr lang="zh-CN" altLang="en-US" b="1" dirty="0">
                      <a:solidFill>
                        <a:schemeClr val="accent2"/>
                      </a:solidFill>
                      <a:latin typeface="Calibri" pitchFamily="34" charset="0"/>
                      <a:ea typeface="宋体" pitchFamily="2" charset="-122"/>
                    </a:endParaRPr>
                  </a:p>
                </p:txBody>
              </p:sp>
              <p:sp>
                <p:nvSpPr>
                  <p:cNvPr id="11" name="椭圆 10"/>
                  <p:cNvSpPr/>
                  <p:nvPr/>
                </p:nvSpPr>
                <p:spPr>
                  <a:xfrm>
                    <a:off x="2589893" y="1862799"/>
                    <a:ext cx="792000" cy="792000"/>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a:solidFill>
                          <a:srgbClr val="FFFFFF"/>
                        </a:solidFill>
                        <a:latin typeface="Calibri" pitchFamily="34" charset="0"/>
                        <a:ea typeface="宋体" pitchFamily="2" charset="-122"/>
                      </a:rPr>
                      <a:t>02</a:t>
                    </a:r>
                    <a:endParaRPr lang="zh-CN" altLang="en-US" b="1" dirty="0">
                      <a:solidFill>
                        <a:srgbClr val="FFFFFF"/>
                      </a:solidFill>
                      <a:latin typeface="Calibri" pitchFamily="34" charset="0"/>
                      <a:ea typeface="宋体" pitchFamily="2" charset="-122"/>
                    </a:endParaRPr>
                  </a:p>
                </p:txBody>
              </p:sp>
              <p:sp>
                <p:nvSpPr>
                  <p:cNvPr id="12" name="文本框 11"/>
                  <p:cNvSpPr txBox="1"/>
                  <p:nvPr/>
                </p:nvSpPr>
                <p:spPr>
                  <a:xfrm>
                    <a:off x="6406968" y="1995887"/>
                    <a:ext cx="3615781" cy="299184"/>
                  </a:xfrm>
                  <a:prstGeom prst="rect">
                    <a:avLst/>
                  </a:prstGeom>
                  <a:noFill/>
                </p:spPr>
                <p:txBody>
                  <a:bodyPr wrap="square" rtlCol="0">
                    <a:spAutoFit/>
                  </a:bodyPr>
                  <a:lstStyle>
                    <a:defPPr>
                      <a:defRPr lang="zh-CN"/>
                    </a:defPPr>
                    <a:lvl1pPr algn="ctr">
                      <a:lnSpc>
                        <a:spcPct val="150000"/>
                      </a:lnSpc>
                      <a:defRPr sz="1200">
                        <a:solidFill>
                          <a:schemeClr val="bg1">
                            <a:lumMod val="50000"/>
                          </a:schemeClr>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l">
                      <a:lnSpc>
                        <a:spcPct val="120000"/>
                      </a:lnSpc>
                    </a:pPr>
                    <a:r>
                      <a:rPr lang="en-US" altLang="zh-CN">
                        <a:solidFill>
                          <a:schemeClr val="tx1"/>
                        </a:solidFill>
                        <a:latin typeface="Calibri" pitchFamily="34" charset="0"/>
                        <a:ea typeface="宋体" pitchFamily="2" charset="-122"/>
                      </a:rPr>
                      <a:t>Erat accusam invidunt lorem sanctus sed amet tempor.</a:t>
                    </a:r>
                    <a:endParaRPr lang="en-US" altLang="zh-CN" dirty="0">
                      <a:solidFill>
                        <a:schemeClr val="tx1"/>
                      </a:solidFill>
                      <a:latin typeface="Calibri" pitchFamily="34" charset="0"/>
                      <a:ea typeface="宋体" pitchFamily="2" charset="-122"/>
                    </a:endParaRPr>
                  </a:p>
                </p:txBody>
              </p:sp>
            </p:grpSp>
          </p:grpSp>
          <p:sp>
            <p:nvSpPr>
              <p:cNvPr id="20" name="矩形: 圆角 19"/>
              <p:cNvSpPr/>
              <p:nvPr/>
            </p:nvSpPr>
            <p:spPr>
              <a:xfrm>
                <a:off x="666750" y="2290071"/>
                <a:ext cx="2444750" cy="3813245"/>
              </a:xfrm>
              <a:prstGeom prst="roundRect">
                <a:avLst>
                  <a:gd name="adj" fmla="val 8355"/>
                </a:avLst>
              </a:prstGeom>
              <a:blipFill>
                <a:blip r:embed="rId1"/>
                <a:stretch>
                  <a:fillRect l="-70779" t="200" r="-70327" b="-200"/>
                </a:stretch>
              </a:blipFill>
              <a:ln w="12700" cap="flat"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grpSp>
      </p:gr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 name="组合 26"/>
          <p:cNvGrpSpPr/>
          <p:nvPr/>
        </p:nvGrpSpPr>
        <p:grpSpPr>
          <a:xfrm>
            <a:off x="666751" y="1130301"/>
            <a:ext cx="10858500" cy="4789657"/>
            <a:chOff x="666750" y="1130300"/>
            <a:chExt cx="10858500" cy="4789657"/>
          </a:xfrm>
        </p:grpSpPr>
        <p:grpSp>
          <p:nvGrpSpPr>
            <p:cNvPr id="26" name="组合 25"/>
            <p:cNvGrpSpPr/>
            <p:nvPr/>
          </p:nvGrpSpPr>
          <p:grpSpPr>
            <a:xfrm>
              <a:off x="1168400" y="2206510"/>
              <a:ext cx="8497414" cy="3713447"/>
              <a:chOff x="1168400" y="2206510"/>
              <a:chExt cx="8497414" cy="3713447"/>
            </a:xfrm>
          </p:grpSpPr>
          <p:grpSp>
            <p:nvGrpSpPr>
              <p:cNvPr id="25" name="组合 24"/>
              <p:cNvGrpSpPr/>
              <p:nvPr/>
            </p:nvGrpSpPr>
            <p:grpSpPr>
              <a:xfrm>
                <a:off x="5721023" y="2206510"/>
                <a:ext cx="3944791" cy="3571798"/>
                <a:chOff x="5721023" y="2206510"/>
                <a:chExt cx="3944791" cy="3571798"/>
              </a:xfrm>
            </p:grpSpPr>
            <p:sp>
              <p:nvSpPr>
                <p:cNvPr id="23" name="椭圆 22"/>
                <p:cNvSpPr/>
                <p:nvPr/>
              </p:nvSpPr>
              <p:spPr>
                <a:xfrm>
                  <a:off x="5721023" y="2206510"/>
                  <a:ext cx="3571798" cy="3571798"/>
                </a:xfrm>
                <a:prstGeom prst="ellipse">
                  <a:avLst/>
                </a:prstGeom>
                <a:noFill/>
                <a:ln w="12700" cap="flat" cmpd="sng" algn="ctr">
                  <a:solidFill>
                    <a:schemeClr val="accent1">
                      <a:alpha val="5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3" name="椭圆 2"/>
                <p:cNvSpPr/>
                <p:nvPr/>
              </p:nvSpPr>
              <p:spPr>
                <a:xfrm>
                  <a:off x="6321556" y="2320280"/>
                  <a:ext cx="3344258" cy="3344258"/>
                </a:xfrm>
                <a:prstGeom prst="ellipse">
                  <a:avLst/>
                </a:prstGeom>
                <a:blipFill>
                  <a:blip r:embed="rId1"/>
                  <a:srcRect/>
                  <a:stretch>
                    <a:fillRect l="-26675" t="263" r="-27904" b="-263"/>
                  </a:stretch>
                </a:blipFill>
                <a:ln w="12700" cap="flat" cmpd="sng" algn="ctr">
                  <a:noFill/>
                  <a:prstDash val="solid"/>
                  <a:miter lim="800000"/>
                </a:ln>
                <a:effectLst/>
                <a:extLst>
                  <a:ext uri="{91240B29-F687-4F45-9708-019B960494DF}">
                    <a14:hiddenLine xmlns:a14="http://schemas.microsoft.com/office/drawing/2010/main" w="12700">
                      <a:solidFill>
                        <a:schemeClr val="accent1">
                          <a:shade val="50000"/>
                        </a:schemeClr>
                      </a:solidFill>
                      <a:prstDash val="solid"/>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grpSp>
          <p:grpSp>
            <p:nvGrpSpPr>
              <p:cNvPr id="24" name="组合 23"/>
              <p:cNvGrpSpPr/>
              <p:nvPr/>
            </p:nvGrpSpPr>
            <p:grpSpPr>
              <a:xfrm>
                <a:off x="1168400" y="2324100"/>
                <a:ext cx="5153158" cy="3595857"/>
                <a:chOff x="1168400" y="2324100"/>
                <a:chExt cx="5153158" cy="3595857"/>
              </a:xfrm>
            </p:grpSpPr>
            <p:grpSp>
              <p:nvGrpSpPr>
                <p:cNvPr id="4" name="组合 3"/>
                <p:cNvGrpSpPr/>
                <p:nvPr/>
              </p:nvGrpSpPr>
              <p:grpSpPr>
                <a:xfrm>
                  <a:off x="1168400" y="2324100"/>
                  <a:ext cx="5153158" cy="1195074"/>
                  <a:chOff x="-676898" y="2340231"/>
                  <a:chExt cx="5153158" cy="1195074"/>
                </a:xfrm>
              </p:grpSpPr>
              <p:grpSp>
                <p:nvGrpSpPr>
                  <p:cNvPr id="17" name="组合 16"/>
                  <p:cNvGrpSpPr/>
                  <p:nvPr/>
                </p:nvGrpSpPr>
                <p:grpSpPr>
                  <a:xfrm>
                    <a:off x="3937581" y="2477226"/>
                    <a:ext cx="538679" cy="538676"/>
                    <a:chOff x="3526795" y="2235779"/>
                    <a:chExt cx="410200" cy="410198"/>
                  </a:xfrm>
                </p:grpSpPr>
                <p:sp>
                  <p:nvSpPr>
                    <p:cNvPr id="20" name="椭圆 19"/>
                    <p:cNvSpPr/>
                    <p:nvPr/>
                  </p:nvSpPr>
                  <p:spPr>
                    <a:xfrm>
                      <a:off x="3526795" y="2235779"/>
                      <a:ext cx="410200" cy="410198"/>
                    </a:xfrm>
                    <a:prstGeom prst="ellipse">
                      <a:avLst/>
                    </a:prstGeom>
                    <a:solidFill>
                      <a:schemeClr val="accent1"/>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endParaRPr lang="zh-CN" altLang="en-US" dirty="0">
                        <a:solidFill>
                          <a:schemeClr val="tx1"/>
                        </a:solidFill>
                      </a:endParaRPr>
                    </a:p>
                  </p:txBody>
                </p:sp>
                <p:sp>
                  <p:nvSpPr>
                    <p:cNvPr id="21" name="任意多边形: 形状 20"/>
                    <p:cNvSpPr/>
                    <p:nvPr/>
                  </p:nvSpPr>
                  <p:spPr>
                    <a:xfrm>
                      <a:off x="3642895" y="2374128"/>
                      <a:ext cx="178001" cy="133500"/>
                    </a:xfrm>
                    <a:custGeom>
                      <a:avLst/>
                      <a:gdLst>
                        <a:gd name="connsiteX0" fmla="*/ 505433 w 533400"/>
                        <a:gd name="connsiteY0" fmla="*/ 621 h 400050"/>
                        <a:gd name="connsiteX1" fmla="*/ 534008 w 533400"/>
                        <a:gd name="connsiteY1" fmla="*/ 29196 h 400050"/>
                        <a:gd name="connsiteX2" fmla="*/ 534008 w 533400"/>
                        <a:gd name="connsiteY2" fmla="*/ 372096 h 400050"/>
                        <a:gd name="connsiteX3" fmla="*/ 505433 w 533400"/>
                        <a:gd name="connsiteY3" fmla="*/ 400671 h 400050"/>
                        <a:gd name="connsiteX4" fmla="*/ 29183 w 533400"/>
                        <a:gd name="connsiteY4" fmla="*/ 400671 h 400050"/>
                        <a:gd name="connsiteX5" fmla="*/ 608 w 533400"/>
                        <a:gd name="connsiteY5" fmla="*/ 372096 h 400050"/>
                        <a:gd name="connsiteX6" fmla="*/ 608 w 533400"/>
                        <a:gd name="connsiteY6" fmla="*/ 29196 h 400050"/>
                        <a:gd name="connsiteX7" fmla="*/ 29183 w 533400"/>
                        <a:gd name="connsiteY7" fmla="*/ 621 h 400050"/>
                        <a:gd name="connsiteX8" fmla="*/ 505433 w 533400"/>
                        <a:gd name="connsiteY8" fmla="*/ 621 h 400050"/>
                        <a:gd name="connsiteX9" fmla="*/ 391419 w 533400"/>
                        <a:gd name="connsiteY9" fmla="*/ 198646 h 400050"/>
                        <a:gd name="connsiteX10" fmla="*/ 351414 w 533400"/>
                        <a:gd name="connsiteY10" fmla="*/ 204170 h 400050"/>
                        <a:gd name="connsiteX11" fmla="*/ 351414 w 533400"/>
                        <a:gd name="connsiteY11" fmla="*/ 204170 h 400050"/>
                        <a:gd name="connsiteX12" fmla="*/ 267118 w 533400"/>
                        <a:gd name="connsiteY12" fmla="*/ 315613 h 400050"/>
                        <a:gd name="connsiteX13" fmla="*/ 264641 w 533400"/>
                        <a:gd name="connsiteY13" fmla="*/ 318470 h 400050"/>
                        <a:gd name="connsiteX14" fmla="*/ 224255 w 533400"/>
                        <a:gd name="connsiteY14" fmla="*/ 318756 h 400050"/>
                        <a:gd name="connsiteX15" fmla="*/ 224255 w 533400"/>
                        <a:gd name="connsiteY15" fmla="*/ 318756 h 400050"/>
                        <a:gd name="connsiteX16" fmla="*/ 162152 w 533400"/>
                        <a:gd name="connsiteY16" fmla="*/ 257415 h 400050"/>
                        <a:gd name="connsiteX17" fmla="*/ 160247 w 533400"/>
                        <a:gd name="connsiteY17" fmla="*/ 255701 h 400050"/>
                        <a:gd name="connsiteX18" fmla="*/ 120052 w 533400"/>
                        <a:gd name="connsiteY18" fmla="*/ 259606 h 400050"/>
                        <a:gd name="connsiteX19" fmla="*/ 120052 w 533400"/>
                        <a:gd name="connsiteY19" fmla="*/ 259606 h 400050"/>
                        <a:gd name="connsiteX20" fmla="*/ 32517 w 533400"/>
                        <a:gd name="connsiteY20" fmla="*/ 366095 h 400050"/>
                        <a:gd name="connsiteX21" fmla="*/ 30326 w 533400"/>
                        <a:gd name="connsiteY21" fmla="*/ 372096 h 400050"/>
                        <a:gd name="connsiteX22" fmla="*/ 39851 w 533400"/>
                        <a:gd name="connsiteY22" fmla="*/ 381621 h 400050"/>
                        <a:gd name="connsiteX23" fmla="*/ 39851 w 533400"/>
                        <a:gd name="connsiteY23" fmla="*/ 381621 h 400050"/>
                        <a:gd name="connsiteX24" fmla="*/ 497242 w 533400"/>
                        <a:gd name="connsiteY24" fmla="*/ 381621 h 400050"/>
                        <a:gd name="connsiteX25" fmla="*/ 502480 w 533400"/>
                        <a:gd name="connsiteY25" fmla="*/ 380002 h 400050"/>
                        <a:gd name="connsiteX26" fmla="*/ 505147 w 533400"/>
                        <a:gd name="connsiteY26" fmla="*/ 366762 h 400050"/>
                        <a:gd name="connsiteX27" fmla="*/ 505147 w 533400"/>
                        <a:gd name="connsiteY27" fmla="*/ 366762 h 400050"/>
                        <a:gd name="connsiteX28" fmla="*/ 397991 w 533400"/>
                        <a:gd name="connsiteY28" fmla="*/ 205504 h 400050"/>
                        <a:gd name="connsiteX29" fmla="*/ 391419 w 533400"/>
                        <a:gd name="connsiteY29" fmla="*/ 198646 h 400050"/>
                        <a:gd name="connsiteX30" fmla="*/ 95858 w 533400"/>
                        <a:gd name="connsiteY30" fmla="*/ 57771 h 400050"/>
                        <a:gd name="connsiteX31" fmla="*/ 57758 w 533400"/>
                        <a:gd name="connsiteY31" fmla="*/ 95871 h 400050"/>
                        <a:gd name="connsiteX32" fmla="*/ 95858 w 533400"/>
                        <a:gd name="connsiteY32" fmla="*/ 133971 h 400050"/>
                        <a:gd name="connsiteX33" fmla="*/ 133958 w 533400"/>
                        <a:gd name="connsiteY33" fmla="*/ 95871 h 400050"/>
                        <a:gd name="connsiteX34" fmla="*/ 95858 w 533400"/>
                        <a:gd name="connsiteY34" fmla="*/ 57771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33400" h="400050">
                          <a:moveTo>
                            <a:pt x="505433" y="621"/>
                          </a:moveTo>
                          <a:cubicBezTo>
                            <a:pt x="521245" y="621"/>
                            <a:pt x="534008" y="13385"/>
                            <a:pt x="534008" y="29196"/>
                          </a:cubicBezTo>
                          <a:lnTo>
                            <a:pt x="534008" y="372096"/>
                          </a:lnTo>
                          <a:cubicBezTo>
                            <a:pt x="534008" y="387907"/>
                            <a:pt x="521245" y="400671"/>
                            <a:pt x="505433" y="400671"/>
                          </a:cubicBezTo>
                          <a:lnTo>
                            <a:pt x="29183" y="400671"/>
                          </a:lnTo>
                          <a:cubicBezTo>
                            <a:pt x="13371" y="400671"/>
                            <a:pt x="608" y="387907"/>
                            <a:pt x="608" y="372096"/>
                          </a:cubicBezTo>
                          <a:lnTo>
                            <a:pt x="608" y="29196"/>
                          </a:lnTo>
                          <a:cubicBezTo>
                            <a:pt x="608" y="13385"/>
                            <a:pt x="13371" y="621"/>
                            <a:pt x="29183" y="621"/>
                          </a:cubicBezTo>
                          <a:lnTo>
                            <a:pt x="505433" y="621"/>
                          </a:lnTo>
                          <a:close/>
                          <a:moveTo>
                            <a:pt x="391419" y="198646"/>
                          </a:moveTo>
                          <a:cubicBezTo>
                            <a:pt x="378846" y="189121"/>
                            <a:pt x="360939" y="191597"/>
                            <a:pt x="351414" y="204170"/>
                          </a:cubicBezTo>
                          <a:lnTo>
                            <a:pt x="351414" y="204170"/>
                          </a:lnTo>
                          <a:lnTo>
                            <a:pt x="267118" y="315613"/>
                          </a:lnTo>
                          <a:cubicBezTo>
                            <a:pt x="266355" y="316660"/>
                            <a:pt x="265498" y="317518"/>
                            <a:pt x="264641" y="318470"/>
                          </a:cubicBezTo>
                          <a:cubicBezTo>
                            <a:pt x="253592" y="329710"/>
                            <a:pt x="235495" y="329805"/>
                            <a:pt x="224255" y="318756"/>
                          </a:cubicBezTo>
                          <a:lnTo>
                            <a:pt x="224255" y="318756"/>
                          </a:lnTo>
                          <a:lnTo>
                            <a:pt x="162152" y="257415"/>
                          </a:lnTo>
                          <a:cubicBezTo>
                            <a:pt x="161485" y="256844"/>
                            <a:pt x="160914" y="256177"/>
                            <a:pt x="160247" y="255701"/>
                          </a:cubicBezTo>
                          <a:cubicBezTo>
                            <a:pt x="148055" y="245699"/>
                            <a:pt x="130053" y="247414"/>
                            <a:pt x="120052" y="259606"/>
                          </a:cubicBezTo>
                          <a:lnTo>
                            <a:pt x="120052" y="259606"/>
                          </a:lnTo>
                          <a:lnTo>
                            <a:pt x="32517" y="366095"/>
                          </a:lnTo>
                          <a:cubicBezTo>
                            <a:pt x="31088" y="367810"/>
                            <a:pt x="30326" y="369905"/>
                            <a:pt x="30326" y="372096"/>
                          </a:cubicBezTo>
                          <a:cubicBezTo>
                            <a:pt x="30326" y="377335"/>
                            <a:pt x="34612" y="381621"/>
                            <a:pt x="39851" y="381621"/>
                          </a:cubicBezTo>
                          <a:lnTo>
                            <a:pt x="39851" y="381621"/>
                          </a:lnTo>
                          <a:lnTo>
                            <a:pt x="497242" y="381621"/>
                          </a:lnTo>
                          <a:cubicBezTo>
                            <a:pt x="499146" y="381621"/>
                            <a:pt x="500956" y="381050"/>
                            <a:pt x="502480" y="380002"/>
                          </a:cubicBezTo>
                          <a:cubicBezTo>
                            <a:pt x="506862" y="377049"/>
                            <a:pt x="508005" y="371144"/>
                            <a:pt x="505147" y="366762"/>
                          </a:cubicBezTo>
                          <a:lnTo>
                            <a:pt x="505147" y="366762"/>
                          </a:lnTo>
                          <a:lnTo>
                            <a:pt x="397991" y="205504"/>
                          </a:lnTo>
                          <a:cubicBezTo>
                            <a:pt x="396181" y="202932"/>
                            <a:pt x="393990" y="200551"/>
                            <a:pt x="391419" y="198646"/>
                          </a:cubicBezTo>
                          <a:close/>
                          <a:moveTo>
                            <a:pt x="95858" y="57771"/>
                          </a:moveTo>
                          <a:cubicBezTo>
                            <a:pt x="74808" y="57771"/>
                            <a:pt x="57758" y="74821"/>
                            <a:pt x="57758" y="95871"/>
                          </a:cubicBezTo>
                          <a:cubicBezTo>
                            <a:pt x="57758" y="116921"/>
                            <a:pt x="74808" y="133971"/>
                            <a:pt x="95858" y="133971"/>
                          </a:cubicBezTo>
                          <a:cubicBezTo>
                            <a:pt x="116908" y="133971"/>
                            <a:pt x="133958" y="116921"/>
                            <a:pt x="133958" y="95871"/>
                          </a:cubicBezTo>
                          <a:cubicBezTo>
                            <a:pt x="133958" y="74821"/>
                            <a:pt x="116908" y="57771"/>
                            <a:pt x="95858" y="57771"/>
                          </a:cubicBezTo>
                          <a:close/>
                        </a:path>
                      </a:pathLst>
                    </a:custGeom>
                    <a:solidFill>
                      <a:srgbClr val="FFFFFF"/>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2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endParaRPr>
                    </a:p>
                  </p:txBody>
                </p:sp>
              </p:grpSp>
              <p:sp>
                <p:nvSpPr>
                  <p:cNvPr id="18" name="文本框 17"/>
                  <p:cNvSpPr txBox="1"/>
                  <p:nvPr/>
                </p:nvSpPr>
                <p:spPr>
                  <a:xfrm>
                    <a:off x="-676898" y="2878907"/>
                    <a:ext cx="4495656" cy="656398"/>
                  </a:xfrm>
                  <a:prstGeom prst="rect">
                    <a:avLst/>
                  </a:prstGeom>
                  <a:noFill/>
                </p:spPr>
                <p:txBody>
                  <a:bodyPr wrap="square" rtlCol="0" anchor="t" anchorCtr="0">
                    <a:normAutofit/>
                  </a:bodyPr>
                  <a:lstStyle>
                    <a:defPPr>
                      <a:defRPr lang="zh-CN"/>
                    </a:defPPr>
                    <a:lvl1pPr>
                      <a:lnSpc>
                        <a:spcPts val="1500"/>
                      </a:lnSpc>
                      <a:defRPr sz="1200"/>
                    </a:lvl1pPr>
                  </a:lstStyle>
                  <a:p>
                    <a:pPr algn="r">
                      <a:lnSpc>
                        <a:spcPct val="120000"/>
                      </a:lnSpc>
                    </a:pPr>
                    <a:r>
                      <a:rPr lang="en-US" altLang="zh-CN">
                        <a:latin typeface="Calibri" pitchFamily="34" charset="0"/>
                        <a:ea typeface="宋体" pitchFamily="2" charset="-122"/>
                      </a:rPr>
                      <a:t>Ad elitr dolor tation takimata aliquam takimata sit in.</a:t>
                    </a:r>
                    <a:endParaRPr lang="en-US" altLang="zh-CN" dirty="0">
                      <a:latin typeface="Calibri" pitchFamily="34" charset="0"/>
                      <a:ea typeface="宋体" pitchFamily="2" charset="-122"/>
                    </a:endParaRPr>
                  </a:p>
                </p:txBody>
              </p:sp>
              <p:sp>
                <p:nvSpPr>
                  <p:cNvPr id="19" name="文本框 18"/>
                  <p:cNvSpPr txBox="1"/>
                  <p:nvPr/>
                </p:nvSpPr>
                <p:spPr>
                  <a:xfrm>
                    <a:off x="-676898" y="2340231"/>
                    <a:ext cx="4495656" cy="538676"/>
                  </a:xfrm>
                  <a:prstGeom prst="rect">
                    <a:avLst/>
                  </a:prstGeom>
                  <a:noFill/>
                </p:spPr>
                <p:txBody>
                  <a:bodyPr wrap="square" anchor="b" anchorCtr="0">
                    <a:normAutofit/>
                  </a:bodyPr>
                  <a:lstStyle>
                    <a:defPPr>
                      <a:defRPr lang="zh-CN"/>
                    </a:defPPr>
                    <a:lvl1pPr marR="0" lvl="0" indent="0" defTabSz="913765" fontAlgn="auto">
                      <a:lnSpc>
                        <a:spcPct val="100000"/>
                      </a:lnSpc>
                      <a:spcBef>
                        <a:spcPts val="0"/>
                      </a:spcBef>
                      <a:spcAft>
                        <a:spcPts val="0"/>
                      </a:spcAft>
                      <a:buClrTx/>
                      <a:buSzPct val="25000"/>
                      <a:buFontTx/>
                      <a:buNone/>
                      <a:defRPr kumimoji="0" sz="2000" b="1" i="0" u="none" strike="noStrike" cap="none" spc="0" normalizeH="0" baseline="0">
                        <a:ln>
                          <a:noFill/>
                        </a:ln>
                        <a:effectLst/>
                        <a:uLnTx/>
                        <a:uFillTx/>
                      </a:defRPr>
                    </a:lvl1pPr>
                  </a:lstStyle>
                  <a:p>
                    <a:pPr algn="r"/>
                    <a:r>
                      <a:rPr lang="pt-BR" altLang="zh-CN" sz="1800">
                        <a:latin typeface="Calibri" pitchFamily="34" charset="0"/>
                        <a:ea typeface="宋体" pitchFamily="2" charset="-122"/>
                      </a:rPr>
                      <a:t>Click to add text</a:t>
                    </a:r>
                    <a:endParaRPr lang="en-US" altLang="zh-CN" sz="1800" dirty="0">
                      <a:latin typeface="Calibri" pitchFamily="34" charset="0"/>
                      <a:ea typeface="宋体" pitchFamily="2" charset="-122"/>
                    </a:endParaRPr>
                  </a:p>
                </p:txBody>
              </p:sp>
            </p:grpSp>
            <p:grpSp>
              <p:nvGrpSpPr>
                <p:cNvPr id="5" name="组合 4"/>
                <p:cNvGrpSpPr/>
                <p:nvPr/>
              </p:nvGrpSpPr>
              <p:grpSpPr>
                <a:xfrm>
                  <a:off x="1309966" y="3524718"/>
                  <a:ext cx="4680397" cy="1195074"/>
                  <a:chOff x="-535332" y="3540849"/>
                  <a:chExt cx="4680397" cy="1195074"/>
                </a:xfrm>
              </p:grpSpPr>
              <p:grpSp>
                <p:nvGrpSpPr>
                  <p:cNvPr id="12" name="组合 11"/>
                  <p:cNvGrpSpPr/>
                  <p:nvPr/>
                </p:nvGrpSpPr>
                <p:grpSpPr>
                  <a:xfrm>
                    <a:off x="3606386" y="3669441"/>
                    <a:ext cx="538679" cy="538676"/>
                    <a:chOff x="4471992" y="2235779"/>
                    <a:chExt cx="410200" cy="410198"/>
                  </a:xfrm>
                </p:grpSpPr>
                <p:sp>
                  <p:nvSpPr>
                    <p:cNvPr id="15" name="椭圆 14"/>
                    <p:cNvSpPr/>
                    <p:nvPr/>
                  </p:nvSpPr>
                  <p:spPr>
                    <a:xfrm>
                      <a:off x="4471992" y="2235779"/>
                      <a:ext cx="410200" cy="410198"/>
                    </a:xfrm>
                    <a:prstGeom prst="ellipse">
                      <a:avLst/>
                    </a:prstGeom>
                    <a:solidFill>
                      <a:schemeClr val="accent2"/>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endParaRPr lang="zh-CN" altLang="en-US" dirty="0">
                        <a:solidFill>
                          <a:schemeClr val="tx1"/>
                        </a:solidFill>
                      </a:endParaRPr>
                    </a:p>
                  </p:txBody>
                </p:sp>
                <p:sp>
                  <p:nvSpPr>
                    <p:cNvPr id="16" name="任意多边形: 形状 15"/>
                    <p:cNvSpPr/>
                    <p:nvPr/>
                  </p:nvSpPr>
                  <p:spPr>
                    <a:xfrm>
                      <a:off x="4595899" y="2358227"/>
                      <a:ext cx="162386" cy="178001"/>
                    </a:xfrm>
                    <a:custGeom>
                      <a:avLst/>
                      <a:gdLst>
                        <a:gd name="connsiteX0" fmla="*/ 248770 w 495300"/>
                        <a:gd name="connsiteY0" fmla="*/ 621 h 542925"/>
                        <a:gd name="connsiteX1" fmla="*/ 496420 w 495300"/>
                        <a:gd name="connsiteY1" fmla="*/ 248271 h 542925"/>
                        <a:gd name="connsiteX2" fmla="*/ 323827 w 495300"/>
                        <a:gd name="connsiteY2" fmla="*/ 484396 h 542925"/>
                        <a:gd name="connsiteX3" fmla="*/ 346973 w 495300"/>
                        <a:gd name="connsiteY3" fmla="*/ 524496 h 542925"/>
                        <a:gd name="connsiteX4" fmla="*/ 420220 w 495300"/>
                        <a:gd name="connsiteY4" fmla="*/ 524496 h 542925"/>
                        <a:gd name="connsiteX5" fmla="*/ 420220 w 495300"/>
                        <a:gd name="connsiteY5" fmla="*/ 543546 h 542925"/>
                        <a:gd name="connsiteX6" fmla="*/ 77320 w 495300"/>
                        <a:gd name="connsiteY6" fmla="*/ 543546 h 542925"/>
                        <a:gd name="connsiteX7" fmla="*/ 77320 w 495300"/>
                        <a:gd name="connsiteY7" fmla="*/ 524496 h 542925"/>
                        <a:gd name="connsiteX8" fmla="*/ 150567 w 495300"/>
                        <a:gd name="connsiteY8" fmla="*/ 524496 h 542925"/>
                        <a:gd name="connsiteX9" fmla="*/ 173713 w 495300"/>
                        <a:gd name="connsiteY9" fmla="*/ 484396 h 542925"/>
                        <a:gd name="connsiteX10" fmla="*/ 1120 w 495300"/>
                        <a:gd name="connsiteY10" fmla="*/ 248271 h 542925"/>
                        <a:gd name="connsiteX11" fmla="*/ 248770 w 495300"/>
                        <a:gd name="connsiteY11" fmla="*/ 621 h 542925"/>
                        <a:gd name="connsiteX12" fmla="*/ 192763 w 495300"/>
                        <a:gd name="connsiteY12" fmla="*/ 489539 h 542925"/>
                        <a:gd name="connsiteX13" fmla="*/ 172570 w 495300"/>
                        <a:gd name="connsiteY13" fmla="*/ 524496 h 542925"/>
                        <a:gd name="connsiteX14" fmla="*/ 324970 w 495300"/>
                        <a:gd name="connsiteY14" fmla="*/ 524496 h 542925"/>
                        <a:gd name="connsiteX15" fmla="*/ 304777 w 495300"/>
                        <a:gd name="connsiteY15" fmla="*/ 489539 h 542925"/>
                        <a:gd name="connsiteX16" fmla="*/ 248770 w 495300"/>
                        <a:gd name="connsiteY16" fmla="*/ 495921 h 542925"/>
                        <a:gd name="connsiteX17" fmla="*/ 192763 w 495300"/>
                        <a:gd name="connsiteY17" fmla="*/ 489539 h 542925"/>
                        <a:gd name="connsiteX18" fmla="*/ 248770 w 495300"/>
                        <a:gd name="connsiteY18" fmla="*/ 143496 h 542925"/>
                        <a:gd name="connsiteX19" fmla="*/ 143995 w 495300"/>
                        <a:gd name="connsiteY19" fmla="*/ 248271 h 542925"/>
                        <a:gd name="connsiteX20" fmla="*/ 248770 w 495300"/>
                        <a:gd name="connsiteY20" fmla="*/ 353046 h 542925"/>
                        <a:gd name="connsiteX21" fmla="*/ 353545 w 495300"/>
                        <a:gd name="connsiteY21" fmla="*/ 248271 h 542925"/>
                        <a:gd name="connsiteX22" fmla="*/ 248770 w 495300"/>
                        <a:gd name="connsiteY22" fmla="*/ 143496 h 542925"/>
                        <a:gd name="connsiteX23" fmla="*/ 367833 w 495300"/>
                        <a:gd name="connsiteY23" fmla="*/ 114921 h 542925"/>
                        <a:gd name="connsiteX24" fmla="*/ 353545 w 495300"/>
                        <a:gd name="connsiteY24" fmla="*/ 129209 h 542925"/>
                        <a:gd name="connsiteX25" fmla="*/ 367833 w 495300"/>
                        <a:gd name="connsiteY25" fmla="*/ 143496 h 542925"/>
                        <a:gd name="connsiteX26" fmla="*/ 382120 w 495300"/>
                        <a:gd name="connsiteY26" fmla="*/ 129209 h 542925"/>
                        <a:gd name="connsiteX27" fmla="*/ 367833 w 495300"/>
                        <a:gd name="connsiteY27" fmla="*/ 114921 h 54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95300" h="542925">
                          <a:moveTo>
                            <a:pt x="248770" y="621"/>
                          </a:moveTo>
                          <a:cubicBezTo>
                            <a:pt x="385549" y="621"/>
                            <a:pt x="496420" y="111492"/>
                            <a:pt x="496420" y="248271"/>
                          </a:cubicBezTo>
                          <a:cubicBezTo>
                            <a:pt x="496420" y="358856"/>
                            <a:pt x="423935" y="452582"/>
                            <a:pt x="323827" y="484396"/>
                          </a:cubicBezTo>
                          <a:lnTo>
                            <a:pt x="346973" y="524496"/>
                          </a:lnTo>
                          <a:lnTo>
                            <a:pt x="420220" y="524496"/>
                          </a:lnTo>
                          <a:lnTo>
                            <a:pt x="420220" y="543546"/>
                          </a:lnTo>
                          <a:lnTo>
                            <a:pt x="77320" y="543546"/>
                          </a:lnTo>
                          <a:lnTo>
                            <a:pt x="77320" y="524496"/>
                          </a:lnTo>
                          <a:lnTo>
                            <a:pt x="150567" y="524496"/>
                          </a:lnTo>
                          <a:lnTo>
                            <a:pt x="173713" y="484396"/>
                          </a:lnTo>
                          <a:cubicBezTo>
                            <a:pt x="73605" y="452582"/>
                            <a:pt x="1120" y="358856"/>
                            <a:pt x="1120" y="248271"/>
                          </a:cubicBezTo>
                          <a:cubicBezTo>
                            <a:pt x="1120" y="111492"/>
                            <a:pt x="111991" y="621"/>
                            <a:pt x="248770" y="621"/>
                          </a:cubicBezTo>
                          <a:close/>
                          <a:moveTo>
                            <a:pt x="192763" y="489539"/>
                          </a:moveTo>
                          <a:lnTo>
                            <a:pt x="172570" y="524496"/>
                          </a:lnTo>
                          <a:lnTo>
                            <a:pt x="324970" y="524496"/>
                          </a:lnTo>
                          <a:lnTo>
                            <a:pt x="304777" y="489539"/>
                          </a:lnTo>
                          <a:cubicBezTo>
                            <a:pt x="286775" y="493730"/>
                            <a:pt x="268010" y="495921"/>
                            <a:pt x="248770" y="495921"/>
                          </a:cubicBezTo>
                          <a:cubicBezTo>
                            <a:pt x="229530" y="495921"/>
                            <a:pt x="210765" y="493730"/>
                            <a:pt x="192763" y="489539"/>
                          </a:cubicBezTo>
                          <a:close/>
                          <a:moveTo>
                            <a:pt x="248770" y="143496"/>
                          </a:moveTo>
                          <a:cubicBezTo>
                            <a:pt x="190858" y="143496"/>
                            <a:pt x="143995" y="190359"/>
                            <a:pt x="143995" y="248271"/>
                          </a:cubicBezTo>
                          <a:cubicBezTo>
                            <a:pt x="143995" y="306183"/>
                            <a:pt x="190858" y="353046"/>
                            <a:pt x="248770" y="353046"/>
                          </a:cubicBezTo>
                          <a:cubicBezTo>
                            <a:pt x="306682" y="353046"/>
                            <a:pt x="353545" y="306183"/>
                            <a:pt x="353545" y="248271"/>
                          </a:cubicBezTo>
                          <a:cubicBezTo>
                            <a:pt x="353545" y="190359"/>
                            <a:pt x="306682" y="143496"/>
                            <a:pt x="248770" y="143496"/>
                          </a:cubicBezTo>
                          <a:close/>
                          <a:moveTo>
                            <a:pt x="367833" y="114921"/>
                          </a:moveTo>
                          <a:cubicBezTo>
                            <a:pt x="359927" y="114921"/>
                            <a:pt x="353545" y="121303"/>
                            <a:pt x="353545" y="129209"/>
                          </a:cubicBezTo>
                          <a:cubicBezTo>
                            <a:pt x="353545" y="137114"/>
                            <a:pt x="359927" y="143496"/>
                            <a:pt x="367833" y="143496"/>
                          </a:cubicBezTo>
                          <a:cubicBezTo>
                            <a:pt x="375738" y="143496"/>
                            <a:pt x="382120" y="137114"/>
                            <a:pt x="382120" y="129209"/>
                          </a:cubicBezTo>
                          <a:cubicBezTo>
                            <a:pt x="382120" y="121303"/>
                            <a:pt x="375738" y="114921"/>
                            <a:pt x="367833" y="114921"/>
                          </a:cubicBezTo>
                          <a:close/>
                        </a:path>
                      </a:pathLst>
                    </a:custGeom>
                    <a:solidFill>
                      <a:srgbClr val="FFFFFF"/>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5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endParaRPr>
                    </a:p>
                  </p:txBody>
                </p:sp>
              </p:grpSp>
              <p:sp>
                <p:nvSpPr>
                  <p:cNvPr id="13" name="文本框 12"/>
                  <p:cNvSpPr txBox="1"/>
                  <p:nvPr/>
                </p:nvSpPr>
                <p:spPr>
                  <a:xfrm>
                    <a:off x="-535332" y="4079525"/>
                    <a:ext cx="4022895" cy="656398"/>
                  </a:xfrm>
                  <a:prstGeom prst="rect">
                    <a:avLst/>
                  </a:prstGeom>
                  <a:noFill/>
                </p:spPr>
                <p:txBody>
                  <a:bodyPr wrap="square" rtlCol="0" anchor="t" anchorCtr="0">
                    <a:normAutofit/>
                  </a:bodyPr>
                  <a:lstStyle>
                    <a:defPPr>
                      <a:defRPr lang="zh-CN"/>
                    </a:defPPr>
                    <a:lvl1pPr>
                      <a:lnSpc>
                        <a:spcPts val="1500"/>
                      </a:lnSpc>
                      <a:defRPr sz="1200"/>
                    </a:lvl1pPr>
                  </a:lstStyle>
                  <a:p>
                    <a:pPr algn="r">
                      <a:lnSpc>
                        <a:spcPct val="120000"/>
                      </a:lnSpc>
                    </a:pPr>
                    <a:r>
                      <a:rPr lang="pt-BR" altLang="zh-CN">
                        <a:latin typeface="Calibri" pitchFamily="34" charset="0"/>
                        <a:ea typeface="宋体" pitchFamily="2" charset="-122"/>
                      </a:rPr>
                      <a:t>Amet iriure sed sanctus dolore odio et sadipscing kasd.</a:t>
                    </a:r>
                    <a:endParaRPr lang="en-US" altLang="zh-CN" dirty="0">
                      <a:latin typeface="Calibri" pitchFamily="34" charset="0"/>
                      <a:ea typeface="宋体" pitchFamily="2" charset="-122"/>
                    </a:endParaRPr>
                  </a:p>
                </p:txBody>
              </p:sp>
              <p:sp>
                <p:nvSpPr>
                  <p:cNvPr id="14" name="文本框 13"/>
                  <p:cNvSpPr txBox="1"/>
                  <p:nvPr/>
                </p:nvSpPr>
                <p:spPr>
                  <a:xfrm>
                    <a:off x="-535332" y="3540849"/>
                    <a:ext cx="4022895" cy="538676"/>
                  </a:xfrm>
                  <a:prstGeom prst="rect">
                    <a:avLst/>
                  </a:prstGeom>
                  <a:noFill/>
                </p:spPr>
                <p:txBody>
                  <a:bodyPr wrap="square" anchor="b" anchorCtr="0">
                    <a:normAutofit/>
                  </a:bodyPr>
                  <a:lstStyle>
                    <a:defPPr>
                      <a:defRPr lang="zh-CN"/>
                    </a:defPPr>
                    <a:lvl1pPr marR="0" lvl="0" indent="0" defTabSz="913765" fontAlgn="auto">
                      <a:lnSpc>
                        <a:spcPct val="100000"/>
                      </a:lnSpc>
                      <a:spcBef>
                        <a:spcPts val="0"/>
                      </a:spcBef>
                      <a:spcAft>
                        <a:spcPts val="0"/>
                      </a:spcAft>
                      <a:buClrTx/>
                      <a:buSzPct val="25000"/>
                      <a:buFontTx/>
                      <a:buNone/>
                      <a:defRPr kumimoji="0" sz="2000" b="1" i="0" u="none" strike="noStrike" cap="none" spc="0" normalizeH="0" baseline="0">
                        <a:ln>
                          <a:noFill/>
                        </a:ln>
                        <a:effectLst/>
                        <a:uLnTx/>
                        <a:uFillTx/>
                      </a:defRPr>
                    </a:lvl1pPr>
                  </a:lstStyle>
                  <a:p>
                    <a:pPr algn="r"/>
                    <a:r>
                      <a:rPr lang="da-DK" altLang="zh-CN" sz="1800">
                        <a:latin typeface="Calibri" pitchFamily="34" charset="0"/>
                        <a:ea typeface="宋体" pitchFamily="2" charset="-122"/>
                      </a:rPr>
                      <a:t>Click to add text</a:t>
                    </a:r>
                    <a:endParaRPr lang="en-US" altLang="zh-CN" sz="1800" dirty="0">
                      <a:latin typeface="Calibri" pitchFamily="34" charset="0"/>
                      <a:ea typeface="宋体" pitchFamily="2" charset="-122"/>
                    </a:endParaRPr>
                  </a:p>
                </p:txBody>
              </p:sp>
            </p:grpSp>
            <p:grpSp>
              <p:nvGrpSpPr>
                <p:cNvPr id="6" name="组合 5"/>
                <p:cNvGrpSpPr/>
                <p:nvPr/>
              </p:nvGrpSpPr>
              <p:grpSpPr>
                <a:xfrm>
                  <a:off x="1168400" y="4724883"/>
                  <a:ext cx="5153158" cy="1195074"/>
                  <a:chOff x="-676898" y="4741014"/>
                  <a:chExt cx="5153158" cy="1195074"/>
                </a:xfrm>
              </p:grpSpPr>
              <p:grpSp>
                <p:nvGrpSpPr>
                  <p:cNvPr id="7" name="组合 6"/>
                  <p:cNvGrpSpPr/>
                  <p:nvPr/>
                </p:nvGrpSpPr>
                <p:grpSpPr>
                  <a:xfrm>
                    <a:off x="3937581" y="4854159"/>
                    <a:ext cx="538679" cy="538676"/>
                    <a:chOff x="7307583" y="2235779"/>
                    <a:chExt cx="410200" cy="410198"/>
                  </a:xfrm>
                </p:grpSpPr>
                <p:sp>
                  <p:nvSpPr>
                    <p:cNvPr id="10" name="椭圆 9"/>
                    <p:cNvSpPr/>
                    <p:nvPr/>
                  </p:nvSpPr>
                  <p:spPr>
                    <a:xfrm>
                      <a:off x="7307583" y="2235779"/>
                      <a:ext cx="410200" cy="410198"/>
                    </a:xfrm>
                    <a:prstGeom prst="ellipse">
                      <a:avLst/>
                    </a:prstGeom>
                    <a:solidFill>
                      <a:schemeClr val="accent1"/>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endParaRPr lang="zh-CN" altLang="en-US" dirty="0">
                        <a:solidFill>
                          <a:schemeClr val="tx1"/>
                        </a:solidFill>
                      </a:endParaRPr>
                    </a:p>
                  </p:txBody>
                </p:sp>
                <p:sp>
                  <p:nvSpPr>
                    <p:cNvPr id="11" name="任意多边形: 形状 10"/>
                    <p:cNvSpPr/>
                    <p:nvPr/>
                  </p:nvSpPr>
                  <p:spPr>
                    <a:xfrm>
                      <a:off x="7423682" y="2356641"/>
                      <a:ext cx="178001" cy="174822"/>
                    </a:xfrm>
                    <a:custGeom>
                      <a:avLst/>
                      <a:gdLst>
                        <a:gd name="connsiteX0" fmla="*/ 343764 w 533400"/>
                        <a:gd name="connsiteY0" fmla="*/ 276846 h 523875"/>
                        <a:gd name="connsiteX1" fmla="*/ 372339 w 533400"/>
                        <a:gd name="connsiteY1" fmla="*/ 305421 h 523875"/>
                        <a:gd name="connsiteX2" fmla="*/ 372339 w 533400"/>
                        <a:gd name="connsiteY2" fmla="*/ 495921 h 523875"/>
                        <a:gd name="connsiteX3" fmla="*/ 343764 w 533400"/>
                        <a:gd name="connsiteY3" fmla="*/ 524496 h 523875"/>
                        <a:gd name="connsiteX4" fmla="*/ 191364 w 533400"/>
                        <a:gd name="connsiteY4" fmla="*/ 524496 h 523875"/>
                        <a:gd name="connsiteX5" fmla="*/ 162789 w 533400"/>
                        <a:gd name="connsiteY5" fmla="*/ 495921 h 523875"/>
                        <a:gd name="connsiteX6" fmla="*/ 162789 w 533400"/>
                        <a:gd name="connsiteY6" fmla="*/ 305421 h 523875"/>
                        <a:gd name="connsiteX7" fmla="*/ 191364 w 533400"/>
                        <a:gd name="connsiteY7" fmla="*/ 276846 h 523875"/>
                        <a:gd name="connsiteX8" fmla="*/ 343764 w 533400"/>
                        <a:gd name="connsiteY8" fmla="*/ 276846 h 523875"/>
                        <a:gd name="connsiteX9" fmla="*/ 143739 w 533400"/>
                        <a:gd name="connsiteY9" fmla="*/ 114921 h 523875"/>
                        <a:gd name="connsiteX10" fmla="*/ 179934 w 533400"/>
                        <a:gd name="connsiteY10" fmla="*/ 153021 h 523875"/>
                        <a:gd name="connsiteX11" fmla="*/ 181839 w 533400"/>
                        <a:gd name="connsiteY11" fmla="*/ 153021 h 523875"/>
                        <a:gd name="connsiteX12" fmla="*/ 353289 w 533400"/>
                        <a:gd name="connsiteY12" fmla="*/ 153021 h 523875"/>
                        <a:gd name="connsiteX13" fmla="*/ 391389 w 533400"/>
                        <a:gd name="connsiteY13" fmla="*/ 116826 h 523875"/>
                        <a:gd name="connsiteX14" fmla="*/ 391389 w 533400"/>
                        <a:gd name="connsiteY14" fmla="*/ 114921 h 523875"/>
                        <a:gd name="connsiteX15" fmla="*/ 505689 w 533400"/>
                        <a:gd name="connsiteY15" fmla="*/ 114921 h 523875"/>
                        <a:gd name="connsiteX16" fmla="*/ 534264 w 533400"/>
                        <a:gd name="connsiteY16" fmla="*/ 143496 h 523875"/>
                        <a:gd name="connsiteX17" fmla="*/ 534264 w 533400"/>
                        <a:gd name="connsiteY17" fmla="*/ 381621 h 523875"/>
                        <a:gd name="connsiteX18" fmla="*/ 505689 w 533400"/>
                        <a:gd name="connsiteY18" fmla="*/ 410196 h 523875"/>
                        <a:gd name="connsiteX19" fmla="*/ 391389 w 533400"/>
                        <a:gd name="connsiteY19" fmla="*/ 410196 h 523875"/>
                        <a:gd name="connsiteX20" fmla="*/ 391389 w 533400"/>
                        <a:gd name="connsiteY20" fmla="*/ 295896 h 523875"/>
                        <a:gd name="connsiteX21" fmla="*/ 355194 w 533400"/>
                        <a:gd name="connsiteY21" fmla="*/ 257796 h 523875"/>
                        <a:gd name="connsiteX22" fmla="*/ 353289 w 533400"/>
                        <a:gd name="connsiteY22" fmla="*/ 257796 h 523875"/>
                        <a:gd name="connsiteX23" fmla="*/ 181839 w 533400"/>
                        <a:gd name="connsiteY23" fmla="*/ 257796 h 523875"/>
                        <a:gd name="connsiteX24" fmla="*/ 143739 w 533400"/>
                        <a:gd name="connsiteY24" fmla="*/ 293991 h 523875"/>
                        <a:gd name="connsiteX25" fmla="*/ 143739 w 533400"/>
                        <a:gd name="connsiteY25" fmla="*/ 295896 h 523875"/>
                        <a:gd name="connsiteX26" fmla="*/ 143739 w 533400"/>
                        <a:gd name="connsiteY26" fmla="*/ 410196 h 523875"/>
                        <a:gd name="connsiteX27" fmla="*/ 29439 w 533400"/>
                        <a:gd name="connsiteY27" fmla="*/ 410196 h 523875"/>
                        <a:gd name="connsiteX28" fmla="*/ 864 w 533400"/>
                        <a:gd name="connsiteY28" fmla="*/ 381621 h 523875"/>
                        <a:gd name="connsiteX29" fmla="*/ 864 w 533400"/>
                        <a:gd name="connsiteY29" fmla="*/ 201408 h 523875"/>
                        <a:gd name="connsiteX30" fmla="*/ 11151 w 533400"/>
                        <a:gd name="connsiteY30" fmla="*/ 175405 h 523875"/>
                        <a:gd name="connsiteX31" fmla="*/ 56300 w 533400"/>
                        <a:gd name="connsiteY31" fmla="*/ 127018 h 523875"/>
                        <a:gd name="connsiteX32" fmla="*/ 84112 w 533400"/>
                        <a:gd name="connsiteY32" fmla="*/ 114921 h 523875"/>
                        <a:gd name="connsiteX33" fmla="*/ 143739 w 533400"/>
                        <a:gd name="connsiteY33" fmla="*/ 114921 h 523875"/>
                        <a:gd name="connsiteX34" fmla="*/ 462827 w 533400"/>
                        <a:gd name="connsiteY34" fmla="*/ 172071 h 523875"/>
                        <a:gd name="connsiteX35" fmla="*/ 448539 w 533400"/>
                        <a:gd name="connsiteY35" fmla="*/ 186359 h 523875"/>
                        <a:gd name="connsiteX36" fmla="*/ 462827 w 533400"/>
                        <a:gd name="connsiteY36" fmla="*/ 200646 h 523875"/>
                        <a:gd name="connsiteX37" fmla="*/ 477114 w 533400"/>
                        <a:gd name="connsiteY37" fmla="*/ 186359 h 523875"/>
                        <a:gd name="connsiteX38" fmla="*/ 462827 w 533400"/>
                        <a:gd name="connsiteY38" fmla="*/ 172071 h 523875"/>
                        <a:gd name="connsiteX39" fmla="*/ 343764 w 533400"/>
                        <a:gd name="connsiteY39" fmla="*/ 621 h 523875"/>
                        <a:gd name="connsiteX40" fmla="*/ 372339 w 533400"/>
                        <a:gd name="connsiteY40" fmla="*/ 29196 h 523875"/>
                        <a:gd name="connsiteX41" fmla="*/ 372339 w 533400"/>
                        <a:gd name="connsiteY41" fmla="*/ 105396 h 523875"/>
                        <a:gd name="connsiteX42" fmla="*/ 343764 w 533400"/>
                        <a:gd name="connsiteY42" fmla="*/ 133971 h 523875"/>
                        <a:gd name="connsiteX43" fmla="*/ 191364 w 533400"/>
                        <a:gd name="connsiteY43" fmla="*/ 133971 h 523875"/>
                        <a:gd name="connsiteX44" fmla="*/ 162789 w 533400"/>
                        <a:gd name="connsiteY44" fmla="*/ 105396 h 523875"/>
                        <a:gd name="connsiteX45" fmla="*/ 162789 w 533400"/>
                        <a:gd name="connsiteY45" fmla="*/ 29196 h 523875"/>
                        <a:gd name="connsiteX46" fmla="*/ 191364 w 533400"/>
                        <a:gd name="connsiteY46" fmla="*/ 621 h 523875"/>
                        <a:gd name="connsiteX47" fmla="*/ 343764 w 533400"/>
                        <a:gd name="connsiteY47" fmla="*/ 621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533400" h="523875">
                          <a:moveTo>
                            <a:pt x="343764" y="276846"/>
                          </a:moveTo>
                          <a:cubicBezTo>
                            <a:pt x="359576" y="276846"/>
                            <a:pt x="372339" y="289610"/>
                            <a:pt x="372339" y="305421"/>
                          </a:cubicBezTo>
                          <a:lnTo>
                            <a:pt x="372339" y="495921"/>
                          </a:lnTo>
                          <a:cubicBezTo>
                            <a:pt x="372339" y="511732"/>
                            <a:pt x="359576" y="524496"/>
                            <a:pt x="343764" y="524496"/>
                          </a:cubicBezTo>
                          <a:lnTo>
                            <a:pt x="191364" y="524496"/>
                          </a:lnTo>
                          <a:cubicBezTo>
                            <a:pt x="175552" y="524496"/>
                            <a:pt x="162789" y="511732"/>
                            <a:pt x="162789" y="495921"/>
                          </a:cubicBezTo>
                          <a:lnTo>
                            <a:pt x="162789" y="305421"/>
                          </a:lnTo>
                          <a:cubicBezTo>
                            <a:pt x="162789" y="289610"/>
                            <a:pt x="175552" y="276846"/>
                            <a:pt x="191364" y="276846"/>
                          </a:cubicBezTo>
                          <a:lnTo>
                            <a:pt x="343764" y="276846"/>
                          </a:lnTo>
                          <a:close/>
                          <a:moveTo>
                            <a:pt x="143739" y="114921"/>
                          </a:moveTo>
                          <a:cubicBezTo>
                            <a:pt x="143739" y="135305"/>
                            <a:pt x="159741" y="151973"/>
                            <a:pt x="179934" y="153021"/>
                          </a:cubicBezTo>
                          <a:lnTo>
                            <a:pt x="181839" y="153021"/>
                          </a:lnTo>
                          <a:lnTo>
                            <a:pt x="353289" y="153021"/>
                          </a:lnTo>
                          <a:cubicBezTo>
                            <a:pt x="373673" y="153021"/>
                            <a:pt x="390341" y="137019"/>
                            <a:pt x="391389" y="116826"/>
                          </a:cubicBezTo>
                          <a:lnTo>
                            <a:pt x="391389" y="114921"/>
                          </a:lnTo>
                          <a:lnTo>
                            <a:pt x="505689" y="114921"/>
                          </a:lnTo>
                          <a:cubicBezTo>
                            <a:pt x="521501" y="114921"/>
                            <a:pt x="534264" y="127685"/>
                            <a:pt x="534264" y="143496"/>
                          </a:cubicBezTo>
                          <a:lnTo>
                            <a:pt x="534264" y="381621"/>
                          </a:lnTo>
                          <a:cubicBezTo>
                            <a:pt x="534264" y="397432"/>
                            <a:pt x="521501" y="410196"/>
                            <a:pt x="505689" y="410196"/>
                          </a:cubicBezTo>
                          <a:lnTo>
                            <a:pt x="391389" y="410196"/>
                          </a:lnTo>
                          <a:lnTo>
                            <a:pt x="391389" y="295896"/>
                          </a:lnTo>
                          <a:cubicBezTo>
                            <a:pt x="391389" y="275512"/>
                            <a:pt x="375387" y="258844"/>
                            <a:pt x="355194" y="257796"/>
                          </a:cubicBezTo>
                          <a:lnTo>
                            <a:pt x="353289" y="257796"/>
                          </a:lnTo>
                          <a:lnTo>
                            <a:pt x="181839" y="257796"/>
                          </a:lnTo>
                          <a:cubicBezTo>
                            <a:pt x="161455" y="257796"/>
                            <a:pt x="144787" y="273798"/>
                            <a:pt x="143739" y="293991"/>
                          </a:cubicBezTo>
                          <a:lnTo>
                            <a:pt x="143739" y="295896"/>
                          </a:lnTo>
                          <a:lnTo>
                            <a:pt x="143739" y="410196"/>
                          </a:lnTo>
                          <a:lnTo>
                            <a:pt x="29439" y="410196"/>
                          </a:lnTo>
                          <a:cubicBezTo>
                            <a:pt x="13627" y="410196"/>
                            <a:pt x="864" y="397432"/>
                            <a:pt x="864" y="381621"/>
                          </a:cubicBezTo>
                          <a:lnTo>
                            <a:pt x="864" y="201408"/>
                          </a:lnTo>
                          <a:cubicBezTo>
                            <a:pt x="864" y="191788"/>
                            <a:pt x="4484" y="182454"/>
                            <a:pt x="11151" y="175405"/>
                          </a:cubicBezTo>
                          <a:lnTo>
                            <a:pt x="56300" y="127018"/>
                          </a:lnTo>
                          <a:cubicBezTo>
                            <a:pt x="63538" y="119303"/>
                            <a:pt x="73635" y="114921"/>
                            <a:pt x="84112" y="114921"/>
                          </a:cubicBezTo>
                          <a:lnTo>
                            <a:pt x="143739" y="114921"/>
                          </a:lnTo>
                          <a:close/>
                          <a:moveTo>
                            <a:pt x="462827" y="172071"/>
                          </a:moveTo>
                          <a:cubicBezTo>
                            <a:pt x="454921" y="172071"/>
                            <a:pt x="448539" y="178453"/>
                            <a:pt x="448539" y="186359"/>
                          </a:cubicBezTo>
                          <a:cubicBezTo>
                            <a:pt x="448539" y="194264"/>
                            <a:pt x="454921" y="200646"/>
                            <a:pt x="462827" y="200646"/>
                          </a:cubicBezTo>
                          <a:cubicBezTo>
                            <a:pt x="470732" y="200646"/>
                            <a:pt x="477114" y="194264"/>
                            <a:pt x="477114" y="186359"/>
                          </a:cubicBezTo>
                          <a:cubicBezTo>
                            <a:pt x="477114" y="178453"/>
                            <a:pt x="470732" y="172071"/>
                            <a:pt x="462827" y="172071"/>
                          </a:cubicBezTo>
                          <a:close/>
                          <a:moveTo>
                            <a:pt x="343764" y="621"/>
                          </a:moveTo>
                          <a:cubicBezTo>
                            <a:pt x="359576" y="621"/>
                            <a:pt x="372339" y="13385"/>
                            <a:pt x="372339" y="29196"/>
                          </a:cubicBezTo>
                          <a:lnTo>
                            <a:pt x="372339" y="105396"/>
                          </a:lnTo>
                          <a:cubicBezTo>
                            <a:pt x="372339" y="121207"/>
                            <a:pt x="359576" y="133971"/>
                            <a:pt x="343764" y="133971"/>
                          </a:cubicBezTo>
                          <a:lnTo>
                            <a:pt x="191364" y="133971"/>
                          </a:lnTo>
                          <a:cubicBezTo>
                            <a:pt x="175552" y="133971"/>
                            <a:pt x="162789" y="121207"/>
                            <a:pt x="162789" y="105396"/>
                          </a:cubicBezTo>
                          <a:lnTo>
                            <a:pt x="162789" y="29196"/>
                          </a:lnTo>
                          <a:cubicBezTo>
                            <a:pt x="162789" y="13385"/>
                            <a:pt x="175552" y="621"/>
                            <a:pt x="191364" y="621"/>
                          </a:cubicBezTo>
                          <a:lnTo>
                            <a:pt x="343764" y="621"/>
                          </a:lnTo>
                          <a:close/>
                        </a:path>
                      </a:pathLst>
                    </a:custGeom>
                    <a:solidFill>
                      <a:srgbClr val="FFFFFF"/>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5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endParaRPr>
                    </a:p>
                  </p:txBody>
                </p:sp>
              </p:grpSp>
              <p:sp>
                <p:nvSpPr>
                  <p:cNvPr id="8" name="文本框 7"/>
                  <p:cNvSpPr txBox="1"/>
                  <p:nvPr/>
                </p:nvSpPr>
                <p:spPr>
                  <a:xfrm>
                    <a:off x="-676898" y="5279690"/>
                    <a:ext cx="4495656" cy="656398"/>
                  </a:xfrm>
                  <a:prstGeom prst="rect">
                    <a:avLst/>
                  </a:prstGeom>
                  <a:noFill/>
                </p:spPr>
                <p:txBody>
                  <a:bodyPr wrap="square" rtlCol="0" anchor="t" anchorCtr="0">
                    <a:normAutofit/>
                  </a:bodyPr>
                  <a:lstStyle>
                    <a:defPPr>
                      <a:defRPr lang="zh-CN"/>
                    </a:defPPr>
                    <a:lvl1pPr>
                      <a:lnSpc>
                        <a:spcPts val="1500"/>
                      </a:lnSpc>
                      <a:defRPr sz="1200"/>
                    </a:lvl1pPr>
                  </a:lstStyle>
                  <a:p>
                    <a:pPr algn="r">
                      <a:lnSpc>
                        <a:spcPct val="120000"/>
                      </a:lnSpc>
                    </a:pPr>
                    <a:r>
                      <a:rPr lang="nb-NO" altLang="zh-CN">
                        <a:latin typeface="Calibri" pitchFamily="34" charset="0"/>
                        <a:ea typeface="宋体" pitchFamily="2" charset="-122"/>
                      </a:rPr>
                      <a:t>Elitr vero nonummy kasd diam dolor et eos aliquam.</a:t>
                    </a:r>
                    <a:endParaRPr lang="en-US" altLang="zh-CN" dirty="0">
                      <a:latin typeface="Calibri" pitchFamily="34" charset="0"/>
                      <a:ea typeface="宋体" pitchFamily="2" charset="-122"/>
                    </a:endParaRPr>
                  </a:p>
                </p:txBody>
              </p:sp>
              <p:sp>
                <p:nvSpPr>
                  <p:cNvPr id="9" name="文本框 8"/>
                  <p:cNvSpPr txBox="1"/>
                  <p:nvPr/>
                </p:nvSpPr>
                <p:spPr>
                  <a:xfrm>
                    <a:off x="-676898" y="4741014"/>
                    <a:ext cx="4495656" cy="538676"/>
                  </a:xfrm>
                  <a:prstGeom prst="rect">
                    <a:avLst/>
                  </a:prstGeom>
                  <a:noFill/>
                </p:spPr>
                <p:txBody>
                  <a:bodyPr wrap="square" anchor="b" anchorCtr="0">
                    <a:normAutofit/>
                  </a:bodyPr>
                  <a:lstStyle>
                    <a:defPPr>
                      <a:defRPr lang="zh-CN"/>
                    </a:defPPr>
                    <a:lvl1pPr marR="0" lvl="0" indent="0" defTabSz="913765" fontAlgn="auto">
                      <a:lnSpc>
                        <a:spcPct val="100000"/>
                      </a:lnSpc>
                      <a:spcBef>
                        <a:spcPts val="0"/>
                      </a:spcBef>
                      <a:spcAft>
                        <a:spcPts val="0"/>
                      </a:spcAft>
                      <a:buClrTx/>
                      <a:buSzPct val="25000"/>
                      <a:buFontTx/>
                      <a:buNone/>
                      <a:defRPr kumimoji="0" sz="2000" b="1" i="0" u="none" strike="noStrike" cap="none" spc="0" normalizeH="0" baseline="0">
                        <a:ln>
                          <a:noFill/>
                        </a:ln>
                        <a:effectLst/>
                        <a:uLnTx/>
                        <a:uFillTx/>
                      </a:defRPr>
                    </a:lvl1pPr>
                  </a:lstStyle>
                  <a:p>
                    <a:pPr algn="r"/>
                    <a:r>
                      <a:rPr lang="fr-FR" altLang="zh-CN" sz="1800">
                        <a:latin typeface="Calibri" pitchFamily="34" charset="0"/>
                        <a:ea typeface="宋体" pitchFamily="2" charset="-122"/>
                      </a:rPr>
                      <a:t>Click to add text</a:t>
                    </a:r>
                    <a:endParaRPr lang="en-US" altLang="zh-CN" sz="1800" dirty="0">
                      <a:latin typeface="Calibri" pitchFamily="34" charset="0"/>
                      <a:ea typeface="宋体" pitchFamily="2" charset="-122"/>
                    </a:endParaRPr>
                  </a:p>
                </p:txBody>
              </p:sp>
            </p:grpSp>
          </p:grpSp>
        </p:grpSp>
        <p:sp>
          <p:nvSpPr>
            <p:cNvPr id="22" name="矩形 21"/>
            <p:cNvSpPr/>
            <p:nvPr/>
          </p:nvSpPr>
          <p:spPr>
            <a:xfrm>
              <a:off x="666750" y="1130300"/>
              <a:ext cx="10858500" cy="610292"/>
            </a:xfrm>
            <a:prstGeom prst="rect">
              <a:avLst/>
            </a:prstGeom>
          </p:spPr>
          <p:txBody>
            <a:bodyPr wrap="square" anchor="b" anchorCtr="0">
              <a:normAutofit/>
            </a:bodyPr>
            <a:lstStyle/>
            <a:p>
              <a:pPr algn="ctr">
                <a:buSzPct val="25000"/>
              </a:pPr>
              <a:r>
                <a:rPr lang="en-US" altLang="zh-CN" sz="2400" b="1" dirty="0">
                  <a:latin typeface="Calibri" pitchFamily="34" charset="0"/>
                  <a:ea typeface="宋体" pitchFamily="2" charset="-122"/>
                </a:rPr>
                <a:t>Unified fonts</a:t>
              </a:r>
              <a:r>
                <a:rPr lang="zh-CN" altLang="en-US" sz="2400" b="1" dirty="0">
                  <a:latin typeface="Calibri" pitchFamily="34" charset="0"/>
                  <a:ea typeface="宋体" pitchFamily="2" charset="-122"/>
                </a:rPr>
                <a:t> </a:t>
              </a:r>
              <a:r>
                <a:rPr lang="en-US" altLang="zh-CN" sz="2400" b="1" dirty="0">
                  <a:latin typeface="Calibri" pitchFamily="34" charset="0"/>
                  <a:ea typeface="宋体" pitchFamily="2" charset="-122"/>
                </a:rPr>
                <a:t>make reading more fluent.</a:t>
              </a:r>
              <a:endParaRPr lang="en-US" altLang="zh-CN" sz="2400" b="1" dirty="0">
                <a:latin typeface="Calibri" pitchFamily="34" charset="0"/>
                <a:ea typeface="宋体" pitchFamily="2" charset="-122"/>
              </a:endParaRPr>
            </a:p>
          </p:txBody>
        </p:sp>
      </p:gr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4" name="组合 33"/>
          <p:cNvGrpSpPr/>
          <p:nvPr/>
        </p:nvGrpSpPr>
        <p:grpSpPr>
          <a:xfrm>
            <a:off x="660401" y="1130301"/>
            <a:ext cx="10858500" cy="4444641"/>
            <a:chOff x="660400" y="1130300"/>
            <a:chExt cx="10858500" cy="4444641"/>
          </a:xfrm>
        </p:grpSpPr>
        <p:sp>
          <p:nvSpPr>
            <p:cNvPr id="8" name="文本框 7"/>
            <p:cNvSpPr txBox="1"/>
            <p:nvPr/>
          </p:nvSpPr>
          <p:spPr>
            <a:xfrm>
              <a:off x="1701800" y="1130300"/>
              <a:ext cx="8788400" cy="576577"/>
            </a:xfrm>
            <a:prstGeom prst="rect">
              <a:avLst/>
            </a:prstGeom>
            <a:noFill/>
          </p:spPr>
          <p:txBody>
            <a:bodyPr wrap="square" anchor="b" anchorCtr="0">
              <a:normAutofit/>
            </a:bodyPr>
            <a:lstStyle/>
            <a:p>
              <a:pPr algn="ctr"/>
              <a:r>
                <a:rPr lang="en-US" altLang="zh-CN" sz="2400" b="1">
                  <a:latin typeface="Calibri" pitchFamily="34" charset="0"/>
                  <a:ea typeface="宋体" pitchFamily="2" charset="-122"/>
                </a:rPr>
                <a:t>Unified fonts make reading more fluent</a:t>
              </a:r>
              <a:endParaRPr lang="en-US" altLang="zh-CN" sz="2400" b="1" dirty="0">
                <a:latin typeface="Calibri" pitchFamily="34" charset="0"/>
                <a:ea typeface="宋体" pitchFamily="2" charset="-122"/>
              </a:endParaRPr>
            </a:p>
          </p:txBody>
        </p:sp>
        <p:grpSp>
          <p:nvGrpSpPr>
            <p:cNvPr id="29" name="组合 28"/>
            <p:cNvGrpSpPr/>
            <p:nvPr/>
          </p:nvGrpSpPr>
          <p:grpSpPr>
            <a:xfrm>
              <a:off x="660400" y="2575424"/>
              <a:ext cx="2583543" cy="2999517"/>
              <a:chOff x="660400" y="2575424"/>
              <a:chExt cx="2583543" cy="2999517"/>
            </a:xfrm>
          </p:grpSpPr>
          <p:sp>
            <p:nvSpPr>
              <p:cNvPr id="6" name="矩形 5"/>
              <p:cNvSpPr/>
              <p:nvPr/>
            </p:nvSpPr>
            <p:spPr>
              <a:xfrm>
                <a:off x="660401" y="4891754"/>
                <a:ext cx="2583542" cy="6831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normAutofit/>
              </a:bodyPr>
              <a:lstStyle/>
              <a:p>
                <a:pPr algn="ctr">
                  <a:lnSpc>
                    <a:spcPct val="120000"/>
                  </a:lnSpc>
                </a:pPr>
                <a:r>
                  <a:rPr kumimoji="1" lang="fr-FR" altLang="zh-CN" sz="1200">
                    <a:solidFill>
                      <a:schemeClr val="tx1"/>
                    </a:solidFill>
                    <a:latin typeface="Calibri" pitchFamily="34" charset="0"/>
                    <a:ea typeface="宋体" pitchFamily="2" charset="-122"/>
                  </a:rPr>
                  <a:t>Dolor dolor amet est vero ut praesent sea sed ex est eos.</a:t>
                </a:r>
                <a:endParaRPr kumimoji="1" lang="en-US" altLang="zh-CN" sz="1200" dirty="0">
                  <a:solidFill>
                    <a:schemeClr val="tx1"/>
                  </a:solidFill>
                  <a:latin typeface="Calibri" pitchFamily="34" charset="0"/>
                  <a:ea typeface="宋体" pitchFamily="2" charset="-122"/>
                </a:endParaRPr>
              </a:p>
            </p:txBody>
          </p:sp>
          <p:cxnSp>
            <p:nvCxnSpPr>
              <p:cNvPr id="7" name="直接连接符 6"/>
              <p:cNvCxnSpPr/>
              <p:nvPr/>
            </p:nvCxnSpPr>
            <p:spPr>
              <a:xfrm>
                <a:off x="1626561" y="3600999"/>
                <a:ext cx="0" cy="1290755"/>
              </a:xfrm>
              <a:prstGeom prst="line">
                <a:avLst/>
              </a:prstGeom>
              <a:ln>
                <a:solidFill>
                  <a:schemeClr val="accent1">
                    <a:alpha val="80000"/>
                  </a:schemeClr>
                </a:solidFill>
                <a:prstDash val="dash"/>
              </a:ln>
            </p:spPr>
            <p:style>
              <a:lnRef idx="1">
                <a:schemeClr val="accent1"/>
              </a:lnRef>
              <a:fillRef idx="0">
                <a:schemeClr val="accent1"/>
              </a:fillRef>
              <a:effectRef idx="0">
                <a:schemeClr val="accent1"/>
              </a:effectRef>
              <a:fontRef idx="minor">
                <a:schemeClr val="tx1"/>
              </a:fontRef>
            </p:style>
          </p:cxnSp>
          <p:sp>
            <p:nvSpPr>
              <p:cNvPr id="4" name="箭头: 右 3"/>
              <p:cNvSpPr/>
              <p:nvPr/>
            </p:nvSpPr>
            <p:spPr>
              <a:xfrm>
                <a:off x="660400" y="2846344"/>
                <a:ext cx="2583543" cy="1180301"/>
              </a:xfrm>
              <a:prstGeom prst="rightArrow">
                <a:avLst>
                  <a:gd name="adj1" fmla="val 50000"/>
                  <a:gd name="adj2" fmla="val 49038"/>
                </a:avLst>
              </a:prstGeom>
              <a:solidFill>
                <a:schemeClr val="accent1"/>
              </a:solidFill>
              <a:ln w="12700" cap="flat">
                <a:noFill/>
                <a:prstDash val="solid"/>
                <a:miter/>
              </a:ln>
              <a:effectLst>
                <a:outerShdw blurRad="127000" dist="63500" dir="2700000" algn="tl" rotWithShape="0">
                  <a:schemeClr val="accent1">
                    <a:alpha val="40000"/>
                  </a:schemeClr>
                </a:outerShdw>
              </a:effectLst>
            </p:spPr>
            <p:txBody>
              <a:bodyPr wrap="square" lIns="91440" tIns="45720" rIns="91440" bIns="45720" rtlCol="0" anchor="ctr">
                <a:normAutofit/>
              </a:bodyPr>
              <a:lstStyle/>
              <a:p>
                <a:pPr algn="ctr"/>
                <a:r>
                  <a:rPr lang="en-US" altLang="zh-CN" b="1">
                    <a:solidFill>
                      <a:srgbClr val="FFFFFF"/>
                    </a:solidFill>
                    <a:latin typeface="Calibri" pitchFamily="34" charset="0"/>
                    <a:ea typeface="宋体" pitchFamily="2" charset="-122"/>
                  </a:rPr>
                  <a:t>Click to add text</a:t>
                </a:r>
                <a:endParaRPr lang="en-US" altLang="zh-CN" b="1" dirty="0">
                  <a:solidFill>
                    <a:srgbClr val="FFFFFF"/>
                  </a:solidFill>
                  <a:latin typeface="Calibri" pitchFamily="34" charset="0"/>
                  <a:ea typeface="宋体" pitchFamily="2" charset="-122"/>
                </a:endParaRPr>
              </a:p>
            </p:txBody>
          </p:sp>
          <p:sp>
            <p:nvSpPr>
              <p:cNvPr id="5" name="矩形 4"/>
              <p:cNvSpPr/>
              <p:nvPr/>
            </p:nvSpPr>
            <p:spPr>
              <a:xfrm>
                <a:off x="904959" y="2575424"/>
                <a:ext cx="1443203"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chorCtr="0">
                <a:spAutoFit/>
              </a:bodyPr>
              <a:lstStyle/>
              <a:p>
                <a:pPr algn="ctr"/>
                <a:r>
                  <a:rPr kumimoji="1" lang="en-US" altLang="zh-CN" b="1" dirty="0">
                    <a:solidFill>
                      <a:schemeClr val="tx1"/>
                    </a:solidFill>
                    <a:latin typeface="Calibri" pitchFamily="34" charset="0"/>
                    <a:ea typeface="宋体" pitchFamily="2" charset="-122"/>
                  </a:rPr>
                  <a:t>20XX</a:t>
                </a:r>
                <a:endParaRPr kumimoji="1" lang="en-US" altLang="zh-CN" b="1" dirty="0">
                  <a:solidFill>
                    <a:schemeClr val="tx1"/>
                  </a:solidFill>
                  <a:latin typeface="Calibri" pitchFamily="34" charset="0"/>
                  <a:ea typeface="宋体" pitchFamily="2" charset="-122"/>
                </a:endParaRPr>
              </a:p>
            </p:txBody>
          </p:sp>
        </p:grpSp>
        <p:grpSp>
          <p:nvGrpSpPr>
            <p:cNvPr id="30" name="组合 29"/>
            <p:cNvGrpSpPr/>
            <p:nvPr/>
          </p:nvGrpSpPr>
          <p:grpSpPr>
            <a:xfrm>
              <a:off x="3418719" y="2575424"/>
              <a:ext cx="2583543" cy="2999517"/>
              <a:chOff x="3418719" y="2575424"/>
              <a:chExt cx="2583543" cy="2999517"/>
            </a:xfrm>
          </p:grpSpPr>
          <p:sp>
            <p:nvSpPr>
              <p:cNvPr id="13" name="矩形 12"/>
              <p:cNvSpPr/>
              <p:nvPr/>
            </p:nvSpPr>
            <p:spPr>
              <a:xfrm>
                <a:off x="3418720" y="4891754"/>
                <a:ext cx="2583542" cy="6831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normAutofit/>
              </a:bodyPr>
              <a:lstStyle/>
              <a:p>
                <a:pPr algn="ctr">
                  <a:lnSpc>
                    <a:spcPct val="120000"/>
                  </a:lnSpc>
                </a:pPr>
                <a:r>
                  <a:rPr kumimoji="1" lang="it-IT" altLang="zh-CN" sz="1200">
                    <a:solidFill>
                      <a:schemeClr val="tx1"/>
                    </a:solidFill>
                    <a:latin typeface="Calibri" pitchFamily="34" charset="0"/>
                    <a:ea typeface="宋体" pitchFamily="2" charset="-122"/>
                  </a:rPr>
                  <a:t>Magna vero justo invidunt kasd clita facilisi dolor.</a:t>
                </a:r>
                <a:endParaRPr kumimoji="1" lang="en-US" altLang="zh-CN" sz="1200" dirty="0">
                  <a:solidFill>
                    <a:schemeClr val="tx1"/>
                  </a:solidFill>
                  <a:latin typeface="Calibri" pitchFamily="34" charset="0"/>
                  <a:ea typeface="宋体" pitchFamily="2" charset="-122"/>
                </a:endParaRPr>
              </a:p>
            </p:txBody>
          </p:sp>
          <p:cxnSp>
            <p:nvCxnSpPr>
              <p:cNvPr id="14" name="直接连接符 13"/>
              <p:cNvCxnSpPr/>
              <p:nvPr/>
            </p:nvCxnSpPr>
            <p:spPr>
              <a:xfrm>
                <a:off x="4384880" y="3600999"/>
                <a:ext cx="0" cy="1290755"/>
              </a:xfrm>
              <a:prstGeom prst="line">
                <a:avLst/>
              </a:prstGeom>
              <a:ln>
                <a:solidFill>
                  <a:schemeClr val="accent2">
                    <a:alpha val="80000"/>
                  </a:schemeClr>
                </a:solidFill>
                <a:prstDash val="dash"/>
              </a:ln>
            </p:spPr>
            <p:style>
              <a:lnRef idx="1">
                <a:schemeClr val="accent1"/>
              </a:lnRef>
              <a:fillRef idx="0">
                <a:schemeClr val="accent1"/>
              </a:fillRef>
              <a:effectRef idx="0">
                <a:schemeClr val="accent1"/>
              </a:effectRef>
              <a:fontRef idx="minor">
                <a:schemeClr val="tx1"/>
              </a:fontRef>
            </p:style>
          </p:cxnSp>
          <p:sp>
            <p:nvSpPr>
              <p:cNvPr id="11" name="箭头: 右 10"/>
              <p:cNvSpPr/>
              <p:nvPr/>
            </p:nvSpPr>
            <p:spPr>
              <a:xfrm>
                <a:off x="3418719" y="2846344"/>
                <a:ext cx="2583543" cy="1180301"/>
              </a:xfrm>
              <a:prstGeom prst="rightArrow">
                <a:avLst>
                  <a:gd name="adj1" fmla="val 50000"/>
                  <a:gd name="adj2" fmla="val 49038"/>
                </a:avLst>
              </a:prstGeom>
              <a:solidFill>
                <a:schemeClr val="accent2"/>
              </a:solidFill>
              <a:ln w="12700" cap="flat">
                <a:noFill/>
                <a:prstDash val="solid"/>
                <a:miter/>
              </a:ln>
              <a:effectLst>
                <a:outerShdw blurRad="127000" dist="63500" dir="2700000" algn="tl" rotWithShape="0">
                  <a:schemeClr val="accent2">
                    <a:alpha val="40000"/>
                  </a:schemeClr>
                </a:outerShdw>
              </a:effectLst>
            </p:spPr>
            <p:txBody>
              <a:bodyPr wrap="square" lIns="91440" tIns="45720" rIns="91440" bIns="45720" rtlCol="0" anchor="ctr">
                <a:normAutofit/>
              </a:bodyPr>
              <a:lstStyle/>
              <a:p>
                <a:pPr algn="ctr"/>
                <a:r>
                  <a:rPr lang="en-US" altLang="zh-CN" b="1">
                    <a:solidFill>
                      <a:srgbClr val="FFFFFF"/>
                    </a:solidFill>
                    <a:latin typeface="Calibri" pitchFamily="34" charset="0"/>
                    <a:ea typeface="宋体" pitchFamily="2" charset="-122"/>
                  </a:rPr>
                  <a:t>Click to add text</a:t>
                </a:r>
                <a:endParaRPr lang="en-US" altLang="zh-CN" b="1" dirty="0">
                  <a:solidFill>
                    <a:srgbClr val="FFFFFF"/>
                  </a:solidFill>
                  <a:latin typeface="Calibri" pitchFamily="34" charset="0"/>
                  <a:ea typeface="宋体" pitchFamily="2" charset="-122"/>
                </a:endParaRPr>
              </a:p>
            </p:txBody>
          </p:sp>
          <p:sp>
            <p:nvSpPr>
              <p:cNvPr id="12" name="矩形 11"/>
              <p:cNvSpPr/>
              <p:nvPr/>
            </p:nvSpPr>
            <p:spPr>
              <a:xfrm>
                <a:off x="3663278" y="2575424"/>
                <a:ext cx="1443203"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chorCtr="0">
                <a:spAutoFit/>
              </a:bodyPr>
              <a:lstStyle/>
              <a:p>
                <a:pPr algn="ctr"/>
                <a:r>
                  <a:rPr kumimoji="1" lang="en-US" altLang="zh-CN" b="1" dirty="0">
                    <a:solidFill>
                      <a:schemeClr val="tx1"/>
                    </a:solidFill>
                    <a:latin typeface="Calibri" pitchFamily="34" charset="0"/>
                    <a:ea typeface="宋体" pitchFamily="2" charset="-122"/>
                  </a:rPr>
                  <a:t>20XX</a:t>
                </a:r>
                <a:endParaRPr kumimoji="1" lang="en-US" altLang="zh-CN" b="1" dirty="0">
                  <a:solidFill>
                    <a:schemeClr val="tx1"/>
                  </a:solidFill>
                  <a:latin typeface="Calibri" pitchFamily="34" charset="0"/>
                  <a:ea typeface="宋体" pitchFamily="2" charset="-122"/>
                </a:endParaRPr>
              </a:p>
            </p:txBody>
          </p:sp>
        </p:grpSp>
        <p:grpSp>
          <p:nvGrpSpPr>
            <p:cNvPr id="31" name="组合 30"/>
            <p:cNvGrpSpPr/>
            <p:nvPr/>
          </p:nvGrpSpPr>
          <p:grpSpPr>
            <a:xfrm>
              <a:off x="6177038" y="2575424"/>
              <a:ext cx="2583543" cy="2999517"/>
              <a:chOff x="6177038" y="2575424"/>
              <a:chExt cx="2583543" cy="2999517"/>
            </a:xfrm>
          </p:grpSpPr>
          <p:sp>
            <p:nvSpPr>
              <p:cNvPr id="19" name="矩形 18"/>
              <p:cNvSpPr/>
              <p:nvPr/>
            </p:nvSpPr>
            <p:spPr>
              <a:xfrm>
                <a:off x="6177039" y="4891754"/>
                <a:ext cx="2583542" cy="6831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normAutofit/>
              </a:bodyPr>
              <a:lstStyle/>
              <a:p>
                <a:pPr algn="ctr">
                  <a:lnSpc>
                    <a:spcPct val="120000"/>
                  </a:lnSpc>
                </a:pPr>
                <a:r>
                  <a:rPr kumimoji="1" lang="fr-FR" altLang="zh-CN" sz="1200">
                    <a:solidFill>
                      <a:schemeClr val="tx1"/>
                    </a:solidFill>
                    <a:latin typeface="Calibri" pitchFamily="34" charset="0"/>
                    <a:ea typeface="宋体" pitchFamily="2" charset="-122"/>
                  </a:rPr>
                  <a:t>Clita molestie duis tation eos praesent justo magna.</a:t>
                </a:r>
                <a:endParaRPr kumimoji="1" lang="en-US" altLang="zh-CN" sz="1200" dirty="0">
                  <a:solidFill>
                    <a:schemeClr val="tx1"/>
                  </a:solidFill>
                  <a:latin typeface="Calibri" pitchFamily="34" charset="0"/>
                  <a:ea typeface="宋体" pitchFamily="2" charset="-122"/>
                </a:endParaRPr>
              </a:p>
            </p:txBody>
          </p:sp>
          <p:cxnSp>
            <p:nvCxnSpPr>
              <p:cNvPr id="20" name="直接连接符 19"/>
              <p:cNvCxnSpPr/>
              <p:nvPr/>
            </p:nvCxnSpPr>
            <p:spPr>
              <a:xfrm>
                <a:off x="7143199" y="3600999"/>
                <a:ext cx="0" cy="1290755"/>
              </a:xfrm>
              <a:prstGeom prst="line">
                <a:avLst/>
              </a:prstGeom>
              <a:ln>
                <a:solidFill>
                  <a:schemeClr val="accent1">
                    <a:alpha val="80000"/>
                  </a:schemeClr>
                </a:solidFill>
                <a:prstDash val="dash"/>
              </a:ln>
            </p:spPr>
            <p:style>
              <a:lnRef idx="1">
                <a:schemeClr val="accent1"/>
              </a:lnRef>
              <a:fillRef idx="0">
                <a:schemeClr val="accent1"/>
              </a:fillRef>
              <a:effectRef idx="0">
                <a:schemeClr val="accent1"/>
              </a:effectRef>
              <a:fontRef idx="minor">
                <a:schemeClr val="tx1"/>
              </a:fontRef>
            </p:style>
          </p:cxnSp>
          <p:sp>
            <p:nvSpPr>
              <p:cNvPr id="17" name="箭头: 右 16"/>
              <p:cNvSpPr/>
              <p:nvPr/>
            </p:nvSpPr>
            <p:spPr>
              <a:xfrm>
                <a:off x="6177038" y="2846344"/>
                <a:ext cx="2583543" cy="1180301"/>
              </a:xfrm>
              <a:prstGeom prst="rightArrow">
                <a:avLst>
                  <a:gd name="adj1" fmla="val 50000"/>
                  <a:gd name="adj2" fmla="val 49038"/>
                </a:avLst>
              </a:prstGeom>
              <a:solidFill>
                <a:schemeClr val="accent1"/>
              </a:solidFill>
              <a:ln w="12700" cap="flat">
                <a:noFill/>
                <a:prstDash val="solid"/>
                <a:miter/>
              </a:ln>
              <a:effectLst>
                <a:outerShdw blurRad="127000" dist="63500" dir="2700000" algn="tl" rotWithShape="0">
                  <a:schemeClr val="accent1">
                    <a:alpha val="40000"/>
                  </a:schemeClr>
                </a:outerShdw>
              </a:effectLst>
            </p:spPr>
            <p:txBody>
              <a:bodyPr wrap="square" lIns="91440" tIns="45720" rIns="91440" bIns="45720" rtlCol="0" anchor="ctr">
                <a:normAutofit/>
              </a:bodyPr>
              <a:lstStyle/>
              <a:p>
                <a:pPr algn="ctr"/>
                <a:r>
                  <a:rPr lang="en-US" altLang="zh-CN" b="1">
                    <a:solidFill>
                      <a:srgbClr val="FFFFFF"/>
                    </a:solidFill>
                    <a:latin typeface="Calibri" pitchFamily="34" charset="0"/>
                    <a:ea typeface="宋体" pitchFamily="2" charset="-122"/>
                  </a:rPr>
                  <a:t>Click to add text</a:t>
                </a:r>
                <a:endParaRPr lang="en-US" altLang="zh-CN" b="1" dirty="0">
                  <a:solidFill>
                    <a:srgbClr val="FFFFFF"/>
                  </a:solidFill>
                  <a:latin typeface="Calibri" pitchFamily="34" charset="0"/>
                  <a:ea typeface="宋体" pitchFamily="2" charset="-122"/>
                </a:endParaRPr>
              </a:p>
            </p:txBody>
          </p:sp>
          <p:sp>
            <p:nvSpPr>
              <p:cNvPr id="18" name="矩形 17"/>
              <p:cNvSpPr/>
              <p:nvPr/>
            </p:nvSpPr>
            <p:spPr>
              <a:xfrm>
                <a:off x="6421597" y="2575424"/>
                <a:ext cx="1443203"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chorCtr="0">
                <a:spAutoFit/>
              </a:bodyPr>
              <a:lstStyle/>
              <a:p>
                <a:pPr algn="ctr"/>
                <a:r>
                  <a:rPr kumimoji="1" lang="en-US" altLang="zh-CN" b="1" dirty="0">
                    <a:solidFill>
                      <a:schemeClr val="tx1"/>
                    </a:solidFill>
                    <a:latin typeface="Calibri" pitchFamily="34" charset="0"/>
                    <a:ea typeface="宋体" pitchFamily="2" charset="-122"/>
                  </a:rPr>
                  <a:t>20XX</a:t>
                </a:r>
                <a:endParaRPr kumimoji="1" lang="en-US" altLang="zh-CN" b="1" dirty="0">
                  <a:solidFill>
                    <a:schemeClr val="tx1"/>
                  </a:solidFill>
                  <a:latin typeface="Calibri" pitchFamily="34" charset="0"/>
                  <a:ea typeface="宋体" pitchFamily="2" charset="-122"/>
                </a:endParaRPr>
              </a:p>
            </p:txBody>
          </p:sp>
        </p:grpSp>
        <p:grpSp>
          <p:nvGrpSpPr>
            <p:cNvPr id="32" name="组合 31"/>
            <p:cNvGrpSpPr/>
            <p:nvPr/>
          </p:nvGrpSpPr>
          <p:grpSpPr>
            <a:xfrm>
              <a:off x="8935357" y="2575424"/>
              <a:ext cx="2583543" cy="2999517"/>
              <a:chOff x="8935357" y="2575424"/>
              <a:chExt cx="2583543" cy="2999517"/>
            </a:xfrm>
          </p:grpSpPr>
          <p:sp>
            <p:nvSpPr>
              <p:cNvPr id="25" name="矩形 24"/>
              <p:cNvSpPr/>
              <p:nvPr/>
            </p:nvSpPr>
            <p:spPr>
              <a:xfrm>
                <a:off x="8935358" y="4891754"/>
                <a:ext cx="2583542" cy="6831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normAutofit/>
              </a:bodyPr>
              <a:lstStyle/>
              <a:p>
                <a:pPr algn="ctr">
                  <a:lnSpc>
                    <a:spcPct val="120000"/>
                  </a:lnSpc>
                </a:pPr>
                <a:r>
                  <a:rPr kumimoji="1" lang="en-US" altLang="zh-CN" sz="1200">
                    <a:solidFill>
                      <a:schemeClr val="tx1"/>
                    </a:solidFill>
                    <a:latin typeface="Calibri" pitchFamily="34" charset="0"/>
                    <a:ea typeface="宋体" pitchFamily="2" charset="-122"/>
                  </a:rPr>
                  <a:t>Wisi aliquyam at justo facilisis consetetur takimata at.</a:t>
                </a:r>
                <a:endParaRPr kumimoji="1" lang="en-US" altLang="zh-CN" sz="1200" dirty="0">
                  <a:solidFill>
                    <a:schemeClr val="tx1"/>
                  </a:solidFill>
                  <a:latin typeface="Calibri" pitchFamily="34" charset="0"/>
                  <a:ea typeface="宋体" pitchFamily="2" charset="-122"/>
                </a:endParaRPr>
              </a:p>
            </p:txBody>
          </p:sp>
          <p:cxnSp>
            <p:nvCxnSpPr>
              <p:cNvPr id="26" name="直接连接符 25"/>
              <p:cNvCxnSpPr/>
              <p:nvPr/>
            </p:nvCxnSpPr>
            <p:spPr>
              <a:xfrm>
                <a:off x="9901518" y="3600999"/>
                <a:ext cx="0" cy="1290755"/>
              </a:xfrm>
              <a:prstGeom prst="line">
                <a:avLst/>
              </a:prstGeom>
              <a:ln>
                <a:solidFill>
                  <a:schemeClr val="accent2">
                    <a:alpha val="80000"/>
                  </a:schemeClr>
                </a:solidFill>
                <a:prstDash val="dash"/>
              </a:ln>
            </p:spPr>
            <p:style>
              <a:lnRef idx="1">
                <a:schemeClr val="accent1"/>
              </a:lnRef>
              <a:fillRef idx="0">
                <a:schemeClr val="accent1"/>
              </a:fillRef>
              <a:effectRef idx="0">
                <a:schemeClr val="accent1"/>
              </a:effectRef>
              <a:fontRef idx="minor">
                <a:schemeClr val="tx1"/>
              </a:fontRef>
            </p:style>
          </p:cxnSp>
          <p:sp>
            <p:nvSpPr>
              <p:cNvPr id="23" name="箭头: 右 22"/>
              <p:cNvSpPr/>
              <p:nvPr/>
            </p:nvSpPr>
            <p:spPr>
              <a:xfrm>
                <a:off x="8935357" y="2846344"/>
                <a:ext cx="2583543" cy="1180301"/>
              </a:xfrm>
              <a:prstGeom prst="rightArrow">
                <a:avLst>
                  <a:gd name="adj1" fmla="val 50000"/>
                  <a:gd name="adj2" fmla="val 49038"/>
                </a:avLst>
              </a:prstGeom>
              <a:solidFill>
                <a:schemeClr val="accent2"/>
              </a:solidFill>
              <a:ln w="12700" cap="flat">
                <a:noFill/>
                <a:prstDash val="solid"/>
                <a:miter/>
              </a:ln>
              <a:effectLst>
                <a:outerShdw blurRad="127000" dist="63500" dir="2700000" algn="tl" rotWithShape="0">
                  <a:schemeClr val="accent2">
                    <a:alpha val="40000"/>
                  </a:schemeClr>
                </a:outerShdw>
              </a:effectLst>
            </p:spPr>
            <p:txBody>
              <a:bodyPr wrap="square" lIns="91440" tIns="45720" rIns="91440" bIns="45720" rtlCol="0" anchor="ctr">
                <a:normAutofit/>
              </a:bodyPr>
              <a:lstStyle/>
              <a:p>
                <a:pPr algn="ctr"/>
                <a:r>
                  <a:rPr lang="en-US" altLang="zh-CN" b="1">
                    <a:solidFill>
                      <a:srgbClr val="FFFFFF"/>
                    </a:solidFill>
                    <a:latin typeface="Calibri" pitchFamily="34" charset="0"/>
                    <a:ea typeface="宋体" pitchFamily="2" charset="-122"/>
                  </a:rPr>
                  <a:t>Click to add text</a:t>
                </a:r>
                <a:endParaRPr lang="en-US" altLang="zh-CN" b="1" dirty="0">
                  <a:solidFill>
                    <a:srgbClr val="FFFFFF"/>
                  </a:solidFill>
                  <a:latin typeface="Calibri" pitchFamily="34" charset="0"/>
                  <a:ea typeface="宋体" pitchFamily="2" charset="-122"/>
                </a:endParaRPr>
              </a:p>
            </p:txBody>
          </p:sp>
          <p:sp>
            <p:nvSpPr>
              <p:cNvPr id="24" name="矩形 23"/>
              <p:cNvSpPr/>
              <p:nvPr/>
            </p:nvSpPr>
            <p:spPr>
              <a:xfrm>
                <a:off x="9179916" y="2575424"/>
                <a:ext cx="1443203"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chorCtr="0">
                <a:spAutoFit/>
              </a:bodyPr>
              <a:lstStyle/>
              <a:p>
                <a:pPr algn="ctr"/>
                <a:r>
                  <a:rPr kumimoji="1" lang="en-US" altLang="zh-CN" b="1" dirty="0">
                    <a:solidFill>
                      <a:schemeClr val="tx1"/>
                    </a:solidFill>
                    <a:latin typeface="Calibri" pitchFamily="34" charset="0"/>
                    <a:ea typeface="宋体" pitchFamily="2" charset="-122"/>
                  </a:rPr>
                  <a:t>20XX</a:t>
                </a:r>
                <a:endParaRPr kumimoji="1" lang="en-US" altLang="zh-CN" b="1" dirty="0">
                  <a:solidFill>
                    <a:schemeClr val="tx1"/>
                  </a:solidFill>
                  <a:latin typeface="Calibri" pitchFamily="34" charset="0"/>
                  <a:ea typeface="宋体" pitchFamily="2" charset="-122"/>
                </a:endParaRPr>
              </a:p>
            </p:txBody>
          </p:sp>
        </p:grpSp>
      </p:gr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2" name="组合 51"/>
          <p:cNvGrpSpPr/>
          <p:nvPr/>
        </p:nvGrpSpPr>
        <p:grpSpPr>
          <a:xfrm>
            <a:off x="-12699" y="0"/>
            <a:ext cx="12204700" cy="6060621"/>
            <a:chOff x="-12700" y="0"/>
            <a:chExt cx="12204700" cy="6060621"/>
          </a:xfrm>
        </p:grpSpPr>
        <p:sp>
          <p:nvSpPr>
            <p:cNvPr id="3" name="右中括号 2"/>
            <p:cNvSpPr/>
            <p:nvPr/>
          </p:nvSpPr>
          <p:spPr>
            <a:xfrm rot="16200000">
              <a:off x="5798475" y="-673527"/>
              <a:ext cx="601401" cy="7664450"/>
            </a:xfrm>
            <a:prstGeom prst="rightBracket">
              <a:avLst>
                <a:gd name="adj" fmla="val 125376"/>
              </a:avLst>
            </a:prstGeom>
            <a:ln w="19050">
              <a:solidFill>
                <a:schemeClr val="tx2">
                  <a:alpha val="50000"/>
                </a:schemeClr>
              </a:solidFill>
            </a:ln>
          </p:spPr>
          <p:style>
            <a:lnRef idx="1">
              <a:schemeClr val="accent1"/>
            </a:lnRef>
            <a:fillRef idx="0">
              <a:schemeClr val="accent1"/>
            </a:fillRef>
            <a:effectRef idx="0">
              <a:schemeClr val="accent1"/>
            </a:effectRef>
            <a:fontRef idx="minor">
              <a:schemeClr val="tx1"/>
            </a:fontRef>
          </p:style>
          <p:txBody>
            <a:bodyPr anchor="ctr"/>
            <a:lstStyle/>
            <a:p>
              <a:pPr algn="ctr"/>
            </a:p>
          </p:txBody>
        </p:sp>
        <p:sp>
          <p:nvSpPr>
            <p:cNvPr id="4" name="右中括号 3"/>
            <p:cNvSpPr/>
            <p:nvPr/>
          </p:nvSpPr>
          <p:spPr>
            <a:xfrm rot="16200000">
              <a:off x="5782602" y="1869644"/>
              <a:ext cx="601401" cy="2578103"/>
            </a:xfrm>
            <a:prstGeom prst="rightBracket">
              <a:avLst>
                <a:gd name="adj" fmla="val 125376"/>
              </a:avLst>
            </a:prstGeom>
            <a:ln w="19050">
              <a:solidFill>
                <a:schemeClr val="tx2">
                  <a:alpha val="50000"/>
                </a:schemeClr>
              </a:solidFill>
            </a:ln>
          </p:spPr>
          <p:style>
            <a:lnRef idx="1">
              <a:schemeClr val="accent1"/>
            </a:lnRef>
            <a:fillRef idx="0">
              <a:schemeClr val="accent1"/>
            </a:fillRef>
            <a:effectRef idx="0">
              <a:schemeClr val="accent1"/>
            </a:effectRef>
            <a:fontRef idx="minor">
              <a:schemeClr val="tx1"/>
            </a:fontRef>
          </p:style>
          <p:txBody>
            <a:bodyPr anchor="ctr"/>
            <a:lstStyle/>
            <a:p>
              <a:pPr algn="ctr"/>
            </a:p>
          </p:txBody>
        </p:sp>
        <p:grpSp>
          <p:nvGrpSpPr>
            <p:cNvPr id="50" name="组合 49"/>
            <p:cNvGrpSpPr/>
            <p:nvPr/>
          </p:nvGrpSpPr>
          <p:grpSpPr>
            <a:xfrm>
              <a:off x="-12700" y="0"/>
              <a:ext cx="12204700" cy="6060621"/>
              <a:chOff x="-12700" y="0"/>
              <a:chExt cx="12204700" cy="6060621"/>
            </a:xfrm>
          </p:grpSpPr>
          <p:sp>
            <p:nvSpPr>
              <p:cNvPr id="32" name="文本框 31"/>
              <p:cNvSpPr txBox="1">
                <a:spLocks noChangeAspect="1"/>
              </p:cNvSpPr>
              <p:nvPr/>
            </p:nvSpPr>
            <p:spPr>
              <a:xfrm>
                <a:off x="1996950" y="3459397"/>
                <a:ext cx="540000" cy="540000"/>
              </a:xfrm>
              <a:prstGeom prst="roundRect">
                <a:avLst>
                  <a:gd name="adj" fmla="val 50000"/>
                </a:avLst>
              </a:prstGeom>
              <a:solidFill>
                <a:schemeClr val="accent1"/>
              </a:solidFill>
            </p:spPr>
            <p:txBody>
              <a:bodyPr wrap="square" lIns="108000" tIns="108000" rIns="108000" bIns="108000" rtlCol="0" anchor="ctr" anchorCtr="0">
                <a:normAutofit fontScale="25000" lnSpcReduction="20000"/>
              </a:bodyPr>
              <a:lstStyle/>
              <a:p>
                <a:pPr algn="ctr">
                  <a:lnSpc>
                    <a:spcPct val="120000"/>
                  </a:lnSpc>
                </a:pPr>
                <a:r>
                  <a:rPr kumimoji="1" lang="it-IT" altLang="zh-CN" sz="1200">
                    <a:noFill/>
                    <a:latin typeface="Calibri" pitchFamily="34" charset="0"/>
                    <a:ea typeface="宋体" pitchFamily="2" charset="-122"/>
                  </a:rPr>
                  <a:t>Dolor stet wisi autem soluta ea vero sed labore esse at.</a:t>
                </a:r>
                <a:endParaRPr kumimoji="1" lang="zh-CN" altLang="en-US" sz="1200" dirty="0">
                  <a:noFill/>
                  <a:latin typeface="Calibri" pitchFamily="34" charset="0"/>
                  <a:ea typeface="宋体" pitchFamily="2" charset="-122"/>
                </a:endParaRPr>
              </a:p>
            </p:txBody>
          </p:sp>
          <p:sp>
            <p:nvSpPr>
              <p:cNvPr id="28" name="矩形: 圆角 27"/>
              <p:cNvSpPr/>
              <p:nvPr/>
            </p:nvSpPr>
            <p:spPr>
              <a:xfrm>
                <a:off x="1028702" y="3727799"/>
                <a:ext cx="2476498" cy="2332822"/>
              </a:xfrm>
              <a:prstGeom prst="roundRect">
                <a:avLst>
                  <a:gd name="adj" fmla="val 8192"/>
                </a:avLst>
              </a:prstGeom>
              <a:solidFill>
                <a:schemeClr val="accent1">
                  <a:alpha val="15000"/>
                </a:schemeClr>
              </a:solidFill>
              <a:ln w="762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p>
            </p:txBody>
          </p:sp>
          <p:sp>
            <p:nvSpPr>
              <p:cNvPr id="29" name="文本框 28"/>
              <p:cNvSpPr txBox="1"/>
              <p:nvPr/>
            </p:nvSpPr>
            <p:spPr>
              <a:xfrm>
                <a:off x="1155701" y="4980978"/>
                <a:ext cx="2222500" cy="949922"/>
              </a:xfrm>
              <a:prstGeom prst="rect">
                <a:avLst/>
              </a:prstGeom>
              <a:noFill/>
            </p:spPr>
            <p:txBody>
              <a:bodyPr wrap="square" lIns="90000" tIns="46800" rIns="90000" bIns="46800" anchor="t" anchorCtr="0">
                <a:normAutofit/>
              </a:bodyPr>
              <a:lstStyle/>
              <a:p>
                <a:pPr algn="ctr">
                  <a:lnSpc>
                    <a:spcPct val="120000"/>
                  </a:lnSpc>
                </a:pPr>
                <a:r>
                  <a:rPr kumimoji="1" lang="fr-FR" altLang="zh-CN" sz="1200">
                    <a:latin typeface="Calibri" pitchFamily="34" charset="0"/>
                    <a:ea typeface="宋体" pitchFamily="2" charset="-122"/>
                  </a:rPr>
                  <a:t>Labore sanctus et sit lorem clita consetetur accusam sed.</a:t>
                </a:r>
                <a:endParaRPr kumimoji="1" lang="en-US" altLang="zh-CN" sz="1200" dirty="0">
                  <a:latin typeface="Calibri" pitchFamily="34" charset="0"/>
                  <a:ea typeface="宋体" pitchFamily="2" charset="-122"/>
                </a:endParaRPr>
              </a:p>
            </p:txBody>
          </p:sp>
          <p:sp>
            <p:nvSpPr>
              <p:cNvPr id="30" name="矩形 29"/>
              <p:cNvSpPr/>
              <p:nvPr/>
            </p:nvSpPr>
            <p:spPr>
              <a:xfrm>
                <a:off x="1155701" y="4133041"/>
                <a:ext cx="2222500" cy="746258"/>
              </a:xfrm>
              <a:prstGeom prst="rect">
                <a:avLst/>
              </a:prstGeom>
            </p:spPr>
            <p:txBody>
              <a:bodyPr wrap="square" lIns="90000" tIns="46800" rIns="90000" bIns="46800" anchor="b" anchorCtr="1">
                <a:normAutofit/>
              </a:bodyPr>
              <a:lstStyle/>
              <a:p>
                <a:pPr algn="ctr" defTabSz="914400">
                  <a:spcBef>
                    <a:spcPct val="0"/>
                  </a:spcBef>
                  <a:defRPr/>
                </a:pPr>
                <a:r>
                  <a:rPr lang="en-US" altLang="zh-CN" b="1">
                    <a:latin typeface="Calibri" pitchFamily="34" charset="0"/>
                    <a:ea typeface="宋体" pitchFamily="2" charset="-122"/>
                  </a:rPr>
                  <a:t>Click to add text</a:t>
                </a:r>
                <a:endParaRPr lang="zh-CN" altLang="en-US" b="1" dirty="0">
                  <a:latin typeface="Calibri" pitchFamily="34" charset="0"/>
                  <a:ea typeface="宋体" pitchFamily="2" charset="-122"/>
                </a:endParaRPr>
              </a:p>
            </p:txBody>
          </p:sp>
          <p:sp>
            <p:nvSpPr>
              <p:cNvPr id="33" name="任意多边形: 形状 32"/>
              <p:cNvSpPr/>
              <p:nvPr/>
            </p:nvSpPr>
            <p:spPr>
              <a:xfrm>
                <a:off x="2153836" y="3591694"/>
                <a:ext cx="226228" cy="275406"/>
              </a:xfrm>
              <a:custGeom>
                <a:avLst/>
                <a:gdLst>
                  <a:gd name="connsiteX0" fmla="*/ 284197 w 438150"/>
                  <a:gd name="connsiteY0" fmla="*/ 621 h 533400"/>
                  <a:gd name="connsiteX1" fmla="*/ 286102 w 438150"/>
                  <a:gd name="connsiteY1" fmla="*/ 621 h 533400"/>
                  <a:gd name="connsiteX2" fmla="*/ 286102 w 438150"/>
                  <a:gd name="connsiteY2" fmla="*/ 124446 h 533400"/>
                  <a:gd name="connsiteX3" fmla="*/ 286102 w 438150"/>
                  <a:gd name="connsiteY3" fmla="*/ 126351 h 533400"/>
                  <a:gd name="connsiteX4" fmla="*/ 314677 w 438150"/>
                  <a:gd name="connsiteY4" fmla="*/ 153021 h 533400"/>
                  <a:gd name="connsiteX5" fmla="*/ 314677 w 438150"/>
                  <a:gd name="connsiteY5" fmla="*/ 153021 h 533400"/>
                  <a:gd name="connsiteX6" fmla="*/ 438502 w 438150"/>
                  <a:gd name="connsiteY6" fmla="*/ 153021 h 533400"/>
                  <a:gd name="connsiteX7" fmla="*/ 438502 w 438150"/>
                  <a:gd name="connsiteY7" fmla="*/ 154926 h 533400"/>
                  <a:gd name="connsiteX8" fmla="*/ 438502 w 438150"/>
                  <a:gd name="connsiteY8" fmla="*/ 505446 h 533400"/>
                  <a:gd name="connsiteX9" fmla="*/ 409927 w 438150"/>
                  <a:gd name="connsiteY9" fmla="*/ 534021 h 533400"/>
                  <a:gd name="connsiteX10" fmla="*/ 28927 w 438150"/>
                  <a:gd name="connsiteY10" fmla="*/ 534021 h 533400"/>
                  <a:gd name="connsiteX11" fmla="*/ 352 w 438150"/>
                  <a:gd name="connsiteY11" fmla="*/ 505446 h 533400"/>
                  <a:gd name="connsiteX12" fmla="*/ 352 w 438150"/>
                  <a:gd name="connsiteY12" fmla="*/ 29196 h 533400"/>
                  <a:gd name="connsiteX13" fmla="*/ 28927 w 438150"/>
                  <a:gd name="connsiteY13" fmla="*/ 621 h 533400"/>
                  <a:gd name="connsiteX14" fmla="*/ 284197 w 438150"/>
                  <a:gd name="connsiteY14" fmla="*/ 621 h 533400"/>
                  <a:gd name="connsiteX15" fmla="*/ 248002 w 438150"/>
                  <a:gd name="connsiteY15" fmla="*/ 200646 h 533400"/>
                  <a:gd name="connsiteX16" fmla="*/ 152752 w 438150"/>
                  <a:gd name="connsiteY16" fmla="*/ 200646 h 533400"/>
                  <a:gd name="connsiteX17" fmla="*/ 152752 w 438150"/>
                  <a:gd name="connsiteY17" fmla="*/ 410196 h 533400"/>
                  <a:gd name="connsiteX18" fmla="*/ 171802 w 438150"/>
                  <a:gd name="connsiteY18" fmla="*/ 410196 h 533400"/>
                  <a:gd name="connsiteX19" fmla="*/ 171802 w 438150"/>
                  <a:gd name="connsiteY19" fmla="*/ 314946 h 533400"/>
                  <a:gd name="connsiteX20" fmla="*/ 248002 w 438150"/>
                  <a:gd name="connsiteY20" fmla="*/ 314946 h 533400"/>
                  <a:gd name="connsiteX21" fmla="*/ 249907 w 438150"/>
                  <a:gd name="connsiteY21" fmla="*/ 314946 h 533400"/>
                  <a:gd name="connsiteX22" fmla="*/ 305152 w 438150"/>
                  <a:gd name="connsiteY22" fmla="*/ 257796 h 533400"/>
                  <a:gd name="connsiteX23" fmla="*/ 248002 w 438150"/>
                  <a:gd name="connsiteY23" fmla="*/ 200646 h 533400"/>
                  <a:gd name="connsiteX24" fmla="*/ 248002 w 438150"/>
                  <a:gd name="connsiteY24" fmla="*/ 200646 h 533400"/>
                  <a:gd name="connsiteX25" fmla="*/ 248002 w 438150"/>
                  <a:gd name="connsiteY25" fmla="*/ 219696 h 533400"/>
                  <a:gd name="connsiteX26" fmla="*/ 286102 w 438150"/>
                  <a:gd name="connsiteY26" fmla="*/ 257796 h 533400"/>
                  <a:gd name="connsiteX27" fmla="*/ 248002 w 438150"/>
                  <a:gd name="connsiteY27" fmla="*/ 295896 h 533400"/>
                  <a:gd name="connsiteX28" fmla="*/ 248002 w 438150"/>
                  <a:gd name="connsiteY28" fmla="*/ 295896 h 533400"/>
                  <a:gd name="connsiteX29" fmla="*/ 171802 w 438150"/>
                  <a:gd name="connsiteY29" fmla="*/ 295896 h 533400"/>
                  <a:gd name="connsiteX30" fmla="*/ 171802 w 438150"/>
                  <a:gd name="connsiteY30" fmla="*/ 219696 h 533400"/>
                  <a:gd name="connsiteX31" fmla="*/ 248002 w 438150"/>
                  <a:gd name="connsiteY31" fmla="*/ 219696 h 533400"/>
                  <a:gd name="connsiteX32" fmla="*/ 428977 w 438150"/>
                  <a:gd name="connsiteY32" fmla="*/ 133971 h 533400"/>
                  <a:gd name="connsiteX33" fmla="*/ 314677 w 438150"/>
                  <a:gd name="connsiteY33" fmla="*/ 133971 h 533400"/>
                  <a:gd name="connsiteX34" fmla="*/ 313724 w 438150"/>
                  <a:gd name="connsiteY34" fmla="*/ 133971 h 533400"/>
                  <a:gd name="connsiteX35" fmla="*/ 305152 w 438150"/>
                  <a:gd name="connsiteY35" fmla="*/ 124446 h 533400"/>
                  <a:gd name="connsiteX36" fmla="*/ 305152 w 438150"/>
                  <a:gd name="connsiteY36" fmla="*/ 124446 h 533400"/>
                  <a:gd name="connsiteX37" fmla="*/ 305152 w 438150"/>
                  <a:gd name="connsiteY37" fmla="*/ 10146 h 533400"/>
                  <a:gd name="connsiteX38" fmla="*/ 428977 w 438150"/>
                  <a:gd name="connsiteY38" fmla="*/ 133971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38150" h="533400">
                    <a:moveTo>
                      <a:pt x="284197" y="621"/>
                    </a:moveTo>
                    <a:cubicBezTo>
                      <a:pt x="285149" y="621"/>
                      <a:pt x="286102" y="621"/>
                      <a:pt x="286102" y="621"/>
                    </a:cubicBezTo>
                    <a:lnTo>
                      <a:pt x="286102" y="124446"/>
                    </a:lnTo>
                    <a:lnTo>
                      <a:pt x="286102" y="126351"/>
                    </a:lnTo>
                    <a:cubicBezTo>
                      <a:pt x="287055" y="141591"/>
                      <a:pt x="299437" y="153021"/>
                      <a:pt x="314677" y="153021"/>
                    </a:cubicBezTo>
                    <a:lnTo>
                      <a:pt x="314677" y="153021"/>
                    </a:lnTo>
                    <a:lnTo>
                      <a:pt x="438502" y="153021"/>
                    </a:lnTo>
                    <a:cubicBezTo>
                      <a:pt x="438502" y="153974"/>
                      <a:pt x="438502" y="154926"/>
                      <a:pt x="438502" y="154926"/>
                    </a:cubicBezTo>
                    <a:lnTo>
                      <a:pt x="438502" y="505446"/>
                    </a:lnTo>
                    <a:cubicBezTo>
                      <a:pt x="438502" y="521639"/>
                      <a:pt x="426120" y="534021"/>
                      <a:pt x="409927" y="534021"/>
                    </a:cubicBezTo>
                    <a:lnTo>
                      <a:pt x="28927" y="534021"/>
                    </a:lnTo>
                    <a:cubicBezTo>
                      <a:pt x="12734" y="534021"/>
                      <a:pt x="352" y="521639"/>
                      <a:pt x="352" y="505446"/>
                    </a:cubicBezTo>
                    <a:lnTo>
                      <a:pt x="352" y="29196"/>
                    </a:lnTo>
                    <a:cubicBezTo>
                      <a:pt x="352" y="13004"/>
                      <a:pt x="12734" y="621"/>
                      <a:pt x="28927" y="621"/>
                    </a:cubicBezTo>
                    <a:lnTo>
                      <a:pt x="284197" y="621"/>
                    </a:lnTo>
                    <a:close/>
                    <a:moveTo>
                      <a:pt x="248002" y="200646"/>
                    </a:moveTo>
                    <a:lnTo>
                      <a:pt x="152752" y="200646"/>
                    </a:lnTo>
                    <a:lnTo>
                      <a:pt x="152752" y="410196"/>
                    </a:lnTo>
                    <a:lnTo>
                      <a:pt x="171802" y="410196"/>
                    </a:lnTo>
                    <a:lnTo>
                      <a:pt x="171802" y="314946"/>
                    </a:lnTo>
                    <a:lnTo>
                      <a:pt x="248002" y="314946"/>
                    </a:lnTo>
                    <a:lnTo>
                      <a:pt x="249907" y="314946"/>
                    </a:lnTo>
                    <a:cubicBezTo>
                      <a:pt x="280387" y="313994"/>
                      <a:pt x="305152" y="288276"/>
                      <a:pt x="305152" y="257796"/>
                    </a:cubicBezTo>
                    <a:cubicBezTo>
                      <a:pt x="305152" y="226364"/>
                      <a:pt x="279434" y="200646"/>
                      <a:pt x="248002" y="200646"/>
                    </a:cubicBezTo>
                    <a:lnTo>
                      <a:pt x="248002" y="200646"/>
                    </a:lnTo>
                    <a:close/>
                    <a:moveTo>
                      <a:pt x="248002" y="219696"/>
                    </a:moveTo>
                    <a:cubicBezTo>
                      <a:pt x="268957" y="219696"/>
                      <a:pt x="286102" y="236841"/>
                      <a:pt x="286102" y="257796"/>
                    </a:cubicBezTo>
                    <a:cubicBezTo>
                      <a:pt x="286102" y="278751"/>
                      <a:pt x="268957" y="295896"/>
                      <a:pt x="248002" y="295896"/>
                    </a:cubicBezTo>
                    <a:lnTo>
                      <a:pt x="248002" y="295896"/>
                    </a:lnTo>
                    <a:lnTo>
                      <a:pt x="171802" y="295896"/>
                    </a:lnTo>
                    <a:lnTo>
                      <a:pt x="171802" y="219696"/>
                    </a:lnTo>
                    <a:lnTo>
                      <a:pt x="248002" y="219696"/>
                    </a:lnTo>
                    <a:close/>
                    <a:moveTo>
                      <a:pt x="428977" y="133971"/>
                    </a:moveTo>
                    <a:lnTo>
                      <a:pt x="314677" y="133971"/>
                    </a:lnTo>
                    <a:lnTo>
                      <a:pt x="313724" y="133971"/>
                    </a:lnTo>
                    <a:cubicBezTo>
                      <a:pt x="308962" y="133019"/>
                      <a:pt x="305152" y="129209"/>
                      <a:pt x="305152" y="124446"/>
                    </a:cubicBezTo>
                    <a:lnTo>
                      <a:pt x="305152" y="124446"/>
                    </a:lnTo>
                    <a:lnTo>
                      <a:pt x="305152" y="10146"/>
                    </a:lnTo>
                    <a:lnTo>
                      <a:pt x="428977" y="133971"/>
                    </a:lnTo>
                    <a:close/>
                  </a:path>
                </a:pathLst>
              </a:custGeom>
              <a:solidFill>
                <a:srgbClr val="FFFFFF"/>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sp>
            <p:nvSpPr>
              <p:cNvPr id="9" name="矩形: 圆角 8"/>
              <p:cNvSpPr/>
              <p:nvPr/>
            </p:nvSpPr>
            <p:spPr>
              <a:xfrm>
                <a:off x="-12700" y="0"/>
                <a:ext cx="12204700" cy="2722993"/>
              </a:xfrm>
              <a:prstGeom prst="roundRect">
                <a:avLst>
                  <a:gd name="adj" fmla="val 0"/>
                </a:avLst>
              </a:prstGeom>
              <a:blipFill>
                <a:blip r:embed="rId1"/>
                <a:stretch>
                  <a:fillRect t="-95420" b="-94534"/>
                </a:stretch>
              </a:blipFill>
              <a:ln w="508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altLang="zh-CN" dirty="0"/>
              </a:p>
            </p:txBody>
          </p:sp>
        </p:grpSp>
        <p:grpSp>
          <p:nvGrpSpPr>
            <p:cNvPr id="47" name="组合 46"/>
            <p:cNvGrpSpPr/>
            <p:nvPr/>
          </p:nvGrpSpPr>
          <p:grpSpPr>
            <a:xfrm>
              <a:off x="3581402" y="3459397"/>
              <a:ext cx="2476498" cy="2601224"/>
              <a:chOff x="3581402" y="3459397"/>
              <a:chExt cx="2476498" cy="2601224"/>
            </a:xfrm>
          </p:grpSpPr>
          <p:sp>
            <p:nvSpPr>
              <p:cNvPr id="26" name="文本框 25"/>
              <p:cNvSpPr txBox="1">
                <a:spLocks noChangeAspect="1"/>
              </p:cNvSpPr>
              <p:nvPr/>
            </p:nvSpPr>
            <p:spPr>
              <a:xfrm>
                <a:off x="4524251" y="3459397"/>
                <a:ext cx="540000" cy="540000"/>
              </a:xfrm>
              <a:prstGeom prst="roundRect">
                <a:avLst>
                  <a:gd name="adj" fmla="val 50000"/>
                </a:avLst>
              </a:prstGeom>
              <a:solidFill>
                <a:schemeClr val="accent2"/>
              </a:solidFill>
            </p:spPr>
            <p:txBody>
              <a:bodyPr wrap="square" lIns="108000" tIns="108000" rIns="108000" bIns="108000" rtlCol="0" anchor="ctr" anchorCtr="0">
                <a:normAutofit fontScale="25000" lnSpcReduction="20000"/>
              </a:bodyPr>
              <a:lstStyle/>
              <a:p>
                <a:pPr algn="ctr">
                  <a:lnSpc>
                    <a:spcPct val="120000"/>
                  </a:lnSpc>
                </a:pPr>
                <a:r>
                  <a:rPr kumimoji="1" lang="pt-BR" altLang="zh-CN" sz="1200">
                    <a:noFill/>
                    <a:latin typeface="Calibri" pitchFamily="34" charset="0"/>
                    <a:ea typeface="宋体" pitchFamily="2" charset="-122"/>
                  </a:rPr>
                  <a:t>Vel tation amet at magna ipsum et clita est no ea veniam et.</a:t>
                </a:r>
                <a:endParaRPr kumimoji="1" lang="zh-CN" altLang="en-US" sz="1200" dirty="0">
                  <a:noFill/>
                  <a:latin typeface="Calibri" pitchFamily="34" charset="0"/>
                  <a:ea typeface="宋体" pitchFamily="2" charset="-122"/>
                </a:endParaRPr>
              </a:p>
            </p:txBody>
          </p:sp>
          <p:sp>
            <p:nvSpPr>
              <p:cNvPr id="22" name="矩形: 圆角 21"/>
              <p:cNvSpPr/>
              <p:nvPr/>
            </p:nvSpPr>
            <p:spPr>
              <a:xfrm>
                <a:off x="3581402" y="3727799"/>
                <a:ext cx="2476498" cy="2332822"/>
              </a:xfrm>
              <a:prstGeom prst="roundRect">
                <a:avLst>
                  <a:gd name="adj" fmla="val 8192"/>
                </a:avLst>
              </a:prstGeom>
              <a:solidFill>
                <a:schemeClr val="accent2">
                  <a:alpha val="15000"/>
                </a:schemeClr>
              </a:solidFill>
              <a:ln w="762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p>
            </p:txBody>
          </p:sp>
          <p:sp>
            <p:nvSpPr>
              <p:cNvPr id="23" name="文本框 22"/>
              <p:cNvSpPr txBox="1"/>
              <p:nvPr/>
            </p:nvSpPr>
            <p:spPr>
              <a:xfrm>
                <a:off x="3708402" y="4980978"/>
                <a:ext cx="2222498" cy="949922"/>
              </a:xfrm>
              <a:prstGeom prst="rect">
                <a:avLst/>
              </a:prstGeom>
              <a:noFill/>
            </p:spPr>
            <p:txBody>
              <a:bodyPr wrap="square" lIns="90000" tIns="46800" rIns="90000" bIns="46800" anchor="t" anchorCtr="0">
                <a:normAutofit/>
              </a:bodyPr>
              <a:lstStyle/>
              <a:p>
                <a:pPr algn="ctr">
                  <a:lnSpc>
                    <a:spcPct val="120000"/>
                  </a:lnSpc>
                </a:pPr>
                <a:r>
                  <a:rPr kumimoji="1" lang="pt-BR" altLang="zh-CN" sz="1200">
                    <a:latin typeface="Calibri" pitchFamily="34" charset="0"/>
                    <a:ea typeface="宋体" pitchFamily="2" charset="-122"/>
                  </a:rPr>
                  <a:t>Amet lorem ipsum sed amet dolore zzril ut ut euismod.</a:t>
                </a:r>
                <a:endParaRPr kumimoji="1" lang="en-US" altLang="zh-CN" sz="1200" dirty="0">
                  <a:latin typeface="Calibri" pitchFamily="34" charset="0"/>
                  <a:ea typeface="宋体" pitchFamily="2" charset="-122"/>
                </a:endParaRPr>
              </a:p>
            </p:txBody>
          </p:sp>
          <p:sp>
            <p:nvSpPr>
              <p:cNvPr id="24" name="矩形 23"/>
              <p:cNvSpPr/>
              <p:nvPr/>
            </p:nvSpPr>
            <p:spPr>
              <a:xfrm>
                <a:off x="3708402" y="4133041"/>
                <a:ext cx="2222498" cy="746258"/>
              </a:xfrm>
              <a:prstGeom prst="rect">
                <a:avLst/>
              </a:prstGeom>
            </p:spPr>
            <p:txBody>
              <a:bodyPr wrap="square" lIns="90000" tIns="46800" rIns="90000" bIns="46800" anchor="b" anchorCtr="1">
                <a:normAutofit/>
              </a:bodyPr>
              <a:lstStyle/>
              <a:p>
                <a:pPr algn="ctr" defTabSz="914400">
                  <a:spcBef>
                    <a:spcPct val="0"/>
                  </a:spcBef>
                  <a:defRPr/>
                </a:pPr>
                <a:r>
                  <a:rPr lang="en-US" altLang="zh-CN" b="1">
                    <a:latin typeface="Calibri" pitchFamily="34" charset="0"/>
                    <a:ea typeface="宋体" pitchFamily="2" charset="-122"/>
                  </a:rPr>
                  <a:t>Click to add text</a:t>
                </a:r>
                <a:endParaRPr lang="zh-CN" altLang="en-US" b="1" dirty="0">
                  <a:latin typeface="Calibri" pitchFamily="34" charset="0"/>
                  <a:ea typeface="宋体" pitchFamily="2" charset="-122"/>
                </a:endParaRPr>
              </a:p>
            </p:txBody>
          </p:sp>
          <p:sp>
            <p:nvSpPr>
              <p:cNvPr id="27" name="任意多边形: 形状 26"/>
              <p:cNvSpPr/>
              <p:nvPr/>
            </p:nvSpPr>
            <p:spPr>
              <a:xfrm>
                <a:off x="4666384" y="3594153"/>
                <a:ext cx="255734" cy="270488"/>
              </a:xfrm>
              <a:custGeom>
                <a:avLst/>
                <a:gdLst>
                  <a:gd name="connsiteX0" fmla="*/ 371955 w 495300"/>
                  <a:gd name="connsiteY0" fmla="*/ 621 h 523875"/>
                  <a:gd name="connsiteX1" fmla="*/ 400530 w 495300"/>
                  <a:gd name="connsiteY1" fmla="*/ 29196 h 523875"/>
                  <a:gd name="connsiteX2" fmla="*/ 400530 w 495300"/>
                  <a:gd name="connsiteY2" fmla="*/ 133971 h 523875"/>
                  <a:gd name="connsiteX3" fmla="*/ 371955 w 495300"/>
                  <a:gd name="connsiteY3" fmla="*/ 162546 h 523875"/>
                  <a:gd name="connsiteX4" fmla="*/ 257655 w 495300"/>
                  <a:gd name="connsiteY4" fmla="*/ 162546 h 523875"/>
                  <a:gd name="connsiteX5" fmla="*/ 257655 w 495300"/>
                  <a:gd name="connsiteY5" fmla="*/ 286371 h 523875"/>
                  <a:gd name="connsiteX6" fmla="*/ 419580 w 495300"/>
                  <a:gd name="connsiteY6" fmla="*/ 286371 h 523875"/>
                  <a:gd name="connsiteX7" fmla="*/ 457680 w 495300"/>
                  <a:gd name="connsiteY7" fmla="*/ 322566 h 523875"/>
                  <a:gd name="connsiteX8" fmla="*/ 457680 w 495300"/>
                  <a:gd name="connsiteY8" fmla="*/ 324471 h 523875"/>
                  <a:gd name="connsiteX9" fmla="*/ 457680 w 495300"/>
                  <a:gd name="connsiteY9" fmla="*/ 429246 h 523875"/>
                  <a:gd name="connsiteX10" fmla="*/ 476730 w 495300"/>
                  <a:gd name="connsiteY10" fmla="*/ 429246 h 523875"/>
                  <a:gd name="connsiteX11" fmla="*/ 495780 w 495300"/>
                  <a:gd name="connsiteY11" fmla="*/ 448296 h 523875"/>
                  <a:gd name="connsiteX12" fmla="*/ 495780 w 495300"/>
                  <a:gd name="connsiteY12" fmla="*/ 505446 h 523875"/>
                  <a:gd name="connsiteX13" fmla="*/ 476730 w 495300"/>
                  <a:gd name="connsiteY13" fmla="*/ 524496 h 523875"/>
                  <a:gd name="connsiteX14" fmla="*/ 419580 w 495300"/>
                  <a:gd name="connsiteY14" fmla="*/ 524496 h 523875"/>
                  <a:gd name="connsiteX15" fmla="*/ 400530 w 495300"/>
                  <a:gd name="connsiteY15" fmla="*/ 505446 h 523875"/>
                  <a:gd name="connsiteX16" fmla="*/ 400530 w 495300"/>
                  <a:gd name="connsiteY16" fmla="*/ 448296 h 523875"/>
                  <a:gd name="connsiteX17" fmla="*/ 419580 w 495300"/>
                  <a:gd name="connsiteY17" fmla="*/ 429246 h 523875"/>
                  <a:gd name="connsiteX18" fmla="*/ 438630 w 495300"/>
                  <a:gd name="connsiteY18" fmla="*/ 429246 h 523875"/>
                  <a:gd name="connsiteX19" fmla="*/ 438630 w 495300"/>
                  <a:gd name="connsiteY19" fmla="*/ 324471 h 523875"/>
                  <a:gd name="connsiteX20" fmla="*/ 420533 w 495300"/>
                  <a:gd name="connsiteY20" fmla="*/ 305421 h 523875"/>
                  <a:gd name="connsiteX21" fmla="*/ 419580 w 495300"/>
                  <a:gd name="connsiteY21" fmla="*/ 305421 h 523875"/>
                  <a:gd name="connsiteX22" fmla="*/ 257655 w 495300"/>
                  <a:gd name="connsiteY22" fmla="*/ 305421 h 523875"/>
                  <a:gd name="connsiteX23" fmla="*/ 257655 w 495300"/>
                  <a:gd name="connsiteY23" fmla="*/ 429246 h 523875"/>
                  <a:gd name="connsiteX24" fmla="*/ 276705 w 495300"/>
                  <a:gd name="connsiteY24" fmla="*/ 429246 h 523875"/>
                  <a:gd name="connsiteX25" fmla="*/ 295755 w 495300"/>
                  <a:gd name="connsiteY25" fmla="*/ 448296 h 523875"/>
                  <a:gd name="connsiteX26" fmla="*/ 295755 w 495300"/>
                  <a:gd name="connsiteY26" fmla="*/ 505446 h 523875"/>
                  <a:gd name="connsiteX27" fmla="*/ 276705 w 495300"/>
                  <a:gd name="connsiteY27" fmla="*/ 524496 h 523875"/>
                  <a:gd name="connsiteX28" fmla="*/ 219555 w 495300"/>
                  <a:gd name="connsiteY28" fmla="*/ 524496 h 523875"/>
                  <a:gd name="connsiteX29" fmla="*/ 200505 w 495300"/>
                  <a:gd name="connsiteY29" fmla="*/ 505446 h 523875"/>
                  <a:gd name="connsiteX30" fmla="*/ 200505 w 495300"/>
                  <a:gd name="connsiteY30" fmla="*/ 448296 h 523875"/>
                  <a:gd name="connsiteX31" fmla="*/ 219555 w 495300"/>
                  <a:gd name="connsiteY31" fmla="*/ 429246 h 523875"/>
                  <a:gd name="connsiteX32" fmla="*/ 238605 w 495300"/>
                  <a:gd name="connsiteY32" fmla="*/ 429246 h 523875"/>
                  <a:gd name="connsiteX33" fmla="*/ 238605 w 495300"/>
                  <a:gd name="connsiteY33" fmla="*/ 305421 h 523875"/>
                  <a:gd name="connsiteX34" fmla="*/ 76680 w 495300"/>
                  <a:gd name="connsiteY34" fmla="*/ 305421 h 523875"/>
                  <a:gd name="connsiteX35" fmla="*/ 57630 w 495300"/>
                  <a:gd name="connsiteY35" fmla="*/ 323519 h 523875"/>
                  <a:gd name="connsiteX36" fmla="*/ 57630 w 495300"/>
                  <a:gd name="connsiteY36" fmla="*/ 324471 h 523875"/>
                  <a:gd name="connsiteX37" fmla="*/ 57630 w 495300"/>
                  <a:gd name="connsiteY37" fmla="*/ 429246 h 523875"/>
                  <a:gd name="connsiteX38" fmla="*/ 76680 w 495300"/>
                  <a:gd name="connsiteY38" fmla="*/ 429246 h 523875"/>
                  <a:gd name="connsiteX39" fmla="*/ 95730 w 495300"/>
                  <a:gd name="connsiteY39" fmla="*/ 448296 h 523875"/>
                  <a:gd name="connsiteX40" fmla="*/ 95730 w 495300"/>
                  <a:gd name="connsiteY40" fmla="*/ 505446 h 523875"/>
                  <a:gd name="connsiteX41" fmla="*/ 76680 w 495300"/>
                  <a:gd name="connsiteY41" fmla="*/ 524496 h 523875"/>
                  <a:gd name="connsiteX42" fmla="*/ 19530 w 495300"/>
                  <a:gd name="connsiteY42" fmla="*/ 524496 h 523875"/>
                  <a:gd name="connsiteX43" fmla="*/ 480 w 495300"/>
                  <a:gd name="connsiteY43" fmla="*/ 505446 h 523875"/>
                  <a:gd name="connsiteX44" fmla="*/ 480 w 495300"/>
                  <a:gd name="connsiteY44" fmla="*/ 448296 h 523875"/>
                  <a:gd name="connsiteX45" fmla="*/ 19530 w 495300"/>
                  <a:gd name="connsiteY45" fmla="*/ 429246 h 523875"/>
                  <a:gd name="connsiteX46" fmla="*/ 38580 w 495300"/>
                  <a:gd name="connsiteY46" fmla="*/ 429246 h 523875"/>
                  <a:gd name="connsiteX47" fmla="*/ 38580 w 495300"/>
                  <a:gd name="connsiteY47" fmla="*/ 324471 h 523875"/>
                  <a:gd name="connsiteX48" fmla="*/ 74775 w 495300"/>
                  <a:gd name="connsiteY48" fmla="*/ 286371 h 523875"/>
                  <a:gd name="connsiteX49" fmla="*/ 76680 w 495300"/>
                  <a:gd name="connsiteY49" fmla="*/ 286371 h 523875"/>
                  <a:gd name="connsiteX50" fmla="*/ 238605 w 495300"/>
                  <a:gd name="connsiteY50" fmla="*/ 286371 h 523875"/>
                  <a:gd name="connsiteX51" fmla="*/ 238605 w 495300"/>
                  <a:gd name="connsiteY51" fmla="*/ 162546 h 523875"/>
                  <a:gd name="connsiteX52" fmla="*/ 124305 w 495300"/>
                  <a:gd name="connsiteY52" fmla="*/ 162546 h 523875"/>
                  <a:gd name="connsiteX53" fmla="*/ 95730 w 495300"/>
                  <a:gd name="connsiteY53" fmla="*/ 133971 h 523875"/>
                  <a:gd name="connsiteX54" fmla="*/ 95730 w 495300"/>
                  <a:gd name="connsiteY54" fmla="*/ 29196 h 523875"/>
                  <a:gd name="connsiteX55" fmla="*/ 124305 w 495300"/>
                  <a:gd name="connsiteY55" fmla="*/ 621 h 523875"/>
                  <a:gd name="connsiteX56" fmla="*/ 371955 w 495300"/>
                  <a:gd name="connsiteY56" fmla="*/ 621 h 523875"/>
                  <a:gd name="connsiteX57" fmla="*/ 148118 w 495300"/>
                  <a:gd name="connsiteY57" fmla="*/ 95871 h 523875"/>
                  <a:gd name="connsiteX58" fmla="*/ 133830 w 495300"/>
                  <a:gd name="connsiteY58" fmla="*/ 110159 h 523875"/>
                  <a:gd name="connsiteX59" fmla="*/ 148118 w 495300"/>
                  <a:gd name="connsiteY59" fmla="*/ 124446 h 523875"/>
                  <a:gd name="connsiteX60" fmla="*/ 162405 w 495300"/>
                  <a:gd name="connsiteY60" fmla="*/ 110159 h 523875"/>
                  <a:gd name="connsiteX61" fmla="*/ 148118 w 495300"/>
                  <a:gd name="connsiteY61" fmla="*/ 95871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95300" h="523875">
                    <a:moveTo>
                      <a:pt x="371955" y="621"/>
                    </a:moveTo>
                    <a:cubicBezTo>
                      <a:pt x="388148" y="621"/>
                      <a:pt x="400530" y="13004"/>
                      <a:pt x="400530" y="29196"/>
                    </a:cubicBezTo>
                    <a:lnTo>
                      <a:pt x="400530" y="133971"/>
                    </a:lnTo>
                    <a:cubicBezTo>
                      <a:pt x="400530" y="150164"/>
                      <a:pt x="388148" y="162546"/>
                      <a:pt x="371955" y="162546"/>
                    </a:cubicBezTo>
                    <a:lnTo>
                      <a:pt x="257655" y="162546"/>
                    </a:lnTo>
                    <a:lnTo>
                      <a:pt x="257655" y="286371"/>
                    </a:lnTo>
                    <a:lnTo>
                      <a:pt x="419580" y="286371"/>
                    </a:lnTo>
                    <a:cubicBezTo>
                      <a:pt x="439583" y="286371"/>
                      <a:pt x="456727" y="302564"/>
                      <a:pt x="457680" y="322566"/>
                    </a:cubicBezTo>
                    <a:lnTo>
                      <a:pt x="457680" y="324471"/>
                    </a:lnTo>
                    <a:lnTo>
                      <a:pt x="457680" y="429246"/>
                    </a:lnTo>
                    <a:lnTo>
                      <a:pt x="476730" y="429246"/>
                    </a:lnTo>
                    <a:cubicBezTo>
                      <a:pt x="487208" y="429246"/>
                      <a:pt x="495780" y="437819"/>
                      <a:pt x="495780" y="448296"/>
                    </a:cubicBezTo>
                    <a:lnTo>
                      <a:pt x="495780" y="505446"/>
                    </a:lnTo>
                    <a:cubicBezTo>
                      <a:pt x="495780" y="515924"/>
                      <a:pt x="487208" y="524496"/>
                      <a:pt x="476730" y="524496"/>
                    </a:cubicBezTo>
                    <a:lnTo>
                      <a:pt x="419580" y="524496"/>
                    </a:lnTo>
                    <a:cubicBezTo>
                      <a:pt x="409102" y="524496"/>
                      <a:pt x="400530" y="515924"/>
                      <a:pt x="400530" y="505446"/>
                    </a:cubicBezTo>
                    <a:lnTo>
                      <a:pt x="400530" y="448296"/>
                    </a:lnTo>
                    <a:cubicBezTo>
                      <a:pt x="400530" y="437819"/>
                      <a:pt x="409102" y="429246"/>
                      <a:pt x="419580" y="429246"/>
                    </a:cubicBezTo>
                    <a:lnTo>
                      <a:pt x="438630" y="429246"/>
                    </a:lnTo>
                    <a:lnTo>
                      <a:pt x="438630" y="324471"/>
                    </a:lnTo>
                    <a:cubicBezTo>
                      <a:pt x="438630" y="313994"/>
                      <a:pt x="431010" y="306374"/>
                      <a:pt x="420533" y="305421"/>
                    </a:cubicBezTo>
                    <a:lnTo>
                      <a:pt x="419580" y="305421"/>
                    </a:lnTo>
                    <a:lnTo>
                      <a:pt x="257655" y="305421"/>
                    </a:lnTo>
                    <a:lnTo>
                      <a:pt x="257655" y="429246"/>
                    </a:lnTo>
                    <a:lnTo>
                      <a:pt x="276705" y="429246"/>
                    </a:lnTo>
                    <a:cubicBezTo>
                      <a:pt x="287183" y="429246"/>
                      <a:pt x="295755" y="437819"/>
                      <a:pt x="295755" y="448296"/>
                    </a:cubicBezTo>
                    <a:lnTo>
                      <a:pt x="295755" y="505446"/>
                    </a:lnTo>
                    <a:cubicBezTo>
                      <a:pt x="295755" y="515924"/>
                      <a:pt x="287183" y="524496"/>
                      <a:pt x="276705" y="524496"/>
                    </a:cubicBezTo>
                    <a:lnTo>
                      <a:pt x="219555" y="524496"/>
                    </a:lnTo>
                    <a:cubicBezTo>
                      <a:pt x="209077" y="524496"/>
                      <a:pt x="200505" y="515924"/>
                      <a:pt x="200505" y="505446"/>
                    </a:cubicBezTo>
                    <a:lnTo>
                      <a:pt x="200505" y="448296"/>
                    </a:lnTo>
                    <a:cubicBezTo>
                      <a:pt x="200505" y="437819"/>
                      <a:pt x="209077" y="429246"/>
                      <a:pt x="219555" y="429246"/>
                    </a:cubicBezTo>
                    <a:lnTo>
                      <a:pt x="238605" y="429246"/>
                    </a:lnTo>
                    <a:lnTo>
                      <a:pt x="238605" y="305421"/>
                    </a:lnTo>
                    <a:lnTo>
                      <a:pt x="76680" y="305421"/>
                    </a:lnTo>
                    <a:cubicBezTo>
                      <a:pt x="66202" y="305421"/>
                      <a:pt x="58583" y="313041"/>
                      <a:pt x="57630" y="323519"/>
                    </a:cubicBezTo>
                    <a:lnTo>
                      <a:pt x="57630" y="324471"/>
                    </a:lnTo>
                    <a:lnTo>
                      <a:pt x="57630" y="429246"/>
                    </a:lnTo>
                    <a:lnTo>
                      <a:pt x="76680" y="429246"/>
                    </a:lnTo>
                    <a:cubicBezTo>
                      <a:pt x="87158" y="429246"/>
                      <a:pt x="95730" y="437819"/>
                      <a:pt x="95730" y="448296"/>
                    </a:cubicBezTo>
                    <a:lnTo>
                      <a:pt x="95730" y="505446"/>
                    </a:lnTo>
                    <a:cubicBezTo>
                      <a:pt x="95730" y="515924"/>
                      <a:pt x="87158" y="524496"/>
                      <a:pt x="76680" y="524496"/>
                    </a:cubicBezTo>
                    <a:lnTo>
                      <a:pt x="19530" y="524496"/>
                    </a:lnTo>
                    <a:cubicBezTo>
                      <a:pt x="9052" y="524496"/>
                      <a:pt x="480" y="515924"/>
                      <a:pt x="480" y="505446"/>
                    </a:cubicBezTo>
                    <a:lnTo>
                      <a:pt x="480" y="448296"/>
                    </a:lnTo>
                    <a:cubicBezTo>
                      <a:pt x="480" y="437819"/>
                      <a:pt x="9052" y="429246"/>
                      <a:pt x="19530" y="429246"/>
                    </a:cubicBezTo>
                    <a:lnTo>
                      <a:pt x="38580" y="429246"/>
                    </a:lnTo>
                    <a:lnTo>
                      <a:pt x="38580" y="324471"/>
                    </a:lnTo>
                    <a:cubicBezTo>
                      <a:pt x="38580" y="304469"/>
                      <a:pt x="54773" y="287324"/>
                      <a:pt x="74775" y="286371"/>
                    </a:cubicBezTo>
                    <a:lnTo>
                      <a:pt x="76680" y="286371"/>
                    </a:lnTo>
                    <a:lnTo>
                      <a:pt x="238605" y="286371"/>
                    </a:lnTo>
                    <a:lnTo>
                      <a:pt x="238605" y="162546"/>
                    </a:lnTo>
                    <a:lnTo>
                      <a:pt x="124305" y="162546"/>
                    </a:lnTo>
                    <a:cubicBezTo>
                      <a:pt x="108112" y="162546"/>
                      <a:pt x="95730" y="150164"/>
                      <a:pt x="95730" y="133971"/>
                    </a:cubicBezTo>
                    <a:lnTo>
                      <a:pt x="95730" y="29196"/>
                    </a:lnTo>
                    <a:cubicBezTo>
                      <a:pt x="95730" y="13004"/>
                      <a:pt x="108112" y="621"/>
                      <a:pt x="124305" y="621"/>
                    </a:cubicBezTo>
                    <a:lnTo>
                      <a:pt x="371955" y="621"/>
                    </a:lnTo>
                    <a:close/>
                    <a:moveTo>
                      <a:pt x="148118" y="95871"/>
                    </a:moveTo>
                    <a:cubicBezTo>
                      <a:pt x="140498" y="95871"/>
                      <a:pt x="133830" y="102539"/>
                      <a:pt x="133830" y="110159"/>
                    </a:cubicBezTo>
                    <a:cubicBezTo>
                      <a:pt x="133830" y="117779"/>
                      <a:pt x="140498" y="124446"/>
                      <a:pt x="148118" y="124446"/>
                    </a:cubicBezTo>
                    <a:cubicBezTo>
                      <a:pt x="155737" y="124446"/>
                      <a:pt x="162405" y="117779"/>
                      <a:pt x="162405" y="110159"/>
                    </a:cubicBezTo>
                    <a:cubicBezTo>
                      <a:pt x="162405" y="102539"/>
                      <a:pt x="155737" y="95871"/>
                      <a:pt x="148118" y="95871"/>
                    </a:cubicBezTo>
                    <a:close/>
                  </a:path>
                </a:pathLst>
              </a:custGeom>
              <a:solidFill>
                <a:srgbClr val="FFFFFF"/>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grpSp>
        <p:grpSp>
          <p:nvGrpSpPr>
            <p:cNvPr id="48" name="组合 47"/>
            <p:cNvGrpSpPr/>
            <p:nvPr/>
          </p:nvGrpSpPr>
          <p:grpSpPr>
            <a:xfrm>
              <a:off x="6134102" y="3459397"/>
              <a:ext cx="2476498" cy="2601224"/>
              <a:chOff x="6134102" y="3459397"/>
              <a:chExt cx="2476498" cy="2601224"/>
            </a:xfrm>
          </p:grpSpPr>
          <p:sp>
            <p:nvSpPr>
              <p:cNvPr id="20" name="文本框 19"/>
              <p:cNvSpPr txBox="1">
                <a:spLocks noChangeAspect="1"/>
              </p:cNvSpPr>
              <p:nvPr/>
            </p:nvSpPr>
            <p:spPr>
              <a:xfrm>
                <a:off x="7084147" y="3459397"/>
                <a:ext cx="540000" cy="540000"/>
              </a:xfrm>
              <a:prstGeom prst="roundRect">
                <a:avLst>
                  <a:gd name="adj" fmla="val 50000"/>
                </a:avLst>
              </a:prstGeom>
              <a:solidFill>
                <a:schemeClr val="accent1"/>
              </a:solidFill>
            </p:spPr>
            <p:txBody>
              <a:bodyPr wrap="square" lIns="108000" tIns="108000" rIns="108000" bIns="108000" rtlCol="0" anchor="ctr" anchorCtr="0">
                <a:normAutofit fontScale="25000" lnSpcReduction="20000"/>
              </a:bodyPr>
              <a:lstStyle/>
              <a:p>
                <a:pPr algn="ctr">
                  <a:lnSpc>
                    <a:spcPct val="120000"/>
                  </a:lnSpc>
                </a:pPr>
                <a:r>
                  <a:rPr kumimoji="1" lang="en-US" altLang="zh-CN" sz="1200">
                    <a:noFill/>
                    <a:latin typeface="Calibri" pitchFamily="34" charset="0"/>
                    <a:ea typeface="宋体" pitchFamily="2" charset="-122"/>
                  </a:rPr>
                  <a:t>Praesent justo dolor et at eirmod nonumy dolor dolore.</a:t>
                </a:r>
                <a:endParaRPr kumimoji="1" lang="zh-CN" altLang="en-US" sz="1200" dirty="0">
                  <a:noFill/>
                  <a:latin typeface="Calibri" pitchFamily="34" charset="0"/>
                  <a:ea typeface="宋体" pitchFamily="2" charset="-122"/>
                </a:endParaRPr>
              </a:p>
            </p:txBody>
          </p:sp>
          <p:sp>
            <p:nvSpPr>
              <p:cNvPr id="16" name="矩形: 圆角 15"/>
              <p:cNvSpPr/>
              <p:nvPr/>
            </p:nvSpPr>
            <p:spPr>
              <a:xfrm>
                <a:off x="6134102" y="3727799"/>
                <a:ext cx="2476498" cy="2332822"/>
              </a:xfrm>
              <a:prstGeom prst="roundRect">
                <a:avLst>
                  <a:gd name="adj" fmla="val 8192"/>
                </a:avLst>
              </a:prstGeom>
              <a:solidFill>
                <a:schemeClr val="accent1">
                  <a:alpha val="15000"/>
                </a:schemeClr>
              </a:solidFill>
              <a:ln w="762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p>
            </p:txBody>
          </p:sp>
          <p:sp>
            <p:nvSpPr>
              <p:cNvPr id="17" name="文本框 16"/>
              <p:cNvSpPr txBox="1"/>
              <p:nvPr/>
            </p:nvSpPr>
            <p:spPr>
              <a:xfrm>
                <a:off x="6261102" y="4980978"/>
                <a:ext cx="2222498" cy="949922"/>
              </a:xfrm>
              <a:prstGeom prst="rect">
                <a:avLst/>
              </a:prstGeom>
              <a:noFill/>
            </p:spPr>
            <p:txBody>
              <a:bodyPr wrap="square" lIns="90000" tIns="46800" rIns="90000" bIns="46800" anchor="t" anchorCtr="0">
                <a:normAutofit/>
              </a:bodyPr>
              <a:lstStyle/>
              <a:p>
                <a:pPr algn="ctr">
                  <a:lnSpc>
                    <a:spcPct val="120000"/>
                  </a:lnSpc>
                </a:pPr>
                <a:r>
                  <a:rPr kumimoji="1" lang="fr-FR" altLang="zh-CN" sz="1200">
                    <a:latin typeface="Calibri" pitchFamily="34" charset="0"/>
                    <a:ea typeface="宋体" pitchFamily="2" charset="-122"/>
                  </a:rPr>
                  <a:t>Ut vulputate velit labore nulla ipsum sit clita exerci.</a:t>
                </a:r>
                <a:endParaRPr kumimoji="1" lang="en-US" altLang="zh-CN" sz="1200" dirty="0">
                  <a:latin typeface="Calibri" pitchFamily="34" charset="0"/>
                  <a:ea typeface="宋体" pitchFamily="2" charset="-122"/>
                </a:endParaRPr>
              </a:p>
            </p:txBody>
          </p:sp>
          <p:sp>
            <p:nvSpPr>
              <p:cNvPr id="18" name="矩形 17"/>
              <p:cNvSpPr/>
              <p:nvPr/>
            </p:nvSpPr>
            <p:spPr>
              <a:xfrm>
                <a:off x="6261102" y="4133041"/>
                <a:ext cx="2222498" cy="746258"/>
              </a:xfrm>
              <a:prstGeom prst="rect">
                <a:avLst/>
              </a:prstGeom>
            </p:spPr>
            <p:txBody>
              <a:bodyPr wrap="square" lIns="90000" tIns="46800" rIns="90000" bIns="46800" anchor="b" anchorCtr="1">
                <a:normAutofit/>
              </a:bodyPr>
              <a:lstStyle/>
              <a:p>
                <a:pPr algn="ctr" defTabSz="914400">
                  <a:spcBef>
                    <a:spcPct val="0"/>
                  </a:spcBef>
                  <a:defRPr/>
                </a:pPr>
                <a:r>
                  <a:rPr lang="en-US" altLang="zh-CN" b="1">
                    <a:latin typeface="Calibri" pitchFamily="34" charset="0"/>
                    <a:ea typeface="宋体" pitchFamily="2" charset="-122"/>
                  </a:rPr>
                  <a:t>Click to add text</a:t>
                </a:r>
                <a:endParaRPr lang="zh-CN" altLang="en-US" b="1" dirty="0">
                  <a:latin typeface="Calibri" pitchFamily="34" charset="0"/>
                  <a:ea typeface="宋体" pitchFamily="2" charset="-122"/>
                </a:endParaRPr>
              </a:p>
            </p:txBody>
          </p:sp>
          <p:sp>
            <p:nvSpPr>
              <p:cNvPr id="21" name="任意多边形: 形状 20"/>
              <p:cNvSpPr/>
              <p:nvPr/>
            </p:nvSpPr>
            <p:spPr>
              <a:xfrm>
                <a:off x="7216444" y="3626120"/>
                <a:ext cx="275406" cy="206554"/>
              </a:xfrm>
              <a:custGeom>
                <a:avLst/>
                <a:gdLst>
                  <a:gd name="connsiteX0" fmla="*/ 505433 w 533400"/>
                  <a:gd name="connsiteY0" fmla="*/ 621 h 400050"/>
                  <a:gd name="connsiteX1" fmla="*/ 534008 w 533400"/>
                  <a:gd name="connsiteY1" fmla="*/ 29196 h 400050"/>
                  <a:gd name="connsiteX2" fmla="*/ 534008 w 533400"/>
                  <a:gd name="connsiteY2" fmla="*/ 372096 h 400050"/>
                  <a:gd name="connsiteX3" fmla="*/ 505433 w 533400"/>
                  <a:gd name="connsiteY3" fmla="*/ 400671 h 400050"/>
                  <a:gd name="connsiteX4" fmla="*/ 29183 w 533400"/>
                  <a:gd name="connsiteY4" fmla="*/ 400671 h 400050"/>
                  <a:gd name="connsiteX5" fmla="*/ 608 w 533400"/>
                  <a:gd name="connsiteY5" fmla="*/ 372096 h 400050"/>
                  <a:gd name="connsiteX6" fmla="*/ 608 w 533400"/>
                  <a:gd name="connsiteY6" fmla="*/ 29196 h 400050"/>
                  <a:gd name="connsiteX7" fmla="*/ 29183 w 533400"/>
                  <a:gd name="connsiteY7" fmla="*/ 621 h 400050"/>
                  <a:gd name="connsiteX8" fmla="*/ 505433 w 533400"/>
                  <a:gd name="connsiteY8" fmla="*/ 621 h 400050"/>
                  <a:gd name="connsiteX9" fmla="*/ 391133 w 533400"/>
                  <a:gd name="connsiteY9" fmla="*/ 198741 h 400050"/>
                  <a:gd name="connsiteX10" fmla="*/ 351128 w 533400"/>
                  <a:gd name="connsiteY10" fmla="*/ 204456 h 400050"/>
                  <a:gd name="connsiteX11" fmla="*/ 351128 w 533400"/>
                  <a:gd name="connsiteY11" fmla="*/ 204456 h 400050"/>
                  <a:gd name="connsiteX12" fmla="*/ 267308 w 533400"/>
                  <a:gd name="connsiteY12" fmla="*/ 315899 h 400050"/>
                  <a:gd name="connsiteX13" fmla="*/ 264451 w 533400"/>
                  <a:gd name="connsiteY13" fmla="*/ 318756 h 400050"/>
                  <a:gd name="connsiteX14" fmla="*/ 224446 w 533400"/>
                  <a:gd name="connsiteY14" fmla="*/ 318756 h 400050"/>
                  <a:gd name="connsiteX15" fmla="*/ 224446 w 533400"/>
                  <a:gd name="connsiteY15" fmla="*/ 318756 h 400050"/>
                  <a:gd name="connsiteX16" fmla="*/ 162533 w 533400"/>
                  <a:gd name="connsiteY16" fmla="*/ 257796 h 400050"/>
                  <a:gd name="connsiteX17" fmla="*/ 160628 w 533400"/>
                  <a:gd name="connsiteY17" fmla="*/ 255891 h 400050"/>
                  <a:gd name="connsiteX18" fmla="*/ 120623 w 533400"/>
                  <a:gd name="connsiteY18" fmla="*/ 259701 h 400050"/>
                  <a:gd name="connsiteX19" fmla="*/ 120623 w 533400"/>
                  <a:gd name="connsiteY19" fmla="*/ 259701 h 400050"/>
                  <a:gd name="connsiteX20" fmla="*/ 32993 w 533400"/>
                  <a:gd name="connsiteY20" fmla="*/ 366381 h 400050"/>
                  <a:gd name="connsiteX21" fmla="*/ 31088 w 533400"/>
                  <a:gd name="connsiteY21" fmla="*/ 372096 h 400050"/>
                  <a:gd name="connsiteX22" fmla="*/ 40613 w 533400"/>
                  <a:gd name="connsiteY22" fmla="*/ 381621 h 400050"/>
                  <a:gd name="connsiteX23" fmla="*/ 40613 w 533400"/>
                  <a:gd name="connsiteY23" fmla="*/ 381621 h 400050"/>
                  <a:gd name="connsiteX24" fmla="*/ 497813 w 533400"/>
                  <a:gd name="connsiteY24" fmla="*/ 381621 h 400050"/>
                  <a:gd name="connsiteX25" fmla="*/ 503528 w 533400"/>
                  <a:gd name="connsiteY25" fmla="*/ 379716 h 400050"/>
                  <a:gd name="connsiteX26" fmla="*/ 506386 w 533400"/>
                  <a:gd name="connsiteY26" fmla="*/ 366381 h 400050"/>
                  <a:gd name="connsiteX27" fmla="*/ 506386 w 533400"/>
                  <a:gd name="connsiteY27" fmla="*/ 366381 h 400050"/>
                  <a:gd name="connsiteX28" fmla="*/ 398753 w 533400"/>
                  <a:gd name="connsiteY28" fmla="*/ 205409 h 400050"/>
                  <a:gd name="connsiteX29" fmla="*/ 391133 w 533400"/>
                  <a:gd name="connsiteY29" fmla="*/ 198741 h 400050"/>
                  <a:gd name="connsiteX30" fmla="*/ 95858 w 533400"/>
                  <a:gd name="connsiteY30" fmla="*/ 57771 h 400050"/>
                  <a:gd name="connsiteX31" fmla="*/ 57758 w 533400"/>
                  <a:gd name="connsiteY31" fmla="*/ 95871 h 400050"/>
                  <a:gd name="connsiteX32" fmla="*/ 95858 w 533400"/>
                  <a:gd name="connsiteY32" fmla="*/ 133971 h 400050"/>
                  <a:gd name="connsiteX33" fmla="*/ 133958 w 533400"/>
                  <a:gd name="connsiteY33" fmla="*/ 95871 h 400050"/>
                  <a:gd name="connsiteX34" fmla="*/ 95858 w 533400"/>
                  <a:gd name="connsiteY34" fmla="*/ 57771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33400" h="400050">
                    <a:moveTo>
                      <a:pt x="505433" y="621"/>
                    </a:moveTo>
                    <a:cubicBezTo>
                      <a:pt x="521626" y="621"/>
                      <a:pt x="534008" y="13004"/>
                      <a:pt x="534008" y="29196"/>
                    </a:cubicBezTo>
                    <a:lnTo>
                      <a:pt x="534008" y="372096"/>
                    </a:lnTo>
                    <a:cubicBezTo>
                      <a:pt x="534008" y="388289"/>
                      <a:pt x="521626" y="400671"/>
                      <a:pt x="505433" y="400671"/>
                    </a:cubicBezTo>
                    <a:lnTo>
                      <a:pt x="29183" y="400671"/>
                    </a:lnTo>
                    <a:cubicBezTo>
                      <a:pt x="12990" y="400671"/>
                      <a:pt x="608" y="388289"/>
                      <a:pt x="608" y="372096"/>
                    </a:cubicBezTo>
                    <a:lnTo>
                      <a:pt x="608" y="29196"/>
                    </a:lnTo>
                    <a:cubicBezTo>
                      <a:pt x="608" y="13004"/>
                      <a:pt x="12990" y="621"/>
                      <a:pt x="29183" y="621"/>
                    </a:cubicBezTo>
                    <a:lnTo>
                      <a:pt x="505433" y="621"/>
                    </a:lnTo>
                    <a:close/>
                    <a:moveTo>
                      <a:pt x="391133" y="198741"/>
                    </a:moveTo>
                    <a:cubicBezTo>
                      <a:pt x="378751" y="189216"/>
                      <a:pt x="360653" y="192074"/>
                      <a:pt x="351128" y="204456"/>
                    </a:cubicBezTo>
                    <a:lnTo>
                      <a:pt x="351128" y="204456"/>
                    </a:lnTo>
                    <a:lnTo>
                      <a:pt x="267308" y="315899"/>
                    </a:lnTo>
                    <a:cubicBezTo>
                      <a:pt x="266355" y="316851"/>
                      <a:pt x="265403" y="317804"/>
                      <a:pt x="264451" y="318756"/>
                    </a:cubicBezTo>
                    <a:cubicBezTo>
                      <a:pt x="253021" y="330186"/>
                      <a:pt x="234923" y="330186"/>
                      <a:pt x="224446" y="318756"/>
                    </a:cubicBezTo>
                    <a:lnTo>
                      <a:pt x="224446" y="318756"/>
                    </a:lnTo>
                    <a:lnTo>
                      <a:pt x="162533" y="257796"/>
                    </a:lnTo>
                    <a:cubicBezTo>
                      <a:pt x="161580" y="256844"/>
                      <a:pt x="161580" y="256844"/>
                      <a:pt x="160628" y="255891"/>
                    </a:cubicBezTo>
                    <a:cubicBezTo>
                      <a:pt x="148246" y="245414"/>
                      <a:pt x="130148" y="247319"/>
                      <a:pt x="120623" y="259701"/>
                    </a:cubicBezTo>
                    <a:lnTo>
                      <a:pt x="120623" y="259701"/>
                    </a:lnTo>
                    <a:lnTo>
                      <a:pt x="32993" y="366381"/>
                    </a:lnTo>
                    <a:cubicBezTo>
                      <a:pt x="32040" y="368286"/>
                      <a:pt x="31088" y="370191"/>
                      <a:pt x="31088" y="372096"/>
                    </a:cubicBezTo>
                    <a:cubicBezTo>
                      <a:pt x="31088" y="377811"/>
                      <a:pt x="34898" y="381621"/>
                      <a:pt x="40613" y="381621"/>
                    </a:cubicBezTo>
                    <a:lnTo>
                      <a:pt x="40613" y="381621"/>
                    </a:lnTo>
                    <a:lnTo>
                      <a:pt x="497813" y="381621"/>
                    </a:lnTo>
                    <a:cubicBezTo>
                      <a:pt x="499718" y="381621"/>
                      <a:pt x="501623" y="380669"/>
                      <a:pt x="503528" y="379716"/>
                    </a:cubicBezTo>
                    <a:cubicBezTo>
                      <a:pt x="508290" y="376859"/>
                      <a:pt x="509243" y="371144"/>
                      <a:pt x="506386" y="366381"/>
                    </a:cubicBezTo>
                    <a:lnTo>
                      <a:pt x="506386" y="366381"/>
                    </a:lnTo>
                    <a:lnTo>
                      <a:pt x="398753" y="205409"/>
                    </a:lnTo>
                    <a:cubicBezTo>
                      <a:pt x="395896" y="202551"/>
                      <a:pt x="393990" y="200646"/>
                      <a:pt x="391133" y="198741"/>
                    </a:cubicBezTo>
                    <a:close/>
                    <a:moveTo>
                      <a:pt x="95858" y="57771"/>
                    </a:moveTo>
                    <a:cubicBezTo>
                      <a:pt x="74903" y="57771"/>
                      <a:pt x="57758" y="74916"/>
                      <a:pt x="57758" y="95871"/>
                    </a:cubicBezTo>
                    <a:cubicBezTo>
                      <a:pt x="57758" y="116826"/>
                      <a:pt x="74903" y="133971"/>
                      <a:pt x="95858" y="133971"/>
                    </a:cubicBezTo>
                    <a:cubicBezTo>
                      <a:pt x="116813" y="133971"/>
                      <a:pt x="133958" y="116826"/>
                      <a:pt x="133958" y="95871"/>
                    </a:cubicBezTo>
                    <a:cubicBezTo>
                      <a:pt x="133958" y="74916"/>
                      <a:pt x="116813" y="57771"/>
                      <a:pt x="95858" y="57771"/>
                    </a:cubicBezTo>
                    <a:close/>
                  </a:path>
                </a:pathLst>
              </a:custGeom>
              <a:solidFill>
                <a:srgbClr val="FFFFFF"/>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grpSp>
        <p:grpSp>
          <p:nvGrpSpPr>
            <p:cNvPr id="49" name="组合 48"/>
            <p:cNvGrpSpPr/>
            <p:nvPr/>
          </p:nvGrpSpPr>
          <p:grpSpPr>
            <a:xfrm>
              <a:off x="8686802" y="3459397"/>
              <a:ext cx="2476498" cy="2601224"/>
              <a:chOff x="8686802" y="3459397"/>
              <a:chExt cx="2476498" cy="2601224"/>
            </a:xfrm>
          </p:grpSpPr>
          <p:sp>
            <p:nvSpPr>
              <p:cNvPr id="14" name="文本框 13"/>
              <p:cNvSpPr txBox="1">
                <a:spLocks noChangeAspect="1"/>
              </p:cNvSpPr>
              <p:nvPr/>
            </p:nvSpPr>
            <p:spPr>
              <a:xfrm>
                <a:off x="9661401" y="3459397"/>
                <a:ext cx="540000" cy="540000"/>
              </a:xfrm>
              <a:prstGeom prst="roundRect">
                <a:avLst>
                  <a:gd name="adj" fmla="val 50000"/>
                </a:avLst>
              </a:prstGeom>
              <a:solidFill>
                <a:schemeClr val="accent2"/>
              </a:solidFill>
            </p:spPr>
            <p:txBody>
              <a:bodyPr wrap="square" lIns="108000" tIns="108000" rIns="108000" bIns="108000" rtlCol="0" anchor="ctr" anchorCtr="0">
                <a:normAutofit fontScale="25000" lnSpcReduction="20000"/>
              </a:bodyPr>
              <a:lstStyle/>
              <a:p>
                <a:pPr algn="ctr">
                  <a:lnSpc>
                    <a:spcPct val="120000"/>
                  </a:lnSpc>
                </a:pPr>
                <a:r>
                  <a:rPr kumimoji="1" lang="fr-FR" altLang="zh-CN" sz="1200">
                    <a:noFill/>
                    <a:latin typeface="Calibri" pitchFamily="34" charset="0"/>
                    <a:ea typeface="宋体" pitchFamily="2" charset="-122"/>
                  </a:rPr>
                  <a:t>Et dolor et tempor sea takimata iriure tation zzril accusam.</a:t>
                </a:r>
                <a:endParaRPr kumimoji="1" lang="zh-CN" altLang="en-US" sz="1200" dirty="0">
                  <a:noFill/>
                  <a:latin typeface="Calibri" pitchFamily="34" charset="0"/>
                  <a:ea typeface="宋体" pitchFamily="2" charset="-122"/>
                </a:endParaRPr>
              </a:p>
            </p:txBody>
          </p:sp>
          <p:sp>
            <p:nvSpPr>
              <p:cNvPr id="10" name="矩形: 圆角 9"/>
              <p:cNvSpPr/>
              <p:nvPr/>
            </p:nvSpPr>
            <p:spPr>
              <a:xfrm>
                <a:off x="8686802" y="3727799"/>
                <a:ext cx="2476498" cy="2332822"/>
              </a:xfrm>
              <a:prstGeom prst="roundRect">
                <a:avLst>
                  <a:gd name="adj" fmla="val 8192"/>
                </a:avLst>
              </a:prstGeom>
              <a:solidFill>
                <a:schemeClr val="accent2">
                  <a:alpha val="15000"/>
                </a:schemeClr>
              </a:solidFill>
              <a:ln w="762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p>
            </p:txBody>
          </p:sp>
          <p:sp>
            <p:nvSpPr>
              <p:cNvPr id="11" name="文本框 10"/>
              <p:cNvSpPr txBox="1"/>
              <p:nvPr/>
            </p:nvSpPr>
            <p:spPr>
              <a:xfrm>
                <a:off x="8813802" y="4980978"/>
                <a:ext cx="2222498" cy="949922"/>
              </a:xfrm>
              <a:prstGeom prst="rect">
                <a:avLst/>
              </a:prstGeom>
              <a:noFill/>
            </p:spPr>
            <p:txBody>
              <a:bodyPr wrap="square" lIns="90000" tIns="46800" rIns="90000" bIns="46800" anchor="t" anchorCtr="0">
                <a:normAutofit/>
              </a:bodyPr>
              <a:lstStyle/>
              <a:p>
                <a:pPr algn="ctr">
                  <a:lnSpc>
                    <a:spcPct val="120000"/>
                  </a:lnSpc>
                </a:pPr>
                <a:r>
                  <a:rPr kumimoji="1" lang="pt-BR" altLang="zh-CN" sz="1200">
                    <a:latin typeface="Calibri" pitchFamily="34" charset="0"/>
                    <a:ea typeface="宋体" pitchFamily="2" charset="-122"/>
                  </a:rPr>
                  <a:t>Invidunt lorem ipsum dolor elitr lorem ipsum dolor vero.</a:t>
                </a:r>
                <a:endParaRPr kumimoji="1" lang="en-US" altLang="zh-CN" sz="1200" dirty="0">
                  <a:latin typeface="Calibri" pitchFamily="34" charset="0"/>
                  <a:ea typeface="宋体" pitchFamily="2" charset="-122"/>
                </a:endParaRPr>
              </a:p>
            </p:txBody>
          </p:sp>
          <p:sp>
            <p:nvSpPr>
              <p:cNvPr id="12" name="矩形 11"/>
              <p:cNvSpPr/>
              <p:nvPr/>
            </p:nvSpPr>
            <p:spPr>
              <a:xfrm>
                <a:off x="8813802" y="4133041"/>
                <a:ext cx="2222498" cy="746258"/>
              </a:xfrm>
              <a:prstGeom prst="rect">
                <a:avLst/>
              </a:prstGeom>
            </p:spPr>
            <p:txBody>
              <a:bodyPr wrap="square" lIns="90000" tIns="46800" rIns="90000" bIns="46800" anchor="b" anchorCtr="1">
                <a:normAutofit/>
              </a:bodyPr>
              <a:lstStyle/>
              <a:p>
                <a:pPr algn="ctr" defTabSz="914400">
                  <a:spcBef>
                    <a:spcPct val="0"/>
                  </a:spcBef>
                  <a:defRPr/>
                </a:pPr>
                <a:r>
                  <a:rPr lang="en-US" altLang="zh-CN" b="1">
                    <a:latin typeface="Calibri" pitchFamily="34" charset="0"/>
                    <a:ea typeface="宋体" pitchFamily="2" charset="-122"/>
                  </a:rPr>
                  <a:t>Click to add text</a:t>
                </a:r>
                <a:endParaRPr lang="zh-CN" altLang="en-US" b="1" dirty="0">
                  <a:latin typeface="Calibri" pitchFamily="34" charset="0"/>
                  <a:ea typeface="宋体" pitchFamily="2" charset="-122"/>
                </a:endParaRPr>
              </a:p>
            </p:txBody>
          </p:sp>
          <p:sp>
            <p:nvSpPr>
              <p:cNvPr id="15" name="任意多边形: 形状 14"/>
              <p:cNvSpPr/>
              <p:nvPr/>
            </p:nvSpPr>
            <p:spPr>
              <a:xfrm>
                <a:off x="9805552" y="3594398"/>
                <a:ext cx="251698" cy="269998"/>
              </a:xfrm>
              <a:custGeom>
                <a:avLst/>
                <a:gdLst>
                  <a:gd name="connsiteX0" fmla="*/ 8356 w 487477"/>
                  <a:gd name="connsiteY0" fmla="*/ 512114 h 522922"/>
                  <a:gd name="connsiteX1" fmla="*/ 8356 w 487477"/>
                  <a:gd name="connsiteY1" fmla="*/ 512114 h 522922"/>
                  <a:gd name="connsiteX2" fmla="*/ 8356 w 487477"/>
                  <a:gd name="connsiteY2" fmla="*/ 512114 h 522922"/>
                  <a:gd name="connsiteX3" fmla="*/ 7404 w 487477"/>
                  <a:gd name="connsiteY3" fmla="*/ 511161 h 522922"/>
                  <a:gd name="connsiteX4" fmla="*/ 5499 w 487477"/>
                  <a:gd name="connsiteY4" fmla="*/ 508303 h 522922"/>
                  <a:gd name="connsiteX5" fmla="*/ 5499 w 487477"/>
                  <a:gd name="connsiteY5" fmla="*/ 508303 h 522922"/>
                  <a:gd name="connsiteX6" fmla="*/ 5499 w 487477"/>
                  <a:gd name="connsiteY6" fmla="*/ 507351 h 522922"/>
                  <a:gd name="connsiteX7" fmla="*/ 4546 w 487477"/>
                  <a:gd name="connsiteY7" fmla="*/ 505446 h 522922"/>
                  <a:gd name="connsiteX8" fmla="*/ 3593 w 487477"/>
                  <a:gd name="connsiteY8" fmla="*/ 503541 h 522922"/>
                  <a:gd name="connsiteX9" fmla="*/ 3593 w 487477"/>
                  <a:gd name="connsiteY9" fmla="*/ 503541 h 522922"/>
                  <a:gd name="connsiteX10" fmla="*/ 3593 w 487477"/>
                  <a:gd name="connsiteY10" fmla="*/ 503541 h 522922"/>
                  <a:gd name="connsiteX11" fmla="*/ 3593 w 487477"/>
                  <a:gd name="connsiteY11" fmla="*/ 503541 h 522922"/>
                  <a:gd name="connsiteX12" fmla="*/ 2641 w 487477"/>
                  <a:gd name="connsiteY12" fmla="*/ 501636 h 522922"/>
                  <a:gd name="connsiteX13" fmla="*/ 2641 w 487477"/>
                  <a:gd name="connsiteY13" fmla="*/ 500684 h 522922"/>
                  <a:gd name="connsiteX14" fmla="*/ 1689 w 487477"/>
                  <a:gd name="connsiteY14" fmla="*/ 498778 h 522922"/>
                  <a:gd name="connsiteX15" fmla="*/ 736 w 487477"/>
                  <a:gd name="connsiteY15" fmla="*/ 494968 h 522922"/>
                  <a:gd name="connsiteX16" fmla="*/ 736 w 487477"/>
                  <a:gd name="connsiteY16" fmla="*/ 492111 h 522922"/>
                  <a:gd name="connsiteX17" fmla="*/ 736 w 487477"/>
                  <a:gd name="connsiteY17" fmla="*/ 485443 h 522922"/>
                  <a:gd name="connsiteX18" fmla="*/ 5499 w 487477"/>
                  <a:gd name="connsiteY18" fmla="*/ 467346 h 522922"/>
                  <a:gd name="connsiteX19" fmla="*/ 155041 w 487477"/>
                  <a:gd name="connsiteY19" fmla="*/ 151116 h 522922"/>
                  <a:gd name="connsiteX20" fmla="*/ 158851 w 487477"/>
                  <a:gd name="connsiteY20" fmla="*/ 134924 h 522922"/>
                  <a:gd name="connsiteX21" fmla="*/ 158851 w 487477"/>
                  <a:gd name="connsiteY21" fmla="*/ 19671 h 522922"/>
                  <a:gd name="connsiteX22" fmla="*/ 120751 w 487477"/>
                  <a:gd name="connsiteY22" fmla="*/ 19671 h 522922"/>
                  <a:gd name="connsiteX23" fmla="*/ 120751 w 487477"/>
                  <a:gd name="connsiteY23" fmla="*/ 621 h 522922"/>
                  <a:gd name="connsiteX24" fmla="*/ 368401 w 487477"/>
                  <a:gd name="connsiteY24" fmla="*/ 621 h 522922"/>
                  <a:gd name="connsiteX25" fmla="*/ 368401 w 487477"/>
                  <a:gd name="connsiteY25" fmla="*/ 19671 h 522922"/>
                  <a:gd name="connsiteX26" fmla="*/ 330301 w 487477"/>
                  <a:gd name="connsiteY26" fmla="*/ 19671 h 522922"/>
                  <a:gd name="connsiteX27" fmla="*/ 330301 w 487477"/>
                  <a:gd name="connsiteY27" fmla="*/ 134924 h 522922"/>
                  <a:gd name="connsiteX28" fmla="*/ 334111 w 487477"/>
                  <a:gd name="connsiteY28" fmla="*/ 151116 h 522922"/>
                  <a:gd name="connsiteX29" fmla="*/ 483654 w 487477"/>
                  <a:gd name="connsiteY29" fmla="*/ 467346 h 522922"/>
                  <a:gd name="connsiteX30" fmla="*/ 485558 w 487477"/>
                  <a:gd name="connsiteY30" fmla="*/ 504493 h 522922"/>
                  <a:gd name="connsiteX31" fmla="*/ 485558 w 487477"/>
                  <a:gd name="connsiteY31" fmla="*/ 504493 h 522922"/>
                  <a:gd name="connsiteX32" fmla="*/ 484606 w 487477"/>
                  <a:gd name="connsiteY32" fmla="*/ 506399 h 522922"/>
                  <a:gd name="connsiteX33" fmla="*/ 459841 w 487477"/>
                  <a:gd name="connsiteY33" fmla="*/ 523543 h 522922"/>
                  <a:gd name="connsiteX34" fmla="*/ 457936 w 487477"/>
                  <a:gd name="connsiteY34" fmla="*/ 523543 h 522922"/>
                  <a:gd name="connsiteX35" fmla="*/ 32168 w 487477"/>
                  <a:gd name="connsiteY35" fmla="*/ 523543 h 522922"/>
                  <a:gd name="connsiteX36" fmla="*/ 30264 w 487477"/>
                  <a:gd name="connsiteY36" fmla="*/ 523543 h 522922"/>
                  <a:gd name="connsiteX37" fmla="*/ 27406 w 487477"/>
                  <a:gd name="connsiteY37" fmla="*/ 523543 h 522922"/>
                  <a:gd name="connsiteX38" fmla="*/ 23596 w 487477"/>
                  <a:gd name="connsiteY38" fmla="*/ 522591 h 522922"/>
                  <a:gd name="connsiteX39" fmla="*/ 23596 w 487477"/>
                  <a:gd name="connsiteY39" fmla="*/ 522591 h 522922"/>
                  <a:gd name="connsiteX40" fmla="*/ 17881 w 487477"/>
                  <a:gd name="connsiteY40" fmla="*/ 520686 h 522922"/>
                  <a:gd name="connsiteX41" fmla="*/ 15976 w 487477"/>
                  <a:gd name="connsiteY41" fmla="*/ 519734 h 522922"/>
                  <a:gd name="connsiteX42" fmla="*/ 15024 w 487477"/>
                  <a:gd name="connsiteY42" fmla="*/ 518781 h 522922"/>
                  <a:gd name="connsiteX43" fmla="*/ 10261 w 487477"/>
                  <a:gd name="connsiteY43" fmla="*/ 514971 h 522922"/>
                  <a:gd name="connsiteX44" fmla="*/ 8356 w 487477"/>
                  <a:gd name="connsiteY44" fmla="*/ 512114 h 522922"/>
                  <a:gd name="connsiteX45" fmla="*/ 8356 w 487477"/>
                  <a:gd name="connsiteY45" fmla="*/ 512114 h 522922"/>
                  <a:gd name="connsiteX46" fmla="*/ 255054 w 487477"/>
                  <a:gd name="connsiteY46" fmla="*/ 402576 h 522922"/>
                  <a:gd name="connsiteX47" fmla="*/ 252196 w 487477"/>
                  <a:gd name="connsiteY47" fmla="*/ 404481 h 522922"/>
                  <a:gd name="connsiteX48" fmla="*/ 246481 w 487477"/>
                  <a:gd name="connsiteY48" fmla="*/ 408291 h 522922"/>
                  <a:gd name="connsiteX49" fmla="*/ 55029 w 487477"/>
                  <a:gd name="connsiteY49" fmla="*/ 414959 h 522922"/>
                  <a:gd name="connsiteX50" fmla="*/ 51218 w 487477"/>
                  <a:gd name="connsiteY50" fmla="*/ 413053 h 522922"/>
                  <a:gd name="connsiteX51" fmla="*/ 22643 w 487477"/>
                  <a:gd name="connsiteY51" fmla="*/ 474014 h 522922"/>
                  <a:gd name="connsiteX52" fmla="*/ 21691 w 487477"/>
                  <a:gd name="connsiteY52" fmla="*/ 475918 h 522922"/>
                  <a:gd name="connsiteX53" fmla="*/ 21691 w 487477"/>
                  <a:gd name="connsiteY53" fmla="*/ 495921 h 522922"/>
                  <a:gd name="connsiteX54" fmla="*/ 29311 w 487477"/>
                  <a:gd name="connsiteY54" fmla="*/ 502589 h 522922"/>
                  <a:gd name="connsiteX55" fmla="*/ 30264 w 487477"/>
                  <a:gd name="connsiteY55" fmla="*/ 502589 h 522922"/>
                  <a:gd name="connsiteX56" fmla="*/ 31216 w 487477"/>
                  <a:gd name="connsiteY56" fmla="*/ 502589 h 522922"/>
                  <a:gd name="connsiteX57" fmla="*/ 456983 w 487477"/>
                  <a:gd name="connsiteY57" fmla="*/ 502589 h 522922"/>
                  <a:gd name="connsiteX58" fmla="*/ 457936 w 487477"/>
                  <a:gd name="connsiteY58" fmla="*/ 502589 h 522922"/>
                  <a:gd name="connsiteX59" fmla="*/ 466508 w 487477"/>
                  <a:gd name="connsiteY59" fmla="*/ 495921 h 522922"/>
                  <a:gd name="connsiteX60" fmla="*/ 467461 w 487477"/>
                  <a:gd name="connsiteY60" fmla="*/ 477824 h 522922"/>
                  <a:gd name="connsiteX61" fmla="*/ 466508 w 487477"/>
                  <a:gd name="connsiteY61" fmla="*/ 475918 h 522922"/>
                  <a:gd name="connsiteX62" fmla="*/ 465556 w 487477"/>
                  <a:gd name="connsiteY62" fmla="*/ 474014 h 522922"/>
                  <a:gd name="connsiteX63" fmla="*/ 423646 w 487477"/>
                  <a:gd name="connsiteY63" fmla="*/ 385431 h 522922"/>
                  <a:gd name="connsiteX64" fmla="*/ 255054 w 487477"/>
                  <a:gd name="connsiteY64" fmla="*/ 402576 h 522922"/>
                  <a:gd name="connsiteX65" fmla="*/ 305536 w 487477"/>
                  <a:gd name="connsiteY65" fmla="*/ 255891 h 522922"/>
                  <a:gd name="connsiteX66" fmla="*/ 272199 w 487477"/>
                  <a:gd name="connsiteY66" fmla="*/ 289228 h 522922"/>
                  <a:gd name="connsiteX67" fmla="*/ 305536 w 487477"/>
                  <a:gd name="connsiteY67" fmla="*/ 322566 h 522922"/>
                  <a:gd name="connsiteX68" fmla="*/ 338874 w 487477"/>
                  <a:gd name="connsiteY68" fmla="*/ 289228 h 522922"/>
                  <a:gd name="connsiteX69" fmla="*/ 305536 w 487477"/>
                  <a:gd name="connsiteY69" fmla="*/ 255891 h 52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487477" h="522922">
                    <a:moveTo>
                      <a:pt x="8356" y="512114"/>
                    </a:moveTo>
                    <a:lnTo>
                      <a:pt x="8356" y="512114"/>
                    </a:lnTo>
                    <a:lnTo>
                      <a:pt x="8356" y="512114"/>
                    </a:lnTo>
                    <a:lnTo>
                      <a:pt x="7404" y="511161"/>
                    </a:lnTo>
                    <a:cubicBezTo>
                      <a:pt x="6451" y="510209"/>
                      <a:pt x="6451" y="509256"/>
                      <a:pt x="5499" y="508303"/>
                    </a:cubicBezTo>
                    <a:lnTo>
                      <a:pt x="5499" y="508303"/>
                    </a:lnTo>
                    <a:lnTo>
                      <a:pt x="5499" y="507351"/>
                    </a:lnTo>
                    <a:lnTo>
                      <a:pt x="4546" y="505446"/>
                    </a:lnTo>
                    <a:lnTo>
                      <a:pt x="3593" y="503541"/>
                    </a:lnTo>
                    <a:lnTo>
                      <a:pt x="3593" y="503541"/>
                    </a:lnTo>
                    <a:lnTo>
                      <a:pt x="3593" y="503541"/>
                    </a:lnTo>
                    <a:lnTo>
                      <a:pt x="3593" y="503541"/>
                    </a:lnTo>
                    <a:lnTo>
                      <a:pt x="2641" y="501636"/>
                    </a:lnTo>
                    <a:cubicBezTo>
                      <a:pt x="2641" y="501636"/>
                      <a:pt x="2641" y="500684"/>
                      <a:pt x="2641" y="500684"/>
                    </a:cubicBezTo>
                    <a:cubicBezTo>
                      <a:pt x="2641" y="499731"/>
                      <a:pt x="2641" y="499731"/>
                      <a:pt x="1689" y="498778"/>
                    </a:cubicBezTo>
                    <a:cubicBezTo>
                      <a:pt x="1689" y="497826"/>
                      <a:pt x="736" y="495921"/>
                      <a:pt x="736" y="494968"/>
                    </a:cubicBezTo>
                    <a:lnTo>
                      <a:pt x="736" y="492111"/>
                    </a:lnTo>
                    <a:cubicBezTo>
                      <a:pt x="736" y="490206"/>
                      <a:pt x="736" y="487349"/>
                      <a:pt x="736" y="485443"/>
                    </a:cubicBezTo>
                    <a:cubicBezTo>
                      <a:pt x="736" y="478776"/>
                      <a:pt x="2641" y="473061"/>
                      <a:pt x="5499" y="467346"/>
                    </a:cubicBezTo>
                    <a:lnTo>
                      <a:pt x="155041" y="151116"/>
                    </a:lnTo>
                    <a:cubicBezTo>
                      <a:pt x="157899" y="146353"/>
                      <a:pt x="158851" y="140639"/>
                      <a:pt x="158851" y="134924"/>
                    </a:cubicBezTo>
                    <a:lnTo>
                      <a:pt x="158851" y="19671"/>
                    </a:lnTo>
                    <a:lnTo>
                      <a:pt x="120751" y="19671"/>
                    </a:lnTo>
                    <a:lnTo>
                      <a:pt x="120751" y="621"/>
                    </a:lnTo>
                    <a:lnTo>
                      <a:pt x="368401" y="621"/>
                    </a:lnTo>
                    <a:lnTo>
                      <a:pt x="368401" y="19671"/>
                    </a:lnTo>
                    <a:lnTo>
                      <a:pt x="330301" y="19671"/>
                    </a:lnTo>
                    <a:lnTo>
                      <a:pt x="330301" y="134924"/>
                    </a:lnTo>
                    <a:cubicBezTo>
                      <a:pt x="330301" y="140639"/>
                      <a:pt x="331254" y="146353"/>
                      <a:pt x="334111" y="151116"/>
                    </a:cubicBezTo>
                    <a:lnTo>
                      <a:pt x="483654" y="467346"/>
                    </a:lnTo>
                    <a:cubicBezTo>
                      <a:pt x="489368" y="478776"/>
                      <a:pt x="489368" y="492111"/>
                      <a:pt x="485558" y="504493"/>
                    </a:cubicBezTo>
                    <a:lnTo>
                      <a:pt x="485558" y="504493"/>
                    </a:lnTo>
                    <a:lnTo>
                      <a:pt x="484606" y="506399"/>
                    </a:lnTo>
                    <a:cubicBezTo>
                      <a:pt x="479843" y="515924"/>
                      <a:pt x="470318" y="522591"/>
                      <a:pt x="459841" y="523543"/>
                    </a:cubicBezTo>
                    <a:lnTo>
                      <a:pt x="457936" y="523543"/>
                    </a:lnTo>
                    <a:lnTo>
                      <a:pt x="32168" y="523543"/>
                    </a:lnTo>
                    <a:lnTo>
                      <a:pt x="30264" y="523543"/>
                    </a:lnTo>
                    <a:cubicBezTo>
                      <a:pt x="29311" y="523543"/>
                      <a:pt x="28358" y="523543"/>
                      <a:pt x="27406" y="523543"/>
                    </a:cubicBezTo>
                    <a:cubicBezTo>
                      <a:pt x="26454" y="523543"/>
                      <a:pt x="24549" y="523543"/>
                      <a:pt x="23596" y="522591"/>
                    </a:cubicBezTo>
                    <a:lnTo>
                      <a:pt x="23596" y="522591"/>
                    </a:lnTo>
                    <a:cubicBezTo>
                      <a:pt x="21691" y="521639"/>
                      <a:pt x="19786" y="521639"/>
                      <a:pt x="17881" y="520686"/>
                    </a:cubicBezTo>
                    <a:lnTo>
                      <a:pt x="15976" y="519734"/>
                    </a:lnTo>
                    <a:cubicBezTo>
                      <a:pt x="15976" y="519734"/>
                      <a:pt x="15024" y="519734"/>
                      <a:pt x="15024" y="518781"/>
                    </a:cubicBezTo>
                    <a:cubicBezTo>
                      <a:pt x="13118" y="517828"/>
                      <a:pt x="11214" y="515924"/>
                      <a:pt x="10261" y="514971"/>
                    </a:cubicBezTo>
                    <a:lnTo>
                      <a:pt x="8356" y="512114"/>
                    </a:lnTo>
                    <a:lnTo>
                      <a:pt x="8356" y="512114"/>
                    </a:lnTo>
                    <a:close/>
                    <a:moveTo>
                      <a:pt x="255054" y="402576"/>
                    </a:moveTo>
                    <a:lnTo>
                      <a:pt x="252196" y="404481"/>
                    </a:lnTo>
                    <a:lnTo>
                      <a:pt x="246481" y="408291"/>
                    </a:lnTo>
                    <a:cubicBezTo>
                      <a:pt x="198856" y="439724"/>
                      <a:pt x="119799" y="440676"/>
                      <a:pt x="55029" y="414959"/>
                    </a:cubicBezTo>
                    <a:lnTo>
                      <a:pt x="51218" y="413053"/>
                    </a:lnTo>
                    <a:lnTo>
                      <a:pt x="22643" y="474014"/>
                    </a:lnTo>
                    <a:lnTo>
                      <a:pt x="21691" y="475918"/>
                    </a:lnTo>
                    <a:cubicBezTo>
                      <a:pt x="18833" y="482586"/>
                      <a:pt x="18833" y="490206"/>
                      <a:pt x="21691" y="495921"/>
                    </a:cubicBezTo>
                    <a:cubicBezTo>
                      <a:pt x="22643" y="498778"/>
                      <a:pt x="25501" y="501636"/>
                      <a:pt x="29311" y="502589"/>
                    </a:cubicBezTo>
                    <a:lnTo>
                      <a:pt x="30264" y="502589"/>
                    </a:lnTo>
                    <a:lnTo>
                      <a:pt x="31216" y="502589"/>
                    </a:lnTo>
                    <a:lnTo>
                      <a:pt x="456983" y="502589"/>
                    </a:lnTo>
                    <a:lnTo>
                      <a:pt x="457936" y="502589"/>
                    </a:lnTo>
                    <a:cubicBezTo>
                      <a:pt x="461746" y="502589"/>
                      <a:pt x="464604" y="499731"/>
                      <a:pt x="466508" y="495921"/>
                    </a:cubicBezTo>
                    <a:cubicBezTo>
                      <a:pt x="468414" y="490206"/>
                      <a:pt x="469366" y="483539"/>
                      <a:pt x="467461" y="477824"/>
                    </a:cubicBezTo>
                    <a:lnTo>
                      <a:pt x="466508" y="475918"/>
                    </a:lnTo>
                    <a:lnTo>
                      <a:pt x="465556" y="474014"/>
                    </a:lnTo>
                    <a:lnTo>
                      <a:pt x="423646" y="385431"/>
                    </a:lnTo>
                    <a:cubicBezTo>
                      <a:pt x="365543" y="372096"/>
                      <a:pt x="296011" y="376859"/>
                      <a:pt x="255054" y="402576"/>
                    </a:cubicBezTo>
                    <a:close/>
                    <a:moveTo>
                      <a:pt x="305536" y="255891"/>
                    </a:moveTo>
                    <a:cubicBezTo>
                      <a:pt x="287439" y="255891"/>
                      <a:pt x="272199" y="271131"/>
                      <a:pt x="272199" y="289228"/>
                    </a:cubicBezTo>
                    <a:cubicBezTo>
                      <a:pt x="272199" y="307326"/>
                      <a:pt x="287439" y="322566"/>
                      <a:pt x="305536" y="322566"/>
                    </a:cubicBezTo>
                    <a:cubicBezTo>
                      <a:pt x="323633" y="322566"/>
                      <a:pt x="338874" y="307326"/>
                      <a:pt x="338874" y="289228"/>
                    </a:cubicBezTo>
                    <a:cubicBezTo>
                      <a:pt x="338874" y="270178"/>
                      <a:pt x="323633" y="255891"/>
                      <a:pt x="305536" y="255891"/>
                    </a:cubicBezTo>
                    <a:close/>
                  </a:path>
                </a:pathLst>
              </a:custGeom>
              <a:solidFill>
                <a:srgbClr val="FFFFFF"/>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grpSp>
        <p:sp>
          <p:nvSpPr>
            <p:cNvPr id="34" name="矩形: 圆角 33"/>
            <p:cNvSpPr/>
            <p:nvPr/>
          </p:nvSpPr>
          <p:spPr>
            <a:xfrm>
              <a:off x="1977899" y="1348740"/>
              <a:ext cx="8223502" cy="1155812"/>
            </a:xfrm>
            <a:prstGeom prst="roundRect">
              <a:avLst/>
            </a:prstGeom>
            <a:solidFill>
              <a:schemeClr val="accent1">
                <a:alpha val="70000"/>
              </a:schemeClr>
            </a:solidFill>
            <a:ln w="508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a:bodyPr>
            <a:lstStyle/>
            <a:p>
              <a:pPr algn="ctr"/>
              <a:r>
                <a:rPr lang="en-US" altLang="zh-CN" sz="2400" b="1" dirty="0">
                  <a:solidFill>
                    <a:srgbClr val="FFFFFF"/>
                  </a:solidFill>
                  <a:latin typeface="Calibri" pitchFamily="34" charset="0"/>
                  <a:ea typeface="宋体" pitchFamily="2" charset="-122"/>
                </a:rPr>
                <a:t>Unified fonts make reading more fluent</a:t>
              </a:r>
              <a:endParaRPr lang="en-US" altLang="zh-CN" sz="2400" b="1" dirty="0">
                <a:solidFill>
                  <a:srgbClr val="FFFFFF"/>
                </a:solidFill>
                <a:latin typeface="Calibri" pitchFamily="34" charset="0"/>
                <a:ea typeface="宋体" pitchFamily="2" charset="-122"/>
              </a:endParaRPr>
            </a:p>
          </p:txBody>
        </p:sp>
      </p:gr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8" name="组合 67"/>
          <p:cNvGrpSpPr/>
          <p:nvPr/>
        </p:nvGrpSpPr>
        <p:grpSpPr>
          <a:xfrm>
            <a:off x="1057396" y="1372894"/>
            <a:ext cx="10064509" cy="4518615"/>
            <a:chOff x="1127051" y="1551948"/>
            <a:chExt cx="10064509" cy="4518614"/>
          </a:xfrm>
        </p:grpSpPr>
        <p:sp>
          <p:nvSpPr>
            <p:cNvPr id="10" name="矩形: 圆角 9"/>
            <p:cNvSpPr/>
            <p:nvPr/>
          </p:nvSpPr>
          <p:spPr>
            <a:xfrm>
              <a:off x="1859641" y="1551948"/>
              <a:ext cx="8460016" cy="901882"/>
            </a:xfrm>
            <a:prstGeom prst="roundRect">
              <a:avLst/>
            </a:prstGeom>
            <a:solidFill>
              <a:schemeClr val="accent2">
                <a:lumMod val="100000"/>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chorCtr="0">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kumimoji="1" lang="en-US" altLang="zh-CN" sz="2400" b="1" dirty="0">
                  <a:solidFill>
                    <a:schemeClr val="tx1"/>
                  </a:solidFill>
                  <a:latin typeface="Calibri" pitchFamily="34" charset="0"/>
                  <a:ea typeface="宋体" pitchFamily="2" charset="-122"/>
                </a:rPr>
                <a:t>Unified fonts make reading more fluent</a:t>
              </a:r>
              <a:endParaRPr kumimoji="1" lang="en-US" altLang="zh-CN" sz="2400" b="1" dirty="0">
                <a:solidFill>
                  <a:schemeClr val="tx1"/>
                </a:solidFill>
                <a:latin typeface="Calibri" pitchFamily="34" charset="0"/>
                <a:ea typeface="宋体" pitchFamily="2" charset="-122"/>
              </a:endParaRPr>
            </a:p>
          </p:txBody>
        </p:sp>
        <p:cxnSp>
          <p:nvCxnSpPr>
            <p:cNvPr id="11" name="直接箭头连接符 10"/>
            <p:cNvCxnSpPr/>
            <p:nvPr/>
          </p:nvCxnSpPr>
          <p:spPr>
            <a:xfrm>
              <a:off x="6089649" y="2453830"/>
              <a:ext cx="0" cy="721474"/>
            </a:xfrm>
            <a:prstGeom prst="straightConnector1">
              <a:avLst/>
            </a:prstGeom>
            <a:ln w="15875">
              <a:solidFill>
                <a:schemeClr val="accent2">
                  <a:lumMod val="100000"/>
                  <a:alpha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12" name="直接箭头连接符 11"/>
            <p:cNvCxnSpPr/>
            <p:nvPr/>
          </p:nvCxnSpPr>
          <p:spPr>
            <a:xfrm flipH="1">
              <a:off x="2469241" y="2814567"/>
              <a:ext cx="7240816" cy="0"/>
            </a:xfrm>
            <a:prstGeom prst="straightConnector1">
              <a:avLst/>
            </a:prstGeom>
            <a:ln w="15875">
              <a:solidFill>
                <a:schemeClr val="accent2">
                  <a:lumMod val="100000"/>
                  <a:alpha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13" name="直接箭头连接符 12"/>
            <p:cNvCxnSpPr/>
            <p:nvPr/>
          </p:nvCxnSpPr>
          <p:spPr>
            <a:xfrm>
              <a:off x="2478986" y="2814567"/>
              <a:ext cx="0" cy="360737"/>
            </a:xfrm>
            <a:prstGeom prst="straightConnector1">
              <a:avLst/>
            </a:prstGeom>
            <a:ln w="15875">
              <a:solidFill>
                <a:schemeClr val="accent2">
                  <a:lumMod val="100000"/>
                  <a:alpha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14" name="直接箭头连接符 13"/>
            <p:cNvCxnSpPr/>
            <p:nvPr/>
          </p:nvCxnSpPr>
          <p:spPr>
            <a:xfrm>
              <a:off x="9700312" y="2814567"/>
              <a:ext cx="0" cy="360737"/>
            </a:xfrm>
            <a:prstGeom prst="straightConnector1">
              <a:avLst/>
            </a:prstGeom>
            <a:ln w="15875">
              <a:solidFill>
                <a:schemeClr val="accent2">
                  <a:lumMod val="100000"/>
                  <a:alpha val="50000"/>
                </a:schemeClr>
              </a:solidFill>
              <a:tailEnd type="none"/>
            </a:ln>
          </p:spPr>
          <p:style>
            <a:lnRef idx="1">
              <a:schemeClr val="accent1"/>
            </a:lnRef>
            <a:fillRef idx="0">
              <a:schemeClr val="accent1"/>
            </a:fillRef>
            <a:effectRef idx="0">
              <a:schemeClr val="accent1"/>
            </a:effectRef>
            <a:fontRef idx="minor">
              <a:schemeClr val="tx1"/>
            </a:fontRef>
          </p:style>
        </p:cxnSp>
        <p:grpSp>
          <p:nvGrpSpPr>
            <p:cNvPr id="61" name="组合 60"/>
            <p:cNvGrpSpPr/>
            <p:nvPr/>
          </p:nvGrpSpPr>
          <p:grpSpPr>
            <a:xfrm>
              <a:off x="1127051" y="3175304"/>
              <a:ext cx="2833438" cy="1430031"/>
              <a:chOff x="1127051" y="3175304"/>
              <a:chExt cx="2833438" cy="1430031"/>
            </a:xfrm>
          </p:grpSpPr>
          <p:sp>
            <p:nvSpPr>
              <p:cNvPr id="25" name="任意多边形: 形状 24"/>
              <p:cNvSpPr/>
              <p:nvPr/>
            </p:nvSpPr>
            <p:spPr>
              <a:xfrm>
                <a:off x="1127051" y="3217247"/>
                <a:ext cx="331064" cy="327472"/>
              </a:xfrm>
              <a:custGeom>
                <a:avLst/>
                <a:gdLst>
                  <a:gd name="connsiteX0" fmla="*/ 193693 w 606956"/>
                  <a:gd name="connsiteY0" fmla="*/ 325823 h 600371"/>
                  <a:gd name="connsiteX1" fmla="*/ 201035 w 606956"/>
                  <a:gd name="connsiteY1" fmla="*/ 326490 h 600371"/>
                  <a:gd name="connsiteX2" fmla="*/ 303502 w 606956"/>
                  <a:gd name="connsiteY2" fmla="*/ 361267 h 600371"/>
                  <a:gd name="connsiteX3" fmla="*/ 405969 w 606956"/>
                  <a:gd name="connsiteY3" fmla="*/ 326490 h 600371"/>
                  <a:gd name="connsiteX4" fmla="*/ 413200 w 606956"/>
                  <a:gd name="connsiteY4" fmla="*/ 325823 h 600371"/>
                  <a:gd name="connsiteX5" fmla="*/ 519784 w 606956"/>
                  <a:gd name="connsiteY5" fmla="*/ 381266 h 600371"/>
                  <a:gd name="connsiteX6" fmla="*/ 535359 w 606956"/>
                  <a:gd name="connsiteY6" fmla="*/ 397710 h 600371"/>
                  <a:gd name="connsiteX7" fmla="*/ 604004 w 606956"/>
                  <a:gd name="connsiteY7" fmla="*/ 552150 h 600371"/>
                  <a:gd name="connsiteX8" fmla="*/ 601445 w 606956"/>
                  <a:gd name="connsiteY8" fmla="*/ 584816 h 600371"/>
                  <a:gd name="connsiteX9" fmla="*/ 572630 w 606956"/>
                  <a:gd name="connsiteY9" fmla="*/ 600371 h 600371"/>
                  <a:gd name="connsiteX10" fmla="*/ 34374 w 606956"/>
                  <a:gd name="connsiteY10" fmla="*/ 600371 h 600371"/>
                  <a:gd name="connsiteX11" fmla="*/ 5559 w 606956"/>
                  <a:gd name="connsiteY11" fmla="*/ 584816 h 600371"/>
                  <a:gd name="connsiteX12" fmla="*/ 3000 w 606956"/>
                  <a:gd name="connsiteY12" fmla="*/ 552150 h 600371"/>
                  <a:gd name="connsiteX13" fmla="*/ 71645 w 606956"/>
                  <a:gd name="connsiteY13" fmla="*/ 397710 h 600371"/>
                  <a:gd name="connsiteX14" fmla="*/ 87109 w 606956"/>
                  <a:gd name="connsiteY14" fmla="*/ 381266 h 600371"/>
                  <a:gd name="connsiteX15" fmla="*/ 303482 w 606956"/>
                  <a:gd name="connsiteY15" fmla="*/ 0 h 600371"/>
                  <a:gd name="connsiteX16" fmla="*/ 439532 w 606956"/>
                  <a:gd name="connsiteY16" fmla="*/ 158964 h 600371"/>
                  <a:gd name="connsiteX17" fmla="*/ 303482 w 606956"/>
                  <a:gd name="connsiteY17" fmla="*/ 318039 h 600371"/>
                  <a:gd name="connsiteX18" fmla="*/ 167432 w 606956"/>
                  <a:gd name="connsiteY18" fmla="*/ 158964 h 600371"/>
                  <a:gd name="connsiteX19" fmla="*/ 303482 w 606956"/>
                  <a:gd name="connsiteY19" fmla="*/ 0 h 600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06956" h="600371">
                    <a:moveTo>
                      <a:pt x="193693" y="325823"/>
                    </a:moveTo>
                    <a:cubicBezTo>
                      <a:pt x="196029" y="324601"/>
                      <a:pt x="198922" y="324823"/>
                      <a:pt x="201035" y="326490"/>
                    </a:cubicBezTo>
                    <a:cubicBezTo>
                      <a:pt x="231186" y="349156"/>
                      <a:pt x="266565" y="361267"/>
                      <a:pt x="303502" y="361267"/>
                    </a:cubicBezTo>
                    <a:cubicBezTo>
                      <a:pt x="340328" y="361267"/>
                      <a:pt x="375818" y="349156"/>
                      <a:pt x="405969" y="326490"/>
                    </a:cubicBezTo>
                    <a:cubicBezTo>
                      <a:pt x="408083" y="324823"/>
                      <a:pt x="410864" y="324601"/>
                      <a:pt x="413200" y="325823"/>
                    </a:cubicBezTo>
                    <a:lnTo>
                      <a:pt x="519784" y="381266"/>
                    </a:lnTo>
                    <a:cubicBezTo>
                      <a:pt x="526681" y="384822"/>
                      <a:pt x="532244" y="390599"/>
                      <a:pt x="535359" y="397710"/>
                    </a:cubicBezTo>
                    <a:lnTo>
                      <a:pt x="604004" y="552150"/>
                    </a:lnTo>
                    <a:cubicBezTo>
                      <a:pt x="608677" y="562817"/>
                      <a:pt x="607787" y="575039"/>
                      <a:pt x="601445" y="584816"/>
                    </a:cubicBezTo>
                    <a:cubicBezTo>
                      <a:pt x="594992" y="594483"/>
                      <a:pt x="584312" y="600371"/>
                      <a:pt x="572630" y="600371"/>
                    </a:cubicBezTo>
                    <a:lnTo>
                      <a:pt x="34374" y="600371"/>
                    </a:lnTo>
                    <a:cubicBezTo>
                      <a:pt x="22692" y="600371"/>
                      <a:pt x="11900" y="594594"/>
                      <a:pt x="5559" y="584816"/>
                    </a:cubicBezTo>
                    <a:cubicBezTo>
                      <a:pt x="-783" y="575039"/>
                      <a:pt x="-1784" y="562817"/>
                      <a:pt x="3000" y="552150"/>
                    </a:cubicBezTo>
                    <a:lnTo>
                      <a:pt x="71645" y="397710"/>
                    </a:lnTo>
                    <a:cubicBezTo>
                      <a:pt x="74760" y="390599"/>
                      <a:pt x="80323" y="384822"/>
                      <a:pt x="87109" y="381266"/>
                    </a:cubicBezTo>
                    <a:close/>
                    <a:moveTo>
                      <a:pt x="303482" y="0"/>
                    </a:moveTo>
                    <a:cubicBezTo>
                      <a:pt x="378571" y="0"/>
                      <a:pt x="439532" y="37214"/>
                      <a:pt x="439532" y="158964"/>
                    </a:cubicBezTo>
                    <a:cubicBezTo>
                      <a:pt x="439532" y="246833"/>
                      <a:pt x="378571" y="318039"/>
                      <a:pt x="303482" y="318039"/>
                    </a:cubicBezTo>
                    <a:cubicBezTo>
                      <a:pt x="228282" y="318039"/>
                      <a:pt x="167432" y="246833"/>
                      <a:pt x="167432" y="158964"/>
                    </a:cubicBezTo>
                    <a:cubicBezTo>
                      <a:pt x="167432" y="37214"/>
                      <a:pt x="228282" y="0"/>
                      <a:pt x="303482"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矩形: 圆角 25"/>
              <p:cNvSpPr/>
              <p:nvPr/>
            </p:nvSpPr>
            <p:spPr>
              <a:xfrm>
                <a:off x="1713451" y="3175304"/>
                <a:ext cx="2247038" cy="501345"/>
              </a:xfrm>
              <a:prstGeom prst="round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chorCtr="1">
                <a:normAutofit/>
              </a:bodyPr>
              <a:lstStyle/>
              <a:p>
                <a:pPr algn="ctr"/>
                <a:r>
                  <a:rPr lang="en-US" altLang="zh-CN" b="1">
                    <a:solidFill>
                      <a:srgbClr val="FFFFFF"/>
                    </a:solidFill>
                    <a:latin typeface="Calibri" pitchFamily="34" charset="0"/>
                    <a:ea typeface="宋体" pitchFamily="2" charset="-122"/>
                  </a:rPr>
                  <a:t>Click to add text</a:t>
                </a:r>
                <a:endParaRPr lang="zh-CN" altLang="en-US" b="1" dirty="0">
                  <a:solidFill>
                    <a:srgbClr val="FFFFFF"/>
                  </a:solidFill>
                  <a:latin typeface="Calibri" pitchFamily="34" charset="0"/>
                  <a:ea typeface="宋体" pitchFamily="2" charset="-122"/>
                </a:endParaRPr>
              </a:p>
            </p:txBody>
          </p:sp>
          <p:sp>
            <p:nvSpPr>
              <p:cNvPr id="47" name="矩形 46"/>
              <p:cNvSpPr/>
              <p:nvPr/>
            </p:nvSpPr>
            <p:spPr>
              <a:xfrm flipH="1">
                <a:off x="1728827" y="3738564"/>
                <a:ext cx="2231656" cy="8667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1">
                <a:normAutofit/>
              </a:bodyPr>
              <a:lstStyle/>
              <a:p>
                <a:pPr algn="ctr">
                  <a:lnSpc>
                    <a:spcPct val="120000"/>
                  </a:lnSpc>
                </a:pPr>
                <a:r>
                  <a:rPr kumimoji="1" lang="fr-FR" altLang="zh-CN" sz="1200" dirty="0">
                    <a:solidFill>
                      <a:schemeClr val="tx1"/>
                    </a:solidFill>
                    <a:latin typeface="Calibri" pitchFamily="34" charset="0"/>
                    <a:ea typeface="宋体" pitchFamily="2" charset="-122"/>
                  </a:rPr>
                  <a:t>Et elitr est ex dolores facilisis no autem et quis.</a:t>
                </a:r>
                <a:endParaRPr kumimoji="1" lang="en-US" altLang="zh-CN" sz="1200" dirty="0">
                  <a:solidFill>
                    <a:schemeClr val="tx1"/>
                  </a:solidFill>
                  <a:latin typeface="Calibri" pitchFamily="34" charset="0"/>
                  <a:ea typeface="宋体" pitchFamily="2" charset="-122"/>
                </a:endParaRPr>
              </a:p>
            </p:txBody>
          </p:sp>
        </p:grpSp>
        <p:grpSp>
          <p:nvGrpSpPr>
            <p:cNvPr id="64" name="组合 63"/>
            <p:cNvGrpSpPr/>
            <p:nvPr/>
          </p:nvGrpSpPr>
          <p:grpSpPr>
            <a:xfrm>
              <a:off x="1127051" y="4640531"/>
              <a:ext cx="2833438" cy="1430031"/>
              <a:chOff x="1127051" y="4640531"/>
              <a:chExt cx="2833438" cy="1430031"/>
            </a:xfrm>
          </p:grpSpPr>
          <p:sp>
            <p:nvSpPr>
              <p:cNvPr id="52" name="任意多边形: 形状 51"/>
              <p:cNvSpPr/>
              <p:nvPr/>
            </p:nvSpPr>
            <p:spPr>
              <a:xfrm>
                <a:off x="1127051" y="4682474"/>
                <a:ext cx="331064" cy="327472"/>
              </a:xfrm>
              <a:custGeom>
                <a:avLst/>
                <a:gdLst>
                  <a:gd name="connsiteX0" fmla="*/ 193693 w 606956"/>
                  <a:gd name="connsiteY0" fmla="*/ 325823 h 600371"/>
                  <a:gd name="connsiteX1" fmla="*/ 201035 w 606956"/>
                  <a:gd name="connsiteY1" fmla="*/ 326490 h 600371"/>
                  <a:gd name="connsiteX2" fmla="*/ 303502 w 606956"/>
                  <a:gd name="connsiteY2" fmla="*/ 361267 h 600371"/>
                  <a:gd name="connsiteX3" fmla="*/ 405969 w 606956"/>
                  <a:gd name="connsiteY3" fmla="*/ 326490 h 600371"/>
                  <a:gd name="connsiteX4" fmla="*/ 413200 w 606956"/>
                  <a:gd name="connsiteY4" fmla="*/ 325823 h 600371"/>
                  <a:gd name="connsiteX5" fmla="*/ 519784 w 606956"/>
                  <a:gd name="connsiteY5" fmla="*/ 381266 h 600371"/>
                  <a:gd name="connsiteX6" fmla="*/ 535359 w 606956"/>
                  <a:gd name="connsiteY6" fmla="*/ 397710 h 600371"/>
                  <a:gd name="connsiteX7" fmla="*/ 604004 w 606956"/>
                  <a:gd name="connsiteY7" fmla="*/ 552150 h 600371"/>
                  <a:gd name="connsiteX8" fmla="*/ 601445 w 606956"/>
                  <a:gd name="connsiteY8" fmla="*/ 584816 h 600371"/>
                  <a:gd name="connsiteX9" fmla="*/ 572630 w 606956"/>
                  <a:gd name="connsiteY9" fmla="*/ 600371 h 600371"/>
                  <a:gd name="connsiteX10" fmla="*/ 34374 w 606956"/>
                  <a:gd name="connsiteY10" fmla="*/ 600371 h 600371"/>
                  <a:gd name="connsiteX11" fmla="*/ 5559 w 606956"/>
                  <a:gd name="connsiteY11" fmla="*/ 584816 h 600371"/>
                  <a:gd name="connsiteX12" fmla="*/ 3000 w 606956"/>
                  <a:gd name="connsiteY12" fmla="*/ 552150 h 600371"/>
                  <a:gd name="connsiteX13" fmla="*/ 71645 w 606956"/>
                  <a:gd name="connsiteY13" fmla="*/ 397710 h 600371"/>
                  <a:gd name="connsiteX14" fmla="*/ 87109 w 606956"/>
                  <a:gd name="connsiteY14" fmla="*/ 381266 h 600371"/>
                  <a:gd name="connsiteX15" fmla="*/ 303482 w 606956"/>
                  <a:gd name="connsiteY15" fmla="*/ 0 h 600371"/>
                  <a:gd name="connsiteX16" fmla="*/ 439532 w 606956"/>
                  <a:gd name="connsiteY16" fmla="*/ 158964 h 600371"/>
                  <a:gd name="connsiteX17" fmla="*/ 303482 w 606956"/>
                  <a:gd name="connsiteY17" fmla="*/ 318039 h 600371"/>
                  <a:gd name="connsiteX18" fmla="*/ 167432 w 606956"/>
                  <a:gd name="connsiteY18" fmla="*/ 158964 h 600371"/>
                  <a:gd name="connsiteX19" fmla="*/ 303482 w 606956"/>
                  <a:gd name="connsiteY19" fmla="*/ 0 h 600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06956" h="600371">
                    <a:moveTo>
                      <a:pt x="193693" y="325823"/>
                    </a:moveTo>
                    <a:cubicBezTo>
                      <a:pt x="196029" y="324601"/>
                      <a:pt x="198922" y="324823"/>
                      <a:pt x="201035" y="326490"/>
                    </a:cubicBezTo>
                    <a:cubicBezTo>
                      <a:pt x="231186" y="349156"/>
                      <a:pt x="266565" y="361267"/>
                      <a:pt x="303502" y="361267"/>
                    </a:cubicBezTo>
                    <a:cubicBezTo>
                      <a:pt x="340328" y="361267"/>
                      <a:pt x="375818" y="349156"/>
                      <a:pt x="405969" y="326490"/>
                    </a:cubicBezTo>
                    <a:cubicBezTo>
                      <a:pt x="408083" y="324823"/>
                      <a:pt x="410864" y="324601"/>
                      <a:pt x="413200" y="325823"/>
                    </a:cubicBezTo>
                    <a:lnTo>
                      <a:pt x="519784" y="381266"/>
                    </a:lnTo>
                    <a:cubicBezTo>
                      <a:pt x="526681" y="384822"/>
                      <a:pt x="532244" y="390599"/>
                      <a:pt x="535359" y="397710"/>
                    </a:cubicBezTo>
                    <a:lnTo>
                      <a:pt x="604004" y="552150"/>
                    </a:lnTo>
                    <a:cubicBezTo>
                      <a:pt x="608677" y="562817"/>
                      <a:pt x="607787" y="575039"/>
                      <a:pt x="601445" y="584816"/>
                    </a:cubicBezTo>
                    <a:cubicBezTo>
                      <a:pt x="594992" y="594483"/>
                      <a:pt x="584312" y="600371"/>
                      <a:pt x="572630" y="600371"/>
                    </a:cubicBezTo>
                    <a:lnTo>
                      <a:pt x="34374" y="600371"/>
                    </a:lnTo>
                    <a:cubicBezTo>
                      <a:pt x="22692" y="600371"/>
                      <a:pt x="11900" y="594594"/>
                      <a:pt x="5559" y="584816"/>
                    </a:cubicBezTo>
                    <a:cubicBezTo>
                      <a:pt x="-783" y="575039"/>
                      <a:pt x="-1784" y="562817"/>
                      <a:pt x="3000" y="552150"/>
                    </a:cubicBezTo>
                    <a:lnTo>
                      <a:pt x="71645" y="397710"/>
                    </a:lnTo>
                    <a:cubicBezTo>
                      <a:pt x="74760" y="390599"/>
                      <a:pt x="80323" y="384822"/>
                      <a:pt x="87109" y="381266"/>
                    </a:cubicBezTo>
                    <a:close/>
                    <a:moveTo>
                      <a:pt x="303482" y="0"/>
                    </a:moveTo>
                    <a:cubicBezTo>
                      <a:pt x="378571" y="0"/>
                      <a:pt x="439532" y="37214"/>
                      <a:pt x="439532" y="158964"/>
                    </a:cubicBezTo>
                    <a:cubicBezTo>
                      <a:pt x="439532" y="246833"/>
                      <a:pt x="378571" y="318039"/>
                      <a:pt x="303482" y="318039"/>
                    </a:cubicBezTo>
                    <a:cubicBezTo>
                      <a:pt x="228282" y="318039"/>
                      <a:pt x="167432" y="246833"/>
                      <a:pt x="167432" y="158964"/>
                    </a:cubicBezTo>
                    <a:cubicBezTo>
                      <a:pt x="167432" y="37214"/>
                      <a:pt x="228282" y="0"/>
                      <a:pt x="303482"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矩形: 圆角 52"/>
              <p:cNvSpPr/>
              <p:nvPr/>
            </p:nvSpPr>
            <p:spPr>
              <a:xfrm>
                <a:off x="1713451" y="4640531"/>
                <a:ext cx="2247038" cy="501345"/>
              </a:xfrm>
              <a:prstGeom prst="round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chorCtr="1">
                <a:normAutofit/>
              </a:bodyPr>
              <a:lstStyle/>
              <a:p>
                <a:pPr algn="ctr"/>
                <a:r>
                  <a:rPr lang="en-US" altLang="zh-CN" b="1">
                    <a:solidFill>
                      <a:srgbClr val="FFFFFF"/>
                    </a:solidFill>
                    <a:latin typeface="Calibri" pitchFamily="34" charset="0"/>
                    <a:ea typeface="宋体" pitchFamily="2" charset="-122"/>
                  </a:rPr>
                  <a:t>Click to add text</a:t>
                </a:r>
                <a:endParaRPr lang="zh-CN" altLang="en-US" b="1">
                  <a:solidFill>
                    <a:srgbClr val="FFFFFF"/>
                  </a:solidFill>
                  <a:latin typeface="Calibri" pitchFamily="34" charset="0"/>
                  <a:ea typeface="宋体" pitchFamily="2" charset="-122"/>
                </a:endParaRPr>
              </a:p>
            </p:txBody>
          </p:sp>
          <p:sp>
            <p:nvSpPr>
              <p:cNvPr id="58" name="矩形 57"/>
              <p:cNvSpPr/>
              <p:nvPr/>
            </p:nvSpPr>
            <p:spPr>
              <a:xfrm flipH="1">
                <a:off x="1728827" y="5203791"/>
                <a:ext cx="2231656" cy="8667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1">
                <a:normAutofit/>
              </a:bodyPr>
              <a:lstStyle/>
              <a:p>
                <a:pPr algn="ctr">
                  <a:lnSpc>
                    <a:spcPct val="120000"/>
                  </a:lnSpc>
                </a:pPr>
                <a:r>
                  <a:rPr kumimoji="1" lang="it-IT" altLang="zh-CN" sz="1200">
                    <a:solidFill>
                      <a:schemeClr val="tx1"/>
                    </a:solidFill>
                    <a:latin typeface="Calibri" pitchFamily="34" charset="0"/>
                    <a:ea typeface="宋体" pitchFamily="2" charset="-122"/>
                  </a:rPr>
                  <a:t>Vero sanctus ipsum ut lorem sadipscing sea clita sea.</a:t>
                </a:r>
                <a:endParaRPr kumimoji="1" lang="en-US" altLang="zh-CN" sz="1200" dirty="0">
                  <a:solidFill>
                    <a:schemeClr val="tx1"/>
                  </a:solidFill>
                  <a:latin typeface="Calibri" pitchFamily="34" charset="0"/>
                  <a:ea typeface="宋体" pitchFamily="2" charset="-122"/>
                </a:endParaRPr>
              </a:p>
            </p:txBody>
          </p:sp>
        </p:grpSp>
        <p:grpSp>
          <p:nvGrpSpPr>
            <p:cNvPr id="62" name="组合 61"/>
            <p:cNvGrpSpPr/>
            <p:nvPr/>
          </p:nvGrpSpPr>
          <p:grpSpPr>
            <a:xfrm>
              <a:off x="4742587" y="3175304"/>
              <a:ext cx="2841125" cy="1430031"/>
              <a:chOff x="4742587" y="3175304"/>
              <a:chExt cx="2841125" cy="1430031"/>
            </a:xfrm>
          </p:grpSpPr>
          <p:sp>
            <p:nvSpPr>
              <p:cNvPr id="30" name="任意多边形: 形状 29"/>
              <p:cNvSpPr/>
              <p:nvPr/>
            </p:nvSpPr>
            <p:spPr>
              <a:xfrm>
                <a:off x="4742587" y="3217247"/>
                <a:ext cx="331064" cy="327472"/>
              </a:xfrm>
              <a:custGeom>
                <a:avLst/>
                <a:gdLst>
                  <a:gd name="connsiteX0" fmla="*/ 193693 w 606956"/>
                  <a:gd name="connsiteY0" fmla="*/ 325823 h 600371"/>
                  <a:gd name="connsiteX1" fmla="*/ 201035 w 606956"/>
                  <a:gd name="connsiteY1" fmla="*/ 326490 h 600371"/>
                  <a:gd name="connsiteX2" fmla="*/ 303502 w 606956"/>
                  <a:gd name="connsiteY2" fmla="*/ 361267 h 600371"/>
                  <a:gd name="connsiteX3" fmla="*/ 405969 w 606956"/>
                  <a:gd name="connsiteY3" fmla="*/ 326490 h 600371"/>
                  <a:gd name="connsiteX4" fmla="*/ 413200 w 606956"/>
                  <a:gd name="connsiteY4" fmla="*/ 325823 h 600371"/>
                  <a:gd name="connsiteX5" fmla="*/ 519784 w 606956"/>
                  <a:gd name="connsiteY5" fmla="*/ 381266 h 600371"/>
                  <a:gd name="connsiteX6" fmla="*/ 535359 w 606956"/>
                  <a:gd name="connsiteY6" fmla="*/ 397710 h 600371"/>
                  <a:gd name="connsiteX7" fmla="*/ 604004 w 606956"/>
                  <a:gd name="connsiteY7" fmla="*/ 552150 h 600371"/>
                  <a:gd name="connsiteX8" fmla="*/ 601445 w 606956"/>
                  <a:gd name="connsiteY8" fmla="*/ 584816 h 600371"/>
                  <a:gd name="connsiteX9" fmla="*/ 572630 w 606956"/>
                  <a:gd name="connsiteY9" fmla="*/ 600371 h 600371"/>
                  <a:gd name="connsiteX10" fmla="*/ 34374 w 606956"/>
                  <a:gd name="connsiteY10" fmla="*/ 600371 h 600371"/>
                  <a:gd name="connsiteX11" fmla="*/ 5559 w 606956"/>
                  <a:gd name="connsiteY11" fmla="*/ 584816 h 600371"/>
                  <a:gd name="connsiteX12" fmla="*/ 3000 w 606956"/>
                  <a:gd name="connsiteY12" fmla="*/ 552150 h 600371"/>
                  <a:gd name="connsiteX13" fmla="*/ 71645 w 606956"/>
                  <a:gd name="connsiteY13" fmla="*/ 397710 h 600371"/>
                  <a:gd name="connsiteX14" fmla="*/ 87109 w 606956"/>
                  <a:gd name="connsiteY14" fmla="*/ 381266 h 600371"/>
                  <a:gd name="connsiteX15" fmla="*/ 303482 w 606956"/>
                  <a:gd name="connsiteY15" fmla="*/ 0 h 600371"/>
                  <a:gd name="connsiteX16" fmla="*/ 439532 w 606956"/>
                  <a:gd name="connsiteY16" fmla="*/ 158964 h 600371"/>
                  <a:gd name="connsiteX17" fmla="*/ 303482 w 606956"/>
                  <a:gd name="connsiteY17" fmla="*/ 318039 h 600371"/>
                  <a:gd name="connsiteX18" fmla="*/ 167432 w 606956"/>
                  <a:gd name="connsiteY18" fmla="*/ 158964 h 600371"/>
                  <a:gd name="connsiteX19" fmla="*/ 303482 w 606956"/>
                  <a:gd name="connsiteY19" fmla="*/ 0 h 600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06956" h="600371">
                    <a:moveTo>
                      <a:pt x="193693" y="325823"/>
                    </a:moveTo>
                    <a:cubicBezTo>
                      <a:pt x="196029" y="324601"/>
                      <a:pt x="198922" y="324823"/>
                      <a:pt x="201035" y="326490"/>
                    </a:cubicBezTo>
                    <a:cubicBezTo>
                      <a:pt x="231186" y="349156"/>
                      <a:pt x="266565" y="361267"/>
                      <a:pt x="303502" y="361267"/>
                    </a:cubicBezTo>
                    <a:cubicBezTo>
                      <a:pt x="340328" y="361267"/>
                      <a:pt x="375818" y="349156"/>
                      <a:pt x="405969" y="326490"/>
                    </a:cubicBezTo>
                    <a:cubicBezTo>
                      <a:pt x="408083" y="324823"/>
                      <a:pt x="410864" y="324601"/>
                      <a:pt x="413200" y="325823"/>
                    </a:cubicBezTo>
                    <a:lnTo>
                      <a:pt x="519784" y="381266"/>
                    </a:lnTo>
                    <a:cubicBezTo>
                      <a:pt x="526681" y="384822"/>
                      <a:pt x="532244" y="390599"/>
                      <a:pt x="535359" y="397710"/>
                    </a:cubicBezTo>
                    <a:lnTo>
                      <a:pt x="604004" y="552150"/>
                    </a:lnTo>
                    <a:cubicBezTo>
                      <a:pt x="608677" y="562817"/>
                      <a:pt x="607787" y="575039"/>
                      <a:pt x="601445" y="584816"/>
                    </a:cubicBezTo>
                    <a:cubicBezTo>
                      <a:pt x="594992" y="594483"/>
                      <a:pt x="584312" y="600371"/>
                      <a:pt x="572630" y="600371"/>
                    </a:cubicBezTo>
                    <a:lnTo>
                      <a:pt x="34374" y="600371"/>
                    </a:lnTo>
                    <a:cubicBezTo>
                      <a:pt x="22692" y="600371"/>
                      <a:pt x="11900" y="594594"/>
                      <a:pt x="5559" y="584816"/>
                    </a:cubicBezTo>
                    <a:cubicBezTo>
                      <a:pt x="-783" y="575039"/>
                      <a:pt x="-1784" y="562817"/>
                      <a:pt x="3000" y="552150"/>
                    </a:cubicBezTo>
                    <a:lnTo>
                      <a:pt x="71645" y="397710"/>
                    </a:lnTo>
                    <a:cubicBezTo>
                      <a:pt x="74760" y="390599"/>
                      <a:pt x="80323" y="384822"/>
                      <a:pt x="87109" y="381266"/>
                    </a:cubicBezTo>
                    <a:close/>
                    <a:moveTo>
                      <a:pt x="303482" y="0"/>
                    </a:moveTo>
                    <a:cubicBezTo>
                      <a:pt x="378571" y="0"/>
                      <a:pt x="439532" y="37214"/>
                      <a:pt x="439532" y="158964"/>
                    </a:cubicBezTo>
                    <a:cubicBezTo>
                      <a:pt x="439532" y="246833"/>
                      <a:pt x="378571" y="318039"/>
                      <a:pt x="303482" y="318039"/>
                    </a:cubicBezTo>
                    <a:cubicBezTo>
                      <a:pt x="228282" y="318039"/>
                      <a:pt x="167432" y="246833"/>
                      <a:pt x="167432" y="158964"/>
                    </a:cubicBezTo>
                    <a:cubicBezTo>
                      <a:pt x="167432" y="37214"/>
                      <a:pt x="228282" y="0"/>
                      <a:pt x="303482" y="0"/>
                    </a:cubicBezTo>
                    <a:close/>
                  </a:path>
                </a:pathLst>
              </a:custGeom>
              <a:solidFill>
                <a:schemeClr val="accent2">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矩形: 圆角 30"/>
              <p:cNvSpPr/>
              <p:nvPr/>
            </p:nvSpPr>
            <p:spPr>
              <a:xfrm>
                <a:off x="5328987" y="3175304"/>
                <a:ext cx="2247038" cy="501345"/>
              </a:xfrm>
              <a:prstGeom prst="roundRect">
                <a:avLst/>
              </a:prstGeom>
              <a:solidFill>
                <a:schemeClr val="accent2">
                  <a:lumMod val="10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chorCtr="1">
                <a:normAutofit/>
              </a:bodyPr>
              <a:lstStyle/>
              <a:p>
                <a:pPr algn="ctr"/>
                <a:r>
                  <a:rPr lang="en-US" altLang="zh-CN" b="1" dirty="0">
                    <a:solidFill>
                      <a:schemeClr val="bg1"/>
                    </a:solidFill>
                    <a:latin typeface="Calibri" pitchFamily="34" charset="0"/>
                    <a:ea typeface="宋体" pitchFamily="2" charset="-122"/>
                  </a:rPr>
                  <a:t>Click to add text</a:t>
                </a:r>
                <a:endParaRPr lang="zh-CN" altLang="en-US" b="1" dirty="0">
                  <a:solidFill>
                    <a:schemeClr val="bg1"/>
                  </a:solidFill>
                  <a:latin typeface="Calibri" pitchFamily="34" charset="0"/>
                  <a:ea typeface="宋体" pitchFamily="2" charset="-122"/>
                </a:endParaRPr>
              </a:p>
            </p:txBody>
          </p:sp>
          <p:sp>
            <p:nvSpPr>
              <p:cNvPr id="50" name="矩形 49"/>
              <p:cNvSpPr/>
              <p:nvPr/>
            </p:nvSpPr>
            <p:spPr>
              <a:xfrm flipH="1">
                <a:off x="5352056" y="3738564"/>
                <a:ext cx="2231656" cy="8667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1">
                <a:normAutofit/>
              </a:bodyPr>
              <a:lstStyle/>
              <a:p>
                <a:pPr algn="ctr">
                  <a:lnSpc>
                    <a:spcPct val="120000"/>
                  </a:lnSpc>
                </a:pPr>
                <a:r>
                  <a:rPr kumimoji="1" lang="it-IT" altLang="zh-CN" sz="1200">
                    <a:solidFill>
                      <a:schemeClr val="tx1"/>
                    </a:solidFill>
                    <a:latin typeface="Calibri" pitchFamily="34" charset="0"/>
                    <a:ea typeface="宋体" pitchFamily="2" charset="-122"/>
                  </a:rPr>
                  <a:t>Rebum vel est et ad commodo diam consectetuer dolor.</a:t>
                </a:r>
                <a:endParaRPr kumimoji="1" lang="en-US" altLang="zh-CN" sz="1200" dirty="0">
                  <a:solidFill>
                    <a:schemeClr val="tx1"/>
                  </a:solidFill>
                  <a:latin typeface="Calibri" pitchFamily="34" charset="0"/>
                  <a:ea typeface="宋体" pitchFamily="2" charset="-122"/>
                </a:endParaRPr>
              </a:p>
            </p:txBody>
          </p:sp>
        </p:grpSp>
        <p:grpSp>
          <p:nvGrpSpPr>
            <p:cNvPr id="65" name="组合 64"/>
            <p:cNvGrpSpPr/>
            <p:nvPr/>
          </p:nvGrpSpPr>
          <p:grpSpPr>
            <a:xfrm>
              <a:off x="4742587" y="4640531"/>
              <a:ext cx="2841125" cy="1430031"/>
              <a:chOff x="4742587" y="4640531"/>
              <a:chExt cx="2841125" cy="1430031"/>
            </a:xfrm>
          </p:grpSpPr>
          <p:sp>
            <p:nvSpPr>
              <p:cNvPr id="54" name="任意多边形: 形状 53"/>
              <p:cNvSpPr/>
              <p:nvPr/>
            </p:nvSpPr>
            <p:spPr>
              <a:xfrm>
                <a:off x="4742587" y="4682474"/>
                <a:ext cx="331064" cy="327472"/>
              </a:xfrm>
              <a:custGeom>
                <a:avLst/>
                <a:gdLst>
                  <a:gd name="connsiteX0" fmla="*/ 193693 w 606956"/>
                  <a:gd name="connsiteY0" fmla="*/ 325823 h 600371"/>
                  <a:gd name="connsiteX1" fmla="*/ 201035 w 606956"/>
                  <a:gd name="connsiteY1" fmla="*/ 326490 h 600371"/>
                  <a:gd name="connsiteX2" fmla="*/ 303502 w 606956"/>
                  <a:gd name="connsiteY2" fmla="*/ 361267 h 600371"/>
                  <a:gd name="connsiteX3" fmla="*/ 405969 w 606956"/>
                  <a:gd name="connsiteY3" fmla="*/ 326490 h 600371"/>
                  <a:gd name="connsiteX4" fmla="*/ 413200 w 606956"/>
                  <a:gd name="connsiteY4" fmla="*/ 325823 h 600371"/>
                  <a:gd name="connsiteX5" fmla="*/ 519784 w 606956"/>
                  <a:gd name="connsiteY5" fmla="*/ 381266 h 600371"/>
                  <a:gd name="connsiteX6" fmla="*/ 535359 w 606956"/>
                  <a:gd name="connsiteY6" fmla="*/ 397710 h 600371"/>
                  <a:gd name="connsiteX7" fmla="*/ 604004 w 606956"/>
                  <a:gd name="connsiteY7" fmla="*/ 552150 h 600371"/>
                  <a:gd name="connsiteX8" fmla="*/ 601445 w 606956"/>
                  <a:gd name="connsiteY8" fmla="*/ 584816 h 600371"/>
                  <a:gd name="connsiteX9" fmla="*/ 572630 w 606956"/>
                  <a:gd name="connsiteY9" fmla="*/ 600371 h 600371"/>
                  <a:gd name="connsiteX10" fmla="*/ 34374 w 606956"/>
                  <a:gd name="connsiteY10" fmla="*/ 600371 h 600371"/>
                  <a:gd name="connsiteX11" fmla="*/ 5559 w 606956"/>
                  <a:gd name="connsiteY11" fmla="*/ 584816 h 600371"/>
                  <a:gd name="connsiteX12" fmla="*/ 3000 w 606956"/>
                  <a:gd name="connsiteY12" fmla="*/ 552150 h 600371"/>
                  <a:gd name="connsiteX13" fmla="*/ 71645 w 606956"/>
                  <a:gd name="connsiteY13" fmla="*/ 397710 h 600371"/>
                  <a:gd name="connsiteX14" fmla="*/ 87109 w 606956"/>
                  <a:gd name="connsiteY14" fmla="*/ 381266 h 600371"/>
                  <a:gd name="connsiteX15" fmla="*/ 303482 w 606956"/>
                  <a:gd name="connsiteY15" fmla="*/ 0 h 600371"/>
                  <a:gd name="connsiteX16" fmla="*/ 439532 w 606956"/>
                  <a:gd name="connsiteY16" fmla="*/ 158964 h 600371"/>
                  <a:gd name="connsiteX17" fmla="*/ 303482 w 606956"/>
                  <a:gd name="connsiteY17" fmla="*/ 318039 h 600371"/>
                  <a:gd name="connsiteX18" fmla="*/ 167432 w 606956"/>
                  <a:gd name="connsiteY18" fmla="*/ 158964 h 600371"/>
                  <a:gd name="connsiteX19" fmla="*/ 303482 w 606956"/>
                  <a:gd name="connsiteY19" fmla="*/ 0 h 600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06956" h="600371">
                    <a:moveTo>
                      <a:pt x="193693" y="325823"/>
                    </a:moveTo>
                    <a:cubicBezTo>
                      <a:pt x="196029" y="324601"/>
                      <a:pt x="198922" y="324823"/>
                      <a:pt x="201035" y="326490"/>
                    </a:cubicBezTo>
                    <a:cubicBezTo>
                      <a:pt x="231186" y="349156"/>
                      <a:pt x="266565" y="361267"/>
                      <a:pt x="303502" y="361267"/>
                    </a:cubicBezTo>
                    <a:cubicBezTo>
                      <a:pt x="340328" y="361267"/>
                      <a:pt x="375818" y="349156"/>
                      <a:pt x="405969" y="326490"/>
                    </a:cubicBezTo>
                    <a:cubicBezTo>
                      <a:pt x="408083" y="324823"/>
                      <a:pt x="410864" y="324601"/>
                      <a:pt x="413200" y="325823"/>
                    </a:cubicBezTo>
                    <a:lnTo>
                      <a:pt x="519784" y="381266"/>
                    </a:lnTo>
                    <a:cubicBezTo>
                      <a:pt x="526681" y="384822"/>
                      <a:pt x="532244" y="390599"/>
                      <a:pt x="535359" y="397710"/>
                    </a:cubicBezTo>
                    <a:lnTo>
                      <a:pt x="604004" y="552150"/>
                    </a:lnTo>
                    <a:cubicBezTo>
                      <a:pt x="608677" y="562817"/>
                      <a:pt x="607787" y="575039"/>
                      <a:pt x="601445" y="584816"/>
                    </a:cubicBezTo>
                    <a:cubicBezTo>
                      <a:pt x="594992" y="594483"/>
                      <a:pt x="584312" y="600371"/>
                      <a:pt x="572630" y="600371"/>
                    </a:cubicBezTo>
                    <a:lnTo>
                      <a:pt x="34374" y="600371"/>
                    </a:lnTo>
                    <a:cubicBezTo>
                      <a:pt x="22692" y="600371"/>
                      <a:pt x="11900" y="594594"/>
                      <a:pt x="5559" y="584816"/>
                    </a:cubicBezTo>
                    <a:cubicBezTo>
                      <a:pt x="-783" y="575039"/>
                      <a:pt x="-1784" y="562817"/>
                      <a:pt x="3000" y="552150"/>
                    </a:cubicBezTo>
                    <a:lnTo>
                      <a:pt x="71645" y="397710"/>
                    </a:lnTo>
                    <a:cubicBezTo>
                      <a:pt x="74760" y="390599"/>
                      <a:pt x="80323" y="384822"/>
                      <a:pt x="87109" y="381266"/>
                    </a:cubicBezTo>
                    <a:close/>
                    <a:moveTo>
                      <a:pt x="303482" y="0"/>
                    </a:moveTo>
                    <a:cubicBezTo>
                      <a:pt x="378571" y="0"/>
                      <a:pt x="439532" y="37214"/>
                      <a:pt x="439532" y="158964"/>
                    </a:cubicBezTo>
                    <a:cubicBezTo>
                      <a:pt x="439532" y="246833"/>
                      <a:pt x="378571" y="318039"/>
                      <a:pt x="303482" y="318039"/>
                    </a:cubicBezTo>
                    <a:cubicBezTo>
                      <a:pt x="228282" y="318039"/>
                      <a:pt x="167432" y="246833"/>
                      <a:pt x="167432" y="158964"/>
                    </a:cubicBezTo>
                    <a:cubicBezTo>
                      <a:pt x="167432" y="37214"/>
                      <a:pt x="228282" y="0"/>
                      <a:pt x="303482" y="0"/>
                    </a:cubicBezTo>
                    <a:close/>
                  </a:path>
                </a:pathLst>
              </a:custGeom>
              <a:solidFill>
                <a:schemeClr val="accent2">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矩形: 圆角 54"/>
              <p:cNvSpPr/>
              <p:nvPr/>
            </p:nvSpPr>
            <p:spPr>
              <a:xfrm>
                <a:off x="5328987" y="4640531"/>
                <a:ext cx="2247038" cy="501345"/>
              </a:xfrm>
              <a:prstGeom prst="roundRect">
                <a:avLst/>
              </a:prstGeom>
              <a:solidFill>
                <a:schemeClr val="accent2">
                  <a:lumMod val="10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chorCtr="1">
                <a:normAutofit/>
              </a:bodyPr>
              <a:lstStyle/>
              <a:p>
                <a:pPr algn="ctr"/>
                <a:r>
                  <a:rPr lang="en-US" altLang="zh-CN" b="1">
                    <a:solidFill>
                      <a:schemeClr val="bg1"/>
                    </a:solidFill>
                    <a:latin typeface="Calibri" pitchFamily="34" charset="0"/>
                    <a:ea typeface="宋体" pitchFamily="2" charset="-122"/>
                  </a:rPr>
                  <a:t>Click to add text</a:t>
                </a:r>
                <a:endParaRPr lang="zh-CN" altLang="en-US" b="1">
                  <a:solidFill>
                    <a:schemeClr val="bg1"/>
                  </a:solidFill>
                  <a:latin typeface="Calibri" pitchFamily="34" charset="0"/>
                  <a:ea typeface="宋体" pitchFamily="2" charset="-122"/>
                </a:endParaRPr>
              </a:p>
            </p:txBody>
          </p:sp>
          <p:sp>
            <p:nvSpPr>
              <p:cNvPr id="59" name="矩形 58"/>
              <p:cNvSpPr/>
              <p:nvPr/>
            </p:nvSpPr>
            <p:spPr>
              <a:xfrm flipH="1">
                <a:off x="5352056" y="5203791"/>
                <a:ext cx="2231656" cy="8667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1">
                <a:normAutofit/>
              </a:bodyPr>
              <a:lstStyle/>
              <a:p>
                <a:pPr algn="ctr">
                  <a:lnSpc>
                    <a:spcPct val="120000"/>
                  </a:lnSpc>
                </a:pPr>
                <a:r>
                  <a:rPr kumimoji="1" lang="fr-FR" altLang="zh-CN" sz="1200">
                    <a:solidFill>
                      <a:schemeClr val="tx1"/>
                    </a:solidFill>
                    <a:latin typeface="Calibri" pitchFamily="34" charset="0"/>
                    <a:ea typeface="宋体" pitchFamily="2" charset="-122"/>
                  </a:rPr>
                  <a:t>Ut accusam et clita et minim dolores sed accusam et sea.</a:t>
                </a:r>
                <a:endParaRPr kumimoji="1" lang="en-US" altLang="zh-CN" sz="1200" dirty="0">
                  <a:solidFill>
                    <a:schemeClr val="tx1"/>
                  </a:solidFill>
                  <a:latin typeface="Calibri" pitchFamily="34" charset="0"/>
                  <a:ea typeface="宋体" pitchFamily="2" charset="-122"/>
                </a:endParaRPr>
              </a:p>
            </p:txBody>
          </p:sp>
        </p:grpSp>
        <p:grpSp>
          <p:nvGrpSpPr>
            <p:cNvPr id="63" name="组合 62"/>
            <p:cNvGrpSpPr/>
            <p:nvPr/>
          </p:nvGrpSpPr>
          <p:grpSpPr>
            <a:xfrm>
              <a:off x="8358122" y="3175304"/>
              <a:ext cx="2833438" cy="1430031"/>
              <a:chOff x="8358122" y="3175304"/>
              <a:chExt cx="2833438" cy="1430031"/>
            </a:xfrm>
          </p:grpSpPr>
          <p:sp>
            <p:nvSpPr>
              <p:cNvPr id="33" name="任意多边形: 形状 32"/>
              <p:cNvSpPr/>
              <p:nvPr/>
            </p:nvSpPr>
            <p:spPr>
              <a:xfrm>
                <a:off x="8358122" y="3217247"/>
                <a:ext cx="331064" cy="327472"/>
              </a:xfrm>
              <a:custGeom>
                <a:avLst/>
                <a:gdLst>
                  <a:gd name="connsiteX0" fmla="*/ 193693 w 606956"/>
                  <a:gd name="connsiteY0" fmla="*/ 325823 h 600371"/>
                  <a:gd name="connsiteX1" fmla="*/ 201035 w 606956"/>
                  <a:gd name="connsiteY1" fmla="*/ 326490 h 600371"/>
                  <a:gd name="connsiteX2" fmla="*/ 303502 w 606956"/>
                  <a:gd name="connsiteY2" fmla="*/ 361267 h 600371"/>
                  <a:gd name="connsiteX3" fmla="*/ 405969 w 606956"/>
                  <a:gd name="connsiteY3" fmla="*/ 326490 h 600371"/>
                  <a:gd name="connsiteX4" fmla="*/ 413200 w 606956"/>
                  <a:gd name="connsiteY4" fmla="*/ 325823 h 600371"/>
                  <a:gd name="connsiteX5" fmla="*/ 519784 w 606956"/>
                  <a:gd name="connsiteY5" fmla="*/ 381266 h 600371"/>
                  <a:gd name="connsiteX6" fmla="*/ 535359 w 606956"/>
                  <a:gd name="connsiteY6" fmla="*/ 397710 h 600371"/>
                  <a:gd name="connsiteX7" fmla="*/ 604004 w 606956"/>
                  <a:gd name="connsiteY7" fmla="*/ 552150 h 600371"/>
                  <a:gd name="connsiteX8" fmla="*/ 601445 w 606956"/>
                  <a:gd name="connsiteY8" fmla="*/ 584816 h 600371"/>
                  <a:gd name="connsiteX9" fmla="*/ 572630 w 606956"/>
                  <a:gd name="connsiteY9" fmla="*/ 600371 h 600371"/>
                  <a:gd name="connsiteX10" fmla="*/ 34374 w 606956"/>
                  <a:gd name="connsiteY10" fmla="*/ 600371 h 600371"/>
                  <a:gd name="connsiteX11" fmla="*/ 5559 w 606956"/>
                  <a:gd name="connsiteY11" fmla="*/ 584816 h 600371"/>
                  <a:gd name="connsiteX12" fmla="*/ 3000 w 606956"/>
                  <a:gd name="connsiteY12" fmla="*/ 552150 h 600371"/>
                  <a:gd name="connsiteX13" fmla="*/ 71645 w 606956"/>
                  <a:gd name="connsiteY13" fmla="*/ 397710 h 600371"/>
                  <a:gd name="connsiteX14" fmla="*/ 87109 w 606956"/>
                  <a:gd name="connsiteY14" fmla="*/ 381266 h 600371"/>
                  <a:gd name="connsiteX15" fmla="*/ 303482 w 606956"/>
                  <a:gd name="connsiteY15" fmla="*/ 0 h 600371"/>
                  <a:gd name="connsiteX16" fmla="*/ 439532 w 606956"/>
                  <a:gd name="connsiteY16" fmla="*/ 158964 h 600371"/>
                  <a:gd name="connsiteX17" fmla="*/ 303482 w 606956"/>
                  <a:gd name="connsiteY17" fmla="*/ 318039 h 600371"/>
                  <a:gd name="connsiteX18" fmla="*/ 167432 w 606956"/>
                  <a:gd name="connsiteY18" fmla="*/ 158964 h 600371"/>
                  <a:gd name="connsiteX19" fmla="*/ 303482 w 606956"/>
                  <a:gd name="connsiteY19" fmla="*/ 0 h 600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06956" h="600371">
                    <a:moveTo>
                      <a:pt x="193693" y="325823"/>
                    </a:moveTo>
                    <a:cubicBezTo>
                      <a:pt x="196029" y="324601"/>
                      <a:pt x="198922" y="324823"/>
                      <a:pt x="201035" y="326490"/>
                    </a:cubicBezTo>
                    <a:cubicBezTo>
                      <a:pt x="231186" y="349156"/>
                      <a:pt x="266565" y="361267"/>
                      <a:pt x="303502" y="361267"/>
                    </a:cubicBezTo>
                    <a:cubicBezTo>
                      <a:pt x="340328" y="361267"/>
                      <a:pt x="375818" y="349156"/>
                      <a:pt x="405969" y="326490"/>
                    </a:cubicBezTo>
                    <a:cubicBezTo>
                      <a:pt x="408083" y="324823"/>
                      <a:pt x="410864" y="324601"/>
                      <a:pt x="413200" y="325823"/>
                    </a:cubicBezTo>
                    <a:lnTo>
                      <a:pt x="519784" y="381266"/>
                    </a:lnTo>
                    <a:cubicBezTo>
                      <a:pt x="526681" y="384822"/>
                      <a:pt x="532244" y="390599"/>
                      <a:pt x="535359" y="397710"/>
                    </a:cubicBezTo>
                    <a:lnTo>
                      <a:pt x="604004" y="552150"/>
                    </a:lnTo>
                    <a:cubicBezTo>
                      <a:pt x="608677" y="562817"/>
                      <a:pt x="607787" y="575039"/>
                      <a:pt x="601445" y="584816"/>
                    </a:cubicBezTo>
                    <a:cubicBezTo>
                      <a:pt x="594992" y="594483"/>
                      <a:pt x="584312" y="600371"/>
                      <a:pt x="572630" y="600371"/>
                    </a:cubicBezTo>
                    <a:lnTo>
                      <a:pt x="34374" y="600371"/>
                    </a:lnTo>
                    <a:cubicBezTo>
                      <a:pt x="22692" y="600371"/>
                      <a:pt x="11900" y="594594"/>
                      <a:pt x="5559" y="584816"/>
                    </a:cubicBezTo>
                    <a:cubicBezTo>
                      <a:pt x="-783" y="575039"/>
                      <a:pt x="-1784" y="562817"/>
                      <a:pt x="3000" y="552150"/>
                    </a:cubicBezTo>
                    <a:lnTo>
                      <a:pt x="71645" y="397710"/>
                    </a:lnTo>
                    <a:cubicBezTo>
                      <a:pt x="74760" y="390599"/>
                      <a:pt x="80323" y="384822"/>
                      <a:pt x="87109" y="381266"/>
                    </a:cubicBezTo>
                    <a:close/>
                    <a:moveTo>
                      <a:pt x="303482" y="0"/>
                    </a:moveTo>
                    <a:cubicBezTo>
                      <a:pt x="378571" y="0"/>
                      <a:pt x="439532" y="37214"/>
                      <a:pt x="439532" y="158964"/>
                    </a:cubicBezTo>
                    <a:cubicBezTo>
                      <a:pt x="439532" y="246833"/>
                      <a:pt x="378571" y="318039"/>
                      <a:pt x="303482" y="318039"/>
                    </a:cubicBezTo>
                    <a:cubicBezTo>
                      <a:pt x="228282" y="318039"/>
                      <a:pt x="167432" y="246833"/>
                      <a:pt x="167432" y="158964"/>
                    </a:cubicBezTo>
                    <a:cubicBezTo>
                      <a:pt x="167432" y="37214"/>
                      <a:pt x="228282" y="0"/>
                      <a:pt x="303482"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矩形: 圆角 33"/>
              <p:cNvSpPr/>
              <p:nvPr/>
            </p:nvSpPr>
            <p:spPr>
              <a:xfrm>
                <a:off x="8944522" y="3175304"/>
                <a:ext cx="2247038" cy="501345"/>
              </a:xfrm>
              <a:prstGeom prst="round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chorCtr="1">
                <a:normAutofit/>
              </a:bodyPr>
              <a:lstStyle/>
              <a:p>
                <a:pPr algn="ctr"/>
                <a:r>
                  <a:rPr lang="en-US" altLang="zh-CN" b="1">
                    <a:solidFill>
                      <a:srgbClr val="FFFFFF"/>
                    </a:solidFill>
                    <a:latin typeface="Calibri" pitchFamily="34" charset="0"/>
                    <a:ea typeface="宋体" pitchFamily="2" charset="-122"/>
                  </a:rPr>
                  <a:t>Click to add text</a:t>
                </a:r>
                <a:endParaRPr lang="zh-CN" altLang="en-US" b="1">
                  <a:solidFill>
                    <a:srgbClr val="FFFFFF"/>
                  </a:solidFill>
                  <a:latin typeface="Calibri" pitchFamily="34" charset="0"/>
                  <a:ea typeface="宋体" pitchFamily="2" charset="-122"/>
                </a:endParaRPr>
              </a:p>
            </p:txBody>
          </p:sp>
          <p:sp>
            <p:nvSpPr>
              <p:cNvPr id="51" name="矩形 50"/>
              <p:cNvSpPr/>
              <p:nvPr/>
            </p:nvSpPr>
            <p:spPr>
              <a:xfrm flipH="1">
                <a:off x="8944522" y="3738564"/>
                <a:ext cx="2231656" cy="8667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1">
                <a:normAutofit/>
              </a:bodyPr>
              <a:lstStyle/>
              <a:p>
                <a:pPr algn="ctr">
                  <a:lnSpc>
                    <a:spcPct val="120000"/>
                  </a:lnSpc>
                </a:pPr>
                <a:r>
                  <a:rPr kumimoji="1" lang="it-IT" altLang="zh-CN" sz="1200">
                    <a:solidFill>
                      <a:schemeClr val="tx1"/>
                    </a:solidFill>
                    <a:latin typeface="Calibri" pitchFamily="34" charset="0"/>
                    <a:ea typeface="宋体" pitchFamily="2" charset="-122"/>
                  </a:rPr>
                  <a:t>Dolores tempor consetetur dolore autem stet vulputate.</a:t>
                </a:r>
                <a:endParaRPr kumimoji="1" lang="en-US" altLang="zh-CN" sz="1200" dirty="0">
                  <a:solidFill>
                    <a:schemeClr val="tx1"/>
                  </a:solidFill>
                  <a:latin typeface="Calibri" pitchFamily="34" charset="0"/>
                  <a:ea typeface="宋体" pitchFamily="2" charset="-122"/>
                </a:endParaRPr>
              </a:p>
            </p:txBody>
          </p:sp>
        </p:grpSp>
        <p:grpSp>
          <p:nvGrpSpPr>
            <p:cNvPr id="66" name="组合 65"/>
            <p:cNvGrpSpPr/>
            <p:nvPr/>
          </p:nvGrpSpPr>
          <p:grpSpPr>
            <a:xfrm>
              <a:off x="8358122" y="4640531"/>
              <a:ext cx="2833438" cy="1430031"/>
              <a:chOff x="8358122" y="4640531"/>
              <a:chExt cx="2833438" cy="1430031"/>
            </a:xfrm>
          </p:grpSpPr>
          <p:sp>
            <p:nvSpPr>
              <p:cNvPr id="56" name="任意多边形: 形状 55"/>
              <p:cNvSpPr/>
              <p:nvPr/>
            </p:nvSpPr>
            <p:spPr>
              <a:xfrm>
                <a:off x="8358122" y="4682474"/>
                <a:ext cx="331064" cy="327472"/>
              </a:xfrm>
              <a:custGeom>
                <a:avLst/>
                <a:gdLst>
                  <a:gd name="connsiteX0" fmla="*/ 193693 w 606956"/>
                  <a:gd name="connsiteY0" fmla="*/ 325823 h 600371"/>
                  <a:gd name="connsiteX1" fmla="*/ 201035 w 606956"/>
                  <a:gd name="connsiteY1" fmla="*/ 326490 h 600371"/>
                  <a:gd name="connsiteX2" fmla="*/ 303502 w 606956"/>
                  <a:gd name="connsiteY2" fmla="*/ 361267 h 600371"/>
                  <a:gd name="connsiteX3" fmla="*/ 405969 w 606956"/>
                  <a:gd name="connsiteY3" fmla="*/ 326490 h 600371"/>
                  <a:gd name="connsiteX4" fmla="*/ 413200 w 606956"/>
                  <a:gd name="connsiteY4" fmla="*/ 325823 h 600371"/>
                  <a:gd name="connsiteX5" fmla="*/ 519784 w 606956"/>
                  <a:gd name="connsiteY5" fmla="*/ 381266 h 600371"/>
                  <a:gd name="connsiteX6" fmla="*/ 535359 w 606956"/>
                  <a:gd name="connsiteY6" fmla="*/ 397710 h 600371"/>
                  <a:gd name="connsiteX7" fmla="*/ 604004 w 606956"/>
                  <a:gd name="connsiteY7" fmla="*/ 552150 h 600371"/>
                  <a:gd name="connsiteX8" fmla="*/ 601445 w 606956"/>
                  <a:gd name="connsiteY8" fmla="*/ 584816 h 600371"/>
                  <a:gd name="connsiteX9" fmla="*/ 572630 w 606956"/>
                  <a:gd name="connsiteY9" fmla="*/ 600371 h 600371"/>
                  <a:gd name="connsiteX10" fmla="*/ 34374 w 606956"/>
                  <a:gd name="connsiteY10" fmla="*/ 600371 h 600371"/>
                  <a:gd name="connsiteX11" fmla="*/ 5559 w 606956"/>
                  <a:gd name="connsiteY11" fmla="*/ 584816 h 600371"/>
                  <a:gd name="connsiteX12" fmla="*/ 3000 w 606956"/>
                  <a:gd name="connsiteY12" fmla="*/ 552150 h 600371"/>
                  <a:gd name="connsiteX13" fmla="*/ 71645 w 606956"/>
                  <a:gd name="connsiteY13" fmla="*/ 397710 h 600371"/>
                  <a:gd name="connsiteX14" fmla="*/ 87109 w 606956"/>
                  <a:gd name="connsiteY14" fmla="*/ 381266 h 600371"/>
                  <a:gd name="connsiteX15" fmla="*/ 303482 w 606956"/>
                  <a:gd name="connsiteY15" fmla="*/ 0 h 600371"/>
                  <a:gd name="connsiteX16" fmla="*/ 439532 w 606956"/>
                  <a:gd name="connsiteY16" fmla="*/ 158964 h 600371"/>
                  <a:gd name="connsiteX17" fmla="*/ 303482 w 606956"/>
                  <a:gd name="connsiteY17" fmla="*/ 318039 h 600371"/>
                  <a:gd name="connsiteX18" fmla="*/ 167432 w 606956"/>
                  <a:gd name="connsiteY18" fmla="*/ 158964 h 600371"/>
                  <a:gd name="connsiteX19" fmla="*/ 303482 w 606956"/>
                  <a:gd name="connsiteY19" fmla="*/ 0 h 600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06956" h="600371">
                    <a:moveTo>
                      <a:pt x="193693" y="325823"/>
                    </a:moveTo>
                    <a:cubicBezTo>
                      <a:pt x="196029" y="324601"/>
                      <a:pt x="198922" y="324823"/>
                      <a:pt x="201035" y="326490"/>
                    </a:cubicBezTo>
                    <a:cubicBezTo>
                      <a:pt x="231186" y="349156"/>
                      <a:pt x="266565" y="361267"/>
                      <a:pt x="303502" y="361267"/>
                    </a:cubicBezTo>
                    <a:cubicBezTo>
                      <a:pt x="340328" y="361267"/>
                      <a:pt x="375818" y="349156"/>
                      <a:pt x="405969" y="326490"/>
                    </a:cubicBezTo>
                    <a:cubicBezTo>
                      <a:pt x="408083" y="324823"/>
                      <a:pt x="410864" y="324601"/>
                      <a:pt x="413200" y="325823"/>
                    </a:cubicBezTo>
                    <a:lnTo>
                      <a:pt x="519784" y="381266"/>
                    </a:lnTo>
                    <a:cubicBezTo>
                      <a:pt x="526681" y="384822"/>
                      <a:pt x="532244" y="390599"/>
                      <a:pt x="535359" y="397710"/>
                    </a:cubicBezTo>
                    <a:lnTo>
                      <a:pt x="604004" y="552150"/>
                    </a:lnTo>
                    <a:cubicBezTo>
                      <a:pt x="608677" y="562817"/>
                      <a:pt x="607787" y="575039"/>
                      <a:pt x="601445" y="584816"/>
                    </a:cubicBezTo>
                    <a:cubicBezTo>
                      <a:pt x="594992" y="594483"/>
                      <a:pt x="584312" y="600371"/>
                      <a:pt x="572630" y="600371"/>
                    </a:cubicBezTo>
                    <a:lnTo>
                      <a:pt x="34374" y="600371"/>
                    </a:lnTo>
                    <a:cubicBezTo>
                      <a:pt x="22692" y="600371"/>
                      <a:pt x="11900" y="594594"/>
                      <a:pt x="5559" y="584816"/>
                    </a:cubicBezTo>
                    <a:cubicBezTo>
                      <a:pt x="-783" y="575039"/>
                      <a:pt x="-1784" y="562817"/>
                      <a:pt x="3000" y="552150"/>
                    </a:cubicBezTo>
                    <a:lnTo>
                      <a:pt x="71645" y="397710"/>
                    </a:lnTo>
                    <a:cubicBezTo>
                      <a:pt x="74760" y="390599"/>
                      <a:pt x="80323" y="384822"/>
                      <a:pt x="87109" y="381266"/>
                    </a:cubicBezTo>
                    <a:close/>
                    <a:moveTo>
                      <a:pt x="303482" y="0"/>
                    </a:moveTo>
                    <a:cubicBezTo>
                      <a:pt x="378571" y="0"/>
                      <a:pt x="439532" y="37214"/>
                      <a:pt x="439532" y="158964"/>
                    </a:cubicBezTo>
                    <a:cubicBezTo>
                      <a:pt x="439532" y="246833"/>
                      <a:pt x="378571" y="318039"/>
                      <a:pt x="303482" y="318039"/>
                    </a:cubicBezTo>
                    <a:cubicBezTo>
                      <a:pt x="228282" y="318039"/>
                      <a:pt x="167432" y="246833"/>
                      <a:pt x="167432" y="158964"/>
                    </a:cubicBezTo>
                    <a:cubicBezTo>
                      <a:pt x="167432" y="37214"/>
                      <a:pt x="228282" y="0"/>
                      <a:pt x="303482"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矩形: 圆角 56"/>
              <p:cNvSpPr/>
              <p:nvPr/>
            </p:nvSpPr>
            <p:spPr>
              <a:xfrm>
                <a:off x="8944522" y="4640531"/>
                <a:ext cx="2247038" cy="501345"/>
              </a:xfrm>
              <a:prstGeom prst="round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chorCtr="1">
                <a:normAutofit/>
              </a:bodyPr>
              <a:lstStyle/>
              <a:p>
                <a:pPr algn="ctr"/>
                <a:r>
                  <a:rPr lang="en-US" altLang="zh-CN" b="1">
                    <a:solidFill>
                      <a:srgbClr val="FFFFFF"/>
                    </a:solidFill>
                    <a:latin typeface="Calibri" pitchFamily="34" charset="0"/>
                    <a:ea typeface="宋体" pitchFamily="2" charset="-122"/>
                  </a:rPr>
                  <a:t>Click to add text</a:t>
                </a:r>
                <a:endParaRPr lang="zh-CN" altLang="en-US" b="1">
                  <a:solidFill>
                    <a:srgbClr val="FFFFFF"/>
                  </a:solidFill>
                  <a:latin typeface="Calibri" pitchFamily="34" charset="0"/>
                  <a:ea typeface="宋体" pitchFamily="2" charset="-122"/>
                </a:endParaRPr>
              </a:p>
            </p:txBody>
          </p:sp>
          <p:sp>
            <p:nvSpPr>
              <p:cNvPr id="60" name="矩形 59"/>
              <p:cNvSpPr/>
              <p:nvPr/>
            </p:nvSpPr>
            <p:spPr>
              <a:xfrm flipH="1">
                <a:off x="8944522" y="5203791"/>
                <a:ext cx="2231656" cy="8667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1">
                <a:normAutofit/>
              </a:bodyPr>
              <a:lstStyle/>
              <a:p>
                <a:pPr algn="ctr">
                  <a:lnSpc>
                    <a:spcPct val="120000"/>
                  </a:lnSpc>
                </a:pPr>
                <a:r>
                  <a:rPr kumimoji="1" lang="it-IT" altLang="zh-CN" sz="1200">
                    <a:solidFill>
                      <a:schemeClr val="tx1"/>
                    </a:solidFill>
                    <a:latin typeface="Calibri" pitchFamily="34" charset="0"/>
                    <a:ea typeface="宋体" pitchFamily="2" charset="-122"/>
                  </a:rPr>
                  <a:t>Erat invidunt feugait delenit consetetur accumsan.</a:t>
                </a:r>
                <a:endParaRPr kumimoji="1" lang="en-US" altLang="zh-CN" sz="1200" dirty="0">
                  <a:solidFill>
                    <a:schemeClr val="tx1"/>
                  </a:solidFill>
                  <a:latin typeface="Calibri" pitchFamily="34" charset="0"/>
                  <a:ea typeface="宋体" pitchFamily="2" charset="-122"/>
                </a:endParaRPr>
              </a:p>
            </p:txBody>
          </p:sp>
        </p:grpSp>
      </p:gr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4"/>
          <p:cNvGrpSpPr/>
          <p:nvPr/>
        </p:nvGrpSpPr>
        <p:grpSpPr>
          <a:xfrm>
            <a:off x="660401" y="1130301"/>
            <a:ext cx="10858500" cy="5003801"/>
            <a:chOff x="660400" y="1130299"/>
            <a:chExt cx="10858500" cy="5003801"/>
          </a:xfrm>
        </p:grpSpPr>
        <p:cxnSp>
          <p:nvCxnSpPr>
            <p:cNvPr id="12" name="直接连接符 11"/>
            <p:cNvCxnSpPr/>
            <p:nvPr/>
          </p:nvCxnSpPr>
          <p:spPr>
            <a:xfrm flipV="1">
              <a:off x="4110537" y="2997116"/>
              <a:ext cx="745722" cy="671634"/>
            </a:xfrm>
            <a:prstGeom prst="line">
              <a:avLst/>
            </a:prstGeom>
            <a:ln w="19050">
              <a:solidFill>
                <a:schemeClr val="tx2">
                  <a:alpha val="50000"/>
                </a:schemeClr>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p:nvPr/>
          </p:nvCxnSpPr>
          <p:spPr>
            <a:xfrm flipV="1">
              <a:off x="6186285" y="2997116"/>
              <a:ext cx="745722" cy="671634"/>
            </a:xfrm>
            <a:prstGeom prst="line">
              <a:avLst/>
            </a:prstGeom>
            <a:ln w="19050">
              <a:solidFill>
                <a:schemeClr val="tx2">
                  <a:alpha val="50000"/>
                </a:schemeClr>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p:nvPr/>
          </p:nvCxnSpPr>
          <p:spPr>
            <a:xfrm flipV="1">
              <a:off x="8262032" y="2997116"/>
              <a:ext cx="745722" cy="671634"/>
            </a:xfrm>
            <a:prstGeom prst="line">
              <a:avLst/>
            </a:prstGeom>
            <a:ln w="19050">
              <a:solidFill>
                <a:schemeClr val="tx2">
                  <a:alpha val="50000"/>
                </a:schemeClr>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p:nvPr/>
          </p:nvCxnSpPr>
          <p:spPr>
            <a:xfrm>
              <a:off x="4221027" y="3813740"/>
              <a:ext cx="745722" cy="671634"/>
            </a:xfrm>
            <a:prstGeom prst="line">
              <a:avLst/>
            </a:prstGeom>
            <a:ln w="19050">
              <a:solidFill>
                <a:schemeClr val="tx2">
                  <a:alpha val="50000"/>
                </a:schemeClr>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p:nvPr/>
          </p:nvCxnSpPr>
          <p:spPr>
            <a:xfrm>
              <a:off x="6296775" y="3813740"/>
              <a:ext cx="745722" cy="671634"/>
            </a:xfrm>
            <a:prstGeom prst="line">
              <a:avLst/>
            </a:prstGeom>
            <a:ln w="19050">
              <a:solidFill>
                <a:schemeClr val="tx2">
                  <a:alpha val="50000"/>
                </a:schemeClr>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p:nvPr/>
          </p:nvCxnSpPr>
          <p:spPr>
            <a:xfrm>
              <a:off x="8372522" y="3813740"/>
              <a:ext cx="745722" cy="671634"/>
            </a:xfrm>
            <a:prstGeom prst="line">
              <a:avLst/>
            </a:prstGeom>
            <a:ln w="19050">
              <a:solidFill>
                <a:schemeClr val="tx2">
                  <a:alpha val="50000"/>
                </a:schemeClr>
              </a:solidFill>
            </a:ln>
          </p:spPr>
          <p:style>
            <a:lnRef idx="1">
              <a:schemeClr val="accent1"/>
            </a:lnRef>
            <a:fillRef idx="0">
              <a:schemeClr val="accent1"/>
            </a:fillRef>
            <a:effectRef idx="0">
              <a:schemeClr val="accent1"/>
            </a:effectRef>
            <a:fontRef idx="minor">
              <a:schemeClr val="tx1"/>
            </a:fontRef>
          </p:style>
        </p:cxnSp>
        <p:cxnSp>
          <p:nvCxnSpPr>
            <p:cNvPr id="7" name="直接连接符 6"/>
            <p:cNvCxnSpPr/>
            <p:nvPr/>
          </p:nvCxnSpPr>
          <p:spPr>
            <a:xfrm flipV="1">
              <a:off x="2755316" y="3670953"/>
              <a:ext cx="7093469" cy="1"/>
            </a:xfrm>
            <a:prstGeom prst="line">
              <a:avLst/>
            </a:prstGeom>
            <a:ln w="19050">
              <a:solidFill>
                <a:schemeClr val="tx2">
                  <a:alpha val="50000"/>
                </a:schemeClr>
              </a:solidFill>
            </a:ln>
          </p:spPr>
          <p:style>
            <a:lnRef idx="1">
              <a:schemeClr val="accent1"/>
            </a:lnRef>
            <a:fillRef idx="0">
              <a:schemeClr val="accent1"/>
            </a:fillRef>
            <a:effectRef idx="0">
              <a:schemeClr val="accent1"/>
            </a:effectRef>
            <a:fontRef idx="minor">
              <a:schemeClr val="tx1"/>
            </a:fontRef>
          </p:style>
        </p:cxnSp>
        <p:sp>
          <p:nvSpPr>
            <p:cNvPr id="9" name="任意多边形: 形状 8"/>
            <p:cNvSpPr/>
            <p:nvPr/>
          </p:nvSpPr>
          <p:spPr>
            <a:xfrm flipH="1">
              <a:off x="9848785" y="2644807"/>
              <a:ext cx="1670115" cy="2052294"/>
            </a:xfrm>
            <a:custGeom>
              <a:avLst/>
              <a:gdLst>
                <a:gd name="connsiteX0" fmla="*/ 1 w 1670115"/>
                <a:gd name="connsiteY0" fmla="*/ 0 h 2052294"/>
                <a:gd name="connsiteX1" fmla="*/ 5787 w 1670115"/>
                <a:gd name="connsiteY1" fmla="*/ 0 h 2052294"/>
                <a:gd name="connsiteX2" fmla="*/ 1670115 w 1670115"/>
                <a:gd name="connsiteY2" fmla="*/ 1026147 h 2052294"/>
                <a:gd name="connsiteX3" fmla="*/ 5787 w 1670115"/>
                <a:gd name="connsiteY3" fmla="*/ 2052294 h 2052294"/>
                <a:gd name="connsiteX4" fmla="*/ 0 w 1670115"/>
                <a:gd name="connsiteY4" fmla="*/ 2052294 h 2052294"/>
                <a:gd name="connsiteX5" fmla="*/ 850058 w 1670115"/>
                <a:gd name="connsiteY5" fmla="*/ 1026147 h 2052294"/>
                <a:gd name="connsiteX6" fmla="*/ 1 w 1670115"/>
                <a:gd name="connsiteY6" fmla="*/ 0 h 2052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70115" h="2052294">
                  <a:moveTo>
                    <a:pt x="1" y="0"/>
                  </a:moveTo>
                  <a:lnTo>
                    <a:pt x="5787" y="0"/>
                  </a:lnTo>
                  <a:lnTo>
                    <a:pt x="1670115" y="1026147"/>
                  </a:lnTo>
                  <a:lnTo>
                    <a:pt x="5787" y="2052294"/>
                  </a:lnTo>
                  <a:lnTo>
                    <a:pt x="0" y="2052294"/>
                  </a:lnTo>
                  <a:lnTo>
                    <a:pt x="850058" y="1026147"/>
                  </a:lnTo>
                  <a:lnTo>
                    <a:pt x="1" y="0"/>
                  </a:lnTo>
                  <a:close/>
                </a:path>
              </a:pathLst>
            </a:custGeom>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solidFill>
                  <a:schemeClr val="tx1"/>
                </a:solidFill>
              </a:endParaRPr>
            </a:p>
          </p:txBody>
        </p:sp>
        <p:sp>
          <p:nvSpPr>
            <p:cNvPr id="11" name="箭头: V 形 10"/>
            <p:cNvSpPr/>
            <p:nvPr/>
          </p:nvSpPr>
          <p:spPr>
            <a:xfrm flipH="1">
              <a:off x="1773400" y="2644806"/>
              <a:ext cx="2100943" cy="2052295"/>
            </a:xfrm>
            <a:prstGeom prst="chevron">
              <a:avLst>
                <a:gd name="adj" fmla="val 52127"/>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21" name="椭圆 20"/>
            <p:cNvSpPr/>
            <p:nvPr/>
          </p:nvSpPr>
          <p:spPr>
            <a:xfrm flipH="1">
              <a:off x="8046065" y="3450055"/>
              <a:ext cx="437390" cy="437390"/>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rmAutofit/>
            </a:bodyPr>
            <a:lstStyle/>
            <a:p>
              <a:pPr algn="ctr"/>
              <a:r>
                <a:rPr lang="en-US" altLang="zh-CN" sz="1400" b="1" dirty="0">
                  <a:solidFill>
                    <a:srgbClr val="FFFFFF"/>
                  </a:solidFill>
                  <a:latin typeface="Calibri" pitchFamily="34" charset="0"/>
                  <a:ea typeface="宋体" pitchFamily="2" charset="-122"/>
                </a:rPr>
                <a:t>03</a:t>
              </a:r>
              <a:endParaRPr lang="zh-CN" altLang="en-US" sz="1400" b="1" dirty="0">
                <a:solidFill>
                  <a:srgbClr val="FFFFFF"/>
                </a:solidFill>
                <a:latin typeface="Calibri" pitchFamily="34" charset="0"/>
                <a:ea typeface="宋体" pitchFamily="2" charset="-122"/>
              </a:endParaRPr>
            </a:p>
          </p:txBody>
        </p:sp>
        <p:sp>
          <p:nvSpPr>
            <p:cNvPr id="22" name="椭圆 21"/>
            <p:cNvSpPr/>
            <p:nvPr/>
          </p:nvSpPr>
          <p:spPr>
            <a:xfrm flipH="1">
              <a:off x="5965615" y="3450055"/>
              <a:ext cx="437390" cy="437390"/>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rmAutofit/>
            </a:bodyPr>
            <a:lstStyle/>
            <a:p>
              <a:pPr algn="ctr"/>
              <a:r>
                <a:rPr lang="en-US" altLang="zh-CN" sz="1400" b="1" dirty="0">
                  <a:solidFill>
                    <a:srgbClr val="FFFFFF"/>
                  </a:solidFill>
                  <a:latin typeface="Calibri" pitchFamily="34" charset="0"/>
                  <a:ea typeface="宋体" pitchFamily="2" charset="-122"/>
                </a:rPr>
                <a:t>02</a:t>
              </a:r>
              <a:endParaRPr lang="zh-CN" altLang="en-US" sz="1400" b="1" dirty="0">
                <a:solidFill>
                  <a:srgbClr val="FFFFFF"/>
                </a:solidFill>
                <a:latin typeface="Calibri" pitchFamily="34" charset="0"/>
                <a:ea typeface="宋体" pitchFamily="2" charset="-122"/>
              </a:endParaRPr>
            </a:p>
          </p:txBody>
        </p:sp>
        <p:sp>
          <p:nvSpPr>
            <p:cNvPr id="23" name="椭圆 22"/>
            <p:cNvSpPr/>
            <p:nvPr/>
          </p:nvSpPr>
          <p:spPr>
            <a:xfrm flipH="1">
              <a:off x="3887205" y="3450055"/>
              <a:ext cx="437390" cy="437390"/>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rmAutofit/>
            </a:bodyPr>
            <a:lstStyle/>
            <a:p>
              <a:pPr algn="ctr"/>
              <a:r>
                <a:rPr lang="en-US" altLang="zh-CN" sz="1400" b="1" dirty="0">
                  <a:solidFill>
                    <a:srgbClr val="FFFFFF"/>
                  </a:solidFill>
                  <a:latin typeface="Calibri" pitchFamily="34" charset="0"/>
                  <a:ea typeface="宋体" pitchFamily="2" charset="-122"/>
                </a:rPr>
                <a:t>01</a:t>
              </a:r>
              <a:endParaRPr lang="zh-CN" altLang="en-US" sz="1400" b="1" dirty="0">
                <a:solidFill>
                  <a:srgbClr val="FFFFFF"/>
                </a:solidFill>
                <a:latin typeface="Calibri" pitchFamily="34" charset="0"/>
                <a:ea typeface="宋体" pitchFamily="2" charset="-122"/>
              </a:endParaRPr>
            </a:p>
          </p:txBody>
        </p:sp>
        <p:sp>
          <p:nvSpPr>
            <p:cNvPr id="55" name="文本框 54"/>
            <p:cNvSpPr txBox="1"/>
            <p:nvPr/>
          </p:nvSpPr>
          <p:spPr>
            <a:xfrm>
              <a:off x="660400" y="1130299"/>
              <a:ext cx="3521529" cy="1383027"/>
            </a:xfrm>
            <a:prstGeom prst="rect">
              <a:avLst/>
            </a:prstGeom>
            <a:noFill/>
          </p:spPr>
          <p:txBody>
            <a:bodyPr vert="horz" wrap="square" rtlCol="0" anchor="t" anchorCtr="0">
              <a:normAutofit/>
            </a:bodyPr>
            <a:lstStyle/>
            <a:p>
              <a:r>
                <a:rPr lang="en-US" altLang="zh-CN" sz="2400" b="1" dirty="0">
                  <a:latin typeface="Calibri" pitchFamily="34" charset="0"/>
                  <a:ea typeface="宋体" pitchFamily="2" charset="-122"/>
                </a:rPr>
                <a:t>Unified fonts make reading more fluent</a:t>
              </a:r>
              <a:endParaRPr lang="zh-CN" altLang="en-US" sz="2400" b="1" dirty="0">
                <a:latin typeface="Calibri" pitchFamily="34" charset="0"/>
                <a:ea typeface="宋体" pitchFamily="2" charset="-122"/>
              </a:endParaRPr>
            </a:p>
          </p:txBody>
        </p:sp>
        <p:grpSp>
          <p:nvGrpSpPr>
            <p:cNvPr id="60" name="组合 59"/>
            <p:cNvGrpSpPr/>
            <p:nvPr/>
          </p:nvGrpSpPr>
          <p:grpSpPr>
            <a:xfrm>
              <a:off x="4324595" y="1346446"/>
              <a:ext cx="1766163" cy="1766163"/>
              <a:chOff x="4324595" y="1346446"/>
              <a:chExt cx="1766163" cy="1766163"/>
            </a:xfrm>
          </p:grpSpPr>
          <p:sp>
            <p:nvSpPr>
              <p:cNvPr id="25" name="椭圆 24"/>
              <p:cNvSpPr/>
              <p:nvPr/>
            </p:nvSpPr>
            <p:spPr>
              <a:xfrm flipH="1">
                <a:off x="4324595" y="1346446"/>
                <a:ext cx="1766163" cy="1766163"/>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矩形: 圆角 32"/>
              <p:cNvSpPr/>
              <p:nvPr/>
            </p:nvSpPr>
            <p:spPr>
              <a:xfrm flipH="1">
                <a:off x="4524197" y="1704562"/>
                <a:ext cx="1371116" cy="427690"/>
              </a:xfrm>
              <a:prstGeom prst="roundRect">
                <a:avLst>
                  <a:gd name="adj" fmla="val 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b" anchorCtr="0">
                <a:normAutofit fontScale="77500" lnSpcReduction="20000"/>
              </a:bodyPr>
              <a:lstStyle/>
              <a:p>
                <a:pPr algn="ctr"/>
                <a:r>
                  <a:rPr lang="en-US" altLang="zh-CN" b="1" dirty="0">
                    <a:solidFill>
                      <a:srgbClr val="FFFFFF"/>
                    </a:solidFill>
                    <a:latin typeface="Calibri" pitchFamily="34" charset="0"/>
                    <a:ea typeface="宋体" pitchFamily="2" charset="-122"/>
                  </a:rPr>
                  <a:t>Click to add text</a:t>
                </a:r>
                <a:endParaRPr lang="zh-CN" altLang="en-US" b="1" dirty="0">
                  <a:solidFill>
                    <a:srgbClr val="FFFFFF"/>
                  </a:solidFill>
                  <a:latin typeface="Calibri" pitchFamily="34" charset="0"/>
                  <a:ea typeface="宋体" pitchFamily="2" charset="-122"/>
                </a:endParaRPr>
              </a:p>
            </p:txBody>
          </p:sp>
          <p:sp>
            <p:nvSpPr>
              <p:cNvPr id="34" name="矩形 33"/>
              <p:cNvSpPr/>
              <p:nvPr/>
            </p:nvSpPr>
            <p:spPr>
              <a:xfrm flipH="1">
                <a:off x="4524197" y="2139572"/>
                <a:ext cx="1371116" cy="69626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t" anchorCtr="0">
                <a:normAutofit lnSpcReduction="10000"/>
              </a:bodyPr>
              <a:lstStyle/>
              <a:p>
                <a:pPr algn="ctr">
                  <a:lnSpc>
                    <a:spcPct val="120000"/>
                  </a:lnSpc>
                </a:pPr>
                <a:r>
                  <a:rPr lang="fr-FR" altLang="zh-CN" sz="1200">
                    <a:solidFill>
                      <a:srgbClr val="FFFFFF"/>
                    </a:solidFill>
                    <a:latin typeface="Calibri" pitchFamily="34" charset="0"/>
                    <a:ea typeface="宋体" pitchFamily="2" charset="-122"/>
                  </a:rPr>
                  <a:t>Sed dolor est et sit tincidunt delenit dolore duo labore.</a:t>
                </a:r>
                <a:endParaRPr lang="zh-CN" altLang="en-US" sz="1200" dirty="0">
                  <a:solidFill>
                    <a:srgbClr val="FFFFFF"/>
                  </a:solidFill>
                  <a:latin typeface="Calibri" pitchFamily="34" charset="0"/>
                  <a:ea typeface="宋体" pitchFamily="2" charset="-122"/>
                </a:endParaRPr>
              </a:p>
            </p:txBody>
          </p:sp>
        </p:grpSp>
        <p:grpSp>
          <p:nvGrpSpPr>
            <p:cNvPr id="59" name="组合 58"/>
            <p:cNvGrpSpPr/>
            <p:nvPr/>
          </p:nvGrpSpPr>
          <p:grpSpPr>
            <a:xfrm>
              <a:off x="6387736" y="1182211"/>
              <a:ext cx="1944584" cy="1944584"/>
              <a:chOff x="6387736" y="1182211"/>
              <a:chExt cx="1944584" cy="1944584"/>
            </a:xfrm>
          </p:grpSpPr>
          <p:sp>
            <p:nvSpPr>
              <p:cNvPr id="24" name="椭圆 23"/>
              <p:cNvSpPr/>
              <p:nvPr/>
            </p:nvSpPr>
            <p:spPr>
              <a:xfrm flipH="1">
                <a:off x="6387736" y="1182211"/>
                <a:ext cx="1944584" cy="1944584"/>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1" name="矩形: 圆角 30"/>
              <p:cNvSpPr/>
              <p:nvPr/>
            </p:nvSpPr>
            <p:spPr>
              <a:xfrm flipH="1">
                <a:off x="6541010" y="1482371"/>
                <a:ext cx="1667084" cy="536838"/>
              </a:xfrm>
              <a:prstGeom prst="roundRect">
                <a:avLst>
                  <a:gd name="adj" fmla="val 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b" anchorCtr="0">
                <a:normAutofit fontScale="92500"/>
              </a:bodyPr>
              <a:lstStyle/>
              <a:p>
                <a:pPr algn="ctr"/>
                <a:r>
                  <a:rPr lang="en-US" altLang="zh-CN" b="1" dirty="0">
                    <a:solidFill>
                      <a:srgbClr val="FFFFFF"/>
                    </a:solidFill>
                    <a:latin typeface="Calibri" pitchFamily="34" charset="0"/>
                    <a:ea typeface="宋体" pitchFamily="2" charset="-122"/>
                  </a:rPr>
                  <a:t>Click to add text</a:t>
                </a:r>
                <a:endParaRPr lang="zh-CN" altLang="en-US" b="1" dirty="0">
                  <a:solidFill>
                    <a:srgbClr val="FFFFFF"/>
                  </a:solidFill>
                  <a:latin typeface="Calibri" pitchFamily="34" charset="0"/>
                  <a:ea typeface="宋体" pitchFamily="2" charset="-122"/>
                </a:endParaRPr>
              </a:p>
            </p:txBody>
          </p:sp>
          <p:sp>
            <p:nvSpPr>
              <p:cNvPr id="32" name="矩形 31"/>
              <p:cNvSpPr/>
              <p:nvPr/>
            </p:nvSpPr>
            <p:spPr>
              <a:xfrm flipH="1">
                <a:off x="6541010" y="2026529"/>
                <a:ext cx="1667084" cy="84104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t" anchorCtr="0">
                <a:normAutofit/>
              </a:bodyPr>
              <a:lstStyle/>
              <a:p>
                <a:pPr algn="ctr">
                  <a:lnSpc>
                    <a:spcPct val="120000"/>
                  </a:lnSpc>
                </a:pPr>
                <a:r>
                  <a:rPr lang="fr-FR" altLang="zh-CN" sz="1200">
                    <a:solidFill>
                      <a:srgbClr val="FFFFFF"/>
                    </a:solidFill>
                    <a:latin typeface="Calibri" pitchFamily="34" charset="0"/>
                    <a:ea typeface="宋体" pitchFamily="2" charset="-122"/>
                  </a:rPr>
                  <a:t>Duis vulputate eu clita diam et sed dolor est et amet.</a:t>
                </a:r>
                <a:endParaRPr lang="zh-CN" altLang="en-US" sz="1200" dirty="0">
                  <a:solidFill>
                    <a:srgbClr val="FFFFFF"/>
                  </a:solidFill>
                  <a:latin typeface="Calibri" pitchFamily="34" charset="0"/>
                  <a:ea typeface="宋体" pitchFamily="2" charset="-122"/>
                </a:endParaRPr>
              </a:p>
            </p:txBody>
          </p:sp>
        </p:grpSp>
        <p:grpSp>
          <p:nvGrpSpPr>
            <p:cNvPr id="61" name="组合 60"/>
            <p:cNvGrpSpPr/>
            <p:nvPr/>
          </p:nvGrpSpPr>
          <p:grpSpPr>
            <a:xfrm>
              <a:off x="8629298" y="1619167"/>
              <a:ext cx="1531020" cy="1531020"/>
              <a:chOff x="8629298" y="1619167"/>
              <a:chExt cx="1531020" cy="1531020"/>
            </a:xfrm>
          </p:grpSpPr>
          <p:sp>
            <p:nvSpPr>
              <p:cNvPr id="26" name="椭圆 25"/>
              <p:cNvSpPr/>
              <p:nvPr/>
            </p:nvSpPr>
            <p:spPr>
              <a:xfrm flipH="1">
                <a:off x="8629298" y="1619167"/>
                <a:ext cx="1531020" cy="1531020"/>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矩形: 圆角 1"/>
              <p:cNvSpPr/>
              <p:nvPr/>
            </p:nvSpPr>
            <p:spPr>
              <a:xfrm flipH="1">
                <a:off x="8722339" y="1863641"/>
                <a:ext cx="1343026" cy="427690"/>
              </a:xfrm>
              <a:prstGeom prst="roundRect">
                <a:avLst>
                  <a:gd name="adj" fmla="val 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b" anchorCtr="0">
                <a:normAutofit fontScale="70000" lnSpcReduction="20000"/>
              </a:bodyPr>
              <a:lstStyle/>
              <a:p>
                <a:pPr algn="ctr"/>
                <a:r>
                  <a:rPr lang="en-US" altLang="zh-CN" b="1">
                    <a:solidFill>
                      <a:srgbClr val="FFFFFF"/>
                    </a:solidFill>
                    <a:latin typeface="Calibri" pitchFamily="34" charset="0"/>
                    <a:ea typeface="宋体" pitchFamily="2" charset="-122"/>
                  </a:rPr>
                  <a:t>Click to add text</a:t>
                </a:r>
                <a:endParaRPr lang="zh-CN" altLang="en-US" b="1" dirty="0">
                  <a:solidFill>
                    <a:srgbClr val="FFFFFF"/>
                  </a:solidFill>
                  <a:latin typeface="Calibri" pitchFamily="34" charset="0"/>
                  <a:ea typeface="宋体" pitchFamily="2" charset="-122"/>
                </a:endParaRPr>
              </a:p>
            </p:txBody>
          </p:sp>
          <p:sp>
            <p:nvSpPr>
              <p:cNvPr id="4" name="矩形 3"/>
              <p:cNvSpPr/>
              <p:nvPr/>
            </p:nvSpPr>
            <p:spPr>
              <a:xfrm flipH="1">
                <a:off x="8722339" y="2298651"/>
                <a:ext cx="1343026" cy="69626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t" anchorCtr="0">
                <a:normAutofit fontScale="92500"/>
              </a:bodyPr>
              <a:lstStyle/>
              <a:p>
                <a:pPr algn="ctr">
                  <a:lnSpc>
                    <a:spcPct val="120000"/>
                  </a:lnSpc>
                </a:pPr>
                <a:r>
                  <a:rPr lang="en-US" altLang="zh-CN" sz="1200">
                    <a:solidFill>
                      <a:srgbClr val="FFFFFF"/>
                    </a:solidFill>
                    <a:latin typeface="Calibri" pitchFamily="34" charset="0"/>
                    <a:ea typeface="宋体" pitchFamily="2" charset="-122"/>
                  </a:rPr>
                  <a:t>Diam erat tincidunt vel diam invidunt magna consetetur.</a:t>
                </a:r>
                <a:endParaRPr lang="zh-CN" altLang="en-US" sz="1200" dirty="0">
                  <a:solidFill>
                    <a:srgbClr val="FFFFFF"/>
                  </a:solidFill>
                  <a:latin typeface="Calibri" pitchFamily="34" charset="0"/>
                  <a:ea typeface="宋体" pitchFamily="2" charset="-122"/>
                </a:endParaRPr>
              </a:p>
            </p:txBody>
          </p:sp>
        </p:grpSp>
        <p:grpSp>
          <p:nvGrpSpPr>
            <p:cNvPr id="64" name="组合 63"/>
            <p:cNvGrpSpPr/>
            <p:nvPr/>
          </p:nvGrpSpPr>
          <p:grpSpPr>
            <a:xfrm>
              <a:off x="4323877" y="4203702"/>
              <a:ext cx="1766163" cy="1766163"/>
              <a:chOff x="4323877" y="4203702"/>
              <a:chExt cx="1766163" cy="1766163"/>
            </a:xfrm>
          </p:grpSpPr>
          <p:sp>
            <p:nvSpPr>
              <p:cNvPr id="38" name="椭圆 37"/>
              <p:cNvSpPr/>
              <p:nvPr/>
            </p:nvSpPr>
            <p:spPr>
              <a:xfrm flipH="1">
                <a:off x="4323877" y="4203702"/>
                <a:ext cx="1766163" cy="1766163"/>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7" name="矩形: 圆角 46"/>
              <p:cNvSpPr/>
              <p:nvPr/>
            </p:nvSpPr>
            <p:spPr>
              <a:xfrm flipH="1">
                <a:off x="4523479" y="4561818"/>
                <a:ext cx="1371116" cy="427690"/>
              </a:xfrm>
              <a:prstGeom prst="roundRect">
                <a:avLst>
                  <a:gd name="adj" fmla="val 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b" anchorCtr="0">
                <a:normAutofit fontScale="77500" lnSpcReduction="20000"/>
              </a:bodyPr>
              <a:lstStyle/>
              <a:p>
                <a:pPr algn="ctr"/>
                <a:r>
                  <a:rPr lang="en-US" altLang="zh-CN" b="1">
                    <a:solidFill>
                      <a:srgbClr val="FFFFFF"/>
                    </a:solidFill>
                    <a:latin typeface="Calibri" pitchFamily="34" charset="0"/>
                    <a:ea typeface="宋体" pitchFamily="2" charset="-122"/>
                  </a:rPr>
                  <a:t>Click to add text</a:t>
                </a:r>
                <a:endParaRPr lang="zh-CN" altLang="en-US" b="1" dirty="0">
                  <a:solidFill>
                    <a:srgbClr val="FFFFFF"/>
                  </a:solidFill>
                  <a:latin typeface="Calibri" pitchFamily="34" charset="0"/>
                  <a:ea typeface="宋体" pitchFamily="2" charset="-122"/>
                </a:endParaRPr>
              </a:p>
            </p:txBody>
          </p:sp>
          <p:sp>
            <p:nvSpPr>
              <p:cNvPr id="48" name="矩形 47"/>
              <p:cNvSpPr/>
              <p:nvPr/>
            </p:nvSpPr>
            <p:spPr>
              <a:xfrm flipH="1">
                <a:off x="4523479" y="4996828"/>
                <a:ext cx="1371116" cy="69626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t" anchorCtr="0">
                <a:normAutofit fontScale="92500"/>
              </a:bodyPr>
              <a:lstStyle/>
              <a:p>
                <a:pPr algn="ctr">
                  <a:lnSpc>
                    <a:spcPct val="120000"/>
                  </a:lnSpc>
                </a:pPr>
                <a:r>
                  <a:rPr lang="en-US" altLang="zh-CN" sz="1200">
                    <a:solidFill>
                      <a:srgbClr val="FFFFFF"/>
                    </a:solidFill>
                    <a:latin typeface="Calibri" pitchFamily="34" charset="0"/>
                    <a:ea typeface="宋体" pitchFamily="2" charset="-122"/>
                  </a:rPr>
                  <a:t>Et nibh magna sea kasd est amet ipsum invidunt facilisis.</a:t>
                </a:r>
                <a:endParaRPr lang="zh-CN" altLang="en-US" sz="1200" dirty="0">
                  <a:solidFill>
                    <a:srgbClr val="FFFFFF"/>
                  </a:solidFill>
                  <a:latin typeface="Calibri" pitchFamily="34" charset="0"/>
                  <a:ea typeface="宋体" pitchFamily="2" charset="-122"/>
                </a:endParaRPr>
              </a:p>
            </p:txBody>
          </p:sp>
        </p:grpSp>
        <p:grpSp>
          <p:nvGrpSpPr>
            <p:cNvPr id="63" name="组合 62"/>
            <p:cNvGrpSpPr/>
            <p:nvPr/>
          </p:nvGrpSpPr>
          <p:grpSpPr>
            <a:xfrm>
              <a:off x="6387018" y="4189516"/>
              <a:ext cx="1944584" cy="1944584"/>
              <a:chOff x="6387018" y="4189516"/>
              <a:chExt cx="1944584" cy="1944584"/>
            </a:xfrm>
          </p:grpSpPr>
          <p:sp>
            <p:nvSpPr>
              <p:cNvPr id="37" name="椭圆 36"/>
              <p:cNvSpPr/>
              <p:nvPr/>
            </p:nvSpPr>
            <p:spPr>
              <a:xfrm flipH="1">
                <a:off x="6387018" y="4189516"/>
                <a:ext cx="1944584" cy="1944584"/>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5" name="矩形: 圆角 44"/>
              <p:cNvSpPr/>
              <p:nvPr/>
            </p:nvSpPr>
            <p:spPr>
              <a:xfrm flipH="1">
                <a:off x="6540292" y="4489676"/>
                <a:ext cx="1667084" cy="536838"/>
              </a:xfrm>
              <a:prstGeom prst="roundRect">
                <a:avLst>
                  <a:gd name="adj" fmla="val 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b" anchorCtr="0">
                <a:normAutofit fontScale="92500"/>
              </a:bodyPr>
              <a:lstStyle/>
              <a:p>
                <a:pPr algn="ctr"/>
                <a:r>
                  <a:rPr lang="en-US" altLang="zh-CN" b="1">
                    <a:solidFill>
                      <a:srgbClr val="FFFFFF"/>
                    </a:solidFill>
                    <a:latin typeface="Calibri" pitchFamily="34" charset="0"/>
                    <a:ea typeface="宋体" pitchFamily="2" charset="-122"/>
                  </a:rPr>
                  <a:t>Click to add text</a:t>
                </a:r>
                <a:endParaRPr lang="zh-CN" altLang="en-US" b="1" dirty="0">
                  <a:solidFill>
                    <a:srgbClr val="FFFFFF"/>
                  </a:solidFill>
                  <a:latin typeface="Calibri" pitchFamily="34" charset="0"/>
                  <a:ea typeface="宋体" pitchFamily="2" charset="-122"/>
                </a:endParaRPr>
              </a:p>
            </p:txBody>
          </p:sp>
          <p:sp>
            <p:nvSpPr>
              <p:cNvPr id="46" name="矩形 45"/>
              <p:cNvSpPr/>
              <p:nvPr/>
            </p:nvSpPr>
            <p:spPr>
              <a:xfrm flipH="1">
                <a:off x="6540292" y="5033834"/>
                <a:ext cx="1667084" cy="84104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t" anchorCtr="0">
                <a:normAutofit/>
              </a:bodyPr>
              <a:lstStyle/>
              <a:p>
                <a:pPr algn="ctr">
                  <a:lnSpc>
                    <a:spcPct val="120000"/>
                  </a:lnSpc>
                </a:pPr>
                <a:r>
                  <a:rPr lang="en-US" altLang="zh-CN" sz="1200">
                    <a:solidFill>
                      <a:srgbClr val="FFFFFF"/>
                    </a:solidFill>
                    <a:latin typeface="Calibri" pitchFamily="34" charset="0"/>
                    <a:ea typeface="宋体" pitchFamily="2" charset="-122"/>
                  </a:rPr>
                  <a:t>Ipsum ea dolor sed quis sanctus nonummy elitr lorem dolor.</a:t>
                </a:r>
                <a:endParaRPr lang="zh-CN" altLang="en-US" sz="1200" dirty="0">
                  <a:solidFill>
                    <a:srgbClr val="FFFFFF"/>
                  </a:solidFill>
                  <a:latin typeface="Calibri" pitchFamily="34" charset="0"/>
                  <a:ea typeface="宋体" pitchFamily="2" charset="-122"/>
                </a:endParaRPr>
              </a:p>
            </p:txBody>
          </p:sp>
        </p:grpSp>
        <p:grpSp>
          <p:nvGrpSpPr>
            <p:cNvPr id="62" name="组合 61"/>
            <p:cNvGrpSpPr/>
            <p:nvPr/>
          </p:nvGrpSpPr>
          <p:grpSpPr>
            <a:xfrm>
              <a:off x="8628580" y="4166124"/>
              <a:ext cx="1531020" cy="1531020"/>
              <a:chOff x="8628580" y="4166124"/>
              <a:chExt cx="1531020" cy="1531020"/>
            </a:xfrm>
          </p:grpSpPr>
          <p:sp>
            <p:nvSpPr>
              <p:cNvPr id="39" name="椭圆 38"/>
              <p:cNvSpPr/>
              <p:nvPr/>
            </p:nvSpPr>
            <p:spPr>
              <a:xfrm flipH="1">
                <a:off x="8628580" y="4166124"/>
                <a:ext cx="1531020" cy="1531020"/>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圆角 39"/>
              <p:cNvSpPr/>
              <p:nvPr/>
            </p:nvSpPr>
            <p:spPr>
              <a:xfrm flipH="1">
                <a:off x="8721621" y="4410598"/>
                <a:ext cx="1343026" cy="427690"/>
              </a:xfrm>
              <a:prstGeom prst="roundRect">
                <a:avLst>
                  <a:gd name="adj" fmla="val 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b" anchorCtr="0">
                <a:normAutofit fontScale="70000" lnSpcReduction="20000"/>
              </a:bodyPr>
              <a:lstStyle/>
              <a:p>
                <a:pPr algn="ctr"/>
                <a:r>
                  <a:rPr lang="en-US" altLang="zh-CN" b="1">
                    <a:solidFill>
                      <a:srgbClr val="FFFFFF"/>
                    </a:solidFill>
                    <a:latin typeface="Calibri" pitchFamily="34" charset="0"/>
                    <a:ea typeface="宋体" pitchFamily="2" charset="-122"/>
                  </a:rPr>
                  <a:t>Click to add text</a:t>
                </a:r>
                <a:endParaRPr lang="zh-CN" altLang="en-US" b="1" dirty="0">
                  <a:solidFill>
                    <a:srgbClr val="FFFFFF"/>
                  </a:solidFill>
                  <a:latin typeface="Calibri" pitchFamily="34" charset="0"/>
                  <a:ea typeface="宋体" pitchFamily="2" charset="-122"/>
                </a:endParaRPr>
              </a:p>
            </p:txBody>
          </p:sp>
          <p:sp>
            <p:nvSpPr>
              <p:cNvPr id="41" name="矩形 40"/>
              <p:cNvSpPr/>
              <p:nvPr/>
            </p:nvSpPr>
            <p:spPr>
              <a:xfrm flipH="1">
                <a:off x="8721621" y="4845608"/>
                <a:ext cx="1343026" cy="69626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t" anchorCtr="0">
                <a:normAutofit fontScale="92500"/>
              </a:bodyPr>
              <a:lstStyle/>
              <a:p>
                <a:pPr algn="ctr">
                  <a:lnSpc>
                    <a:spcPct val="120000"/>
                  </a:lnSpc>
                </a:pPr>
                <a:r>
                  <a:rPr lang="en-US" altLang="zh-CN" sz="1200">
                    <a:solidFill>
                      <a:srgbClr val="FFFFFF"/>
                    </a:solidFill>
                    <a:latin typeface="Calibri" pitchFamily="34" charset="0"/>
                    <a:ea typeface="宋体" pitchFamily="2" charset="-122"/>
                  </a:rPr>
                  <a:t>Magna est hendrerit ipsum sed elit ea eos dignissim.</a:t>
                </a:r>
                <a:endParaRPr lang="zh-CN" altLang="en-US" sz="1200" dirty="0">
                  <a:solidFill>
                    <a:srgbClr val="FFFFFF"/>
                  </a:solidFill>
                  <a:latin typeface="Calibri" pitchFamily="34" charset="0"/>
                  <a:ea typeface="宋体" pitchFamily="2" charset="-122"/>
                </a:endParaRPr>
              </a:p>
            </p:txBody>
          </p:sp>
        </p:grpSp>
      </p:gr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0" name="组合 29"/>
          <p:cNvGrpSpPr/>
          <p:nvPr/>
        </p:nvGrpSpPr>
        <p:grpSpPr>
          <a:xfrm>
            <a:off x="669155" y="1028700"/>
            <a:ext cx="10855431" cy="5105400"/>
            <a:chOff x="669155" y="1028700"/>
            <a:chExt cx="10855430" cy="5105400"/>
          </a:xfrm>
        </p:grpSpPr>
        <p:sp>
          <p:nvSpPr>
            <p:cNvPr id="8" name="文本框 7"/>
            <p:cNvSpPr txBox="1"/>
            <p:nvPr/>
          </p:nvSpPr>
          <p:spPr>
            <a:xfrm>
              <a:off x="1308100" y="1028700"/>
              <a:ext cx="9575800" cy="644239"/>
            </a:xfrm>
            <a:prstGeom prst="rect">
              <a:avLst/>
            </a:prstGeom>
            <a:noFill/>
          </p:spPr>
          <p:txBody>
            <a:bodyPr wrap="square" anchor="b">
              <a:normAutofit/>
            </a:bodyPr>
            <a:lstStyle/>
            <a:p>
              <a:pPr algn="ctr" defTabSz="913765">
                <a:buSzPct val="25000"/>
                <a:defRPr/>
              </a:pPr>
              <a:r>
                <a:rPr lang="en-US" altLang="zh-CN" sz="2400" b="1" dirty="0">
                  <a:latin typeface="Calibri" pitchFamily="34" charset="0"/>
                  <a:ea typeface="宋体" pitchFamily="2" charset="-122"/>
                </a:rPr>
                <a:t>Unified fonts make reading more fluent. </a:t>
              </a:r>
              <a:endParaRPr lang="en-US" altLang="zh-CN" sz="2400" b="1" dirty="0">
                <a:latin typeface="Calibri" pitchFamily="34" charset="0"/>
                <a:ea typeface="宋体" pitchFamily="2" charset="-122"/>
              </a:endParaRPr>
            </a:p>
          </p:txBody>
        </p:sp>
        <p:grpSp>
          <p:nvGrpSpPr>
            <p:cNvPr id="29" name="组合 28"/>
            <p:cNvGrpSpPr/>
            <p:nvPr/>
          </p:nvGrpSpPr>
          <p:grpSpPr>
            <a:xfrm>
              <a:off x="669155" y="2033836"/>
              <a:ext cx="10855430" cy="4100264"/>
              <a:chOff x="669155" y="2033836"/>
              <a:chExt cx="10855430" cy="4100264"/>
            </a:xfrm>
          </p:grpSpPr>
          <p:grpSp>
            <p:nvGrpSpPr>
              <p:cNvPr id="27" name="组合 26"/>
              <p:cNvGrpSpPr/>
              <p:nvPr/>
            </p:nvGrpSpPr>
            <p:grpSpPr>
              <a:xfrm>
                <a:off x="3804026" y="2033836"/>
                <a:ext cx="4556658" cy="4024234"/>
                <a:chOff x="3804026" y="2033836"/>
                <a:chExt cx="4556658" cy="4024234"/>
              </a:xfrm>
            </p:grpSpPr>
            <p:sp>
              <p:nvSpPr>
                <p:cNvPr id="3" name="任意多边形: 形状 2"/>
                <p:cNvSpPr/>
                <p:nvPr/>
              </p:nvSpPr>
              <p:spPr>
                <a:xfrm>
                  <a:off x="3804026" y="2033836"/>
                  <a:ext cx="4556658" cy="4024234"/>
                </a:xfrm>
                <a:custGeom>
                  <a:avLst/>
                  <a:gdLst>
                    <a:gd name="connsiteX0" fmla="*/ 1497388 w 2703831"/>
                    <a:gd name="connsiteY0" fmla="*/ 84432 h 2387901"/>
                    <a:gd name="connsiteX1" fmla="*/ 2679441 w 2703831"/>
                    <a:gd name="connsiteY1" fmla="*/ 2132784 h 2387901"/>
                    <a:gd name="connsiteX2" fmla="*/ 2617052 w 2703831"/>
                    <a:gd name="connsiteY2" fmla="*/ 2364870 h 2387901"/>
                    <a:gd name="connsiteX3" fmla="*/ 2532279 w 2703831"/>
                    <a:gd name="connsiteY3" fmla="*/ 2387577 h 2387901"/>
                    <a:gd name="connsiteX4" fmla="*/ 168175 w 2703831"/>
                    <a:gd name="connsiteY4" fmla="*/ 2387577 h 2387901"/>
                    <a:gd name="connsiteX5" fmla="*/ -1657 w 2703831"/>
                    <a:gd name="connsiteY5" fmla="*/ 2217594 h 2387901"/>
                    <a:gd name="connsiteX6" fmla="*/ 21013 w 2703831"/>
                    <a:gd name="connsiteY6" fmla="*/ 2132784 h 2387901"/>
                    <a:gd name="connsiteX7" fmla="*/ 1203066 w 2703831"/>
                    <a:gd name="connsiteY7" fmla="*/ 84909 h 2387901"/>
                    <a:gd name="connsiteX8" fmla="*/ 1435095 w 2703831"/>
                    <a:gd name="connsiteY8" fmla="*/ 22329 h 2387901"/>
                    <a:gd name="connsiteX9" fmla="*/ 1497388 w 2703831"/>
                    <a:gd name="connsiteY9" fmla="*/ 84432 h 2387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03831" h="2387901">
                      <a:moveTo>
                        <a:pt x="1497388" y="84432"/>
                      </a:moveTo>
                      <a:lnTo>
                        <a:pt x="2679441" y="2132784"/>
                      </a:lnTo>
                      <a:cubicBezTo>
                        <a:pt x="2726303" y="2214089"/>
                        <a:pt x="2698396" y="2317997"/>
                        <a:pt x="2617052" y="2364870"/>
                      </a:cubicBezTo>
                      <a:cubicBezTo>
                        <a:pt x="2591335" y="2379738"/>
                        <a:pt x="2562092" y="2387568"/>
                        <a:pt x="2532279" y="2387577"/>
                      </a:cubicBezTo>
                      <a:lnTo>
                        <a:pt x="168175" y="2387577"/>
                      </a:lnTo>
                      <a:cubicBezTo>
                        <a:pt x="74354" y="2387549"/>
                        <a:pt x="-1751" y="2311444"/>
                        <a:pt x="-1657" y="2217594"/>
                      </a:cubicBezTo>
                      <a:cubicBezTo>
                        <a:pt x="-1657" y="2187829"/>
                        <a:pt x="6154" y="2158578"/>
                        <a:pt x="21013" y="2132784"/>
                      </a:cubicBezTo>
                      <a:lnTo>
                        <a:pt x="1203066" y="84909"/>
                      </a:lnTo>
                      <a:cubicBezTo>
                        <a:pt x="1249833" y="3556"/>
                        <a:pt x="1353751" y="-24457"/>
                        <a:pt x="1435095" y="22329"/>
                      </a:cubicBezTo>
                      <a:cubicBezTo>
                        <a:pt x="1460907" y="37207"/>
                        <a:pt x="1482434" y="58620"/>
                        <a:pt x="1497388" y="84432"/>
                      </a:cubicBezTo>
                      <a:close/>
                    </a:path>
                  </a:pathLst>
                </a:custGeom>
                <a:solidFill>
                  <a:schemeClr val="accent1">
                    <a:alpha val="15000"/>
                  </a:schemeClr>
                </a:solidFill>
                <a:ln w="9525" cap="flat">
                  <a:noFill/>
                  <a:prstDash val="solid"/>
                  <a:miter/>
                </a:ln>
              </p:spPr>
              <p:txBody>
                <a:bodyPr rtlCol="0" anchor="ctr"/>
                <a:lstStyle/>
                <a:p>
                  <a:endParaRPr lang="zh-CN" altLang="en-US"/>
                </a:p>
              </p:txBody>
            </p:sp>
            <p:sp>
              <p:nvSpPr>
                <p:cNvPr id="24" name="任意多边形: 形状 23"/>
                <p:cNvSpPr/>
                <p:nvPr/>
              </p:nvSpPr>
              <p:spPr>
                <a:xfrm>
                  <a:off x="4762852" y="3081503"/>
                  <a:ext cx="2677698" cy="2372296"/>
                </a:xfrm>
                <a:custGeom>
                  <a:avLst/>
                  <a:gdLst>
                    <a:gd name="connsiteX0" fmla="*/ 3368200 w 7741090"/>
                    <a:gd name="connsiteY0" fmla="*/ 289814 h 6858187"/>
                    <a:gd name="connsiteX1" fmla="*/ 78762 w 7741090"/>
                    <a:gd name="connsiteY1" fmla="*/ 5988557 h 6858187"/>
                    <a:gd name="connsiteX2" fmla="*/ 580731 w 7741090"/>
                    <a:gd name="connsiteY2" fmla="*/ 6858188 h 6858187"/>
                    <a:gd name="connsiteX3" fmla="*/ 7160359 w 7741090"/>
                    <a:gd name="connsiteY3" fmla="*/ 6858188 h 6858187"/>
                    <a:gd name="connsiteX4" fmla="*/ 7662329 w 7741090"/>
                    <a:gd name="connsiteY4" fmla="*/ 5988557 h 6858187"/>
                    <a:gd name="connsiteX5" fmla="*/ 4372890 w 7741090"/>
                    <a:gd name="connsiteY5" fmla="*/ 289814 h 6858187"/>
                    <a:gd name="connsiteX6" fmla="*/ 3368200 w 7741090"/>
                    <a:gd name="connsiteY6" fmla="*/ 289814 h 685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41090" h="6858187">
                      <a:moveTo>
                        <a:pt x="3368200" y="289814"/>
                      </a:moveTo>
                      <a:lnTo>
                        <a:pt x="78762" y="5988557"/>
                      </a:lnTo>
                      <a:cubicBezTo>
                        <a:pt x="-144836" y="6374976"/>
                        <a:pt x="134286" y="6858188"/>
                        <a:pt x="580731" y="6858188"/>
                      </a:cubicBezTo>
                      <a:lnTo>
                        <a:pt x="7160359" y="6858188"/>
                      </a:lnTo>
                      <a:cubicBezTo>
                        <a:pt x="7606805" y="6858188"/>
                        <a:pt x="7885927" y="6374976"/>
                        <a:pt x="7662329" y="5988557"/>
                      </a:cubicBezTo>
                      <a:lnTo>
                        <a:pt x="4372890" y="289814"/>
                      </a:lnTo>
                      <a:cubicBezTo>
                        <a:pt x="4150042" y="-96605"/>
                        <a:pt x="3591798" y="-96605"/>
                        <a:pt x="3368200" y="289814"/>
                      </a:cubicBezTo>
                      <a:close/>
                    </a:path>
                  </a:pathLst>
                </a:custGeom>
                <a:blipFill>
                  <a:blip r:embed="rId1"/>
                  <a:srcRect/>
                  <a:stretch>
                    <a:fillRect l="-17718" t="695" r="-19230" b="-695"/>
                  </a:stretch>
                </a:blipFill>
                <a:ln w="12700" cap="flat" cmpd="sng" algn="ctr">
                  <a:noFill/>
                  <a:prstDash val="solid"/>
                  <a:miter lim="800000"/>
                </a:ln>
                <a:effectLst/>
                <a:extLst>
                  <a:ext uri="{91240B29-F687-4F45-9708-019B960494DF}">
                    <a14:hiddenLine xmlns:a14="http://schemas.microsoft.com/office/drawing/2010/main" w="12700">
                      <a:solidFill>
                        <a:schemeClr val="accent1">
                          <a:shade val="50000"/>
                        </a:schemeClr>
                      </a:solidFill>
                      <a:prstDash val="solid"/>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altLang="zh-CN" dirty="0"/>
                </a:p>
              </p:txBody>
            </p:sp>
          </p:grpSp>
          <p:grpSp>
            <p:nvGrpSpPr>
              <p:cNvPr id="25" name="组合 24"/>
              <p:cNvGrpSpPr/>
              <p:nvPr/>
            </p:nvGrpSpPr>
            <p:grpSpPr>
              <a:xfrm>
                <a:off x="6581076" y="2474382"/>
                <a:ext cx="4943509" cy="1466050"/>
                <a:chOff x="6581076" y="2474382"/>
                <a:chExt cx="4943509" cy="1466050"/>
              </a:xfrm>
            </p:grpSpPr>
            <p:sp>
              <p:nvSpPr>
                <p:cNvPr id="5" name="矩形: 圆角 4"/>
                <p:cNvSpPr/>
                <p:nvPr/>
              </p:nvSpPr>
              <p:spPr>
                <a:xfrm>
                  <a:off x="6581076" y="2832774"/>
                  <a:ext cx="2185789" cy="607121"/>
                </a:xfrm>
                <a:prstGeom prst="roundRect">
                  <a:avLst>
                    <a:gd name="adj" fmla="val 50000"/>
                  </a:avLst>
                </a:prstGeom>
                <a:gradFill>
                  <a:gsLst>
                    <a:gs pos="0">
                      <a:schemeClr val="accent2">
                        <a:lumMod val="60000"/>
                        <a:lumOff val="40000"/>
                      </a:schemeClr>
                    </a:gs>
                    <a:gs pos="50000">
                      <a:schemeClr val="accent2"/>
                    </a:gs>
                  </a:gsLst>
                  <a:lin ang="27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Ins="288000" rtlCol="0" anchor="ctr"/>
                <a:lstStyle/>
                <a:p>
                  <a:pPr algn="ctr"/>
                  <a:r>
                    <a:rPr kumimoji="1" lang="en-US" altLang="zh-CN" b="1" dirty="0">
                      <a:solidFill>
                        <a:srgbClr val="FFFFFF"/>
                      </a:solidFill>
                      <a:latin typeface="Calibri" pitchFamily="34" charset="0"/>
                      <a:ea typeface="宋体" pitchFamily="2" charset="-122"/>
                    </a:rPr>
                    <a:t>Step2</a:t>
                  </a:r>
                  <a:endParaRPr kumimoji="1" lang="en-US" altLang="zh-CN" b="1" dirty="0">
                    <a:solidFill>
                      <a:srgbClr val="FFFFFF"/>
                    </a:solidFill>
                    <a:latin typeface="Calibri" pitchFamily="34" charset="0"/>
                    <a:ea typeface="宋体" pitchFamily="2" charset="-122"/>
                  </a:endParaRPr>
                </a:p>
              </p:txBody>
            </p:sp>
            <p:grpSp>
              <p:nvGrpSpPr>
                <p:cNvPr id="9" name="组合 8"/>
                <p:cNvGrpSpPr/>
                <p:nvPr/>
              </p:nvGrpSpPr>
              <p:grpSpPr>
                <a:xfrm>
                  <a:off x="8956660" y="2474382"/>
                  <a:ext cx="2567925" cy="1466050"/>
                  <a:chOff x="3111106" y="1256073"/>
                  <a:chExt cx="2567925" cy="1466050"/>
                </a:xfrm>
              </p:grpSpPr>
              <p:grpSp>
                <p:nvGrpSpPr>
                  <p:cNvPr id="10" name="组合 9"/>
                  <p:cNvGrpSpPr/>
                  <p:nvPr/>
                </p:nvGrpSpPr>
                <p:grpSpPr>
                  <a:xfrm>
                    <a:off x="3325482" y="1256073"/>
                    <a:ext cx="2353549" cy="1466050"/>
                    <a:chOff x="7119255" y="2116661"/>
                    <a:chExt cx="2794668" cy="1442394"/>
                  </a:xfrm>
                  <a:noFill/>
                </p:grpSpPr>
                <p:sp>
                  <p:nvSpPr>
                    <p:cNvPr id="12" name="矩形 11"/>
                    <p:cNvSpPr/>
                    <p:nvPr/>
                  </p:nvSpPr>
                  <p:spPr>
                    <a:xfrm>
                      <a:off x="7119257" y="2116661"/>
                      <a:ext cx="2794666" cy="5973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r>
                        <a:rPr kumimoji="1" lang="en-US" altLang="zh-CN" b="1">
                          <a:solidFill>
                            <a:schemeClr val="tx1"/>
                          </a:solidFill>
                          <a:latin typeface="Calibri" pitchFamily="34" charset="0"/>
                          <a:ea typeface="宋体" pitchFamily="2" charset="-122"/>
                        </a:rPr>
                        <a:t>Click to add text</a:t>
                      </a:r>
                      <a:endParaRPr kumimoji="1" lang="en-US" altLang="zh-CN" b="1" dirty="0">
                        <a:solidFill>
                          <a:schemeClr val="tx1"/>
                        </a:solidFill>
                        <a:latin typeface="Calibri" pitchFamily="34" charset="0"/>
                        <a:ea typeface="宋体" pitchFamily="2" charset="-122"/>
                      </a:endParaRPr>
                    </a:p>
                  </p:txBody>
                </p:sp>
                <p:sp>
                  <p:nvSpPr>
                    <p:cNvPr id="13" name="矩形 12"/>
                    <p:cNvSpPr/>
                    <p:nvPr/>
                  </p:nvSpPr>
                  <p:spPr>
                    <a:xfrm>
                      <a:off x="7119255" y="2717373"/>
                      <a:ext cx="2792602" cy="8416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nSpc>
                          <a:spcPct val="120000"/>
                        </a:lnSpc>
                      </a:pPr>
                      <a:r>
                        <a:rPr kumimoji="1" lang="pt-BR" altLang="zh-CN" sz="1200">
                          <a:solidFill>
                            <a:schemeClr val="tx1"/>
                          </a:solidFill>
                          <a:latin typeface="Calibri" pitchFamily="34" charset="0"/>
                          <a:ea typeface="宋体" pitchFamily="2" charset="-122"/>
                        </a:rPr>
                        <a:t>Ea justo labore facilisis sit nisl suscipit justo.</a:t>
                      </a:r>
                      <a:endParaRPr kumimoji="1" lang="en-US" altLang="zh-CN" sz="1200" dirty="0">
                        <a:solidFill>
                          <a:schemeClr val="tx1"/>
                        </a:solidFill>
                        <a:latin typeface="Calibri" pitchFamily="34" charset="0"/>
                        <a:ea typeface="宋体" pitchFamily="2" charset="-122"/>
                      </a:endParaRPr>
                    </a:p>
                  </p:txBody>
                </p:sp>
              </p:grpSp>
              <p:cxnSp>
                <p:nvCxnSpPr>
                  <p:cNvPr id="11" name="直接连接符 10"/>
                  <p:cNvCxnSpPr/>
                  <p:nvPr/>
                </p:nvCxnSpPr>
                <p:spPr>
                  <a:xfrm>
                    <a:off x="3111106" y="1567180"/>
                    <a:ext cx="0" cy="855486"/>
                  </a:xfrm>
                  <a:prstGeom prst="line">
                    <a:avLst/>
                  </a:prstGeom>
                  <a:ln w="25400">
                    <a:solidFill>
                      <a:schemeClr val="accent2"/>
                    </a:solidFill>
                    <a:headEnd type="oval"/>
                    <a:tailEnd type="none"/>
                  </a:ln>
                </p:spPr>
                <p:style>
                  <a:lnRef idx="1">
                    <a:schemeClr val="accent1"/>
                  </a:lnRef>
                  <a:fillRef idx="0">
                    <a:schemeClr val="accent1"/>
                  </a:fillRef>
                  <a:effectRef idx="0">
                    <a:schemeClr val="accent1"/>
                  </a:effectRef>
                  <a:fontRef idx="minor">
                    <a:schemeClr val="tx1"/>
                  </a:fontRef>
                </p:style>
              </p:cxnSp>
            </p:grpSp>
          </p:grpSp>
          <p:grpSp>
            <p:nvGrpSpPr>
              <p:cNvPr id="26" name="组合 25"/>
              <p:cNvGrpSpPr/>
              <p:nvPr/>
            </p:nvGrpSpPr>
            <p:grpSpPr>
              <a:xfrm>
                <a:off x="6581076" y="4668050"/>
                <a:ext cx="4943509" cy="1466050"/>
                <a:chOff x="6581076" y="4668050"/>
                <a:chExt cx="4943509" cy="1466050"/>
              </a:xfrm>
            </p:grpSpPr>
            <p:sp>
              <p:nvSpPr>
                <p:cNvPr id="7" name="矩形: 圆角 6"/>
                <p:cNvSpPr/>
                <p:nvPr/>
              </p:nvSpPr>
              <p:spPr>
                <a:xfrm>
                  <a:off x="6581076" y="4916044"/>
                  <a:ext cx="2185789" cy="607121"/>
                </a:xfrm>
                <a:prstGeom prst="roundRect">
                  <a:avLst>
                    <a:gd name="adj" fmla="val 50000"/>
                  </a:avLst>
                </a:prstGeom>
                <a:gradFill>
                  <a:gsLst>
                    <a:gs pos="0">
                      <a:schemeClr val="accent2">
                        <a:lumMod val="60000"/>
                        <a:lumOff val="40000"/>
                      </a:schemeClr>
                    </a:gs>
                    <a:gs pos="50000">
                      <a:schemeClr val="accent2"/>
                    </a:gs>
                  </a:gsLst>
                  <a:lin ang="27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Ins="288000" rtlCol="0" anchor="ctr"/>
                <a:lstStyle/>
                <a:p>
                  <a:pPr algn="ctr"/>
                  <a:r>
                    <a:rPr kumimoji="1" lang="en-US" altLang="zh-CN" b="1" dirty="0">
                      <a:solidFill>
                        <a:srgbClr val="FFFFFF"/>
                      </a:solidFill>
                      <a:latin typeface="Calibri" pitchFamily="34" charset="0"/>
                      <a:ea typeface="宋体" pitchFamily="2" charset="-122"/>
                    </a:rPr>
                    <a:t>Step3</a:t>
                  </a:r>
                  <a:endParaRPr kumimoji="1" lang="en-US" altLang="zh-CN" b="1" dirty="0">
                    <a:solidFill>
                      <a:srgbClr val="FFFFFF"/>
                    </a:solidFill>
                    <a:latin typeface="Calibri" pitchFamily="34" charset="0"/>
                    <a:ea typeface="宋体" pitchFamily="2" charset="-122"/>
                  </a:endParaRPr>
                </a:p>
              </p:txBody>
            </p:sp>
            <p:grpSp>
              <p:nvGrpSpPr>
                <p:cNvPr id="14" name="组合 13"/>
                <p:cNvGrpSpPr/>
                <p:nvPr/>
              </p:nvGrpSpPr>
              <p:grpSpPr>
                <a:xfrm>
                  <a:off x="8956660" y="4668050"/>
                  <a:ext cx="2567925" cy="1466050"/>
                  <a:chOff x="3111106" y="1256073"/>
                  <a:chExt cx="2567925" cy="1466050"/>
                </a:xfrm>
              </p:grpSpPr>
              <p:grpSp>
                <p:nvGrpSpPr>
                  <p:cNvPr id="15" name="组合 14"/>
                  <p:cNvGrpSpPr/>
                  <p:nvPr/>
                </p:nvGrpSpPr>
                <p:grpSpPr>
                  <a:xfrm>
                    <a:off x="3325482" y="1256073"/>
                    <a:ext cx="2353549" cy="1466050"/>
                    <a:chOff x="7119255" y="2116661"/>
                    <a:chExt cx="2794668" cy="1442394"/>
                  </a:xfrm>
                  <a:noFill/>
                </p:grpSpPr>
                <p:sp>
                  <p:nvSpPr>
                    <p:cNvPr id="17" name="矩形 16"/>
                    <p:cNvSpPr/>
                    <p:nvPr/>
                  </p:nvSpPr>
                  <p:spPr>
                    <a:xfrm>
                      <a:off x="7119257" y="2116661"/>
                      <a:ext cx="2794666" cy="5973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r>
                        <a:rPr kumimoji="1" lang="en-US" altLang="zh-CN" b="1">
                          <a:solidFill>
                            <a:schemeClr val="tx1"/>
                          </a:solidFill>
                          <a:latin typeface="Calibri" pitchFamily="34" charset="0"/>
                          <a:ea typeface="宋体" pitchFamily="2" charset="-122"/>
                        </a:rPr>
                        <a:t>Click to add text</a:t>
                      </a:r>
                      <a:endParaRPr kumimoji="1" lang="en-US" altLang="zh-CN" b="1" dirty="0">
                        <a:solidFill>
                          <a:schemeClr val="tx1"/>
                        </a:solidFill>
                        <a:latin typeface="Calibri" pitchFamily="34" charset="0"/>
                        <a:ea typeface="宋体" pitchFamily="2" charset="-122"/>
                      </a:endParaRPr>
                    </a:p>
                  </p:txBody>
                </p:sp>
                <p:sp>
                  <p:nvSpPr>
                    <p:cNvPr id="18" name="矩形 17"/>
                    <p:cNvSpPr/>
                    <p:nvPr/>
                  </p:nvSpPr>
                  <p:spPr>
                    <a:xfrm>
                      <a:off x="7119255" y="2717373"/>
                      <a:ext cx="2792602" cy="8416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nSpc>
                          <a:spcPct val="120000"/>
                        </a:lnSpc>
                      </a:pPr>
                      <a:r>
                        <a:rPr kumimoji="1" lang="pt-BR" altLang="zh-CN" sz="1200">
                          <a:solidFill>
                            <a:schemeClr val="tx1"/>
                          </a:solidFill>
                          <a:latin typeface="Calibri" pitchFamily="34" charset="0"/>
                          <a:ea typeface="宋体" pitchFamily="2" charset="-122"/>
                        </a:rPr>
                        <a:t>Ea justo labore facilisis sit nisl suscipit justo.</a:t>
                      </a:r>
                      <a:endParaRPr kumimoji="1" lang="en-US" altLang="zh-CN" sz="1200" dirty="0">
                        <a:solidFill>
                          <a:schemeClr val="tx1"/>
                        </a:solidFill>
                        <a:latin typeface="Calibri" pitchFamily="34" charset="0"/>
                        <a:ea typeface="宋体" pitchFamily="2" charset="-122"/>
                      </a:endParaRPr>
                    </a:p>
                  </p:txBody>
                </p:sp>
              </p:grpSp>
              <p:cxnSp>
                <p:nvCxnSpPr>
                  <p:cNvPr id="16" name="直接连接符 15"/>
                  <p:cNvCxnSpPr/>
                  <p:nvPr/>
                </p:nvCxnSpPr>
                <p:spPr>
                  <a:xfrm>
                    <a:off x="3111106" y="1567180"/>
                    <a:ext cx="0" cy="855486"/>
                  </a:xfrm>
                  <a:prstGeom prst="line">
                    <a:avLst/>
                  </a:prstGeom>
                  <a:ln w="25400">
                    <a:solidFill>
                      <a:schemeClr val="accent2"/>
                    </a:solidFill>
                    <a:headEnd type="oval"/>
                    <a:tailEnd type="none"/>
                  </a:ln>
                </p:spPr>
                <p:style>
                  <a:lnRef idx="1">
                    <a:schemeClr val="accent1"/>
                  </a:lnRef>
                  <a:fillRef idx="0">
                    <a:schemeClr val="accent1"/>
                  </a:fillRef>
                  <a:effectRef idx="0">
                    <a:schemeClr val="accent1"/>
                  </a:effectRef>
                  <a:fontRef idx="minor">
                    <a:schemeClr val="tx1"/>
                  </a:fontRef>
                </p:style>
              </p:cxnSp>
            </p:grpSp>
          </p:grpSp>
          <p:grpSp>
            <p:nvGrpSpPr>
              <p:cNvPr id="28" name="组合 27"/>
              <p:cNvGrpSpPr/>
              <p:nvPr/>
            </p:nvGrpSpPr>
            <p:grpSpPr>
              <a:xfrm>
                <a:off x="669155" y="3449994"/>
                <a:ext cx="4941769" cy="1466050"/>
                <a:chOff x="669155" y="3449994"/>
                <a:chExt cx="4941769" cy="1466050"/>
              </a:xfrm>
            </p:grpSpPr>
            <p:sp>
              <p:nvSpPr>
                <p:cNvPr id="6" name="矩形: 圆角 5"/>
                <p:cNvSpPr/>
                <p:nvPr/>
              </p:nvSpPr>
              <p:spPr>
                <a:xfrm flipH="1">
                  <a:off x="3425135" y="3875165"/>
                  <a:ext cx="2185789" cy="607121"/>
                </a:xfrm>
                <a:prstGeom prst="roundRect">
                  <a:avLst>
                    <a:gd name="adj" fmla="val 50000"/>
                  </a:avLst>
                </a:prstGeom>
                <a:gradFill>
                  <a:gsLst>
                    <a:gs pos="0">
                      <a:schemeClr val="accent1">
                        <a:lumMod val="60000"/>
                        <a:lumOff val="40000"/>
                      </a:schemeClr>
                    </a:gs>
                    <a:gs pos="50000">
                      <a:schemeClr val="accent1"/>
                    </a:gs>
                  </a:gsLst>
                  <a:lin ang="27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Ins="288000" rtlCol="0" anchor="ctr"/>
                <a:lstStyle/>
                <a:p>
                  <a:pPr algn="ctr"/>
                  <a:r>
                    <a:rPr kumimoji="1" lang="en-US" altLang="zh-CN" b="1" dirty="0">
                      <a:solidFill>
                        <a:srgbClr val="FFFFFF"/>
                      </a:solidFill>
                      <a:latin typeface="Calibri" pitchFamily="34" charset="0"/>
                      <a:ea typeface="宋体" pitchFamily="2" charset="-122"/>
                    </a:rPr>
                    <a:t>Step1</a:t>
                  </a:r>
                  <a:endParaRPr kumimoji="1" lang="en-US" altLang="zh-CN" b="1" dirty="0">
                    <a:solidFill>
                      <a:srgbClr val="FFFFFF"/>
                    </a:solidFill>
                    <a:latin typeface="Calibri" pitchFamily="34" charset="0"/>
                    <a:ea typeface="宋体" pitchFamily="2" charset="-122"/>
                  </a:endParaRPr>
                </a:p>
              </p:txBody>
            </p:sp>
            <p:grpSp>
              <p:nvGrpSpPr>
                <p:cNvPr id="19" name="组合 18"/>
                <p:cNvGrpSpPr/>
                <p:nvPr/>
              </p:nvGrpSpPr>
              <p:grpSpPr>
                <a:xfrm flipH="1">
                  <a:off x="669155" y="3449994"/>
                  <a:ext cx="2567925" cy="1466050"/>
                  <a:chOff x="3111106" y="1256073"/>
                  <a:chExt cx="2567925" cy="1466050"/>
                </a:xfrm>
              </p:grpSpPr>
              <p:grpSp>
                <p:nvGrpSpPr>
                  <p:cNvPr id="20" name="组合 19"/>
                  <p:cNvGrpSpPr/>
                  <p:nvPr/>
                </p:nvGrpSpPr>
                <p:grpSpPr>
                  <a:xfrm>
                    <a:off x="3325482" y="1256073"/>
                    <a:ext cx="2353549" cy="1466050"/>
                    <a:chOff x="7119255" y="2116661"/>
                    <a:chExt cx="2794668" cy="1442394"/>
                  </a:xfrm>
                  <a:noFill/>
                </p:grpSpPr>
                <p:sp>
                  <p:nvSpPr>
                    <p:cNvPr id="22" name="矩形 21"/>
                    <p:cNvSpPr/>
                    <p:nvPr/>
                  </p:nvSpPr>
                  <p:spPr>
                    <a:xfrm>
                      <a:off x="7119257" y="2116661"/>
                      <a:ext cx="2794666" cy="5973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r"/>
                      <a:r>
                        <a:rPr kumimoji="1" lang="en-US" altLang="zh-CN" b="1">
                          <a:solidFill>
                            <a:schemeClr val="tx1"/>
                          </a:solidFill>
                          <a:latin typeface="Calibri" pitchFamily="34" charset="0"/>
                          <a:ea typeface="宋体" pitchFamily="2" charset="-122"/>
                        </a:rPr>
                        <a:t>Click to add text</a:t>
                      </a:r>
                      <a:endParaRPr kumimoji="1" lang="en-US" altLang="zh-CN" b="1" dirty="0">
                        <a:solidFill>
                          <a:schemeClr val="tx1"/>
                        </a:solidFill>
                        <a:latin typeface="Calibri" pitchFamily="34" charset="0"/>
                        <a:ea typeface="宋体" pitchFamily="2" charset="-122"/>
                      </a:endParaRPr>
                    </a:p>
                  </p:txBody>
                </p:sp>
                <p:sp>
                  <p:nvSpPr>
                    <p:cNvPr id="23" name="矩形 22"/>
                    <p:cNvSpPr/>
                    <p:nvPr/>
                  </p:nvSpPr>
                  <p:spPr>
                    <a:xfrm>
                      <a:off x="7119255" y="2717373"/>
                      <a:ext cx="2792602" cy="8416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r">
                        <a:lnSpc>
                          <a:spcPct val="120000"/>
                        </a:lnSpc>
                      </a:pPr>
                      <a:r>
                        <a:rPr kumimoji="1" lang="pt-BR" altLang="zh-CN" sz="1200">
                          <a:solidFill>
                            <a:schemeClr val="tx1"/>
                          </a:solidFill>
                          <a:latin typeface="Calibri" pitchFamily="34" charset="0"/>
                          <a:ea typeface="宋体" pitchFamily="2" charset="-122"/>
                        </a:rPr>
                        <a:t>Ea justo labore facilisis sit nisl suscipit justo.</a:t>
                      </a:r>
                      <a:endParaRPr kumimoji="1" lang="en-US" altLang="zh-CN" sz="1200" dirty="0">
                        <a:solidFill>
                          <a:schemeClr val="tx1"/>
                        </a:solidFill>
                        <a:latin typeface="Calibri" pitchFamily="34" charset="0"/>
                        <a:ea typeface="宋体" pitchFamily="2" charset="-122"/>
                      </a:endParaRPr>
                    </a:p>
                  </p:txBody>
                </p:sp>
              </p:grpSp>
              <p:cxnSp>
                <p:nvCxnSpPr>
                  <p:cNvPr id="21" name="直接连接符 20"/>
                  <p:cNvCxnSpPr/>
                  <p:nvPr/>
                </p:nvCxnSpPr>
                <p:spPr>
                  <a:xfrm>
                    <a:off x="3111106" y="1567180"/>
                    <a:ext cx="0" cy="855486"/>
                  </a:xfrm>
                  <a:prstGeom prst="line">
                    <a:avLst/>
                  </a:prstGeom>
                  <a:ln w="25400">
                    <a:solidFill>
                      <a:schemeClr val="accent2"/>
                    </a:solidFill>
                    <a:headEnd type="oval"/>
                    <a:tailEnd type="none"/>
                  </a:ln>
                </p:spPr>
                <p:style>
                  <a:lnRef idx="1">
                    <a:schemeClr val="accent1"/>
                  </a:lnRef>
                  <a:fillRef idx="0">
                    <a:schemeClr val="accent1"/>
                  </a:fillRef>
                  <a:effectRef idx="0">
                    <a:schemeClr val="accent1"/>
                  </a:effectRef>
                  <a:fontRef idx="minor">
                    <a:schemeClr val="tx1"/>
                  </a:fontRef>
                </p:style>
              </p:cxnSp>
            </p:grpSp>
          </p:grpSp>
        </p:grpSp>
      </p:gr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5" name="组合 34"/>
          <p:cNvGrpSpPr/>
          <p:nvPr/>
        </p:nvGrpSpPr>
        <p:grpSpPr>
          <a:xfrm>
            <a:off x="1298036" y="1156687"/>
            <a:ext cx="9583229" cy="5084291"/>
            <a:chOff x="1298035" y="1156687"/>
            <a:chExt cx="9583229" cy="5084290"/>
          </a:xfrm>
        </p:grpSpPr>
        <p:grpSp>
          <p:nvGrpSpPr>
            <p:cNvPr id="5" name="组合 4"/>
            <p:cNvGrpSpPr/>
            <p:nvPr/>
          </p:nvGrpSpPr>
          <p:grpSpPr>
            <a:xfrm>
              <a:off x="7718363" y="1263563"/>
              <a:ext cx="3162901" cy="4977414"/>
              <a:chOff x="7718363" y="1263563"/>
              <a:chExt cx="3162901" cy="4977414"/>
            </a:xfrm>
          </p:grpSpPr>
          <p:sp>
            <p:nvSpPr>
              <p:cNvPr id="8" name="任意多边形: 形状 7"/>
              <p:cNvSpPr/>
              <p:nvPr/>
            </p:nvSpPr>
            <p:spPr>
              <a:xfrm>
                <a:off x="7718363" y="4922960"/>
                <a:ext cx="1396188" cy="1318016"/>
              </a:xfrm>
              <a:custGeom>
                <a:avLst/>
                <a:gdLst>
                  <a:gd name="connsiteX0" fmla="*/ 1320209 w 1320209"/>
                  <a:gd name="connsiteY0" fmla="*/ 1246292 h 1246291"/>
                  <a:gd name="connsiteX1" fmla="*/ 1373 w 1320209"/>
                  <a:gd name="connsiteY1" fmla="*/ 479889 h 1246291"/>
                  <a:gd name="connsiteX2" fmla="*/ 0 w 1320209"/>
                  <a:gd name="connsiteY2" fmla="*/ 0 h 1246291"/>
                  <a:gd name="connsiteX3" fmla="*/ 1318836 w 1320209"/>
                  <a:gd name="connsiteY3" fmla="*/ 766403 h 1246291"/>
                </a:gdLst>
                <a:ahLst/>
                <a:cxnLst>
                  <a:cxn ang="0">
                    <a:pos x="connsiteX0" y="connsiteY0"/>
                  </a:cxn>
                  <a:cxn ang="0">
                    <a:pos x="connsiteX1" y="connsiteY1"/>
                  </a:cxn>
                  <a:cxn ang="0">
                    <a:pos x="connsiteX2" y="connsiteY2"/>
                  </a:cxn>
                  <a:cxn ang="0">
                    <a:pos x="connsiteX3" y="connsiteY3"/>
                  </a:cxn>
                </a:cxnLst>
                <a:rect l="l" t="t" r="r" b="b"/>
                <a:pathLst>
                  <a:path w="1320209" h="1246291">
                    <a:moveTo>
                      <a:pt x="1320209" y="1246292"/>
                    </a:moveTo>
                    <a:lnTo>
                      <a:pt x="1373" y="479889"/>
                    </a:lnTo>
                    <a:lnTo>
                      <a:pt x="0" y="0"/>
                    </a:lnTo>
                    <a:lnTo>
                      <a:pt x="1318836" y="766403"/>
                    </a:lnTo>
                    <a:close/>
                  </a:path>
                </a:pathLst>
              </a:custGeom>
              <a:solidFill>
                <a:schemeClr val="tx2">
                  <a:alpha val="15000"/>
                </a:schemeClr>
              </a:solidFill>
              <a:ln w="11423" cap="flat">
                <a:noFill/>
                <a:prstDash val="solid"/>
                <a:miter/>
              </a:ln>
            </p:spPr>
            <p:txBody>
              <a:bodyPr rtlCol="0" anchor="ctr"/>
              <a:lstStyle/>
              <a:p>
                <a:endParaRPr lang="zh-CN" altLang="en-US"/>
              </a:p>
            </p:txBody>
          </p:sp>
          <p:sp>
            <p:nvSpPr>
              <p:cNvPr id="9" name="任意多边形: 形状 8"/>
              <p:cNvSpPr/>
              <p:nvPr/>
            </p:nvSpPr>
            <p:spPr>
              <a:xfrm>
                <a:off x="7718363" y="4667876"/>
                <a:ext cx="1836414" cy="1065594"/>
              </a:xfrm>
              <a:custGeom>
                <a:avLst/>
                <a:gdLst>
                  <a:gd name="connsiteX0" fmla="*/ 1318836 w 1736479"/>
                  <a:gd name="connsiteY0" fmla="*/ 1007606 h 1007606"/>
                  <a:gd name="connsiteX1" fmla="*/ 0 w 1736479"/>
                  <a:gd name="connsiteY1" fmla="*/ 241203 h 1007606"/>
                  <a:gd name="connsiteX2" fmla="*/ 417643 w 1736479"/>
                  <a:gd name="connsiteY2" fmla="*/ 0 h 1007606"/>
                  <a:gd name="connsiteX3" fmla="*/ 1736479 w 1736479"/>
                  <a:gd name="connsiteY3" fmla="*/ 766518 h 1007606"/>
                </a:gdLst>
                <a:ahLst/>
                <a:cxnLst>
                  <a:cxn ang="0">
                    <a:pos x="connsiteX0" y="connsiteY0"/>
                  </a:cxn>
                  <a:cxn ang="0">
                    <a:pos x="connsiteX1" y="connsiteY1"/>
                  </a:cxn>
                  <a:cxn ang="0">
                    <a:pos x="connsiteX2" y="connsiteY2"/>
                  </a:cxn>
                  <a:cxn ang="0">
                    <a:pos x="connsiteX3" y="connsiteY3"/>
                  </a:cxn>
                </a:cxnLst>
                <a:rect l="l" t="t" r="r" b="b"/>
                <a:pathLst>
                  <a:path w="1736479" h="1007606">
                    <a:moveTo>
                      <a:pt x="1318836" y="1007606"/>
                    </a:moveTo>
                    <a:lnTo>
                      <a:pt x="0" y="241203"/>
                    </a:lnTo>
                    <a:lnTo>
                      <a:pt x="417643" y="0"/>
                    </a:lnTo>
                    <a:lnTo>
                      <a:pt x="1736479" y="766518"/>
                    </a:lnTo>
                    <a:close/>
                  </a:path>
                </a:pathLst>
              </a:custGeom>
              <a:solidFill>
                <a:schemeClr val="tx2">
                  <a:alpha val="10000"/>
                </a:schemeClr>
              </a:solidFill>
              <a:ln w="11423" cap="flat">
                <a:noFill/>
                <a:prstDash val="solid"/>
                <a:miter/>
              </a:ln>
            </p:spPr>
            <p:txBody>
              <a:bodyPr rtlCol="0" anchor="ctr"/>
              <a:lstStyle/>
              <a:p>
                <a:endParaRPr lang="zh-CN" altLang="en-US"/>
              </a:p>
            </p:txBody>
          </p:sp>
          <p:sp>
            <p:nvSpPr>
              <p:cNvPr id="10" name="任意多边形: 形状 9"/>
              <p:cNvSpPr/>
              <p:nvPr/>
            </p:nvSpPr>
            <p:spPr>
              <a:xfrm>
                <a:off x="8158588" y="4160369"/>
                <a:ext cx="1396188" cy="1318137"/>
              </a:xfrm>
              <a:custGeom>
                <a:avLst/>
                <a:gdLst>
                  <a:gd name="connsiteX0" fmla="*/ 1320209 w 1320209"/>
                  <a:gd name="connsiteY0" fmla="*/ 1246407 h 1246406"/>
                  <a:gd name="connsiteX1" fmla="*/ 1373 w 1320209"/>
                  <a:gd name="connsiteY1" fmla="*/ 479889 h 1246406"/>
                  <a:gd name="connsiteX2" fmla="*/ 0 w 1320209"/>
                  <a:gd name="connsiteY2" fmla="*/ 0 h 1246406"/>
                  <a:gd name="connsiteX3" fmla="*/ 1318836 w 1320209"/>
                  <a:gd name="connsiteY3" fmla="*/ 766403 h 1246406"/>
                </a:gdLst>
                <a:ahLst/>
                <a:cxnLst>
                  <a:cxn ang="0">
                    <a:pos x="connsiteX0" y="connsiteY0"/>
                  </a:cxn>
                  <a:cxn ang="0">
                    <a:pos x="connsiteX1" y="connsiteY1"/>
                  </a:cxn>
                  <a:cxn ang="0">
                    <a:pos x="connsiteX2" y="connsiteY2"/>
                  </a:cxn>
                  <a:cxn ang="0">
                    <a:pos x="connsiteX3" y="connsiteY3"/>
                  </a:cxn>
                </a:cxnLst>
                <a:rect l="l" t="t" r="r" b="b"/>
                <a:pathLst>
                  <a:path w="1320209" h="1246406">
                    <a:moveTo>
                      <a:pt x="1320209" y="1246407"/>
                    </a:moveTo>
                    <a:lnTo>
                      <a:pt x="1373" y="479889"/>
                    </a:lnTo>
                    <a:lnTo>
                      <a:pt x="0" y="0"/>
                    </a:lnTo>
                    <a:lnTo>
                      <a:pt x="1318836" y="766403"/>
                    </a:lnTo>
                    <a:close/>
                  </a:path>
                </a:pathLst>
              </a:custGeom>
              <a:solidFill>
                <a:schemeClr val="tx2">
                  <a:alpha val="15000"/>
                </a:schemeClr>
              </a:solidFill>
              <a:ln w="11423" cap="flat">
                <a:noFill/>
                <a:prstDash val="solid"/>
                <a:miter/>
              </a:ln>
            </p:spPr>
            <p:txBody>
              <a:bodyPr rtlCol="0" anchor="ctr"/>
              <a:lstStyle/>
              <a:p>
                <a:endParaRPr lang="zh-CN" altLang="en-US"/>
              </a:p>
            </p:txBody>
          </p:sp>
          <p:sp>
            <p:nvSpPr>
              <p:cNvPr id="11" name="任意多边形: 形状 10"/>
              <p:cNvSpPr/>
              <p:nvPr/>
            </p:nvSpPr>
            <p:spPr>
              <a:xfrm>
                <a:off x="8158588" y="3905285"/>
                <a:ext cx="1836414" cy="1065594"/>
              </a:xfrm>
              <a:custGeom>
                <a:avLst/>
                <a:gdLst>
                  <a:gd name="connsiteX0" fmla="*/ 1318836 w 1736479"/>
                  <a:gd name="connsiteY0" fmla="*/ 1007606 h 1007606"/>
                  <a:gd name="connsiteX1" fmla="*/ 0 w 1736479"/>
                  <a:gd name="connsiteY1" fmla="*/ 241203 h 1007606"/>
                  <a:gd name="connsiteX2" fmla="*/ 417643 w 1736479"/>
                  <a:gd name="connsiteY2" fmla="*/ 0 h 1007606"/>
                  <a:gd name="connsiteX3" fmla="*/ 1736479 w 1736479"/>
                  <a:gd name="connsiteY3" fmla="*/ 766518 h 1007606"/>
                </a:gdLst>
                <a:ahLst/>
                <a:cxnLst>
                  <a:cxn ang="0">
                    <a:pos x="connsiteX0" y="connsiteY0"/>
                  </a:cxn>
                  <a:cxn ang="0">
                    <a:pos x="connsiteX1" y="connsiteY1"/>
                  </a:cxn>
                  <a:cxn ang="0">
                    <a:pos x="connsiteX2" y="connsiteY2"/>
                  </a:cxn>
                  <a:cxn ang="0">
                    <a:pos x="connsiteX3" y="connsiteY3"/>
                  </a:cxn>
                </a:cxnLst>
                <a:rect l="l" t="t" r="r" b="b"/>
                <a:pathLst>
                  <a:path w="1736479" h="1007606">
                    <a:moveTo>
                      <a:pt x="1318836" y="1007606"/>
                    </a:moveTo>
                    <a:lnTo>
                      <a:pt x="0" y="241203"/>
                    </a:lnTo>
                    <a:lnTo>
                      <a:pt x="417643" y="0"/>
                    </a:lnTo>
                    <a:lnTo>
                      <a:pt x="1736479" y="766518"/>
                    </a:lnTo>
                    <a:close/>
                  </a:path>
                </a:pathLst>
              </a:custGeom>
              <a:solidFill>
                <a:schemeClr val="tx2">
                  <a:alpha val="10000"/>
                </a:schemeClr>
              </a:solidFill>
              <a:ln w="11423" cap="flat">
                <a:noFill/>
                <a:prstDash val="solid"/>
                <a:miter/>
              </a:ln>
            </p:spPr>
            <p:txBody>
              <a:bodyPr rtlCol="0" anchor="ctr"/>
              <a:lstStyle/>
              <a:p>
                <a:endParaRPr lang="zh-CN" altLang="en-US"/>
              </a:p>
            </p:txBody>
          </p:sp>
          <p:sp>
            <p:nvSpPr>
              <p:cNvPr id="12" name="任意多边形: 形状 11"/>
              <p:cNvSpPr/>
              <p:nvPr/>
            </p:nvSpPr>
            <p:spPr>
              <a:xfrm>
                <a:off x="8598815" y="3397779"/>
                <a:ext cx="1396188" cy="1318137"/>
              </a:xfrm>
              <a:custGeom>
                <a:avLst/>
                <a:gdLst>
                  <a:gd name="connsiteX0" fmla="*/ 1320209 w 1320209"/>
                  <a:gd name="connsiteY0" fmla="*/ 1246407 h 1246406"/>
                  <a:gd name="connsiteX1" fmla="*/ 1373 w 1320209"/>
                  <a:gd name="connsiteY1" fmla="*/ 479889 h 1246406"/>
                  <a:gd name="connsiteX2" fmla="*/ 0 w 1320209"/>
                  <a:gd name="connsiteY2" fmla="*/ 0 h 1246406"/>
                  <a:gd name="connsiteX3" fmla="*/ 1318836 w 1320209"/>
                  <a:gd name="connsiteY3" fmla="*/ 766518 h 1246406"/>
                </a:gdLst>
                <a:ahLst/>
                <a:cxnLst>
                  <a:cxn ang="0">
                    <a:pos x="connsiteX0" y="connsiteY0"/>
                  </a:cxn>
                  <a:cxn ang="0">
                    <a:pos x="connsiteX1" y="connsiteY1"/>
                  </a:cxn>
                  <a:cxn ang="0">
                    <a:pos x="connsiteX2" y="connsiteY2"/>
                  </a:cxn>
                  <a:cxn ang="0">
                    <a:pos x="connsiteX3" y="connsiteY3"/>
                  </a:cxn>
                </a:cxnLst>
                <a:rect l="l" t="t" r="r" b="b"/>
                <a:pathLst>
                  <a:path w="1320209" h="1246406">
                    <a:moveTo>
                      <a:pt x="1320209" y="1246407"/>
                    </a:moveTo>
                    <a:lnTo>
                      <a:pt x="1373" y="479889"/>
                    </a:lnTo>
                    <a:lnTo>
                      <a:pt x="0" y="0"/>
                    </a:lnTo>
                    <a:lnTo>
                      <a:pt x="1318836" y="766518"/>
                    </a:lnTo>
                    <a:close/>
                  </a:path>
                </a:pathLst>
              </a:custGeom>
              <a:solidFill>
                <a:schemeClr val="tx2">
                  <a:alpha val="15000"/>
                </a:schemeClr>
              </a:solidFill>
              <a:ln w="11423" cap="flat">
                <a:noFill/>
                <a:prstDash val="solid"/>
                <a:miter/>
              </a:ln>
            </p:spPr>
            <p:txBody>
              <a:bodyPr rtlCol="0" anchor="ctr"/>
              <a:lstStyle/>
              <a:p>
                <a:endParaRPr lang="zh-CN" altLang="en-US"/>
              </a:p>
            </p:txBody>
          </p:sp>
          <p:sp>
            <p:nvSpPr>
              <p:cNvPr id="13" name="任意多边形: 形状 12"/>
              <p:cNvSpPr/>
              <p:nvPr/>
            </p:nvSpPr>
            <p:spPr>
              <a:xfrm>
                <a:off x="8598815" y="3142815"/>
                <a:ext cx="1836414" cy="1065594"/>
              </a:xfrm>
              <a:custGeom>
                <a:avLst/>
                <a:gdLst>
                  <a:gd name="connsiteX0" fmla="*/ 1318836 w 1736479"/>
                  <a:gd name="connsiteY0" fmla="*/ 1007606 h 1007606"/>
                  <a:gd name="connsiteX1" fmla="*/ 0 w 1736479"/>
                  <a:gd name="connsiteY1" fmla="*/ 241089 h 1007606"/>
                  <a:gd name="connsiteX2" fmla="*/ 417643 w 1736479"/>
                  <a:gd name="connsiteY2" fmla="*/ 0 h 1007606"/>
                  <a:gd name="connsiteX3" fmla="*/ 1736479 w 1736479"/>
                  <a:gd name="connsiteY3" fmla="*/ 766403 h 1007606"/>
                </a:gdLst>
                <a:ahLst/>
                <a:cxnLst>
                  <a:cxn ang="0">
                    <a:pos x="connsiteX0" y="connsiteY0"/>
                  </a:cxn>
                  <a:cxn ang="0">
                    <a:pos x="connsiteX1" y="connsiteY1"/>
                  </a:cxn>
                  <a:cxn ang="0">
                    <a:pos x="connsiteX2" y="connsiteY2"/>
                  </a:cxn>
                  <a:cxn ang="0">
                    <a:pos x="connsiteX3" y="connsiteY3"/>
                  </a:cxn>
                </a:cxnLst>
                <a:rect l="l" t="t" r="r" b="b"/>
                <a:pathLst>
                  <a:path w="1736479" h="1007606">
                    <a:moveTo>
                      <a:pt x="1318836" y="1007606"/>
                    </a:moveTo>
                    <a:lnTo>
                      <a:pt x="0" y="241089"/>
                    </a:lnTo>
                    <a:lnTo>
                      <a:pt x="417643" y="0"/>
                    </a:lnTo>
                    <a:lnTo>
                      <a:pt x="1736479" y="766403"/>
                    </a:lnTo>
                    <a:close/>
                  </a:path>
                </a:pathLst>
              </a:custGeom>
              <a:solidFill>
                <a:schemeClr val="tx2">
                  <a:alpha val="10000"/>
                </a:schemeClr>
              </a:solidFill>
              <a:ln w="11423" cap="flat">
                <a:noFill/>
                <a:prstDash val="solid"/>
                <a:miter/>
              </a:ln>
            </p:spPr>
            <p:txBody>
              <a:bodyPr rtlCol="0" anchor="ctr"/>
              <a:lstStyle/>
              <a:p>
                <a:endParaRPr lang="zh-CN" altLang="en-US"/>
              </a:p>
            </p:txBody>
          </p:sp>
          <p:sp>
            <p:nvSpPr>
              <p:cNvPr id="14" name="任意多边形: 形状 13"/>
              <p:cNvSpPr/>
              <p:nvPr/>
            </p:nvSpPr>
            <p:spPr>
              <a:xfrm>
                <a:off x="9113099" y="3190855"/>
                <a:ext cx="1768165" cy="3050122"/>
              </a:xfrm>
              <a:custGeom>
                <a:avLst/>
                <a:gdLst>
                  <a:gd name="connsiteX0" fmla="*/ 1666567 w 1671944"/>
                  <a:gd name="connsiteY0" fmla="*/ 0 h 2884138"/>
                  <a:gd name="connsiteX1" fmla="*/ 1671945 w 1671944"/>
                  <a:gd name="connsiteY1" fmla="*/ 1919670 h 2884138"/>
                  <a:gd name="connsiteX2" fmla="*/ 1373 w 1671944"/>
                  <a:gd name="connsiteY2" fmla="*/ 2884139 h 2884138"/>
                  <a:gd name="connsiteX3" fmla="*/ 0 w 1671944"/>
                  <a:gd name="connsiteY3" fmla="*/ 2404250 h 2884138"/>
                  <a:gd name="connsiteX4" fmla="*/ 417643 w 1671944"/>
                  <a:gd name="connsiteY4" fmla="*/ 2163161 h 2884138"/>
                  <a:gd name="connsiteX5" fmla="*/ 416270 w 1671944"/>
                  <a:gd name="connsiteY5" fmla="*/ 1683158 h 2884138"/>
                  <a:gd name="connsiteX6" fmla="*/ 833913 w 1671944"/>
                  <a:gd name="connsiteY6" fmla="*/ 1442069 h 2884138"/>
                  <a:gd name="connsiteX7" fmla="*/ 832540 w 1671944"/>
                  <a:gd name="connsiteY7" fmla="*/ 962181 h 2884138"/>
                  <a:gd name="connsiteX8" fmla="*/ 1250183 w 1671944"/>
                  <a:gd name="connsiteY8" fmla="*/ 720977 h 2884138"/>
                  <a:gd name="connsiteX9" fmla="*/ 1248810 w 1671944"/>
                  <a:gd name="connsiteY9" fmla="*/ 241089 h 2884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71944" h="2884138">
                    <a:moveTo>
                      <a:pt x="1666567" y="0"/>
                    </a:moveTo>
                    <a:lnTo>
                      <a:pt x="1671945" y="1919670"/>
                    </a:lnTo>
                    <a:lnTo>
                      <a:pt x="1373" y="2884139"/>
                    </a:lnTo>
                    <a:lnTo>
                      <a:pt x="0" y="2404250"/>
                    </a:lnTo>
                    <a:lnTo>
                      <a:pt x="417643" y="2163161"/>
                    </a:lnTo>
                    <a:lnTo>
                      <a:pt x="416270" y="1683158"/>
                    </a:lnTo>
                    <a:lnTo>
                      <a:pt x="833913" y="1442069"/>
                    </a:lnTo>
                    <a:lnTo>
                      <a:pt x="832540" y="962181"/>
                    </a:lnTo>
                    <a:lnTo>
                      <a:pt x="1250183" y="720977"/>
                    </a:lnTo>
                    <a:lnTo>
                      <a:pt x="1248810" y="241089"/>
                    </a:lnTo>
                    <a:close/>
                  </a:path>
                </a:pathLst>
              </a:custGeom>
              <a:solidFill>
                <a:schemeClr val="tx2">
                  <a:alpha val="30000"/>
                </a:schemeClr>
              </a:solidFill>
              <a:ln w="11423" cap="flat">
                <a:noFill/>
                <a:prstDash val="solid"/>
                <a:miter/>
              </a:ln>
            </p:spPr>
            <p:txBody>
              <a:bodyPr rtlCol="0" anchor="ctr"/>
              <a:lstStyle/>
              <a:p>
                <a:endParaRPr lang="zh-CN" altLang="en-US"/>
              </a:p>
            </p:txBody>
          </p:sp>
          <p:sp>
            <p:nvSpPr>
              <p:cNvPr id="15" name="任意多边形: 形状 14"/>
              <p:cNvSpPr/>
              <p:nvPr/>
            </p:nvSpPr>
            <p:spPr>
              <a:xfrm>
                <a:off x="9039042" y="2635308"/>
                <a:ext cx="1396188" cy="1318017"/>
              </a:xfrm>
              <a:custGeom>
                <a:avLst/>
                <a:gdLst>
                  <a:gd name="connsiteX0" fmla="*/ 1320209 w 1320209"/>
                  <a:gd name="connsiteY0" fmla="*/ 1246292 h 1246292"/>
                  <a:gd name="connsiteX1" fmla="*/ 1373 w 1320209"/>
                  <a:gd name="connsiteY1" fmla="*/ 479889 h 1246292"/>
                  <a:gd name="connsiteX2" fmla="*/ 0 w 1320209"/>
                  <a:gd name="connsiteY2" fmla="*/ 0 h 1246292"/>
                  <a:gd name="connsiteX3" fmla="*/ 1318836 w 1320209"/>
                  <a:gd name="connsiteY3" fmla="*/ 766403 h 1246292"/>
                </a:gdLst>
                <a:ahLst/>
                <a:cxnLst>
                  <a:cxn ang="0">
                    <a:pos x="connsiteX0" y="connsiteY0"/>
                  </a:cxn>
                  <a:cxn ang="0">
                    <a:pos x="connsiteX1" y="connsiteY1"/>
                  </a:cxn>
                  <a:cxn ang="0">
                    <a:pos x="connsiteX2" y="connsiteY2"/>
                  </a:cxn>
                  <a:cxn ang="0">
                    <a:pos x="connsiteX3" y="connsiteY3"/>
                  </a:cxn>
                </a:cxnLst>
                <a:rect l="l" t="t" r="r" b="b"/>
                <a:pathLst>
                  <a:path w="1320209" h="1246292">
                    <a:moveTo>
                      <a:pt x="1320209" y="1246292"/>
                    </a:moveTo>
                    <a:lnTo>
                      <a:pt x="1373" y="479889"/>
                    </a:lnTo>
                    <a:lnTo>
                      <a:pt x="0" y="0"/>
                    </a:lnTo>
                    <a:lnTo>
                      <a:pt x="1318836" y="766403"/>
                    </a:lnTo>
                    <a:close/>
                  </a:path>
                </a:pathLst>
              </a:custGeom>
              <a:solidFill>
                <a:schemeClr val="tx2">
                  <a:alpha val="15000"/>
                </a:schemeClr>
              </a:solidFill>
              <a:ln w="11423" cap="flat">
                <a:noFill/>
                <a:prstDash val="solid"/>
                <a:miter/>
              </a:ln>
            </p:spPr>
            <p:txBody>
              <a:bodyPr rtlCol="0" anchor="ctr"/>
              <a:lstStyle/>
              <a:p>
                <a:endParaRPr lang="zh-CN" altLang="en-US"/>
              </a:p>
            </p:txBody>
          </p:sp>
          <p:sp>
            <p:nvSpPr>
              <p:cNvPr id="16" name="任意多边形: 形状 15"/>
              <p:cNvSpPr/>
              <p:nvPr/>
            </p:nvSpPr>
            <p:spPr>
              <a:xfrm>
                <a:off x="9039042" y="2380224"/>
                <a:ext cx="1836535" cy="1065594"/>
              </a:xfrm>
              <a:custGeom>
                <a:avLst/>
                <a:gdLst>
                  <a:gd name="connsiteX0" fmla="*/ 1318836 w 1736593"/>
                  <a:gd name="connsiteY0" fmla="*/ 1007606 h 1007606"/>
                  <a:gd name="connsiteX1" fmla="*/ 0 w 1736593"/>
                  <a:gd name="connsiteY1" fmla="*/ 241203 h 1007606"/>
                  <a:gd name="connsiteX2" fmla="*/ 417757 w 1736593"/>
                  <a:gd name="connsiteY2" fmla="*/ 0 h 1007606"/>
                  <a:gd name="connsiteX3" fmla="*/ 1736594 w 1736593"/>
                  <a:gd name="connsiteY3" fmla="*/ 766518 h 1007606"/>
                </a:gdLst>
                <a:ahLst/>
                <a:cxnLst>
                  <a:cxn ang="0">
                    <a:pos x="connsiteX0" y="connsiteY0"/>
                  </a:cxn>
                  <a:cxn ang="0">
                    <a:pos x="connsiteX1" y="connsiteY1"/>
                  </a:cxn>
                  <a:cxn ang="0">
                    <a:pos x="connsiteX2" y="connsiteY2"/>
                  </a:cxn>
                  <a:cxn ang="0">
                    <a:pos x="connsiteX3" y="connsiteY3"/>
                  </a:cxn>
                </a:cxnLst>
                <a:rect l="l" t="t" r="r" b="b"/>
                <a:pathLst>
                  <a:path w="1736593" h="1007606">
                    <a:moveTo>
                      <a:pt x="1318836" y="1007606"/>
                    </a:moveTo>
                    <a:lnTo>
                      <a:pt x="0" y="241203"/>
                    </a:lnTo>
                    <a:lnTo>
                      <a:pt x="417757" y="0"/>
                    </a:lnTo>
                    <a:lnTo>
                      <a:pt x="1736594" y="766518"/>
                    </a:lnTo>
                    <a:close/>
                  </a:path>
                </a:pathLst>
              </a:custGeom>
              <a:solidFill>
                <a:schemeClr val="tx2">
                  <a:alpha val="10000"/>
                </a:schemeClr>
              </a:solidFill>
              <a:ln w="11423" cap="flat">
                <a:noFill/>
                <a:prstDash val="solid"/>
                <a:miter/>
              </a:ln>
            </p:spPr>
            <p:txBody>
              <a:bodyPr rtlCol="0" anchor="ctr"/>
              <a:lstStyle/>
              <a:p>
                <a:endParaRPr lang="zh-CN" altLang="en-US"/>
              </a:p>
            </p:txBody>
          </p:sp>
          <p:sp>
            <p:nvSpPr>
              <p:cNvPr id="18" name="任意多边形: 形状 17"/>
              <p:cNvSpPr/>
              <p:nvPr/>
            </p:nvSpPr>
            <p:spPr>
              <a:xfrm>
                <a:off x="7991114" y="5054135"/>
                <a:ext cx="736574" cy="934905"/>
              </a:xfrm>
              <a:custGeom>
                <a:avLst/>
                <a:gdLst>
                  <a:gd name="connsiteX0" fmla="*/ 696491 w 696491"/>
                  <a:gd name="connsiteY0" fmla="*/ 884030 h 884029"/>
                  <a:gd name="connsiteX1" fmla="*/ 1373 w 696491"/>
                  <a:gd name="connsiteY1" fmla="*/ 479889 h 884029"/>
                  <a:gd name="connsiteX2" fmla="*/ 0 w 696491"/>
                  <a:gd name="connsiteY2" fmla="*/ 0 h 884029"/>
                  <a:gd name="connsiteX3" fmla="*/ 695118 w 696491"/>
                  <a:gd name="connsiteY3" fmla="*/ 404141 h 884029"/>
                </a:gdLst>
                <a:ahLst/>
                <a:cxnLst>
                  <a:cxn ang="0">
                    <a:pos x="connsiteX0" y="connsiteY0"/>
                  </a:cxn>
                  <a:cxn ang="0">
                    <a:pos x="connsiteX1" y="connsiteY1"/>
                  </a:cxn>
                  <a:cxn ang="0">
                    <a:pos x="connsiteX2" y="connsiteY2"/>
                  </a:cxn>
                  <a:cxn ang="0">
                    <a:pos x="connsiteX3" y="connsiteY3"/>
                  </a:cxn>
                </a:cxnLst>
                <a:rect l="l" t="t" r="r" b="b"/>
                <a:pathLst>
                  <a:path w="696491" h="884029">
                    <a:moveTo>
                      <a:pt x="696491" y="884030"/>
                    </a:moveTo>
                    <a:lnTo>
                      <a:pt x="1373" y="479889"/>
                    </a:lnTo>
                    <a:lnTo>
                      <a:pt x="0" y="0"/>
                    </a:lnTo>
                    <a:lnTo>
                      <a:pt x="695118" y="404141"/>
                    </a:lnTo>
                    <a:close/>
                  </a:path>
                </a:pathLst>
              </a:custGeom>
              <a:solidFill>
                <a:schemeClr val="accent2"/>
              </a:solidFill>
              <a:ln w="11423" cap="flat">
                <a:noFill/>
                <a:prstDash val="solid"/>
                <a:miter/>
              </a:ln>
            </p:spPr>
            <p:txBody>
              <a:bodyPr rtlCol="0" anchor="ctr"/>
              <a:lstStyle/>
              <a:p>
                <a:endParaRPr lang="zh-CN" altLang="en-US"/>
              </a:p>
            </p:txBody>
          </p:sp>
          <p:sp>
            <p:nvSpPr>
              <p:cNvPr id="19" name="任意多边形: 形状 18"/>
              <p:cNvSpPr/>
              <p:nvPr/>
            </p:nvSpPr>
            <p:spPr>
              <a:xfrm>
                <a:off x="7991114" y="4812603"/>
                <a:ext cx="1176800" cy="682362"/>
              </a:xfrm>
              <a:custGeom>
                <a:avLst/>
                <a:gdLst>
                  <a:gd name="connsiteX0" fmla="*/ 695118 w 1112760"/>
                  <a:gd name="connsiteY0" fmla="*/ 645230 h 645229"/>
                  <a:gd name="connsiteX1" fmla="*/ 0 w 1112760"/>
                  <a:gd name="connsiteY1" fmla="*/ 241089 h 645229"/>
                  <a:gd name="connsiteX2" fmla="*/ 417643 w 1112760"/>
                  <a:gd name="connsiteY2" fmla="*/ 0 h 645229"/>
                  <a:gd name="connsiteX3" fmla="*/ 1112761 w 1112760"/>
                  <a:gd name="connsiteY3" fmla="*/ 404027 h 645229"/>
                </a:gdLst>
                <a:ahLst/>
                <a:cxnLst>
                  <a:cxn ang="0">
                    <a:pos x="connsiteX0" y="connsiteY0"/>
                  </a:cxn>
                  <a:cxn ang="0">
                    <a:pos x="connsiteX1" y="connsiteY1"/>
                  </a:cxn>
                  <a:cxn ang="0">
                    <a:pos x="connsiteX2" y="connsiteY2"/>
                  </a:cxn>
                  <a:cxn ang="0">
                    <a:pos x="connsiteX3" y="connsiteY3"/>
                  </a:cxn>
                </a:cxnLst>
                <a:rect l="l" t="t" r="r" b="b"/>
                <a:pathLst>
                  <a:path w="1112760" h="645229">
                    <a:moveTo>
                      <a:pt x="695118" y="645230"/>
                    </a:moveTo>
                    <a:lnTo>
                      <a:pt x="0" y="241089"/>
                    </a:lnTo>
                    <a:lnTo>
                      <a:pt x="417643" y="0"/>
                    </a:lnTo>
                    <a:lnTo>
                      <a:pt x="1112761" y="404027"/>
                    </a:lnTo>
                    <a:close/>
                  </a:path>
                </a:pathLst>
              </a:custGeom>
              <a:solidFill>
                <a:schemeClr val="accent2">
                  <a:lumMod val="60000"/>
                  <a:lumOff val="40000"/>
                </a:schemeClr>
              </a:solidFill>
              <a:ln w="11423" cap="flat">
                <a:noFill/>
                <a:prstDash val="solid"/>
                <a:miter/>
              </a:ln>
            </p:spPr>
            <p:txBody>
              <a:bodyPr rtlCol="0" anchor="ctr"/>
              <a:lstStyle/>
              <a:p>
                <a:endParaRPr lang="zh-CN" altLang="en-US"/>
              </a:p>
            </p:txBody>
          </p:sp>
          <p:sp>
            <p:nvSpPr>
              <p:cNvPr id="21" name="任意多边形: 形状 20"/>
              <p:cNvSpPr/>
              <p:nvPr/>
            </p:nvSpPr>
            <p:spPr>
              <a:xfrm>
                <a:off x="8431340" y="4318527"/>
                <a:ext cx="736574" cy="934784"/>
              </a:xfrm>
              <a:custGeom>
                <a:avLst/>
                <a:gdLst>
                  <a:gd name="connsiteX0" fmla="*/ 696491 w 696491"/>
                  <a:gd name="connsiteY0" fmla="*/ 883915 h 883915"/>
                  <a:gd name="connsiteX1" fmla="*/ 1373 w 696491"/>
                  <a:gd name="connsiteY1" fmla="*/ 479889 h 883915"/>
                  <a:gd name="connsiteX2" fmla="*/ 0 w 696491"/>
                  <a:gd name="connsiteY2" fmla="*/ 0 h 883915"/>
                  <a:gd name="connsiteX3" fmla="*/ 695118 w 696491"/>
                  <a:gd name="connsiteY3" fmla="*/ 404027 h 883915"/>
                </a:gdLst>
                <a:ahLst/>
                <a:cxnLst>
                  <a:cxn ang="0">
                    <a:pos x="connsiteX0" y="connsiteY0"/>
                  </a:cxn>
                  <a:cxn ang="0">
                    <a:pos x="connsiteX1" y="connsiteY1"/>
                  </a:cxn>
                  <a:cxn ang="0">
                    <a:pos x="connsiteX2" y="connsiteY2"/>
                  </a:cxn>
                  <a:cxn ang="0">
                    <a:pos x="connsiteX3" y="connsiteY3"/>
                  </a:cxn>
                </a:cxnLst>
                <a:rect l="l" t="t" r="r" b="b"/>
                <a:pathLst>
                  <a:path w="696491" h="883915">
                    <a:moveTo>
                      <a:pt x="696491" y="883915"/>
                    </a:moveTo>
                    <a:lnTo>
                      <a:pt x="1373" y="479889"/>
                    </a:lnTo>
                    <a:lnTo>
                      <a:pt x="0" y="0"/>
                    </a:lnTo>
                    <a:lnTo>
                      <a:pt x="695118" y="404027"/>
                    </a:lnTo>
                    <a:close/>
                  </a:path>
                </a:pathLst>
              </a:custGeom>
              <a:solidFill>
                <a:schemeClr val="accent1"/>
              </a:solidFill>
              <a:ln w="11423" cap="flat">
                <a:noFill/>
                <a:prstDash val="solid"/>
                <a:miter/>
              </a:ln>
            </p:spPr>
            <p:txBody>
              <a:bodyPr rtlCol="0" anchor="ctr"/>
              <a:lstStyle/>
              <a:p>
                <a:endParaRPr lang="zh-CN" altLang="en-US"/>
              </a:p>
            </p:txBody>
          </p:sp>
          <p:sp>
            <p:nvSpPr>
              <p:cNvPr id="22" name="任意多边形: 形状 21"/>
              <p:cNvSpPr/>
              <p:nvPr/>
            </p:nvSpPr>
            <p:spPr>
              <a:xfrm>
                <a:off x="8431340" y="4063563"/>
                <a:ext cx="1176800" cy="682241"/>
              </a:xfrm>
              <a:custGeom>
                <a:avLst/>
                <a:gdLst>
                  <a:gd name="connsiteX0" fmla="*/ 695118 w 1112760"/>
                  <a:gd name="connsiteY0" fmla="*/ 645115 h 645115"/>
                  <a:gd name="connsiteX1" fmla="*/ 0 w 1112760"/>
                  <a:gd name="connsiteY1" fmla="*/ 241089 h 645115"/>
                  <a:gd name="connsiteX2" fmla="*/ 417643 w 1112760"/>
                  <a:gd name="connsiteY2" fmla="*/ 0 h 645115"/>
                  <a:gd name="connsiteX3" fmla="*/ 1112761 w 1112760"/>
                  <a:gd name="connsiteY3" fmla="*/ 404027 h 645115"/>
                </a:gdLst>
                <a:ahLst/>
                <a:cxnLst>
                  <a:cxn ang="0">
                    <a:pos x="connsiteX0" y="connsiteY0"/>
                  </a:cxn>
                  <a:cxn ang="0">
                    <a:pos x="connsiteX1" y="connsiteY1"/>
                  </a:cxn>
                  <a:cxn ang="0">
                    <a:pos x="connsiteX2" y="connsiteY2"/>
                  </a:cxn>
                  <a:cxn ang="0">
                    <a:pos x="connsiteX3" y="connsiteY3"/>
                  </a:cxn>
                </a:cxnLst>
                <a:rect l="l" t="t" r="r" b="b"/>
                <a:pathLst>
                  <a:path w="1112760" h="645115">
                    <a:moveTo>
                      <a:pt x="695118" y="645115"/>
                    </a:moveTo>
                    <a:lnTo>
                      <a:pt x="0" y="241089"/>
                    </a:lnTo>
                    <a:lnTo>
                      <a:pt x="417643" y="0"/>
                    </a:lnTo>
                    <a:lnTo>
                      <a:pt x="1112761" y="404027"/>
                    </a:lnTo>
                    <a:close/>
                  </a:path>
                </a:pathLst>
              </a:custGeom>
              <a:solidFill>
                <a:schemeClr val="accent1">
                  <a:lumMod val="60000"/>
                  <a:lumOff val="40000"/>
                </a:schemeClr>
              </a:solidFill>
              <a:ln w="11423" cap="flat">
                <a:noFill/>
                <a:prstDash val="solid"/>
                <a:miter/>
              </a:ln>
            </p:spPr>
            <p:txBody>
              <a:bodyPr rtlCol="0" anchor="ctr"/>
              <a:lstStyle/>
              <a:p>
                <a:endParaRPr lang="zh-CN" altLang="en-US"/>
              </a:p>
            </p:txBody>
          </p:sp>
          <p:sp>
            <p:nvSpPr>
              <p:cNvPr id="24" name="任意多边形: 形状 23"/>
              <p:cNvSpPr/>
              <p:nvPr/>
            </p:nvSpPr>
            <p:spPr>
              <a:xfrm>
                <a:off x="8871567" y="3556057"/>
                <a:ext cx="736574" cy="934784"/>
              </a:xfrm>
              <a:custGeom>
                <a:avLst/>
                <a:gdLst>
                  <a:gd name="connsiteX0" fmla="*/ 696491 w 696491"/>
                  <a:gd name="connsiteY0" fmla="*/ 883916 h 883915"/>
                  <a:gd name="connsiteX1" fmla="*/ 1373 w 696491"/>
                  <a:gd name="connsiteY1" fmla="*/ 479889 h 883915"/>
                  <a:gd name="connsiteX2" fmla="*/ 0 w 696491"/>
                  <a:gd name="connsiteY2" fmla="*/ 0 h 883915"/>
                  <a:gd name="connsiteX3" fmla="*/ 695118 w 696491"/>
                  <a:gd name="connsiteY3" fmla="*/ 404027 h 883915"/>
                </a:gdLst>
                <a:ahLst/>
                <a:cxnLst>
                  <a:cxn ang="0">
                    <a:pos x="connsiteX0" y="connsiteY0"/>
                  </a:cxn>
                  <a:cxn ang="0">
                    <a:pos x="connsiteX1" y="connsiteY1"/>
                  </a:cxn>
                  <a:cxn ang="0">
                    <a:pos x="connsiteX2" y="connsiteY2"/>
                  </a:cxn>
                  <a:cxn ang="0">
                    <a:pos x="connsiteX3" y="connsiteY3"/>
                  </a:cxn>
                </a:cxnLst>
                <a:rect l="l" t="t" r="r" b="b"/>
                <a:pathLst>
                  <a:path w="696491" h="883915">
                    <a:moveTo>
                      <a:pt x="696491" y="883916"/>
                    </a:moveTo>
                    <a:lnTo>
                      <a:pt x="1373" y="479889"/>
                    </a:lnTo>
                    <a:lnTo>
                      <a:pt x="0" y="0"/>
                    </a:lnTo>
                    <a:lnTo>
                      <a:pt x="695118" y="404027"/>
                    </a:lnTo>
                    <a:close/>
                  </a:path>
                </a:pathLst>
              </a:custGeom>
              <a:solidFill>
                <a:schemeClr val="accent2"/>
              </a:solidFill>
              <a:ln w="11423" cap="flat">
                <a:noFill/>
                <a:prstDash val="solid"/>
                <a:miter/>
              </a:ln>
            </p:spPr>
            <p:txBody>
              <a:bodyPr rtlCol="0" anchor="ctr"/>
              <a:lstStyle/>
              <a:p>
                <a:endParaRPr lang="zh-CN" altLang="en-US"/>
              </a:p>
            </p:txBody>
          </p:sp>
          <p:sp>
            <p:nvSpPr>
              <p:cNvPr id="25" name="任意多边形: 形状 24"/>
              <p:cNvSpPr/>
              <p:nvPr/>
            </p:nvSpPr>
            <p:spPr>
              <a:xfrm>
                <a:off x="8871567" y="3301094"/>
                <a:ext cx="1176800" cy="682241"/>
              </a:xfrm>
              <a:custGeom>
                <a:avLst/>
                <a:gdLst>
                  <a:gd name="connsiteX0" fmla="*/ 695118 w 1112760"/>
                  <a:gd name="connsiteY0" fmla="*/ 645115 h 645115"/>
                  <a:gd name="connsiteX1" fmla="*/ 0 w 1112760"/>
                  <a:gd name="connsiteY1" fmla="*/ 241089 h 645115"/>
                  <a:gd name="connsiteX2" fmla="*/ 417643 w 1112760"/>
                  <a:gd name="connsiteY2" fmla="*/ 0 h 645115"/>
                  <a:gd name="connsiteX3" fmla="*/ 1112761 w 1112760"/>
                  <a:gd name="connsiteY3" fmla="*/ 404027 h 645115"/>
                </a:gdLst>
                <a:ahLst/>
                <a:cxnLst>
                  <a:cxn ang="0">
                    <a:pos x="connsiteX0" y="connsiteY0"/>
                  </a:cxn>
                  <a:cxn ang="0">
                    <a:pos x="connsiteX1" y="connsiteY1"/>
                  </a:cxn>
                  <a:cxn ang="0">
                    <a:pos x="connsiteX2" y="connsiteY2"/>
                  </a:cxn>
                  <a:cxn ang="0">
                    <a:pos x="connsiteX3" y="connsiteY3"/>
                  </a:cxn>
                </a:cxnLst>
                <a:rect l="l" t="t" r="r" b="b"/>
                <a:pathLst>
                  <a:path w="1112760" h="645115">
                    <a:moveTo>
                      <a:pt x="695118" y="645115"/>
                    </a:moveTo>
                    <a:lnTo>
                      <a:pt x="0" y="241089"/>
                    </a:lnTo>
                    <a:lnTo>
                      <a:pt x="417643" y="0"/>
                    </a:lnTo>
                    <a:lnTo>
                      <a:pt x="1112761" y="404027"/>
                    </a:lnTo>
                    <a:close/>
                  </a:path>
                </a:pathLst>
              </a:custGeom>
              <a:solidFill>
                <a:schemeClr val="accent2">
                  <a:lumMod val="60000"/>
                  <a:lumOff val="40000"/>
                </a:schemeClr>
              </a:solidFill>
              <a:ln w="11423" cap="flat">
                <a:noFill/>
                <a:prstDash val="solid"/>
                <a:miter/>
              </a:ln>
            </p:spPr>
            <p:txBody>
              <a:bodyPr rtlCol="0" anchor="ctr"/>
              <a:lstStyle/>
              <a:p>
                <a:endParaRPr lang="zh-CN" altLang="en-US"/>
              </a:p>
            </p:txBody>
          </p:sp>
          <p:sp>
            <p:nvSpPr>
              <p:cNvPr id="27" name="任意多边形: 形状 26"/>
              <p:cNvSpPr/>
              <p:nvPr/>
            </p:nvSpPr>
            <p:spPr>
              <a:xfrm>
                <a:off x="9311793" y="2807017"/>
                <a:ext cx="736574" cy="934785"/>
              </a:xfrm>
              <a:custGeom>
                <a:avLst/>
                <a:gdLst>
                  <a:gd name="connsiteX0" fmla="*/ 696491 w 696491"/>
                  <a:gd name="connsiteY0" fmla="*/ 883915 h 883915"/>
                  <a:gd name="connsiteX1" fmla="*/ 1373 w 696491"/>
                  <a:gd name="connsiteY1" fmla="*/ 479889 h 883915"/>
                  <a:gd name="connsiteX2" fmla="*/ 0 w 696491"/>
                  <a:gd name="connsiteY2" fmla="*/ 0 h 883915"/>
                  <a:gd name="connsiteX3" fmla="*/ 695118 w 696491"/>
                  <a:gd name="connsiteY3" fmla="*/ 404027 h 883915"/>
                </a:gdLst>
                <a:ahLst/>
                <a:cxnLst>
                  <a:cxn ang="0">
                    <a:pos x="connsiteX0" y="connsiteY0"/>
                  </a:cxn>
                  <a:cxn ang="0">
                    <a:pos x="connsiteX1" y="connsiteY1"/>
                  </a:cxn>
                  <a:cxn ang="0">
                    <a:pos x="connsiteX2" y="connsiteY2"/>
                  </a:cxn>
                  <a:cxn ang="0">
                    <a:pos x="connsiteX3" y="connsiteY3"/>
                  </a:cxn>
                </a:cxnLst>
                <a:rect l="l" t="t" r="r" b="b"/>
                <a:pathLst>
                  <a:path w="696491" h="883915">
                    <a:moveTo>
                      <a:pt x="696491" y="883915"/>
                    </a:moveTo>
                    <a:lnTo>
                      <a:pt x="1373" y="479889"/>
                    </a:lnTo>
                    <a:lnTo>
                      <a:pt x="0" y="0"/>
                    </a:lnTo>
                    <a:lnTo>
                      <a:pt x="695118" y="404027"/>
                    </a:lnTo>
                    <a:close/>
                  </a:path>
                </a:pathLst>
              </a:custGeom>
              <a:solidFill>
                <a:schemeClr val="accent1"/>
              </a:solidFill>
              <a:ln w="11423" cap="flat">
                <a:noFill/>
                <a:prstDash val="solid"/>
                <a:miter/>
              </a:ln>
            </p:spPr>
            <p:txBody>
              <a:bodyPr rtlCol="0" anchor="ctr"/>
              <a:lstStyle/>
              <a:p>
                <a:endParaRPr lang="zh-CN" altLang="en-US"/>
              </a:p>
            </p:txBody>
          </p:sp>
          <p:sp>
            <p:nvSpPr>
              <p:cNvPr id="28" name="任意多边形: 形状 27"/>
              <p:cNvSpPr/>
              <p:nvPr/>
            </p:nvSpPr>
            <p:spPr>
              <a:xfrm>
                <a:off x="9311793" y="2551933"/>
                <a:ext cx="1176800" cy="682362"/>
              </a:xfrm>
              <a:custGeom>
                <a:avLst/>
                <a:gdLst>
                  <a:gd name="connsiteX0" fmla="*/ 695118 w 1112760"/>
                  <a:gd name="connsiteY0" fmla="*/ 645230 h 645229"/>
                  <a:gd name="connsiteX1" fmla="*/ 0 w 1112760"/>
                  <a:gd name="connsiteY1" fmla="*/ 241203 h 645229"/>
                  <a:gd name="connsiteX2" fmla="*/ 417643 w 1112760"/>
                  <a:gd name="connsiteY2" fmla="*/ 0 h 645229"/>
                  <a:gd name="connsiteX3" fmla="*/ 1112761 w 1112760"/>
                  <a:gd name="connsiteY3" fmla="*/ 404141 h 645229"/>
                </a:gdLst>
                <a:ahLst/>
                <a:cxnLst>
                  <a:cxn ang="0">
                    <a:pos x="connsiteX0" y="connsiteY0"/>
                  </a:cxn>
                  <a:cxn ang="0">
                    <a:pos x="connsiteX1" y="connsiteY1"/>
                  </a:cxn>
                  <a:cxn ang="0">
                    <a:pos x="connsiteX2" y="connsiteY2"/>
                  </a:cxn>
                  <a:cxn ang="0">
                    <a:pos x="connsiteX3" y="connsiteY3"/>
                  </a:cxn>
                </a:cxnLst>
                <a:rect l="l" t="t" r="r" b="b"/>
                <a:pathLst>
                  <a:path w="1112760" h="645229">
                    <a:moveTo>
                      <a:pt x="695118" y="645230"/>
                    </a:moveTo>
                    <a:lnTo>
                      <a:pt x="0" y="241203"/>
                    </a:lnTo>
                    <a:lnTo>
                      <a:pt x="417643" y="0"/>
                    </a:lnTo>
                    <a:lnTo>
                      <a:pt x="1112761" y="404141"/>
                    </a:lnTo>
                    <a:close/>
                  </a:path>
                </a:pathLst>
              </a:custGeom>
              <a:solidFill>
                <a:schemeClr val="accent1">
                  <a:lumMod val="60000"/>
                  <a:lumOff val="40000"/>
                </a:schemeClr>
              </a:solidFill>
              <a:ln w="11423" cap="flat">
                <a:noFill/>
                <a:prstDash val="solid"/>
                <a:miter/>
              </a:ln>
            </p:spPr>
            <p:txBody>
              <a:bodyPr rtlCol="0" anchor="ctr"/>
              <a:lstStyle/>
              <a:p>
                <a:endParaRPr lang="zh-CN" altLang="en-US"/>
              </a:p>
            </p:txBody>
          </p:sp>
          <p:sp>
            <p:nvSpPr>
              <p:cNvPr id="29" name="任意多边形: 形状 28"/>
              <p:cNvSpPr/>
              <p:nvPr/>
            </p:nvSpPr>
            <p:spPr>
              <a:xfrm>
                <a:off x="8157136" y="5395738"/>
                <a:ext cx="291265" cy="425341"/>
              </a:xfrm>
              <a:custGeom>
                <a:avLst/>
                <a:gdLst>
                  <a:gd name="connsiteX0" fmla="*/ 134904 w 275415"/>
                  <a:gd name="connsiteY0" fmla="*/ 0 h 402195"/>
                  <a:gd name="connsiteX1" fmla="*/ 0 w 275415"/>
                  <a:gd name="connsiteY1" fmla="*/ 94742 h 402195"/>
                  <a:gd name="connsiteX2" fmla="*/ 51948 w 275415"/>
                  <a:gd name="connsiteY2" fmla="*/ 124721 h 402195"/>
                  <a:gd name="connsiteX3" fmla="*/ 51948 w 275415"/>
                  <a:gd name="connsiteY3" fmla="*/ 303220 h 402195"/>
                  <a:gd name="connsiteX4" fmla="*/ 223468 w 275415"/>
                  <a:gd name="connsiteY4" fmla="*/ 402196 h 402195"/>
                  <a:gd name="connsiteX5" fmla="*/ 223468 w 275415"/>
                  <a:gd name="connsiteY5" fmla="*/ 223696 h 402195"/>
                  <a:gd name="connsiteX6" fmla="*/ 275416 w 275415"/>
                  <a:gd name="connsiteY6" fmla="*/ 253675 h 402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5415" h="402195">
                    <a:moveTo>
                      <a:pt x="134904" y="0"/>
                    </a:moveTo>
                    <a:lnTo>
                      <a:pt x="0" y="94742"/>
                    </a:lnTo>
                    <a:lnTo>
                      <a:pt x="51948" y="124721"/>
                    </a:lnTo>
                    <a:lnTo>
                      <a:pt x="51948" y="303220"/>
                    </a:lnTo>
                    <a:lnTo>
                      <a:pt x="223468" y="402196"/>
                    </a:lnTo>
                    <a:lnTo>
                      <a:pt x="223468" y="223696"/>
                    </a:lnTo>
                    <a:lnTo>
                      <a:pt x="275416" y="253675"/>
                    </a:lnTo>
                    <a:close/>
                  </a:path>
                </a:pathLst>
              </a:custGeom>
              <a:solidFill>
                <a:schemeClr val="bg1">
                  <a:alpha val="50000"/>
                </a:schemeClr>
              </a:solidFill>
              <a:ln w="11423" cap="flat">
                <a:noFill/>
                <a:prstDash val="solid"/>
                <a:miter/>
              </a:ln>
            </p:spPr>
            <p:txBody>
              <a:bodyPr rtlCol="0" anchor="ctr"/>
              <a:lstStyle/>
              <a:p>
                <a:endParaRPr lang="zh-CN" altLang="en-US"/>
              </a:p>
            </p:txBody>
          </p:sp>
          <p:sp>
            <p:nvSpPr>
              <p:cNvPr id="30" name="任意多边形: 形状 29"/>
              <p:cNvSpPr/>
              <p:nvPr/>
            </p:nvSpPr>
            <p:spPr>
              <a:xfrm>
                <a:off x="8582116" y="4624677"/>
                <a:ext cx="291145" cy="425463"/>
              </a:xfrm>
              <a:custGeom>
                <a:avLst/>
                <a:gdLst>
                  <a:gd name="connsiteX0" fmla="*/ 134904 w 275301"/>
                  <a:gd name="connsiteY0" fmla="*/ 0 h 402310"/>
                  <a:gd name="connsiteX1" fmla="*/ 0 w 275301"/>
                  <a:gd name="connsiteY1" fmla="*/ 94742 h 402310"/>
                  <a:gd name="connsiteX2" fmla="*/ 51834 w 275301"/>
                  <a:gd name="connsiteY2" fmla="*/ 124721 h 402310"/>
                  <a:gd name="connsiteX3" fmla="*/ 51834 w 275301"/>
                  <a:gd name="connsiteY3" fmla="*/ 303220 h 402310"/>
                  <a:gd name="connsiteX4" fmla="*/ 223353 w 275301"/>
                  <a:gd name="connsiteY4" fmla="*/ 402310 h 402310"/>
                  <a:gd name="connsiteX5" fmla="*/ 223353 w 275301"/>
                  <a:gd name="connsiteY5" fmla="*/ 223696 h 402310"/>
                  <a:gd name="connsiteX6" fmla="*/ 275301 w 275301"/>
                  <a:gd name="connsiteY6" fmla="*/ 253675 h 402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5301" h="402310">
                    <a:moveTo>
                      <a:pt x="134904" y="0"/>
                    </a:moveTo>
                    <a:lnTo>
                      <a:pt x="0" y="94742"/>
                    </a:lnTo>
                    <a:lnTo>
                      <a:pt x="51834" y="124721"/>
                    </a:lnTo>
                    <a:lnTo>
                      <a:pt x="51834" y="303220"/>
                    </a:lnTo>
                    <a:lnTo>
                      <a:pt x="223353" y="402310"/>
                    </a:lnTo>
                    <a:lnTo>
                      <a:pt x="223353" y="223696"/>
                    </a:lnTo>
                    <a:lnTo>
                      <a:pt x="275301" y="253675"/>
                    </a:lnTo>
                    <a:close/>
                  </a:path>
                </a:pathLst>
              </a:custGeom>
              <a:solidFill>
                <a:schemeClr val="bg1">
                  <a:alpha val="50000"/>
                </a:schemeClr>
              </a:solidFill>
              <a:ln w="11423" cap="flat">
                <a:noFill/>
                <a:prstDash val="solid"/>
                <a:miter/>
              </a:ln>
            </p:spPr>
            <p:txBody>
              <a:bodyPr rtlCol="0" anchor="ctr"/>
              <a:lstStyle/>
              <a:p>
                <a:endParaRPr lang="zh-CN" altLang="en-US"/>
              </a:p>
            </p:txBody>
          </p:sp>
          <p:sp>
            <p:nvSpPr>
              <p:cNvPr id="31" name="任意多边形: 形状 30"/>
              <p:cNvSpPr/>
              <p:nvPr/>
            </p:nvSpPr>
            <p:spPr>
              <a:xfrm>
                <a:off x="9022343" y="3864990"/>
                <a:ext cx="291145" cy="425463"/>
              </a:xfrm>
              <a:custGeom>
                <a:avLst/>
                <a:gdLst>
                  <a:gd name="connsiteX0" fmla="*/ 134904 w 275301"/>
                  <a:gd name="connsiteY0" fmla="*/ 0 h 402310"/>
                  <a:gd name="connsiteX1" fmla="*/ 0 w 275301"/>
                  <a:gd name="connsiteY1" fmla="*/ 94742 h 402310"/>
                  <a:gd name="connsiteX2" fmla="*/ 51833 w 275301"/>
                  <a:gd name="connsiteY2" fmla="*/ 124721 h 402310"/>
                  <a:gd name="connsiteX3" fmla="*/ 51833 w 275301"/>
                  <a:gd name="connsiteY3" fmla="*/ 303220 h 402310"/>
                  <a:gd name="connsiteX4" fmla="*/ 223353 w 275301"/>
                  <a:gd name="connsiteY4" fmla="*/ 402310 h 402310"/>
                  <a:gd name="connsiteX5" fmla="*/ 223353 w 275301"/>
                  <a:gd name="connsiteY5" fmla="*/ 223811 h 402310"/>
                  <a:gd name="connsiteX6" fmla="*/ 275301 w 275301"/>
                  <a:gd name="connsiteY6" fmla="*/ 253675 h 402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5301" h="402310">
                    <a:moveTo>
                      <a:pt x="134904" y="0"/>
                    </a:moveTo>
                    <a:lnTo>
                      <a:pt x="0" y="94742"/>
                    </a:lnTo>
                    <a:lnTo>
                      <a:pt x="51833" y="124721"/>
                    </a:lnTo>
                    <a:lnTo>
                      <a:pt x="51833" y="303220"/>
                    </a:lnTo>
                    <a:lnTo>
                      <a:pt x="223353" y="402310"/>
                    </a:lnTo>
                    <a:lnTo>
                      <a:pt x="223353" y="223811"/>
                    </a:lnTo>
                    <a:lnTo>
                      <a:pt x="275301" y="253675"/>
                    </a:lnTo>
                    <a:close/>
                  </a:path>
                </a:pathLst>
              </a:custGeom>
              <a:solidFill>
                <a:schemeClr val="bg1">
                  <a:alpha val="50000"/>
                </a:schemeClr>
              </a:solidFill>
              <a:ln w="11423" cap="flat">
                <a:noFill/>
                <a:prstDash val="solid"/>
                <a:miter/>
              </a:ln>
            </p:spPr>
            <p:txBody>
              <a:bodyPr rtlCol="0" anchor="ctr"/>
              <a:lstStyle/>
              <a:p>
                <a:endParaRPr lang="zh-CN" altLang="en-US"/>
              </a:p>
            </p:txBody>
          </p:sp>
          <p:sp>
            <p:nvSpPr>
              <p:cNvPr id="32" name="任意多边形: 形状 31"/>
              <p:cNvSpPr/>
              <p:nvPr/>
            </p:nvSpPr>
            <p:spPr>
              <a:xfrm>
                <a:off x="9462569" y="3102157"/>
                <a:ext cx="291145" cy="425463"/>
              </a:xfrm>
              <a:custGeom>
                <a:avLst/>
                <a:gdLst>
                  <a:gd name="connsiteX0" fmla="*/ 134904 w 275301"/>
                  <a:gd name="connsiteY0" fmla="*/ 0 h 402310"/>
                  <a:gd name="connsiteX1" fmla="*/ 0 w 275301"/>
                  <a:gd name="connsiteY1" fmla="*/ 94742 h 402310"/>
                  <a:gd name="connsiteX2" fmla="*/ 51833 w 275301"/>
                  <a:gd name="connsiteY2" fmla="*/ 124721 h 402310"/>
                  <a:gd name="connsiteX3" fmla="*/ 51833 w 275301"/>
                  <a:gd name="connsiteY3" fmla="*/ 303220 h 402310"/>
                  <a:gd name="connsiteX4" fmla="*/ 223353 w 275301"/>
                  <a:gd name="connsiteY4" fmla="*/ 402310 h 402310"/>
                  <a:gd name="connsiteX5" fmla="*/ 223353 w 275301"/>
                  <a:gd name="connsiteY5" fmla="*/ 223811 h 402310"/>
                  <a:gd name="connsiteX6" fmla="*/ 275301 w 275301"/>
                  <a:gd name="connsiteY6" fmla="*/ 253789 h 402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5301" h="402310">
                    <a:moveTo>
                      <a:pt x="134904" y="0"/>
                    </a:moveTo>
                    <a:lnTo>
                      <a:pt x="0" y="94742"/>
                    </a:lnTo>
                    <a:lnTo>
                      <a:pt x="51833" y="124721"/>
                    </a:lnTo>
                    <a:lnTo>
                      <a:pt x="51833" y="303220"/>
                    </a:lnTo>
                    <a:lnTo>
                      <a:pt x="223353" y="402310"/>
                    </a:lnTo>
                    <a:lnTo>
                      <a:pt x="223353" y="223811"/>
                    </a:lnTo>
                    <a:lnTo>
                      <a:pt x="275301" y="253789"/>
                    </a:lnTo>
                    <a:close/>
                  </a:path>
                </a:pathLst>
              </a:custGeom>
              <a:solidFill>
                <a:schemeClr val="bg1">
                  <a:alpha val="50000"/>
                </a:schemeClr>
              </a:solidFill>
              <a:ln w="11423" cap="flat">
                <a:noFill/>
                <a:prstDash val="solid"/>
                <a:miter/>
              </a:ln>
            </p:spPr>
            <p:txBody>
              <a:bodyPr rtlCol="0" anchor="ctr"/>
              <a:lstStyle/>
              <a:p>
                <a:endParaRPr lang="zh-CN" altLang="en-US"/>
              </a:p>
            </p:txBody>
          </p:sp>
          <p:sp>
            <p:nvSpPr>
              <p:cNvPr id="33" name="任意多边形: 形状 32"/>
              <p:cNvSpPr/>
              <p:nvPr/>
            </p:nvSpPr>
            <p:spPr>
              <a:xfrm>
                <a:off x="9530575" y="1263563"/>
                <a:ext cx="1182125" cy="1727022"/>
              </a:xfrm>
              <a:custGeom>
                <a:avLst/>
                <a:gdLst>
                  <a:gd name="connsiteX0" fmla="*/ 547742 w 1117795"/>
                  <a:gd name="connsiteY0" fmla="*/ 0 h 1633040"/>
                  <a:gd name="connsiteX1" fmla="*/ 0 w 1117795"/>
                  <a:gd name="connsiteY1" fmla="*/ 384689 h 1633040"/>
                  <a:gd name="connsiteX2" fmla="*/ 210767 w 1117795"/>
                  <a:gd name="connsiteY2" fmla="*/ 506320 h 1633040"/>
                  <a:gd name="connsiteX3" fmla="*/ 210767 w 1117795"/>
                  <a:gd name="connsiteY3" fmla="*/ 1230960 h 1633040"/>
                  <a:gd name="connsiteX4" fmla="*/ 907143 w 1117795"/>
                  <a:gd name="connsiteY4" fmla="*/ 1633041 h 1633040"/>
                  <a:gd name="connsiteX5" fmla="*/ 907143 w 1117795"/>
                  <a:gd name="connsiteY5" fmla="*/ 908402 h 1633040"/>
                  <a:gd name="connsiteX6" fmla="*/ 1117796 w 1117795"/>
                  <a:gd name="connsiteY6" fmla="*/ 1030033 h 1633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7795" h="1633040">
                    <a:moveTo>
                      <a:pt x="547742" y="0"/>
                    </a:moveTo>
                    <a:lnTo>
                      <a:pt x="0" y="384689"/>
                    </a:lnTo>
                    <a:lnTo>
                      <a:pt x="210767" y="506320"/>
                    </a:lnTo>
                    <a:lnTo>
                      <a:pt x="210767" y="1230960"/>
                    </a:lnTo>
                    <a:lnTo>
                      <a:pt x="907143" y="1633041"/>
                    </a:lnTo>
                    <a:lnTo>
                      <a:pt x="907143" y="908402"/>
                    </a:lnTo>
                    <a:lnTo>
                      <a:pt x="1117796" y="1030033"/>
                    </a:lnTo>
                    <a:close/>
                  </a:path>
                </a:pathLst>
              </a:custGeom>
              <a:solidFill>
                <a:schemeClr val="accent1">
                  <a:lumMod val="60000"/>
                  <a:lumOff val="40000"/>
                </a:schemeClr>
              </a:solidFill>
              <a:ln w="11423" cap="flat">
                <a:noFill/>
                <a:prstDash val="solid"/>
                <a:miter/>
              </a:ln>
            </p:spPr>
            <p:txBody>
              <a:bodyPr rtlCol="0" anchor="ctr"/>
              <a:lstStyle/>
              <a:p>
                <a:endParaRPr lang="zh-CN" altLang="en-US"/>
              </a:p>
            </p:txBody>
          </p:sp>
        </p:grpSp>
        <p:sp>
          <p:nvSpPr>
            <p:cNvPr id="42" name="文本框 41"/>
            <p:cNvSpPr txBox="1"/>
            <p:nvPr/>
          </p:nvSpPr>
          <p:spPr>
            <a:xfrm>
              <a:off x="1298035" y="1156687"/>
              <a:ext cx="7043713" cy="575026"/>
            </a:xfrm>
            <a:prstGeom prst="rect">
              <a:avLst/>
            </a:prstGeom>
            <a:noFill/>
          </p:spPr>
          <p:txBody>
            <a:bodyPr wrap="square" rtlCol="0" anchor="b" anchorCtr="0">
              <a:normAutofit/>
            </a:bodyPr>
            <a:lstStyle/>
            <a:p>
              <a:pPr defTabSz="913765">
                <a:buSzPct val="25000"/>
                <a:defRPr/>
              </a:pPr>
              <a:r>
                <a:rPr lang="en-US" altLang="zh-CN" sz="2400" b="1">
                  <a:latin typeface="Calibri" pitchFamily="34" charset="0"/>
                  <a:ea typeface="宋体" pitchFamily="2" charset="-122"/>
                </a:rPr>
                <a:t>Unified fonts make reading more fluent</a:t>
              </a:r>
              <a:endParaRPr lang="en-US" altLang="zh-CN" sz="2400" b="1" dirty="0">
                <a:solidFill>
                  <a:schemeClr val="accent1"/>
                </a:solidFill>
                <a:latin typeface="Calibri" pitchFamily="34" charset="0"/>
                <a:ea typeface="宋体" pitchFamily="2" charset="-122"/>
              </a:endParaRPr>
            </a:p>
          </p:txBody>
        </p:sp>
        <p:grpSp>
          <p:nvGrpSpPr>
            <p:cNvPr id="2" name="组合 1"/>
            <p:cNvGrpSpPr/>
            <p:nvPr/>
          </p:nvGrpSpPr>
          <p:grpSpPr>
            <a:xfrm>
              <a:off x="1371372" y="2239721"/>
              <a:ext cx="5490324" cy="995659"/>
              <a:chOff x="1371372" y="2239721"/>
              <a:chExt cx="5490324" cy="995659"/>
            </a:xfrm>
          </p:grpSpPr>
          <p:sp>
            <p:nvSpPr>
              <p:cNvPr id="75" name="矩形 74"/>
              <p:cNvSpPr/>
              <p:nvPr/>
            </p:nvSpPr>
            <p:spPr>
              <a:xfrm>
                <a:off x="1371372" y="2613238"/>
                <a:ext cx="126000" cy="12742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6" name="矩形 75"/>
              <p:cNvSpPr>
                <a:spLocks noChangeAspect="1"/>
              </p:cNvSpPr>
              <p:nvPr/>
            </p:nvSpPr>
            <p:spPr>
              <a:xfrm>
                <a:off x="1541003" y="2393183"/>
                <a:ext cx="1013723" cy="8421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normAutofit/>
              </a:bodyPr>
              <a:lstStyle/>
              <a:p>
                <a:r>
                  <a:rPr kumimoji="1" lang="en-US" altLang="zh-CN" sz="3200" b="1" dirty="0">
                    <a:solidFill>
                      <a:schemeClr val="accent1"/>
                    </a:solidFill>
                    <a:latin typeface="Calibri" pitchFamily="34" charset="0"/>
                    <a:ea typeface="宋体" pitchFamily="2" charset="-122"/>
                  </a:rPr>
                  <a:t>01</a:t>
                </a:r>
                <a:endParaRPr kumimoji="1" lang="en-US" altLang="zh-CN" sz="3200" b="1" dirty="0">
                  <a:solidFill>
                    <a:schemeClr val="accent1"/>
                  </a:solidFill>
                  <a:latin typeface="Calibri" pitchFamily="34" charset="0"/>
                  <a:ea typeface="宋体" pitchFamily="2" charset="-122"/>
                </a:endParaRPr>
              </a:p>
            </p:txBody>
          </p:sp>
          <p:sp>
            <p:nvSpPr>
              <p:cNvPr id="72" name="矩形 71"/>
              <p:cNvSpPr/>
              <p:nvPr/>
            </p:nvSpPr>
            <p:spPr>
              <a:xfrm>
                <a:off x="2654074" y="2641487"/>
                <a:ext cx="4207622" cy="5516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normAutofit/>
              </a:bodyPr>
              <a:lstStyle/>
              <a:p>
                <a:pPr>
                  <a:lnSpc>
                    <a:spcPct val="120000"/>
                  </a:lnSpc>
                </a:pPr>
                <a:r>
                  <a:rPr lang="pt-BR" altLang="zh-CN" sz="1200">
                    <a:solidFill>
                      <a:schemeClr val="tx1"/>
                    </a:solidFill>
                    <a:latin typeface="Calibri" pitchFamily="34" charset="0"/>
                    <a:ea typeface="宋体" pitchFamily="2" charset="-122"/>
                  </a:rPr>
                  <a:t>Justo ipsum tempor elit ipsum feugait ea at sed justo ea.</a:t>
                </a:r>
                <a:endParaRPr kumimoji="1" lang="en-US" altLang="zh-CN" sz="1200" dirty="0">
                  <a:solidFill>
                    <a:schemeClr val="tx1"/>
                  </a:solidFill>
                  <a:latin typeface="Calibri" pitchFamily="34" charset="0"/>
                  <a:ea typeface="宋体" pitchFamily="2" charset="-122"/>
                </a:endParaRPr>
              </a:p>
            </p:txBody>
          </p:sp>
          <p:sp>
            <p:nvSpPr>
              <p:cNvPr id="73" name="矩形 72"/>
              <p:cNvSpPr>
                <a:spLocks noChangeAspect="1"/>
              </p:cNvSpPr>
              <p:nvPr/>
            </p:nvSpPr>
            <p:spPr>
              <a:xfrm>
                <a:off x="2654073" y="2296419"/>
                <a:ext cx="4207622"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normAutofit/>
              </a:bodyPr>
              <a:lstStyle/>
              <a:p>
                <a:r>
                  <a:rPr kumimoji="1" lang="en-US" altLang="zh-CN" b="1">
                    <a:solidFill>
                      <a:schemeClr val="tx1"/>
                    </a:solidFill>
                    <a:latin typeface="Calibri" pitchFamily="34" charset="0"/>
                    <a:ea typeface="宋体" pitchFamily="2" charset="-122"/>
                  </a:rPr>
                  <a:t>Click to add text</a:t>
                </a:r>
                <a:endParaRPr kumimoji="1" lang="en-US" altLang="zh-CN" b="1" dirty="0">
                  <a:solidFill>
                    <a:schemeClr val="tx1"/>
                  </a:solidFill>
                  <a:latin typeface="Calibri" pitchFamily="34" charset="0"/>
                  <a:ea typeface="宋体" pitchFamily="2" charset="-122"/>
                </a:endParaRPr>
              </a:p>
            </p:txBody>
          </p:sp>
          <p:cxnSp>
            <p:nvCxnSpPr>
              <p:cNvPr id="74" name="直接连接符 73"/>
              <p:cNvCxnSpPr/>
              <p:nvPr/>
            </p:nvCxnSpPr>
            <p:spPr>
              <a:xfrm>
                <a:off x="2752498" y="2239721"/>
                <a:ext cx="267494" cy="0"/>
              </a:xfrm>
              <a:prstGeom prst="line">
                <a:avLst/>
              </a:prstGeom>
              <a:ln w="38100"/>
            </p:spPr>
            <p:style>
              <a:lnRef idx="1">
                <a:schemeClr val="accent1"/>
              </a:lnRef>
              <a:fillRef idx="0">
                <a:schemeClr val="accent1"/>
              </a:fillRef>
              <a:effectRef idx="0">
                <a:schemeClr val="accent1"/>
              </a:effectRef>
              <a:fontRef idx="minor">
                <a:schemeClr val="tx1"/>
              </a:fontRef>
            </p:style>
          </p:cxnSp>
        </p:grpSp>
        <p:grpSp>
          <p:nvGrpSpPr>
            <p:cNvPr id="3" name="组合 2"/>
            <p:cNvGrpSpPr/>
            <p:nvPr/>
          </p:nvGrpSpPr>
          <p:grpSpPr>
            <a:xfrm>
              <a:off x="1371372" y="3632338"/>
              <a:ext cx="5490324" cy="995659"/>
              <a:chOff x="1371372" y="3632338"/>
              <a:chExt cx="5490324" cy="995659"/>
            </a:xfrm>
          </p:grpSpPr>
          <p:sp>
            <p:nvSpPr>
              <p:cNvPr id="68" name="矩形 67"/>
              <p:cNvSpPr/>
              <p:nvPr/>
            </p:nvSpPr>
            <p:spPr>
              <a:xfrm>
                <a:off x="1371372" y="4005855"/>
                <a:ext cx="126000" cy="12742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9" name="矩形 68"/>
              <p:cNvSpPr>
                <a:spLocks noChangeAspect="1"/>
              </p:cNvSpPr>
              <p:nvPr/>
            </p:nvSpPr>
            <p:spPr>
              <a:xfrm>
                <a:off x="1541003" y="3785800"/>
                <a:ext cx="1013723" cy="8421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normAutofit/>
              </a:bodyPr>
              <a:lstStyle/>
              <a:p>
                <a:r>
                  <a:rPr kumimoji="1" lang="en-US" altLang="zh-CN" sz="3200" b="1" dirty="0">
                    <a:solidFill>
                      <a:schemeClr val="accent2"/>
                    </a:solidFill>
                    <a:latin typeface="Calibri" pitchFamily="34" charset="0"/>
                    <a:ea typeface="宋体" pitchFamily="2" charset="-122"/>
                  </a:rPr>
                  <a:t>02</a:t>
                </a:r>
                <a:endParaRPr kumimoji="1" lang="en-US" altLang="zh-CN" sz="3200" b="1" dirty="0">
                  <a:solidFill>
                    <a:schemeClr val="accent2"/>
                  </a:solidFill>
                  <a:latin typeface="Calibri" pitchFamily="34" charset="0"/>
                  <a:ea typeface="宋体" pitchFamily="2" charset="-122"/>
                </a:endParaRPr>
              </a:p>
            </p:txBody>
          </p:sp>
          <p:sp>
            <p:nvSpPr>
              <p:cNvPr id="65" name="矩形 64"/>
              <p:cNvSpPr/>
              <p:nvPr/>
            </p:nvSpPr>
            <p:spPr>
              <a:xfrm>
                <a:off x="2654074" y="4034104"/>
                <a:ext cx="4207622" cy="5516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normAutofit/>
              </a:bodyPr>
              <a:lstStyle/>
              <a:p>
                <a:pPr>
                  <a:lnSpc>
                    <a:spcPct val="120000"/>
                  </a:lnSpc>
                </a:pPr>
                <a:r>
                  <a:rPr lang="pt-BR" altLang="zh-CN" sz="1200">
                    <a:solidFill>
                      <a:schemeClr val="tx1"/>
                    </a:solidFill>
                    <a:latin typeface="Calibri" pitchFamily="34" charset="0"/>
                    <a:ea typeface="宋体" pitchFamily="2" charset="-122"/>
                  </a:rPr>
                  <a:t>Minim sea ea ea praesent diam accusam consetetur ut.</a:t>
                </a:r>
                <a:endParaRPr kumimoji="1" lang="en-US" altLang="zh-CN" sz="1200" dirty="0">
                  <a:solidFill>
                    <a:schemeClr val="tx1"/>
                  </a:solidFill>
                  <a:latin typeface="Calibri" pitchFamily="34" charset="0"/>
                  <a:ea typeface="宋体" pitchFamily="2" charset="-122"/>
                </a:endParaRPr>
              </a:p>
            </p:txBody>
          </p:sp>
          <p:sp>
            <p:nvSpPr>
              <p:cNvPr id="66" name="矩形 65"/>
              <p:cNvSpPr>
                <a:spLocks noChangeAspect="1"/>
              </p:cNvSpPr>
              <p:nvPr/>
            </p:nvSpPr>
            <p:spPr>
              <a:xfrm>
                <a:off x="2654073" y="3689036"/>
                <a:ext cx="4207622"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normAutofit/>
              </a:bodyPr>
              <a:lstStyle/>
              <a:p>
                <a:r>
                  <a:rPr kumimoji="1" lang="en-US" altLang="zh-CN" b="1">
                    <a:solidFill>
                      <a:schemeClr val="tx1"/>
                    </a:solidFill>
                    <a:latin typeface="Calibri" pitchFamily="34" charset="0"/>
                    <a:ea typeface="宋体" pitchFamily="2" charset="-122"/>
                  </a:rPr>
                  <a:t>Click to add text</a:t>
                </a:r>
                <a:endParaRPr kumimoji="1" lang="en-US" altLang="zh-CN" b="1" dirty="0">
                  <a:solidFill>
                    <a:schemeClr val="tx1"/>
                  </a:solidFill>
                  <a:latin typeface="Calibri" pitchFamily="34" charset="0"/>
                  <a:ea typeface="宋体" pitchFamily="2" charset="-122"/>
                </a:endParaRPr>
              </a:p>
            </p:txBody>
          </p:sp>
          <p:cxnSp>
            <p:nvCxnSpPr>
              <p:cNvPr id="67" name="直接连接符 66"/>
              <p:cNvCxnSpPr/>
              <p:nvPr/>
            </p:nvCxnSpPr>
            <p:spPr>
              <a:xfrm>
                <a:off x="2752498" y="3632338"/>
                <a:ext cx="267494"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4" name="组合 3"/>
            <p:cNvGrpSpPr/>
            <p:nvPr/>
          </p:nvGrpSpPr>
          <p:grpSpPr>
            <a:xfrm>
              <a:off x="1371372" y="5024955"/>
              <a:ext cx="5490324" cy="995659"/>
              <a:chOff x="1371372" y="5024955"/>
              <a:chExt cx="5490324" cy="995659"/>
            </a:xfrm>
          </p:grpSpPr>
          <p:sp>
            <p:nvSpPr>
              <p:cNvPr id="83" name="矩形 82"/>
              <p:cNvSpPr/>
              <p:nvPr/>
            </p:nvSpPr>
            <p:spPr>
              <a:xfrm>
                <a:off x="1371372" y="5398472"/>
                <a:ext cx="126000" cy="12742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4" name="矩形 83"/>
              <p:cNvSpPr>
                <a:spLocks noChangeAspect="1"/>
              </p:cNvSpPr>
              <p:nvPr/>
            </p:nvSpPr>
            <p:spPr>
              <a:xfrm>
                <a:off x="1541003" y="5178417"/>
                <a:ext cx="1013723" cy="8421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normAutofit/>
              </a:bodyPr>
              <a:lstStyle/>
              <a:p>
                <a:r>
                  <a:rPr kumimoji="1" lang="en-US" altLang="zh-CN" sz="3200" b="1">
                    <a:solidFill>
                      <a:schemeClr val="accent1"/>
                    </a:solidFill>
                    <a:latin typeface="Calibri" pitchFamily="34" charset="0"/>
                    <a:ea typeface="宋体" pitchFamily="2" charset="-122"/>
                  </a:rPr>
                  <a:t>03</a:t>
                </a:r>
                <a:endParaRPr kumimoji="1" lang="en-US" altLang="zh-CN" sz="3200" b="1" dirty="0">
                  <a:solidFill>
                    <a:schemeClr val="accent1"/>
                  </a:solidFill>
                  <a:latin typeface="Calibri" pitchFamily="34" charset="0"/>
                  <a:ea typeface="宋体" pitchFamily="2" charset="-122"/>
                </a:endParaRPr>
              </a:p>
            </p:txBody>
          </p:sp>
          <p:sp>
            <p:nvSpPr>
              <p:cNvPr id="80" name="矩形 79"/>
              <p:cNvSpPr/>
              <p:nvPr/>
            </p:nvSpPr>
            <p:spPr>
              <a:xfrm>
                <a:off x="2654074" y="5426721"/>
                <a:ext cx="4207622" cy="5516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normAutofit/>
              </a:bodyPr>
              <a:lstStyle/>
              <a:p>
                <a:pPr>
                  <a:lnSpc>
                    <a:spcPct val="120000"/>
                  </a:lnSpc>
                </a:pPr>
                <a:r>
                  <a:rPr lang="sv-SE" altLang="zh-CN" sz="1200">
                    <a:solidFill>
                      <a:schemeClr val="tx1"/>
                    </a:solidFill>
                    <a:latin typeface="Calibri" pitchFamily="34" charset="0"/>
                    <a:ea typeface="宋体" pitchFamily="2" charset="-122"/>
                  </a:rPr>
                  <a:t>Eirmod accusam sed labore ut gubergren duo blandit praesent.</a:t>
                </a:r>
                <a:endParaRPr kumimoji="1" lang="en-US" altLang="zh-CN" sz="1200" dirty="0">
                  <a:solidFill>
                    <a:schemeClr val="tx1"/>
                  </a:solidFill>
                  <a:latin typeface="Calibri" pitchFamily="34" charset="0"/>
                  <a:ea typeface="宋体" pitchFamily="2" charset="-122"/>
                </a:endParaRPr>
              </a:p>
            </p:txBody>
          </p:sp>
          <p:sp>
            <p:nvSpPr>
              <p:cNvPr id="81" name="矩形 80"/>
              <p:cNvSpPr>
                <a:spLocks noChangeAspect="1"/>
              </p:cNvSpPr>
              <p:nvPr/>
            </p:nvSpPr>
            <p:spPr>
              <a:xfrm>
                <a:off x="2654073" y="5081653"/>
                <a:ext cx="4207622"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normAutofit/>
              </a:bodyPr>
              <a:lstStyle/>
              <a:p>
                <a:r>
                  <a:rPr kumimoji="1" lang="en-US" altLang="zh-CN" b="1">
                    <a:solidFill>
                      <a:schemeClr val="tx1"/>
                    </a:solidFill>
                    <a:latin typeface="Calibri" pitchFamily="34" charset="0"/>
                    <a:ea typeface="宋体" pitchFamily="2" charset="-122"/>
                  </a:rPr>
                  <a:t>Click to add text</a:t>
                </a:r>
                <a:endParaRPr kumimoji="1" lang="en-US" altLang="zh-CN" b="1" dirty="0">
                  <a:solidFill>
                    <a:schemeClr val="tx1"/>
                  </a:solidFill>
                  <a:latin typeface="Calibri" pitchFamily="34" charset="0"/>
                  <a:ea typeface="宋体" pitchFamily="2" charset="-122"/>
                </a:endParaRPr>
              </a:p>
            </p:txBody>
          </p:sp>
          <p:cxnSp>
            <p:nvCxnSpPr>
              <p:cNvPr id="82" name="直接连接符 81"/>
              <p:cNvCxnSpPr/>
              <p:nvPr/>
            </p:nvCxnSpPr>
            <p:spPr>
              <a:xfrm>
                <a:off x="2752498" y="5024955"/>
                <a:ext cx="267494" cy="0"/>
              </a:xfrm>
              <a:prstGeom prst="line">
                <a:avLst/>
              </a:prstGeom>
              <a:ln w="38100"/>
            </p:spPr>
            <p:style>
              <a:lnRef idx="1">
                <a:schemeClr val="accent1"/>
              </a:lnRef>
              <a:fillRef idx="0">
                <a:schemeClr val="accent1"/>
              </a:fillRef>
              <a:effectRef idx="0">
                <a:schemeClr val="accent1"/>
              </a:effectRef>
              <a:fontRef idx="minor">
                <a:schemeClr val="tx1"/>
              </a:fontRef>
            </p:style>
          </p:cxnSp>
        </p:grpSp>
      </p:gr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en-US" altLang="zh-CN">
                <a:latin typeface="Arial" panose="020B0604020202090204" pitchFamily="34" charset="0"/>
                <a:ea typeface="华文楷体" panose="02010600040101010101" pitchFamily="2" charset="-122"/>
              </a:rPr>
              <a:t>Section Header Here</a:t>
            </a:r>
            <a:endParaRPr lang="zh-CN" altLang="en-US" dirty="0">
              <a:latin typeface="Arial" panose="020B0604020202090204" pitchFamily="34" charset="0"/>
              <a:ea typeface="华文楷体" panose="02010600040101010101" pitchFamily="2" charset="-122"/>
            </a:endParaRPr>
          </a:p>
        </p:txBody>
      </p:sp>
      <p:sp>
        <p:nvSpPr>
          <p:cNvPr id="6" name="文本占位符 5"/>
          <p:cNvSpPr>
            <a:spLocks noGrp="1"/>
          </p:cNvSpPr>
          <p:nvPr>
            <p:ph type="body" idx="1"/>
          </p:nvPr>
        </p:nvSpPr>
        <p:spPr/>
        <p:txBody>
          <a:bodyPr/>
          <a:lstStyle/>
          <a:p>
            <a:pPr lvl="0"/>
            <a:r>
              <a:rPr lang="en-US" altLang="zh-CN">
                <a:latin typeface="Arial" panose="020B0604020202090204" pitchFamily="34" charset="0"/>
                <a:ea typeface="华文楷体" panose="02010600040101010101" pitchFamily="2" charset="-122"/>
              </a:rPr>
              <a:t>Supporting text here.</a:t>
            </a:r>
            <a:endParaRPr lang="en-US" altLang="zh-CN">
              <a:latin typeface="Arial" panose="020B0604020202090204" pitchFamily="34" charset="0"/>
              <a:ea typeface="华文楷体" panose="02010600040101010101" pitchFamily="2" charset="-122"/>
            </a:endParaRPr>
          </a:p>
          <a:p>
            <a:pPr lvl="0"/>
            <a:r>
              <a:rPr lang="en-US" altLang="zh-CN">
                <a:latin typeface="Arial" panose="020B0604020202090204" pitchFamily="34" charset="0"/>
                <a:ea typeface="华文楷体" panose="02010600040101010101" pitchFamily="2" charset="-122"/>
              </a:rPr>
              <a:t>When you copy &amp; paste, choose "keep text only" option.</a:t>
            </a:r>
            <a:endParaRPr lang="zh-CN" altLang="en-US" dirty="0">
              <a:latin typeface="Arial" panose="020B0604020202090204" pitchFamily="34" charset="0"/>
              <a:ea typeface="华文楷体" panose="02010600040101010101" pitchFamily="2" charset="-122"/>
            </a:endParaRPr>
          </a:p>
        </p:txBody>
      </p:sp>
      <p:sp>
        <p:nvSpPr>
          <p:cNvPr id="33" name="文本框 32"/>
          <p:cNvSpPr txBox="1"/>
          <p:nvPr/>
        </p:nvSpPr>
        <p:spPr>
          <a:xfrm>
            <a:off x="5552306" y="2361732"/>
            <a:ext cx="1057275" cy="895350"/>
          </a:xfrm>
          <a:prstGeom prst="rect">
            <a:avLst/>
          </a:prstGeom>
        </p:spPr>
        <p:txBody>
          <a:bodyPr vert="horz" lIns="91440" tIns="45720" rIns="91440" bIns="45720" rtlCol="0" anchor="b">
            <a:normAutofit fontScale="92500" lnSpcReduction="10000"/>
          </a:bodyPr>
          <a:lstStyle>
            <a:lvl1pPr algn="l" defTabSz="914400" rtl="0" eaLnBrk="1" latinLnBrk="0" hangingPunct="1">
              <a:lnSpc>
                <a:spcPct val="90000"/>
              </a:lnSpc>
              <a:spcBef>
                <a:spcPct val="0"/>
              </a:spcBef>
              <a:buNone/>
              <a:defRPr sz="2400" b="1" kern="1200">
                <a:solidFill>
                  <a:schemeClr val="bg1"/>
                </a:solidFill>
                <a:latin typeface="+mj-lt"/>
                <a:ea typeface="+mj-ea"/>
                <a:cs typeface="+mj-cs"/>
              </a:defRPr>
            </a:lvl1pPr>
          </a:lstStyle>
          <a:p>
            <a:r>
              <a:rPr lang="en-US" altLang="zh-CN" sz="6600" dirty="0">
                <a:solidFill>
                  <a:srgbClr val="FC6C1C"/>
                </a:solidFill>
                <a:latin typeface="Arial" panose="020B0604020202090204" pitchFamily="34" charset="0"/>
                <a:ea typeface="华文楷体" panose="02010600040101010101" pitchFamily="2" charset="-122"/>
              </a:rPr>
              <a:t>01</a:t>
            </a:r>
            <a:endParaRPr lang="zh-CN" altLang="en-US" sz="6600" dirty="0">
              <a:solidFill>
                <a:srgbClr val="FC6C1C"/>
              </a:solidFill>
              <a:latin typeface="Arial" panose="020B0604020202090204" pitchFamily="34" charset="0"/>
              <a:ea typeface="华文楷体" panose="02010600040101010101" pitchFamily="2" charset="-122"/>
            </a:endParaRPr>
          </a:p>
        </p:txBody>
      </p:sp>
      <p:sp>
        <p:nvSpPr>
          <p:cNvPr id="3" name="矩形 2"/>
          <p:cNvSpPr/>
          <p:nvPr/>
        </p:nvSpPr>
        <p:spPr>
          <a:xfrm>
            <a:off x="0" y="3340168"/>
            <a:ext cx="12192000" cy="3541736"/>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22" name="图片 121"/>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9903035" y="299594"/>
            <a:ext cx="1837445" cy="501494"/>
          </a:xfrm>
          <a:prstGeom prst="rect">
            <a:avLst/>
          </a:prstGeom>
        </p:spPr>
      </p:pic>
      <p:sp>
        <p:nvSpPr>
          <p:cNvPr id="123" name="文本框 122"/>
          <p:cNvSpPr txBox="1"/>
          <p:nvPr/>
        </p:nvSpPr>
        <p:spPr>
          <a:xfrm>
            <a:off x="5569671" y="3767308"/>
            <a:ext cx="4240111" cy="895350"/>
          </a:xfrm>
          <a:prstGeom prst="rect">
            <a:avLst/>
          </a:prstGeom>
        </p:spPr>
        <p:txBody>
          <a:bodyPr vert="horz" wrap="square" lIns="91440" tIns="45720" rIns="91440" bIns="45720" rtlCol="0">
            <a:normAutofit/>
          </a:bodyPr>
          <a:lstStyle/>
          <a:p>
            <a:pPr marL="106045"/>
            <a:r>
              <a:rPr lang="en-US" altLang="zh-CN" sz="3200" b="1" dirty="0">
                <a:solidFill>
                  <a:schemeClr val="bg1"/>
                </a:solidFill>
              </a:rPr>
              <a:t>XXXX</a:t>
            </a:r>
            <a:endParaRPr lang="zh-CN" altLang="en-US" sz="3200" b="1" dirty="0">
              <a:solidFill>
                <a:schemeClr val="bg1"/>
              </a:solidFill>
            </a:endParaRPr>
          </a:p>
        </p:txBody>
      </p:sp>
      <p:grpSp>
        <p:nvGrpSpPr>
          <p:cNvPr id="281" name="组合 280"/>
          <p:cNvGrpSpPr/>
          <p:nvPr/>
        </p:nvGrpSpPr>
        <p:grpSpPr>
          <a:xfrm>
            <a:off x="1036820" y="940555"/>
            <a:ext cx="3861339" cy="4262816"/>
            <a:chOff x="4140225" y="1288085"/>
            <a:chExt cx="3898850" cy="4688230"/>
          </a:xfrm>
        </p:grpSpPr>
        <p:sp>
          <p:nvSpPr>
            <p:cNvPr id="282" name="任意多边形: 形状 281"/>
            <p:cNvSpPr/>
            <p:nvPr/>
          </p:nvSpPr>
          <p:spPr>
            <a:xfrm>
              <a:off x="5729322" y="3554303"/>
              <a:ext cx="336915" cy="545916"/>
            </a:xfrm>
            <a:custGeom>
              <a:avLst/>
              <a:gdLst>
                <a:gd name="connsiteX0" fmla="*/ 0 w 336915"/>
                <a:gd name="connsiteY0" fmla="*/ 164003 h 545916"/>
                <a:gd name="connsiteX1" fmla="*/ 336915 w 336915"/>
                <a:gd name="connsiteY1" fmla="*/ 0 h 545916"/>
                <a:gd name="connsiteX2" fmla="*/ 336915 w 336915"/>
                <a:gd name="connsiteY2" fmla="*/ 350620 h 545916"/>
                <a:gd name="connsiteX3" fmla="*/ 0 w 336915"/>
                <a:gd name="connsiteY3" fmla="*/ 545917 h 545916"/>
                <a:gd name="connsiteX4" fmla="*/ 0 w 336915"/>
                <a:gd name="connsiteY4" fmla="*/ 164003 h 5459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915" h="545916">
                  <a:moveTo>
                    <a:pt x="0" y="164003"/>
                  </a:moveTo>
                  <a:lnTo>
                    <a:pt x="336915" y="0"/>
                  </a:lnTo>
                  <a:lnTo>
                    <a:pt x="336915" y="350620"/>
                  </a:lnTo>
                  <a:lnTo>
                    <a:pt x="0" y="545917"/>
                  </a:lnTo>
                  <a:lnTo>
                    <a:pt x="0" y="164003"/>
                  </a:lnTo>
                  <a:close/>
                </a:path>
              </a:pathLst>
            </a:custGeom>
            <a:solidFill>
              <a:srgbClr val="A2B7EB"/>
            </a:solidFill>
            <a:ln w="22838" cap="flat">
              <a:noFill/>
              <a:prstDash val="solid"/>
              <a:miter/>
            </a:ln>
          </p:spPr>
          <p:txBody>
            <a:bodyPr rtlCol="0" anchor="ctr"/>
            <a:lstStyle/>
            <a:p>
              <a:endParaRPr lang="zh-CN" altLang="en-US"/>
            </a:p>
          </p:txBody>
        </p:sp>
        <p:sp>
          <p:nvSpPr>
            <p:cNvPr id="283" name="任意多边形: 形状 282"/>
            <p:cNvSpPr/>
            <p:nvPr/>
          </p:nvSpPr>
          <p:spPr>
            <a:xfrm>
              <a:off x="5458370" y="3890654"/>
              <a:ext cx="1154697" cy="699890"/>
            </a:xfrm>
            <a:custGeom>
              <a:avLst/>
              <a:gdLst>
                <a:gd name="connsiteX0" fmla="*/ 54 w 1154697"/>
                <a:gd name="connsiteY0" fmla="*/ 498293 h 699890"/>
                <a:gd name="connsiteX1" fmla="*/ 1424 w 1154697"/>
                <a:gd name="connsiteY1" fmla="*/ 497151 h 699890"/>
                <a:gd name="connsiteX2" fmla="*/ 38885 w 1154697"/>
                <a:gd name="connsiteY2" fmla="*/ 439133 h 699890"/>
                <a:gd name="connsiteX3" fmla="*/ 220476 w 1154697"/>
                <a:gd name="connsiteY3" fmla="*/ 334518 h 699890"/>
                <a:gd name="connsiteX4" fmla="*/ 270500 w 1154697"/>
                <a:gd name="connsiteY4" fmla="*/ 248177 h 699890"/>
                <a:gd name="connsiteX5" fmla="*/ 270500 w 1154697"/>
                <a:gd name="connsiteY5" fmla="*/ 209802 h 699890"/>
                <a:gd name="connsiteX6" fmla="*/ 607643 w 1154697"/>
                <a:gd name="connsiteY6" fmla="*/ 14506 h 699890"/>
                <a:gd name="connsiteX7" fmla="*/ 607643 w 1154697"/>
                <a:gd name="connsiteY7" fmla="*/ 25927 h 699890"/>
                <a:gd name="connsiteX8" fmla="*/ 657392 w 1154697"/>
                <a:gd name="connsiteY8" fmla="*/ 75767 h 699890"/>
                <a:gd name="connsiteX9" fmla="*/ 682336 w 1154697"/>
                <a:gd name="connsiteY9" fmla="*/ 69098 h 699890"/>
                <a:gd name="connsiteX10" fmla="*/ 762509 w 1154697"/>
                <a:gd name="connsiteY10" fmla="*/ 23414 h 699890"/>
                <a:gd name="connsiteX11" fmla="*/ 917148 w 1154697"/>
                <a:gd name="connsiteY11" fmla="*/ 12450 h 699890"/>
                <a:gd name="connsiteX12" fmla="*/ 1128663 w 1154697"/>
                <a:gd name="connsiteY12" fmla="*/ 123232 h 699890"/>
                <a:gd name="connsiteX13" fmla="*/ 1154245 w 1154697"/>
                <a:gd name="connsiteY13" fmla="*/ 159551 h 699890"/>
                <a:gd name="connsiteX14" fmla="*/ 1154245 w 1154697"/>
                <a:gd name="connsiteY14" fmla="*/ 210031 h 699890"/>
                <a:gd name="connsiteX15" fmla="*/ 1114729 w 1154697"/>
                <a:gd name="connsiteY15" fmla="*/ 259825 h 699890"/>
                <a:gd name="connsiteX16" fmla="*/ 392475 w 1154697"/>
                <a:gd name="connsiteY16" fmla="*/ 676230 h 699890"/>
                <a:gd name="connsiteX17" fmla="*/ 237607 w 1154697"/>
                <a:gd name="connsiteY17" fmla="*/ 687194 h 699890"/>
                <a:gd name="connsiteX18" fmla="*/ 26322 w 1154697"/>
                <a:gd name="connsiteY18" fmla="*/ 576640 h 699890"/>
                <a:gd name="connsiteX19" fmla="*/ 54 w 1154697"/>
                <a:gd name="connsiteY19" fmla="*/ 498293 h 699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54697" h="699890">
                  <a:moveTo>
                    <a:pt x="54" y="498293"/>
                  </a:moveTo>
                  <a:lnTo>
                    <a:pt x="1424" y="497151"/>
                  </a:lnTo>
                  <a:cubicBezTo>
                    <a:pt x="-3601" y="478192"/>
                    <a:pt x="9190" y="456264"/>
                    <a:pt x="38885" y="439133"/>
                  </a:cubicBezTo>
                  <a:lnTo>
                    <a:pt x="220476" y="334518"/>
                  </a:lnTo>
                  <a:cubicBezTo>
                    <a:pt x="251450" y="316793"/>
                    <a:pt x="270522" y="283855"/>
                    <a:pt x="270500" y="248177"/>
                  </a:cubicBezTo>
                  <a:lnTo>
                    <a:pt x="270500" y="209802"/>
                  </a:lnTo>
                  <a:lnTo>
                    <a:pt x="607643" y="14506"/>
                  </a:lnTo>
                  <a:lnTo>
                    <a:pt x="607643" y="25927"/>
                  </a:lnTo>
                  <a:cubicBezTo>
                    <a:pt x="607621" y="53428"/>
                    <a:pt x="629891" y="75744"/>
                    <a:pt x="657392" y="75767"/>
                  </a:cubicBezTo>
                  <a:cubicBezTo>
                    <a:pt x="666140" y="75767"/>
                    <a:pt x="674752" y="73483"/>
                    <a:pt x="682336" y="69098"/>
                  </a:cubicBezTo>
                  <a:lnTo>
                    <a:pt x="762509" y="23414"/>
                  </a:lnTo>
                  <a:cubicBezTo>
                    <a:pt x="808193" y="-3082"/>
                    <a:pt x="878088" y="-8107"/>
                    <a:pt x="917148" y="12450"/>
                  </a:cubicBezTo>
                  <a:lnTo>
                    <a:pt x="1128663" y="123232"/>
                  </a:lnTo>
                  <a:cubicBezTo>
                    <a:pt x="1143623" y="129194"/>
                    <a:pt x="1153674" y="143447"/>
                    <a:pt x="1154245" y="159551"/>
                  </a:cubicBezTo>
                  <a:cubicBezTo>
                    <a:pt x="1154245" y="159551"/>
                    <a:pt x="1154245" y="210031"/>
                    <a:pt x="1154245" y="210031"/>
                  </a:cubicBezTo>
                  <a:cubicBezTo>
                    <a:pt x="1154245" y="226933"/>
                    <a:pt x="1140312" y="244978"/>
                    <a:pt x="1114729" y="259825"/>
                  </a:cubicBezTo>
                  <a:lnTo>
                    <a:pt x="392475" y="676230"/>
                  </a:lnTo>
                  <a:cubicBezTo>
                    <a:pt x="345146" y="703046"/>
                    <a:pt x="288247" y="707066"/>
                    <a:pt x="237607" y="687194"/>
                  </a:cubicBezTo>
                  <a:lnTo>
                    <a:pt x="26322" y="576640"/>
                  </a:lnTo>
                  <a:cubicBezTo>
                    <a:pt x="-6342" y="555169"/>
                    <a:pt x="54" y="528444"/>
                    <a:pt x="54" y="498293"/>
                  </a:cubicBezTo>
                  <a:close/>
                </a:path>
              </a:pathLst>
            </a:custGeom>
            <a:gradFill>
              <a:gsLst>
                <a:gs pos="0">
                  <a:srgbClr val="EEF2FC"/>
                </a:gs>
                <a:gs pos="59000">
                  <a:srgbClr val="D9E2F9"/>
                </a:gs>
                <a:gs pos="100000">
                  <a:srgbClr val="D0DBF8"/>
                </a:gs>
              </a:gsLst>
              <a:lin ang="0" scaled="1"/>
            </a:gradFill>
            <a:ln w="22838" cap="flat">
              <a:noFill/>
              <a:prstDash val="solid"/>
              <a:miter/>
            </a:ln>
          </p:spPr>
          <p:txBody>
            <a:bodyPr rtlCol="0" anchor="ctr"/>
            <a:lstStyle/>
            <a:p>
              <a:endParaRPr lang="zh-CN" altLang="en-US"/>
            </a:p>
          </p:txBody>
        </p:sp>
        <p:sp>
          <p:nvSpPr>
            <p:cNvPr id="284" name="任意多边形: 形状 283"/>
            <p:cNvSpPr/>
            <p:nvPr/>
          </p:nvSpPr>
          <p:spPr>
            <a:xfrm>
              <a:off x="5478613" y="4091997"/>
              <a:ext cx="1114125" cy="480877"/>
            </a:xfrm>
            <a:custGeom>
              <a:avLst/>
              <a:gdLst>
                <a:gd name="connsiteX0" fmla="*/ 5851 w 1114125"/>
                <a:gd name="connsiteY0" fmla="*/ 323218 h 480877"/>
                <a:gd name="connsiteX1" fmla="*/ 217365 w 1114125"/>
                <a:gd name="connsiteY1" fmla="*/ 433772 h 480877"/>
                <a:gd name="connsiteX2" fmla="*/ 372003 w 1114125"/>
                <a:gd name="connsiteY2" fmla="*/ 422808 h 480877"/>
                <a:gd name="connsiteX3" fmla="*/ 1095628 w 1114125"/>
                <a:gd name="connsiteY3" fmla="*/ 7318 h 480877"/>
                <a:gd name="connsiteX4" fmla="*/ 1106592 w 1114125"/>
                <a:gd name="connsiteY4" fmla="*/ -220 h 480877"/>
                <a:gd name="connsiteX5" fmla="*/ 1113673 w 1114125"/>
                <a:gd name="connsiteY5" fmla="*/ 5262 h 480877"/>
                <a:gd name="connsiteX6" fmla="*/ 1113673 w 1114125"/>
                <a:gd name="connsiteY6" fmla="*/ 11886 h 480877"/>
                <a:gd name="connsiteX7" fmla="*/ 1084436 w 1114125"/>
                <a:gd name="connsiteY7" fmla="*/ 44092 h 480877"/>
                <a:gd name="connsiteX8" fmla="*/ 361724 w 1114125"/>
                <a:gd name="connsiteY8" fmla="*/ 459583 h 480877"/>
                <a:gd name="connsiteX9" fmla="*/ 277896 w 1114125"/>
                <a:gd name="connsiteY9" fmla="*/ 480598 h 480877"/>
                <a:gd name="connsiteX10" fmla="*/ 226730 w 1114125"/>
                <a:gd name="connsiteY10" fmla="*/ 470319 h 480877"/>
                <a:gd name="connsiteX11" fmla="*/ 16587 w 1114125"/>
                <a:gd name="connsiteY11" fmla="*/ 360222 h 480877"/>
                <a:gd name="connsiteX12" fmla="*/ -317 w 1114125"/>
                <a:gd name="connsiteY12" fmla="*/ 319335 h 480877"/>
                <a:gd name="connsiteX13" fmla="*/ 5851 w 1114125"/>
                <a:gd name="connsiteY13" fmla="*/ 323218 h 480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14125" h="480877">
                  <a:moveTo>
                    <a:pt x="5851" y="323218"/>
                  </a:moveTo>
                  <a:lnTo>
                    <a:pt x="217365" y="433772"/>
                  </a:lnTo>
                  <a:cubicBezTo>
                    <a:pt x="256424" y="454558"/>
                    <a:pt x="325634" y="449533"/>
                    <a:pt x="372003" y="422808"/>
                  </a:cubicBezTo>
                  <a:lnTo>
                    <a:pt x="1095628" y="7318"/>
                  </a:lnTo>
                  <a:cubicBezTo>
                    <a:pt x="1099443" y="5056"/>
                    <a:pt x="1103097" y="2521"/>
                    <a:pt x="1106592" y="-220"/>
                  </a:cubicBezTo>
                  <a:lnTo>
                    <a:pt x="1113673" y="5262"/>
                  </a:lnTo>
                  <a:lnTo>
                    <a:pt x="1113673" y="11886"/>
                  </a:lnTo>
                  <a:cubicBezTo>
                    <a:pt x="1113673" y="18967"/>
                    <a:pt x="1106136" y="31530"/>
                    <a:pt x="1084436" y="44092"/>
                  </a:cubicBezTo>
                  <a:lnTo>
                    <a:pt x="361724" y="459583"/>
                  </a:lnTo>
                  <a:cubicBezTo>
                    <a:pt x="335981" y="473517"/>
                    <a:pt x="307156" y="480757"/>
                    <a:pt x="277896" y="480598"/>
                  </a:cubicBezTo>
                  <a:cubicBezTo>
                    <a:pt x="260285" y="481169"/>
                    <a:pt x="242765" y="477651"/>
                    <a:pt x="226730" y="470319"/>
                  </a:cubicBezTo>
                  <a:lnTo>
                    <a:pt x="16587" y="360222"/>
                  </a:lnTo>
                  <a:cubicBezTo>
                    <a:pt x="368" y="350172"/>
                    <a:pt x="-1002" y="340349"/>
                    <a:pt x="-317" y="319335"/>
                  </a:cubicBezTo>
                  <a:cubicBezTo>
                    <a:pt x="1671" y="320751"/>
                    <a:pt x="3726" y="322053"/>
                    <a:pt x="5851" y="323218"/>
                  </a:cubicBezTo>
                  <a:close/>
                </a:path>
              </a:pathLst>
            </a:custGeom>
            <a:solidFill>
              <a:srgbClr val="5A43DB"/>
            </a:solidFill>
            <a:ln w="22838" cap="flat">
              <a:noFill/>
              <a:prstDash val="solid"/>
              <a:miter/>
            </a:ln>
          </p:spPr>
          <p:txBody>
            <a:bodyPr rtlCol="0" anchor="ctr"/>
            <a:lstStyle/>
            <a:p>
              <a:endParaRPr lang="zh-CN" altLang="en-US"/>
            </a:p>
          </p:txBody>
        </p:sp>
        <p:sp>
          <p:nvSpPr>
            <p:cNvPr id="285" name="任意多边形: 形状 284"/>
            <p:cNvSpPr/>
            <p:nvPr/>
          </p:nvSpPr>
          <p:spPr>
            <a:xfrm>
              <a:off x="4576039" y="1288085"/>
              <a:ext cx="2587288" cy="3209733"/>
            </a:xfrm>
            <a:custGeom>
              <a:avLst/>
              <a:gdLst>
                <a:gd name="connsiteX0" fmla="*/ -447 w 2587288"/>
                <a:gd name="connsiteY0" fmla="*/ 3016805 h 3209733"/>
                <a:gd name="connsiteX1" fmla="*/ -447 w 2587288"/>
                <a:gd name="connsiteY1" fmla="*/ 1512908 h 3209733"/>
                <a:gd name="connsiteX2" fmla="*/ 149395 w 2587288"/>
                <a:gd name="connsiteY2" fmla="*/ 1251598 h 3209733"/>
                <a:gd name="connsiteX3" fmla="*/ 2282582 w 2587288"/>
                <a:gd name="connsiteY3" fmla="*/ 19974 h 3209733"/>
                <a:gd name="connsiteX4" fmla="*/ 2423972 w 2587288"/>
                <a:gd name="connsiteY4" fmla="*/ 15634 h 3209733"/>
                <a:gd name="connsiteX5" fmla="*/ 2507572 w 2587288"/>
                <a:gd name="connsiteY5" fmla="*/ 61317 h 3209733"/>
                <a:gd name="connsiteX6" fmla="*/ 2586834 w 2587288"/>
                <a:gd name="connsiteY6" fmla="*/ 193342 h 3209733"/>
                <a:gd name="connsiteX7" fmla="*/ 2586834 w 2587288"/>
                <a:gd name="connsiteY7" fmla="*/ 1691986 h 3209733"/>
                <a:gd name="connsiteX8" fmla="*/ 2437677 w 2587288"/>
                <a:gd name="connsiteY8" fmla="*/ 1951240 h 3209733"/>
                <a:gd name="connsiteX9" fmla="*/ 304947 w 2587288"/>
                <a:gd name="connsiteY9" fmla="*/ 3188803 h 3209733"/>
                <a:gd name="connsiteX10" fmla="*/ 71276 w 2587288"/>
                <a:gd name="connsiteY10" fmla="*/ 3143120 h 3209733"/>
                <a:gd name="connsiteX11" fmla="*/ -447 w 2587288"/>
                <a:gd name="connsiteY11" fmla="*/ 3016805 h 3209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587288" h="3209733">
                  <a:moveTo>
                    <a:pt x="-447" y="3016805"/>
                  </a:moveTo>
                  <a:lnTo>
                    <a:pt x="-447" y="1512908"/>
                  </a:lnTo>
                  <a:cubicBezTo>
                    <a:pt x="-1132" y="1405186"/>
                    <a:pt x="56087" y="1305413"/>
                    <a:pt x="149395" y="1251598"/>
                  </a:cubicBezTo>
                  <a:lnTo>
                    <a:pt x="2282582" y="19974"/>
                  </a:lnTo>
                  <a:cubicBezTo>
                    <a:pt x="2325936" y="-5312"/>
                    <a:pt x="2379156" y="-6957"/>
                    <a:pt x="2423972" y="15634"/>
                  </a:cubicBezTo>
                  <a:lnTo>
                    <a:pt x="2507572" y="61317"/>
                  </a:lnTo>
                  <a:cubicBezTo>
                    <a:pt x="2556568" y="87083"/>
                    <a:pt x="2587131" y="137997"/>
                    <a:pt x="2586834" y="193342"/>
                  </a:cubicBezTo>
                  <a:lnTo>
                    <a:pt x="2586834" y="1691986"/>
                  </a:lnTo>
                  <a:cubicBezTo>
                    <a:pt x="2586788" y="1798794"/>
                    <a:pt x="2529980" y="1897516"/>
                    <a:pt x="2437677" y="1951240"/>
                  </a:cubicBezTo>
                  <a:lnTo>
                    <a:pt x="304947" y="3188803"/>
                  </a:lnTo>
                  <a:cubicBezTo>
                    <a:pt x="223631" y="3236086"/>
                    <a:pt x="154877" y="3194514"/>
                    <a:pt x="71276" y="3143120"/>
                  </a:cubicBezTo>
                  <a:cubicBezTo>
                    <a:pt x="26872" y="3116509"/>
                    <a:pt x="-355" y="3068587"/>
                    <a:pt x="-447" y="3016805"/>
                  </a:cubicBezTo>
                  <a:close/>
                </a:path>
              </a:pathLst>
            </a:custGeom>
            <a:gradFill>
              <a:gsLst>
                <a:gs pos="0">
                  <a:srgbClr val="D5DFF9"/>
                </a:gs>
                <a:gs pos="50000">
                  <a:srgbClr val="E1E8FA"/>
                </a:gs>
                <a:gs pos="100000">
                  <a:srgbClr val="EEF2FC"/>
                </a:gs>
              </a:gsLst>
              <a:lin ang="0" scaled="1"/>
            </a:gradFill>
            <a:ln w="22838" cap="flat">
              <a:noFill/>
              <a:prstDash val="solid"/>
              <a:miter/>
            </a:ln>
          </p:spPr>
          <p:txBody>
            <a:bodyPr rtlCol="0" anchor="ctr"/>
            <a:lstStyle/>
            <a:p>
              <a:endParaRPr lang="zh-CN" altLang="en-US"/>
            </a:p>
          </p:txBody>
        </p:sp>
        <p:sp>
          <p:nvSpPr>
            <p:cNvPr id="286" name="任意多边形: 形状 285"/>
            <p:cNvSpPr/>
            <p:nvPr/>
          </p:nvSpPr>
          <p:spPr>
            <a:xfrm>
              <a:off x="4605965" y="1320156"/>
              <a:ext cx="2354296" cy="3066041"/>
            </a:xfrm>
            <a:custGeom>
              <a:avLst/>
              <a:gdLst>
                <a:gd name="connsiteX0" fmla="*/ 36781 w 2354296"/>
                <a:gd name="connsiteY0" fmla="*/ 3065821 h 3066041"/>
                <a:gd name="connsiteX1" fmla="*/ -451 w 2354296"/>
                <a:gd name="connsiteY1" fmla="*/ 2981536 h 3066041"/>
                <a:gd name="connsiteX2" fmla="*/ -451 w 2354296"/>
                <a:gd name="connsiteY2" fmla="*/ 1477181 h 3066041"/>
                <a:gd name="connsiteX3" fmla="*/ 132488 w 2354296"/>
                <a:gd name="connsiteY3" fmla="*/ 1245110 h 3066041"/>
                <a:gd name="connsiteX4" fmla="*/ 2265675 w 2354296"/>
                <a:gd name="connsiteY4" fmla="*/ 15312 h 3066041"/>
                <a:gd name="connsiteX5" fmla="*/ 2323007 w 2354296"/>
                <a:gd name="connsiteY5" fmla="*/ -220 h 3066041"/>
                <a:gd name="connsiteX6" fmla="*/ 2353844 w 2354296"/>
                <a:gd name="connsiteY6" fmla="*/ 3891 h 3066041"/>
                <a:gd name="connsiteX7" fmla="*/ 2321409 w 2354296"/>
                <a:gd name="connsiteY7" fmla="*/ 18282 h 3066041"/>
                <a:gd name="connsiteX8" fmla="*/ 188450 w 2354296"/>
                <a:gd name="connsiteY8" fmla="*/ 1248764 h 3066041"/>
                <a:gd name="connsiteX9" fmla="*/ 31756 w 2354296"/>
                <a:gd name="connsiteY9" fmla="*/ 1521723 h 3066041"/>
                <a:gd name="connsiteX10" fmla="*/ 31756 w 2354296"/>
                <a:gd name="connsiteY10" fmla="*/ 3025163 h 3066041"/>
                <a:gd name="connsiteX11" fmla="*/ 36781 w 2354296"/>
                <a:gd name="connsiteY11" fmla="*/ 3065821 h 3066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54296" h="3066041">
                  <a:moveTo>
                    <a:pt x="36781" y="3065821"/>
                  </a:moveTo>
                  <a:cubicBezTo>
                    <a:pt x="13094" y="3044191"/>
                    <a:pt x="-428" y="3013606"/>
                    <a:pt x="-451" y="2981536"/>
                  </a:cubicBezTo>
                  <a:lnTo>
                    <a:pt x="-451" y="1477181"/>
                  </a:lnTo>
                  <a:cubicBezTo>
                    <a:pt x="-816" y="1381612"/>
                    <a:pt x="49870" y="1293146"/>
                    <a:pt x="132488" y="1245110"/>
                  </a:cubicBezTo>
                  <a:lnTo>
                    <a:pt x="2265675" y="15312"/>
                  </a:lnTo>
                  <a:cubicBezTo>
                    <a:pt x="2283080" y="5171"/>
                    <a:pt x="2302861" y="-197"/>
                    <a:pt x="2323007" y="-220"/>
                  </a:cubicBezTo>
                  <a:cubicBezTo>
                    <a:pt x="2333424" y="-220"/>
                    <a:pt x="2343793" y="1173"/>
                    <a:pt x="2353844" y="3891"/>
                  </a:cubicBezTo>
                  <a:cubicBezTo>
                    <a:pt x="2342560" y="7546"/>
                    <a:pt x="2331687" y="12366"/>
                    <a:pt x="2321409" y="18282"/>
                  </a:cubicBezTo>
                  <a:lnTo>
                    <a:pt x="188450" y="1248764"/>
                  </a:lnTo>
                  <a:cubicBezTo>
                    <a:pt x="77211" y="1309295"/>
                    <a:pt x="31756" y="1388327"/>
                    <a:pt x="31756" y="1521723"/>
                  </a:cubicBezTo>
                  <a:lnTo>
                    <a:pt x="31756" y="3025163"/>
                  </a:lnTo>
                  <a:cubicBezTo>
                    <a:pt x="31779" y="3038868"/>
                    <a:pt x="33469" y="3052528"/>
                    <a:pt x="36781" y="3065821"/>
                  </a:cubicBezTo>
                  <a:close/>
                </a:path>
              </a:pathLst>
            </a:custGeom>
            <a:solidFill>
              <a:srgbClr val="5A43DB"/>
            </a:solidFill>
            <a:ln w="22838" cap="flat">
              <a:noFill/>
              <a:prstDash val="solid"/>
              <a:miter/>
            </a:ln>
          </p:spPr>
          <p:txBody>
            <a:bodyPr rtlCol="0" anchor="ctr"/>
            <a:lstStyle/>
            <a:p>
              <a:endParaRPr lang="zh-CN" altLang="en-US"/>
            </a:p>
          </p:txBody>
        </p:sp>
        <p:sp>
          <p:nvSpPr>
            <p:cNvPr id="287" name="任意多边形: 形状 286"/>
            <p:cNvSpPr/>
            <p:nvPr/>
          </p:nvSpPr>
          <p:spPr>
            <a:xfrm>
              <a:off x="4845120" y="1546517"/>
              <a:ext cx="2123593" cy="2689839"/>
            </a:xfrm>
            <a:custGeom>
              <a:avLst/>
              <a:gdLst>
                <a:gd name="connsiteX0" fmla="*/ 2123593 w 2123593"/>
                <a:gd name="connsiteY0" fmla="*/ 0 h 2689839"/>
                <a:gd name="connsiteX1" fmla="*/ 2123593 w 2123593"/>
                <a:gd name="connsiteY1" fmla="*/ 1456387 h 2689839"/>
                <a:gd name="connsiteX2" fmla="*/ 0 w 2123593"/>
                <a:gd name="connsiteY2" fmla="*/ 2689839 h 2689839"/>
                <a:gd name="connsiteX3" fmla="*/ 0 w 2123593"/>
                <a:gd name="connsiteY3" fmla="*/ 1228198 h 2689839"/>
                <a:gd name="connsiteX4" fmla="*/ 2123593 w 2123593"/>
                <a:gd name="connsiteY4" fmla="*/ 0 h 26898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23593" h="2689839">
                  <a:moveTo>
                    <a:pt x="2123593" y="0"/>
                  </a:moveTo>
                  <a:lnTo>
                    <a:pt x="2123593" y="1456387"/>
                  </a:lnTo>
                  <a:lnTo>
                    <a:pt x="0" y="2689839"/>
                  </a:lnTo>
                  <a:lnTo>
                    <a:pt x="0" y="1228198"/>
                  </a:lnTo>
                  <a:lnTo>
                    <a:pt x="2123593" y="0"/>
                  </a:lnTo>
                  <a:close/>
                </a:path>
              </a:pathLst>
            </a:custGeom>
            <a:solidFill>
              <a:srgbClr val="F7F9FF"/>
            </a:solidFill>
            <a:ln w="22838" cap="flat">
              <a:noFill/>
              <a:prstDash val="solid"/>
              <a:miter/>
            </a:ln>
          </p:spPr>
          <p:txBody>
            <a:bodyPr rtlCol="0" anchor="ctr"/>
            <a:lstStyle/>
            <a:p>
              <a:endParaRPr lang="zh-CN" altLang="en-US"/>
            </a:p>
          </p:txBody>
        </p:sp>
        <p:sp>
          <p:nvSpPr>
            <p:cNvPr id="288" name="任意多边形: 形状 287"/>
            <p:cNvSpPr/>
            <p:nvPr/>
          </p:nvSpPr>
          <p:spPr>
            <a:xfrm>
              <a:off x="4304228" y="2122971"/>
              <a:ext cx="947702" cy="1319478"/>
            </a:xfrm>
            <a:custGeom>
              <a:avLst/>
              <a:gdLst>
                <a:gd name="connsiteX0" fmla="*/ 947250 w 947702"/>
                <a:gd name="connsiteY0" fmla="*/ 39367 h 1319478"/>
                <a:gd name="connsiteX1" fmla="*/ 947250 w 947702"/>
                <a:gd name="connsiteY1" fmla="*/ 742892 h 1319478"/>
                <a:gd name="connsiteX2" fmla="*/ 897683 w 947702"/>
                <a:gd name="connsiteY2" fmla="*/ 829005 h 1319478"/>
                <a:gd name="connsiteX3" fmla="*/ 59164 w 947702"/>
                <a:gd name="connsiteY3" fmla="*/ 1313934 h 1319478"/>
                <a:gd name="connsiteX4" fmla="*/ 4870 w 947702"/>
                <a:gd name="connsiteY4" fmla="*/ 1299384 h 1319478"/>
                <a:gd name="connsiteX5" fmla="*/ -452 w 947702"/>
                <a:gd name="connsiteY5" fmla="*/ 1279443 h 1319478"/>
                <a:gd name="connsiteX6" fmla="*/ -452 w 947702"/>
                <a:gd name="connsiteY6" fmla="*/ 574777 h 1319478"/>
                <a:gd name="connsiteX7" fmla="*/ 49342 w 947702"/>
                <a:gd name="connsiteY7" fmla="*/ 488892 h 1319478"/>
                <a:gd name="connsiteX8" fmla="*/ 887632 w 947702"/>
                <a:gd name="connsiteY8" fmla="*/ 5105 h 1319478"/>
                <a:gd name="connsiteX9" fmla="*/ 941927 w 947702"/>
                <a:gd name="connsiteY9" fmla="*/ 19655 h 1319478"/>
                <a:gd name="connsiteX10" fmla="*/ 947250 w 947702"/>
                <a:gd name="connsiteY10" fmla="*/ 39367 h 1319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47702" h="1319478">
                  <a:moveTo>
                    <a:pt x="947250" y="39367"/>
                  </a:moveTo>
                  <a:lnTo>
                    <a:pt x="947250" y="742892"/>
                  </a:lnTo>
                  <a:cubicBezTo>
                    <a:pt x="947295" y="778387"/>
                    <a:pt x="928405" y="811211"/>
                    <a:pt x="897683" y="829005"/>
                  </a:cubicBezTo>
                  <a:lnTo>
                    <a:pt x="59164" y="1313934"/>
                  </a:lnTo>
                  <a:cubicBezTo>
                    <a:pt x="40160" y="1324898"/>
                    <a:pt x="15856" y="1318389"/>
                    <a:pt x="4870" y="1299384"/>
                  </a:cubicBezTo>
                  <a:cubicBezTo>
                    <a:pt x="1375" y="1293331"/>
                    <a:pt x="-475" y="1286456"/>
                    <a:pt x="-452" y="1279443"/>
                  </a:cubicBezTo>
                  <a:lnTo>
                    <a:pt x="-452" y="574777"/>
                  </a:lnTo>
                  <a:cubicBezTo>
                    <a:pt x="-316" y="539327"/>
                    <a:pt x="18643" y="506617"/>
                    <a:pt x="49342" y="488892"/>
                  </a:cubicBezTo>
                  <a:lnTo>
                    <a:pt x="887632" y="5105"/>
                  </a:lnTo>
                  <a:cubicBezTo>
                    <a:pt x="906637" y="-5859"/>
                    <a:pt x="930941" y="651"/>
                    <a:pt x="941927" y="19655"/>
                  </a:cubicBezTo>
                  <a:cubicBezTo>
                    <a:pt x="945377" y="25639"/>
                    <a:pt x="947227" y="32446"/>
                    <a:pt x="947250" y="39367"/>
                  </a:cubicBezTo>
                  <a:close/>
                </a:path>
              </a:pathLst>
            </a:custGeom>
            <a:gradFill>
              <a:gsLst>
                <a:gs pos="0">
                  <a:srgbClr val="EEF2FC"/>
                </a:gs>
                <a:gs pos="36000">
                  <a:srgbClr val="E9EEFB"/>
                </a:gs>
                <a:gs pos="76000">
                  <a:srgbClr val="DCE4FA"/>
                </a:gs>
                <a:gs pos="100000">
                  <a:srgbClr val="D0DBF8"/>
                </a:gs>
              </a:gsLst>
              <a:lin ang="0" scaled="1"/>
            </a:gradFill>
            <a:ln w="22838" cap="flat">
              <a:noFill/>
              <a:prstDash val="solid"/>
              <a:miter/>
            </a:ln>
          </p:spPr>
          <p:txBody>
            <a:bodyPr rtlCol="0" anchor="ctr"/>
            <a:lstStyle/>
            <a:p>
              <a:endParaRPr lang="zh-CN" altLang="en-US"/>
            </a:p>
          </p:txBody>
        </p:sp>
        <p:sp>
          <p:nvSpPr>
            <p:cNvPr id="289" name="任意多边形: 形状 288"/>
            <p:cNvSpPr/>
            <p:nvPr/>
          </p:nvSpPr>
          <p:spPr>
            <a:xfrm>
              <a:off x="4941734" y="2857477"/>
              <a:ext cx="841324" cy="526577"/>
            </a:xfrm>
            <a:custGeom>
              <a:avLst/>
              <a:gdLst>
                <a:gd name="connsiteX0" fmla="*/ 840813 w 841324"/>
                <a:gd name="connsiteY0" fmla="*/ 21862 h 526577"/>
                <a:gd name="connsiteX1" fmla="*/ 840813 w 841324"/>
                <a:gd name="connsiteY1" fmla="*/ 27801 h 526577"/>
                <a:gd name="connsiteX2" fmla="*/ 815003 w 841324"/>
                <a:gd name="connsiteY2" fmla="*/ 73485 h 526577"/>
                <a:gd name="connsiteX3" fmla="*/ 30618 w 841324"/>
                <a:gd name="connsiteY3" fmla="*/ 523466 h 526577"/>
                <a:gd name="connsiteX4" fmla="*/ 2431 w 841324"/>
                <a:gd name="connsiteY4" fmla="*/ 516294 h 526577"/>
                <a:gd name="connsiteX5" fmla="*/ -446 w 841324"/>
                <a:gd name="connsiteY5" fmla="*/ 505649 h 526577"/>
                <a:gd name="connsiteX6" fmla="*/ -446 w 841324"/>
                <a:gd name="connsiteY6" fmla="*/ 499482 h 526577"/>
                <a:gd name="connsiteX7" fmla="*/ 25364 w 841324"/>
                <a:gd name="connsiteY7" fmla="*/ 453799 h 526577"/>
                <a:gd name="connsiteX8" fmla="*/ 809064 w 841324"/>
                <a:gd name="connsiteY8" fmla="*/ 3132 h 526577"/>
                <a:gd name="connsiteX9" fmla="*/ 837524 w 841324"/>
                <a:gd name="connsiteY9" fmla="*/ 9094 h 526577"/>
                <a:gd name="connsiteX10" fmla="*/ 840813 w 841324"/>
                <a:gd name="connsiteY10" fmla="*/ 21862 h 526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41324" h="526577">
                  <a:moveTo>
                    <a:pt x="840813" y="21862"/>
                  </a:moveTo>
                  <a:lnTo>
                    <a:pt x="840813" y="27801"/>
                  </a:lnTo>
                  <a:cubicBezTo>
                    <a:pt x="841156" y="46600"/>
                    <a:pt x="831288" y="64097"/>
                    <a:pt x="815003" y="73485"/>
                  </a:cubicBezTo>
                  <a:lnTo>
                    <a:pt x="30618" y="523466"/>
                  </a:lnTo>
                  <a:cubicBezTo>
                    <a:pt x="20865" y="529268"/>
                    <a:pt x="8233" y="526070"/>
                    <a:pt x="2431" y="516294"/>
                  </a:cubicBezTo>
                  <a:cubicBezTo>
                    <a:pt x="536" y="513073"/>
                    <a:pt x="-469" y="509395"/>
                    <a:pt x="-446" y="505649"/>
                  </a:cubicBezTo>
                  <a:lnTo>
                    <a:pt x="-446" y="499482"/>
                  </a:lnTo>
                  <a:cubicBezTo>
                    <a:pt x="-743" y="480707"/>
                    <a:pt x="9124" y="463232"/>
                    <a:pt x="25364" y="453799"/>
                  </a:cubicBezTo>
                  <a:lnTo>
                    <a:pt x="809064" y="3132"/>
                  </a:lnTo>
                  <a:cubicBezTo>
                    <a:pt x="818565" y="-3081"/>
                    <a:pt x="831312" y="-408"/>
                    <a:pt x="837524" y="9094"/>
                  </a:cubicBezTo>
                  <a:cubicBezTo>
                    <a:pt x="839992" y="12863"/>
                    <a:pt x="841156" y="17363"/>
                    <a:pt x="840813" y="21862"/>
                  </a:cubicBezTo>
                  <a:close/>
                </a:path>
              </a:pathLst>
            </a:custGeom>
            <a:solidFill>
              <a:srgbClr val="33E7D2"/>
            </a:solidFill>
            <a:ln w="22838" cap="flat">
              <a:noFill/>
              <a:prstDash val="solid"/>
              <a:miter/>
            </a:ln>
          </p:spPr>
          <p:txBody>
            <a:bodyPr rtlCol="0" anchor="ctr"/>
            <a:lstStyle/>
            <a:p>
              <a:endParaRPr lang="zh-CN" altLang="en-US"/>
            </a:p>
          </p:txBody>
        </p:sp>
        <p:sp>
          <p:nvSpPr>
            <p:cNvPr id="290" name="任意多边形: 形状 289"/>
            <p:cNvSpPr/>
            <p:nvPr/>
          </p:nvSpPr>
          <p:spPr>
            <a:xfrm>
              <a:off x="4941734" y="3350401"/>
              <a:ext cx="841324" cy="526577"/>
            </a:xfrm>
            <a:custGeom>
              <a:avLst/>
              <a:gdLst>
                <a:gd name="connsiteX0" fmla="*/ 840813 w 841324"/>
                <a:gd name="connsiteY0" fmla="*/ 21862 h 526577"/>
                <a:gd name="connsiteX1" fmla="*/ 840813 w 841324"/>
                <a:gd name="connsiteY1" fmla="*/ 27801 h 526577"/>
                <a:gd name="connsiteX2" fmla="*/ 815003 w 841324"/>
                <a:gd name="connsiteY2" fmla="*/ 73484 h 526577"/>
                <a:gd name="connsiteX3" fmla="*/ 30618 w 841324"/>
                <a:gd name="connsiteY3" fmla="*/ 523466 h 526577"/>
                <a:gd name="connsiteX4" fmla="*/ 2431 w 841324"/>
                <a:gd name="connsiteY4" fmla="*/ 516294 h 526577"/>
                <a:gd name="connsiteX5" fmla="*/ -446 w 841324"/>
                <a:gd name="connsiteY5" fmla="*/ 505649 h 526577"/>
                <a:gd name="connsiteX6" fmla="*/ -446 w 841324"/>
                <a:gd name="connsiteY6" fmla="*/ 499482 h 526577"/>
                <a:gd name="connsiteX7" fmla="*/ 25364 w 841324"/>
                <a:gd name="connsiteY7" fmla="*/ 453798 h 526577"/>
                <a:gd name="connsiteX8" fmla="*/ 809064 w 841324"/>
                <a:gd name="connsiteY8" fmla="*/ 3132 h 526577"/>
                <a:gd name="connsiteX9" fmla="*/ 837524 w 841324"/>
                <a:gd name="connsiteY9" fmla="*/ 9093 h 526577"/>
                <a:gd name="connsiteX10" fmla="*/ 840813 w 841324"/>
                <a:gd name="connsiteY10" fmla="*/ 21862 h 526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41324" h="526577">
                  <a:moveTo>
                    <a:pt x="840813" y="21862"/>
                  </a:moveTo>
                  <a:lnTo>
                    <a:pt x="840813" y="27801"/>
                  </a:lnTo>
                  <a:cubicBezTo>
                    <a:pt x="841156" y="46599"/>
                    <a:pt x="831288" y="64097"/>
                    <a:pt x="815003" y="73484"/>
                  </a:cubicBezTo>
                  <a:lnTo>
                    <a:pt x="30618" y="523466"/>
                  </a:lnTo>
                  <a:cubicBezTo>
                    <a:pt x="20865" y="529268"/>
                    <a:pt x="8233" y="526070"/>
                    <a:pt x="2431" y="516294"/>
                  </a:cubicBezTo>
                  <a:cubicBezTo>
                    <a:pt x="536" y="513073"/>
                    <a:pt x="-469" y="509396"/>
                    <a:pt x="-446" y="505649"/>
                  </a:cubicBezTo>
                  <a:lnTo>
                    <a:pt x="-446" y="499482"/>
                  </a:lnTo>
                  <a:cubicBezTo>
                    <a:pt x="-743" y="480706"/>
                    <a:pt x="9124" y="463233"/>
                    <a:pt x="25364" y="453798"/>
                  </a:cubicBezTo>
                  <a:lnTo>
                    <a:pt x="809064" y="3132"/>
                  </a:lnTo>
                  <a:cubicBezTo>
                    <a:pt x="818565" y="-3081"/>
                    <a:pt x="831312" y="-408"/>
                    <a:pt x="837524" y="9093"/>
                  </a:cubicBezTo>
                  <a:cubicBezTo>
                    <a:pt x="839992" y="12862"/>
                    <a:pt x="841156" y="17362"/>
                    <a:pt x="840813" y="21862"/>
                  </a:cubicBezTo>
                  <a:close/>
                </a:path>
              </a:pathLst>
            </a:custGeom>
            <a:solidFill>
              <a:srgbClr val="5A43DB"/>
            </a:solidFill>
            <a:ln w="22838" cap="flat">
              <a:noFill/>
              <a:prstDash val="solid"/>
              <a:miter/>
            </a:ln>
          </p:spPr>
          <p:txBody>
            <a:bodyPr rtlCol="0" anchor="ctr"/>
            <a:lstStyle/>
            <a:p>
              <a:endParaRPr lang="zh-CN" altLang="en-US"/>
            </a:p>
          </p:txBody>
        </p:sp>
        <p:sp>
          <p:nvSpPr>
            <p:cNvPr id="291" name="任意多边形: 形状 290"/>
            <p:cNvSpPr/>
            <p:nvPr/>
          </p:nvSpPr>
          <p:spPr>
            <a:xfrm>
              <a:off x="4938994" y="3233618"/>
              <a:ext cx="462099" cy="310850"/>
            </a:xfrm>
            <a:custGeom>
              <a:avLst/>
              <a:gdLst>
                <a:gd name="connsiteX0" fmla="*/ 461640 w 462099"/>
                <a:gd name="connsiteY0" fmla="*/ 20553 h 310850"/>
                <a:gd name="connsiteX1" fmla="*/ 461640 w 462099"/>
                <a:gd name="connsiteY1" fmla="*/ 26492 h 310850"/>
                <a:gd name="connsiteX2" fmla="*/ 435829 w 462099"/>
                <a:gd name="connsiteY2" fmla="*/ 72176 h 310850"/>
                <a:gd name="connsiteX3" fmla="*/ 30617 w 462099"/>
                <a:gd name="connsiteY3" fmla="*/ 307902 h 310850"/>
                <a:gd name="connsiteX4" fmla="*/ 2271 w 462099"/>
                <a:gd name="connsiteY4" fmla="*/ 300113 h 310850"/>
                <a:gd name="connsiteX5" fmla="*/ -448 w 462099"/>
                <a:gd name="connsiteY5" fmla="*/ 289857 h 310850"/>
                <a:gd name="connsiteX6" fmla="*/ -448 w 462099"/>
                <a:gd name="connsiteY6" fmla="*/ 283689 h 310850"/>
                <a:gd name="connsiteX7" fmla="*/ 25363 w 462099"/>
                <a:gd name="connsiteY7" fmla="*/ 238006 h 310850"/>
                <a:gd name="connsiteX8" fmla="*/ 430576 w 462099"/>
                <a:gd name="connsiteY8" fmla="*/ 2508 h 310850"/>
                <a:gd name="connsiteX9" fmla="*/ 458922 w 462099"/>
                <a:gd name="connsiteY9" fmla="*/ 10297 h 310850"/>
                <a:gd name="connsiteX10" fmla="*/ 461640 w 462099"/>
                <a:gd name="connsiteY10" fmla="*/ 20553 h 310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2099" h="310850">
                  <a:moveTo>
                    <a:pt x="461640" y="20553"/>
                  </a:moveTo>
                  <a:lnTo>
                    <a:pt x="461640" y="26492"/>
                  </a:lnTo>
                  <a:cubicBezTo>
                    <a:pt x="461937" y="45268"/>
                    <a:pt x="452069" y="62742"/>
                    <a:pt x="435829" y="72176"/>
                  </a:cubicBezTo>
                  <a:lnTo>
                    <a:pt x="30617" y="307902"/>
                  </a:lnTo>
                  <a:cubicBezTo>
                    <a:pt x="20635" y="313590"/>
                    <a:pt x="7958" y="310095"/>
                    <a:pt x="2271" y="300113"/>
                  </a:cubicBezTo>
                  <a:cubicBezTo>
                    <a:pt x="489" y="296983"/>
                    <a:pt x="-448" y="293443"/>
                    <a:pt x="-448" y="289857"/>
                  </a:cubicBezTo>
                  <a:lnTo>
                    <a:pt x="-448" y="283689"/>
                  </a:lnTo>
                  <a:cubicBezTo>
                    <a:pt x="-699" y="264914"/>
                    <a:pt x="9146" y="247463"/>
                    <a:pt x="25363" y="238006"/>
                  </a:cubicBezTo>
                  <a:lnTo>
                    <a:pt x="430576" y="2508"/>
                  </a:lnTo>
                  <a:cubicBezTo>
                    <a:pt x="440557" y="-3179"/>
                    <a:pt x="453234" y="316"/>
                    <a:pt x="458922" y="10297"/>
                  </a:cubicBezTo>
                  <a:cubicBezTo>
                    <a:pt x="460704" y="13426"/>
                    <a:pt x="461640" y="16967"/>
                    <a:pt x="461640" y="20553"/>
                  </a:cubicBezTo>
                  <a:close/>
                </a:path>
              </a:pathLst>
            </a:custGeom>
            <a:solidFill>
              <a:srgbClr val="CD86FF"/>
            </a:solidFill>
            <a:ln w="22838" cap="flat">
              <a:noFill/>
              <a:prstDash val="solid"/>
              <a:miter/>
            </a:ln>
          </p:spPr>
          <p:txBody>
            <a:bodyPr rtlCol="0" anchor="ctr"/>
            <a:lstStyle/>
            <a:p>
              <a:endParaRPr lang="zh-CN" altLang="en-US"/>
            </a:p>
          </p:txBody>
        </p:sp>
        <p:sp>
          <p:nvSpPr>
            <p:cNvPr id="292" name="任意多边形: 形状 291"/>
            <p:cNvSpPr/>
            <p:nvPr/>
          </p:nvSpPr>
          <p:spPr>
            <a:xfrm>
              <a:off x="4939051" y="3631329"/>
              <a:ext cx="63353" cy="87437"/>
            </a:xfrm>
            <a:custGeom>
              <a:avLst/>
              <a:gdLst>
                <a:gd name="connsiteX0" fmla="*/ 19596 w 63353"/>
                <a:gd name="connsiteY0" fmla="*/ 87214 h 87437"/>
                <a:gd name="connsiteX1" fmla="*/ 10916 w 63353"/>
                <a:gd name="connsiteY1" fmla="*/ 84930 h 87437"/>
                <a:gd name="connsiteX2" fmla="*/ -276 w 63353"/>
                <a:gd name="connsiteY2" fmla="*/ 59347 h 87437"/>
                <a:gd name="connsiteX3" fmla="*/ 28732 w 63353"/>
                <a:gd name="connsiteY3" fmla="*/ 3842 h 87437"/>
                <a:gd name="connsiteX4" fmla="*/ 51574 w 63353"/>
                <a:gd name="connsiteY4" fmla="*/ 2015 h 87437"/>
                <a:gd name="connsiteX5" fmla="*/ 62767 w 63353"/>
                <a:gd name="connsiteY5" fmla="*/ 26912 h 87437"/>
                <a:gd name="connsiteX6" fmla="*/ 32844 w 63353"/>
                <a:gd name="connsiteY6" fmla="*/ 83331 h 87437"/>
                <a:gd name="connsiteX7" fmla="*/ 19596 w 63353"/>
                <a:gd name="connsiteY7" fmla="*/ 87214 h 87437"/>
                <a:gd name="connsiteX8" fmla="*/ 42437 w 63353"/>
                <a:gd name="connsiteY8" fmla="*/ 6583 h 87437"/>
                <a:gd name="connsiteX9" fmla="*/ 32159 w 63353"/>
                <a:gd name="connsiteY9" fmla="*/ 9781 h 87437"/>
                <a:gd name="connsiteX10" fmla="*/ 6348 w 63353"/>
                <a:gd name="connsiteY10" fmla="*/ 59347 h 87437"/>
                <a:gd name="connsiteX11" fmla="*/ 14114 w 63353"/>
                <a:gd name="connsiteY11" fmla="*/ 78991 h 87437"/>
                <a:gd name="connsiteX12" fmla="*/ 29190 w 63353"/>
                <a:gd name="connsiteY12" fmla="*/ 77392 h 87437"/>
                <a:gd name="connsiteX13" fmla="*/ 55457 w 63353"/>
                <a:gd name="connsiteY13" fmla="*/ 26912 h 87437"/>
                <a:gd name="connsiteX14" fmla="*/ 47920 w 63353"/>
                <a:gd name="connsiteY14" fmla="*/ 7953 h 87437"/>
                <a:gd name="connsiteX15" fmla="*/ 42666 w 63353"/>
                <a:gd name="connsiteY15" fmla="*/ 6583 h 87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3353" h="87437">
                  <a:moveTo>
                    <a:pt x="19596" y="87214"/>
                  </a:moveTo>
                  <a:cubicBezTo>
                    <a:pt x="16558" y="87283"/>
                    <a:pt x="13543" y="86483"/>
                    <a:pt x="10916" y="84930"/>
                  </a:cubicBezTo>
                  <a:cubicBezTo>
                    <a:pt x="2876" y="79014"/>
                    <a:pt x="-1396" y="69261"/>
                    <a:pt x="-276" y="59347"/>
                  </a:cubicBezTo>
                  <a:cubicBezTo>
                    <a:pt x="-117" y="37260"/>
                    <a:pt x="10688" y="16588"/>
                    <a:pt x="28732" y="3842"/>
                  </a:cubicBezTo>
                  <a:cubicBezTo>
                    <a:pt x="35471" y="-817"/>
                    <a:pt x="44174" y="-1526"/>
                    <a:pt x="51574" y="2015"/>
                  </a:cubicBezTo>
                  <a:cubicBezTo>
                    <a:pt x="59477" y="7725"/>
                    <a:pt x="63726" y="17205"/>
                    <a:pt x="62767" y="26912"/>
                  </a:cubicBezTo>
                  <a:cubicBezTo>
                    <a:pt x="62698" y="49502"/>
                    <a:pt x="51506" y="70608"/>
                    <a:pt x="32844" y="83331"/>
                  </a:cubicBezTo>
                  <a:cubicBezTo>
                    <a:pt x="28824" y="85707"/>
                    <a:pt x="24256" y="87031"/>
                    <a:pt x="19596" y="87214"/>
                  </a:cubicBezTo>
                  <a:close/>
                  <a:moveTo>
                    <a:pt x="42437" y="6583"/>
                  </a:moveTo>
                  <a:cubicBezTo>
                    <a:pt x="38806" y="6811"/>
                    <a:pt x="35288" y="7908"/>
                    <a:pt x="32159" y="9781"/>
                  </a:cubicBezTo>
                  <a:cubicBezTo>
                    <a:pt x="15896" y="21019"/>
                    <a:pt x="6234" y="39566"/>
                    <a:pt x="6348" y="59347"/>
                  </a:cubicBezTo>
                  <a:cubicBezTo>
                    <a:pt x="5571" y="66771"/>
                    <a:pt x="8472" y="74103"/>
                    <a:pt x="14114" y="78991"/>
                  </a:cubicBezTo>
                  <a:cubicBezTo>
                    <a:pt x="19071" y="81161"/>
                    <a:pt x="24804" y="80544"/>
                    <a:pt x="29190" y="77392"/>
                  </a:cubicBezTo>
                  <a:cubicBezTo>
                    <a:pt x="45613" y="65835"/>
                    <a:pt x="55411" y="47013"/>
                    <a:pt x="55457" y="26912"/>
                  </a:cubicBezTo>
                  <a:cubicBezTo>
                    <a:pt x="56394" y="19717"/>
                    <a:pt x="53538" y="12545"/>
                    <a:pt x="47920" y="7953"/>
                  </a:cubicBezTo>
                  <a:cubicBezTo>
                    <a:pt x="46321" y="7063"/>
                    <a:pt x="44493" y="6583"/>
                    <a:pt x="42666" y="6583"/>
                  </a:cubicBezTo>
                  <a:close/>
                </a:path>
              </a:pathLst>
            </a:custGeom>
            <a:solidFill>
              <a:srgbClr val="5A43DB"/>
            </a:solidFill>
            <a:ln w="22838" cap="flat">
              <a:noFill/>
              <a:prstDash val="solid"/>
              <a:miter/>
            </a:ln>
          </p:spPr>
          <p:txBody>
            <a:bodyPr rtlCol="0" anchor="ctr"/>
            <a:lstStyle/>
            <a:p>
              <a:endParaRPr lang="zh-CN" altLang="en-US"/>
            </a:p>
          </p:txBody>
        </p:sp>
        <p:sp>
          <p:nvSpPr>
            <p:cNvPr id="293" name="任意多边形: 形状 292"/>
            <p:cNvSpPr/>
            <p:nvPr/>
          </p:nvSpPr>
          <p:spPr>
            <a:xfrm>
              <a:off x="5040469" y="3570113"/>
              <a:ext cx="63559" cy="87438"/>
            </a:xfrm>
            <a:custGeom>
              <a:avLst/>
              <a:gdLst>
                <a:gd name="connsiteX0" fmla="*/ 19596 w 63559"/>
                <a:gd name="connsiteY0" fmla="*/ 87214 h 87438"/>
                <a:gd name="connsiteX1" fmla="*/ 10916 w 63559"/>
                <a:gd name="connsiteY1" fmla="*/ 84930 h 87438"/>
                <a:gd name="connsiteX2" fmla="*/ -276 w 63559"/>
                <a:gd name="connsiteY2" fmla="*/ 59347 h 87438"/>
                <a:gd name="connsiteX3" fmla="*/ 28961 w 63559"/>
                <a:gd name="connsiteY3" fmla="*/ 3842 h 87438"/>
                <a:gd name="connsiteX4" fmla="*/ 51803 w 63559"/>
                <a:gd name="connsiteY4" fmla="*/ 2015 h 87438"/>
                <a:gd name="connsiteX5" fmla="*/ 62995 w 63559"/>
                <a:gd name="connsiteY5" fmla="*/ 26912 h 87438"/>
                <a:gd name="connsiteX6" fmla="*/ 33072 w 63559"/>
                <a:gd name="connsiteY6" fmla="*/ 83331 h 87438"/>
                <a:gd name="connsiteX7" fmla="*/ 19596 w 63559"/>
                <a:gd name="connsiteY7" fmla="*/ 87214 h 87438"/>
                <a:gd name="connsiteX8" fmla="*/ 42437 w 63559"/>
                <a:gd name="connsiteY8" fmla="*/ 6583 h 87438"/>
                <a:gd name="connsiteX9" fmla="*/ 32159 w 63559"/>
                <a:gd name="connsiteY9" fmla="*/ 9781 h 87438"/>
                <a:gd name="connsiteX10" fmla="*/ 6348 w 63559"/>
                <a:gd name="connsiteY10" fmla="*/ 59347 h 87438"/>
                <a:gd name="connsiteX11" fmla="*/ 14114 w 63559"/>
                <a:gd name="connsiteY11" fmla="*/ 78991 h 87438"/>
                <a:gd name="connsiteX12" fmla="*/ 29190 w 63559"/>
                <a:gd name="connsiteY12" fmla="*/ 77392 h 87438"/>
                <a:gd name="connsiteX13" fmla="*/ 55686 w 63559"/>
                <a:gd name="connsiteY13" fmla="*/ 26912 h 87438"/>
                <a:gd name="connsiteX14" fmla="*/ 47919 w 63559"/>
                <a:gd name="connsiteY14" fmla="*/ 7953 h 87438"/>
                <a:gd name="connsiteX15" fmla="*/ 42666 w 63559"/>
                <a:gd name="connsiteY15" fmla="*/ 6583 h 8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3559" h="87438">
                  <a:moveTo>
                    <a:pt x="19596" y="87214"/>
                  </a:moveTo>
                  <a:cubicBezTo>
                    <a:pt x="16558" y="87283"/>
                    <a:pt x="13543" y="86484"/>
                    <a:pt x="10916" y="84930"/>
                  </a:cubicBezTo>
                  <a:cubicBezTo>
                    <a:pt x="2876" y="79014"/>
                    <a:pt x="-1396" y="69261"/>
                    <a:pt x="-276" y="59347"/>
                  </a:cubicBezTo>
                  <a:cubicBezTo>
                    <a:pt x="-345" y="37145"/>
                    <a:pt x="10619" y="16336"/>
                    <a:pt x="28961" y="3842"/>
                  </a:cubicBezTo>
                  <a:cubicBezTo>
                    <a:pt x="35700" y="-818"/>
                    <a:pt x="44402" y="-1525"/>
                    <a:pt x="51803" y="2015"/>
                  </a:cubicBezTo>
                  <a:cubicBezTo>
                    <a:pt x="59615" y="7794"/>
                    <a:pt x="63863" y="17227"/>
                    <a:pt x="62995" y="26912"/>
                  </a:cubicBezTo>
                  <a:cubicBezTo>
                    <a:pt x="62927" y="49502"/>
                    <a:pt x="51734" y="70608"/>
                    <a:pt x="33072" y="83331"/>
                  </a:cubicBezTo>
                  <a:cubicBezTo>
                    <a:pt x="28984" y="85752"/>
                    <a:pt x="24347" y="87077"/>
                    <a:pt x="19596" y="87214"/>
                  </a:cubicBezTo>
                  <a:close/>
                  <a:moveTo>
                    <a:pt x="42437" y="6583"/>
                  </a:moveTo>
                  <a:cubicBezTo>
                    <a:pt x="38806" y="6812"/>
                    <a:pt x="35288" y="7908"/>
                    <a:pt x="32159" y="9781"/>
                  </a:cubicBezTo>
                  <a:cubicBezTo>
                    <a:pt x="15896" y="21019"/>
                    <a:pt x="6234" y="39566"/>
                    <a:pt x="6348" y="59347"/>
                  </a:cubicBezTo>
                  <a:cubicBezTo>
                    <a:pt x="5571" y="66771"/>
                    <a:pt x="8472" y="74103"/>
                    <a:pt x="14114" y="78991"/>
                  </a:cubicBezTo>
                  <a:cubicBezTo>
                    <a:pt x="19070" y="81161"/>
                    <a:pt x="24804" y="80545"/>
                    <a:pt x="29190" y="77392"/>
                  </a:cubicBezTo>
                  <a:cubicBezTo>
                    <a:pt x="45590" y="65766"/>
                    <a:pt x="55434" y="47013"/>
                    <a:pt x="55686" y="26912"/>
                  </a:cubicBezTo>
                  <a:cubicBezTo>
                    <a:pt x="56463" y="19694"/>
                    <a:pt x="53561" y="12545"/>
                    <a:pt x="47919" y="7953"/>
                  </a:cubicBezTo>
                  <a:cubicBezTo>
                    <a:pt x="46321" y="7063"/>
                    <a:pt x="44493" y="6583"/>
                    <a:pt x="42666" y="6583"/>
                  </a:cubicBezTo>
                  <a:close/>
                </a:path>
              </a:pathLst>
            </a:custGeom>
            <a:solidFill>
              <a:srgbClr val="5A43DB"/>
            </a:solidFill>
            <a:ln w="22838" cap="flat">
              <a:noFill/>
              <a:prstDash val="solid"/>
              <a:miter/>
            </a:ln>
          </p:spPr>
          <p:txBody>
            <a:bodyPr rtlCol="0" anchor="ctr"/>
            <a:lstStyle/>
            <a:p>
              <a:endParaRPr lang="zh-CN" altLang="en-US"/>
            </a:p>
          </p:txBody>
        </p:sp>
        <p:sp>
          <p:nvSpPr>
            <p:cNvPr id="294" name="任意多边形: 形状 293"/>
            <p:cNvSpPr/>
            <p:nvPr/>
          </p:nvSpPr>
          <p:spPr>
            <a:xfrm>
              <a:off x="5141941" y="3512646"/>
              <a:ext cx="63537" cy="87340"/>
            </a:xfrm>
            <a:custGeom>
              <a:avLst/>
              <a:gdLst>
                <a:gd name="connsiteX0" fmla="*/ 19540 w 63537"/>
                <a:gd name="connsiteY0" fmla="*/ 87120 h 87340"/>
                <a:gd name="connsiteX1" fmla="*/ 11089 w 63537"/>
                <a:gd name="connsiteY1" fmla="*/ 85064 h 87340"/>
                <a:gd name="connsiteX2" fmla="*/ -332 w 63537"/>
                <a:gd name="connsiteY2" fmla="*/ 59253 h 87340"/>
                <a:gd name="connsiteX3" fmla="*/ 28906 w 63537"/>
                <a:gd name="connsiteY3" fmla="*/ 3976 h 87340"/>
                <a:gd name="connsiteX4" fmla="*/ 51747 w 63537"/>
                <a:gd name="connsiteY4" fmla="*/ 1920 h 87340"/>
                <a:gd name="connsiteX5" fmla="*/ 62939 w 63537"/>
                <a:gd name="connsiteY5" fmla="*/ 26818 h 87340"/>
                <a:gd name="connsiteX6" fmla="*/ 33017 w 63537"/>
                <a:gd name="connsiteY6" fmla="*/ 83237 h 87340"/>
                <a:gd name="connsiteX7" fmla="*/ 19540 w 63537"/>
                <a:gd name="connsiteY7" fmla="*/ 87120 h 87340"/>
                <a:gd name="connsiteX8" fmla="*/ 42382 w 63537"/>
                <a:gd name="connsiteY8" fmla="*/ 6489 h 87340"/>
                <a:gd name="connsiteX9" fmla="*/ 31875 w 63537"/>
                <a:gd name="connsiteY9" fmla="*/ 9915 h 87340"/>
                <a:gd name="connsiteX10" fmla="*/ 6064 w 63537"/>
                <a:gd name="connsiteY10" fmla="*/ 59253 h 87340"/>
                <a:gd name="connsiteX11" fmla="*/ 14059 w 63537"/>
                <a:gd name="connsiteY11" fmla="*/ 79125 h 87340"/>
                <a:gd name="connsiteX12" fmla="*/ 28906 w 63537"/>
                <a:gd name="connsiteY12" fmla="*/ 77298 h 87340"/>
                <a:gd name="connsiteX13" fmla="*/ 55402 w 63537"/>
                <a:gd name="connsiteY13" fmla="*/ 26818 h 87340"/>
                <a:gd name="connsiteX14" fmla="*/ 47864 w 63537"/>
                <a:gd name="connsiteY14" fmla="*/ 7859 h 87340"/>
                <a:gd name="connsiteX15" fmla="*/ 42839 w 63537"/>
                <a:gd name="connsiteY15" fmla="*/ 6489 h 87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3537" h="87340">
                  <a:moveTo>
                    <a:pt x="19540" y="87120"/>
                  </a:moveTo>
                  <a:cubicBezTo>
                    <a:pt x="16594" y="87143"/>
                    <a:pt x="13693" y="86435"/>
                    <a:pt x="11089" y="85064"/>
                  </a:cubicBezTo>
                  <a:cubicBezTo>
                    <a:pt x="3071" y="79011"/>
                    <a:pt x="-1246" y="69258"/>
                    <a:pt x="-332" y="59253"/>
                  </a:cubicBezTo>
                  <a:cubicBezTo>
                    <a:pt x="-58" y="37188"/>
                    <a:pt x="10837" y="16631"/>
                    <a:pt x="28906" y="3976"/>
                  </a:cubicBezTo>
                  <a:cubicBezTo>
                    <a:pt x="35598" y="-752"/>
                    <a:pt x="44323" y="-1552"/>
                    <a:pt x="51747" y="1920"/>
                  </a:cubicBezTo>
                  <a:cubicBezTo>
                    <a:pt x="59673" y="7608"/>
                    <a:pt x="63945" y="17110"/>
                    <a:pt x="62939" y="26818"/>
                  </a:cubicBezTo>
                  <a:cubicBezTo>
                    <a:pt x="62871" y="49408"/>
                    <a:pt x="51679" y="70514"/>
                    <a:pt x="33017" y="83237"/>
                  </a:cubicBezTo>
                  <a:cubicBezTo>
                    <a:pt x="28974" y="85795"/>
                    <a:pt x="24315" y="87120"/>
                    <a:pt x="19540" y="87120"/>
                  </a:cubicBezTo>
                  <a:close/>
                  <a:moveTo>
                    <a:pt x="42382" y="6489"/>
                  </a:moveTo>
                  <a:cubicBezTo>
                    <a:pt x="38636" y="6695"/>
                    <a:pt x="35004" y="7859"/>
                    <a:pt x="31875" y="9915"/>
                  </a:cubicBezTo>
                  <a:cubicBezTo>
                    <a:pt x="15657" y="21085"/>
                    <a:pt x="5996" y="39564"/>
                    <a:pt x="6064" y="59253"/>
                  </a:cubicBezTo>
                  <a:cubicBezTo>
                    <a:pt x="5264" y="66791"/>
                    <a:pt x="8257" y="74238"/>
                    <a:pt x="14059" y="79125"/>
                  </a:cubicBezTo>
                  <a:cubicBezTo>
                    <a:pt x="18992" y="81044"/>
                    <a:pt x="24589" y="80359"/>
                    <a:pt x="28906" y="77298"/>
                  </a:cubicBezTo>
                  <a:cubicBezTo>
                    <a:pt x="45488" y="65832"/>
                    <a:pt x="55379" y="46965"/>
                    <a:pt x="55402" y="26818"/>
                  </a:cubicBezTo>
                  <a:cubicBezTo>
                    <a:pt x="56293" y="19623"/>
                    <a:pt x="53438" y="12473"/>
                    <a:pt x="47864" y="7859"/>
                  </a:cubicBezTo>
                  <a:cubicBezTo>
                    <a:pt x="46311" y="7037"/>
                    <a:pt x="44598" y="6580"/>
                    <a:pt x="42839" y="6489"/>
                  </a:cubicBezTo>
                  <a:close/>
                </a:path>
              </a:pathLst>
            </a:custGeom>
            <a:solidFill>
              <a:srgbClr val="5A43DB"/>
            </a:solidFill>
            <a:ln w="22838" cap="flat">
              <a:noFill/>
              <a:prstDash val="solid"/>
              <a:miter/>
            </a:ln>
          </p:spPr>
          <p:txBody>
            <a:bodyPr rtlCol="0" anchor="ctr"/>
            <a:lstStyle/>
            <a:p>
              <a:endParaRPr lang="zh-CN" altLang="en-US"/>
            </a:p>
          </p:txBody>
        </p:sp>
        <p:sp>
          <p:nvSpPr>
            <p:cNvPr id="295" name="任意多边形: 形状 294"/>
            <p:cNvSpPr/>
            <p:nvPr/>
          </p:nvSpPr>
          <p:spPr>
            <a:xfrm>
              <a:off x="6398583" y="1463076"/>
              <a:ext cx="947702" cy="1083222"/>
            </a:xfrm>
            <a:custGeom>
              <a:avLst/>
              <a:gdLst>
                <a:gd name="connsiteX0" fmla="*/ 887633 w 947702"/>
                <a:gd name="connsiteY0" fmla="*/ 5102 h 1083222"/>
                <a:gd name="connsiteX1" fmla="*/ 49342 w 947702"/>
                <a:gd name="connsiteY1" fmla="*/ 489118 h 1083222"/>
                <a:gd name="connsiteX2" fmla="*/ -453 w 947702"/>
                <a:gd name="connsiteY2" fmla="*/ 575232 h 1083222"/>
                <a:gd name="connsiteX3" fmla="*/ -453 w 947702"/>
                <a:gd name="connsiteY3" fmla="*/ 931791 h 1083222"/>
                <a:gd name="connsiteX4" fmla="*/ 397907 w 947702"/>
                <a:gd name="connsiteY4" fmla="*/ 702003 h 1083222"/>
                <a:gd name="connsiteX5" fmla="*/ 452202 w 947702"/>
                <a:gd name="connsiteY5" fmla="*/ 716553 h 1083222"/>
                <a:gd name="connsiteX6" fmla="*/ 457523 w 947702"/>
                <a:gd name="connsiteY6" fmla="*/ 736266 h 1083222"/>
                <a:gd name="connsiteX7" fmla="*/ 457523 w 947702"/>
                <a:gd name="connsiteY7" fmla="*/ 1083002 h 1083222"/>
                <a:gd name="connsiteX8" fmla="*/ 897683 w 947702"/>
                <a:gd name="connsiteY8" fmla="*/ 829003 h 1083222"/>
                <a:gd name="connsiteX9" fmla="*/ 947249 w 947702"/>
                <a:gd name="connsiteY9" fmla="*/ 742889 h 1083222"/>
                <a:gd name="connsiteX10" fmla="*/ 947249 w 947702"/>
                <a:gd name="connsiteY10" fmla="*/ 39594 h 1083222"/>
                <a:gd name="connsiteX11" fmla="*/ 907573 w 947702"/>
                <a:gd name="connsiteY11" fmla="*/ -220 h 1083222"/>
                <a:gd name="connsiteX12" fmla="*/ 887633 w 947702"/>
                <a:gd name="connsiteY12" fmla="*/ 5102 h 1083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47702" h="1083222">
                  <a:moveTo>
                    <a:pt x="887633" y="5102"/>
                  </a:moveTo>
                  <a:lnTo>
                    <a:pt x="49342" y="489118"/>
                  </a:lnTo>
                  <a:cubicBezTo>
                    <a:pt x="18575" y="506889"/>
                    <a:pt x="-407" y="539690"/>
                    <a:pt x="-453" y="575232"/>
                  </a:cubicBezTo>
                  <a:lnTo>
                    <a:pt x="-453" y="931791"/>
                  </a:lnTo>
                  <a:lnTo>
                    <a:pt x="397907" y="702003"/>
                  </a:lnTo>
                  <a:cubicBezTo>
                    <a:pt x="416912" y="691039"/>
                    <a:pt x="441215" y="697549"/>
                    <a:pt x="452202" y="716553"/>
                  </a:cubicBezTo>
                  <a:cubicBezTo>
                    <a:pt x="455651" y="722537"/>
                    <a:pt x="457501" y="729344"/>
                    <a:pt x="457523" y="736266"/>
                  </a:cubicBezTo>
                  <a:lnTo>
                    <a:pt x="457523" y="1083002"/>
                  </a:lnTo>
                  <a:lnTo>
                    <a:pt x="897683" y="829003"/>
                  </a:lnTo>
                  <a:cubicBezTo>
                    <a:pt x="928336" y="811140"/>
                    <a:pt x="947205" y="778363"/>
                    <a:pt x="947249" y="742889"/>
                  </a:cubicBezTo>
                  <a:lnTo>
                    <a:pt x="947249" y="39594"/>
                  </a:lnTo>
                  <a:cubicBezTo>
                    <a:pt x="947295" y="17642"/>
                    <a:pt x="929524" y="-174"/>
                    <a:pt x="907573" y="-220"/>
                  </a:cubicBezTo>
                  <a:cubicBezTo>
                    <a:pt x="900585" y="-242"/>
                    <a:pt x="893686" y="1608"/>
                    <a:pt x="887633" y="5102"/>
                  </a:cubicBezTo>
                  <a:close/>
                </a:path>
              </a:pathLst>
            </a:custGeom>
            <a:gradFill>
              <a:gsLst>
                <a:gs pos="0">
                  <a:srgbClr val="EEF2FC"/>
                </a:gs>
                <a:gs pos="36000">
                  <a:srgbClr val="E9EEFB"/>
                </a:gs>
                <a:gs pos="76000">
                  <a:srgbClr val="DCE4FA"/>
                </a:gs>
                <a:gs pos="100000">
                  <a:srgbClr val="D0DBF8"/>
                </a:gs>
              </a:gsLst>
              <a:lin ang="0" scaled="1"/>
            </a:gradFill>
            <a:ln w="22838" cap="flat">
              <a:noFill/>
              <a:prstDash val="solid"/>
              <a:miter/>
            </a:ln>
          </p:spPr>
          <p:txBody>
            <a:bodyPr rtlCol="0" anchor="ctr"/>
            <a:lstStyle/>
            <a:p>
              <a:endParaRPr lang="zh-CN" altLang="en-US"/>
            </a:p>
          </p:txBody>
        </p:sp>
        <p:sp>
          <p:nvSpPr>
            <p:cNvPr id="296" name="任意多边形: 形状 295"/>
            <p:cNvSpPr/>
            <p:nvPr/>
          </p:nvSpPr>
          <p:spPr>
            <a:xfrm>
              <a:off x="6588101" y="1731157"/>
              <a:ext cx="613985" cy="749357"/>
            </a:xfrm>
            <a:custGeom>
              <a:avLst/>
              <a:gdLst>
                <a:gd name="connsiteX0" fmla="*/ 254530 w 613985"/>
                <a:gd name="connsiteY0" fmla="*/ 749137 h 749357"/>
                <a:gd name="connsiteX1" fmla="*/ 252086 w 613985"/>
                <a:gd name="connsiteY1" fmla="*/ 744958 h 749357"/>
                <a:gd name="connsiteX2" fmla="*/ 254530 w 613985"/>
                <a:gd name="connsiteY2" fmla="*/ 742513 h 749357"/>
                <a:gd name="connsiteX3" fmla="*/ 525203 w 613985"/>
                <a:gd name="connsiteY3" fmla="*/ 517979 h 749357"/>
                <a:gd name="connsiteX4" fmla="*/ 592129 w 613985"/>
                <a:gd name="connsiteY4" fmla="*/ 143832 h 749357"/>
                <a:gd name="connsiteX5" fmla="*/ 592129 w 613985"/>
                <a:gd name="connsiteY5" fmla="*/ 142462 h 749357"/>
                <a:gd name="connsiteX6" fmla="*/ 588475 w 613985"/>
                <a:gd name="connsiteY6" fmla="*/ 131041 h 749357"/>
                <a:gd name="connsiteX7" fmla="*/ 565633 w 613985"/>
                <a:gd name="connsiteY7" fmla="*/ 85357 h 749357"/>
                <a:gd name="connsiteX8" fmla="*/ 565633 w 613985"/>
                <a:gd name="connsiteY8" fmla="*/ 83987 h 749357"/>
                <a:gd name="connsiteX9" fmla="*/ 509900 w 613985"/>
                <a:gd name="connsiteY9" fmla="*/ 30994 h 749357"/>
                <a:gd name="connsiteX10" fmla="*/ 78191 w 613985"/>
                <a:gd name="connsiteY10" fmla="*/ 259411 h 749357"/>
                <a:gd name="connsiteX11" fmla="*/ 7154 w 613985"/>
                <a:gd name="connsiteY11" fmla="*/ 526659 h 749357"/>
                <a:gd name="connsiteX12" fmla="*/ 7154 w 613985"/>
                <a:gd name="connsiteY12" fmla="*/ 572343 h 749357"/>
                <a:gd name="connsiteX13" fmla="*/ 3955 w 613985"/>
                <a:gd name="connsiteY13" fmla="*/ 575997 h 749357"/>
                <a:gd name="connsiteX14" fmla="*/ 301 w 613985"/>
                <a:gd name="connsiteY14" fmla="*/ 572822 h 749357"/>
                <a:gd name="connsiteX15" fmla="*/ 301 w 613985"/>
                <a:gd name="connsiteY15" fmla="*/ 572799 h 749357"/>
                <a:gd name="connsiteX16" fmla="*/ 301 w 613985"/>
                <a:gd name="connsiteY16" fmla="*/ 525517 h 749357"/>
                <a:gd name="connsiteX17" fmla="*/ 72025 w 613985"/>
                <a:gd name="connsiteY17" fmla="*/ 255528 h 749357"/>
                <a:gd name="connsiteX18" fmla="*/ 512412 w 613985"/>
                <a:gd name="connsiteY18" fmla="*/ 23000 h 749357"/>
                <a:gd name="connsiteX19" fmla="*/ 570887 w 613985"/>
                <a:gd name="connsiteY19" fmla="*/ 78048 h 749357"/>
                <a:gd name="connsiteX20" fmla="*/ 572257 w 613985"/>
                <a:gd name="connsiteY20" fmla="*/ 80104 h 749357"/>
                <a:gd name="connsiteX21" fmla="*/ 595099 w 613985"/>
                <a:gd name="connsiteY21" fmla="*/ 125787 h 749357"/>
                <a:gd name="connsiteX22" fmla="*/ 598983 w 613985"/>
                <a:gd name="connsiteY22" fmla="*/ 137436 h 749357"/>
                <a:gd name="connsiteX23" fmla="*/ 598983 w 613985"/>
                <a:gd name="connsiteY23" fmla="*/ 138807 h 749357"/>
                <a:gd name="connsiteX24" fmla="*/ 530458 w 613985"/>
                <a:gd name="connsiteY24" fmla="*/ 518208 h 749357"/>
                <a:gd name="connsiteX25" fmla="*/ 254530 w 613985"/>
                <a:gd name="connsiteY25" fmla="*/ 746625 h 749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13985" h="749357">
                  <a:moveTo>
                    <a:pt x="254530" y="749137"/>
                  </a:moveTo>
                  <a:cubicBezTo>
                    <a:pt x="252702" y="748658"/>
                    <a:pt x="251606" y="746785"/>
                    <a:pt x="252086" y="744958"/>
                  </a:cubicBezTo>
                  <a:cubicBezTo>
                    <a:pt x="252405" y="743747"/>
                    <a:pt x="253342" y="742833"/>
                    <a:pt x="254530" y="742513"/>
                  </a:cubicBezTo>
                  <a:cubicBezTo>
                    <a:pt x="370109" y="704962"/>
                    <a:pt x="466957" y="624627"/>
                    <a:pt x="525203" y="517979"/>
                  </a:cubicBezTo>
                  <a:cubicBezTo>
                    <a:pt x="600809" y="386868"/>
                    <a:pt x="625021" y="250731"/>
                    <a:pt x="592129" y="143832"/>
                  </a:cubicBezTo>
                  <a:lnTo>
                    <a:pt x="592129" y="142462"/>
                  </a:lnTo>
                  <a:lnTo>
                    <a:pt x="588475" y="131041"/>
                  </a:lnTo>
                  <a:cubicBezTo>
                    <a:pt x="582719" y="114960"/>
                    <a:pt x="575044" y="99611"/>
                    <a:pt x="565633" y="85357"/>
                  </a:cubicBezTo>
                  <a:lnTo>
                    <a:pt x="565633" y="83987"/>
                  </a:lnTo>
                  <a:cubicBezTo>
                    <a:pt x="551380" y="62264"/>
                    <a:pt x="532308" y="44128"/>
                    <a:pt x="509900" y="30994"/>
                  </a:cubicBezTo>
                  <a:cubicBezTo>
                    <a:pt x="385641" y="-40729"/>
                    <a:pt x="192172" y="62287"/>
                    <a:pt x="78191" y="259411"/>
                  </a:cubicBezTo>
                  <a:cubicBezTo>
                    <a:pt x="33948" y="341710"/>
                    <a:pt x="9621" y="433259"/>
                    <a:pt x="7154" y="526659"/>
                  </a:cubicBezTo>
                  <a:cubicBezTo>
                    <a:pt x="6194" y="541872"/>
                    <a:pt x="6194" y="557130"/>
                    <a:pt x="7154" y="572343"/>
                  </a:cubicBezTo>
                  <a:cubicBezTo>
                    <a:pt x="7177" y="574193"/>
                    <a:pt x="5783" y="575769"/>
                    <a:pt x="3955" y="575997"/>
                  </a:cubicBezTo>
                  <a:cubicBezTo>
                    <a:pt x="2061" y="576134"/>
                    <a:pt x="438" y="574695"/>
                    <a:pt x="301" y="572822"/>
                  </a:cubicBezTo>
                  <a:cubicBezTo>
                    <a:pt x="301" y="572799"/>
                    <a:pt x="301" y="572799"/>
                    <a:pt x="301" y="572799"/>
                  </a:cubicBezTo>
                  <a:cubicBezTo>
                    <a:pt x="-704" y="557061"/>
                    <a:pt x="-704" y="541255"/>
                    <a:pt x="301" y="525517"/>
                  </a:cubicBezTo>
                  <a:cubicBezTo>
                    <a:pt x="2768" y="431158"/>
                    <a:pt x="27346" y="338672"/>
                    <a:pt x="72025" y="255528"/>
                  </a:cubicBezTo>
                  <a:cubicBezTo>
                    <a:pt x="187832" y="54521"/>
                    <a:pt x="385641" y="-49865"/>
                    <a:pt x="512412" y="23000"/>
                  </a:cubicBezTo>
                  <a:cubicBezTo>
                    <a:pt x="535801" y="36704"/>
                    <a:pt x="555812" y="55526"/>
                    <a:pt x="570887" y="78048"/>
                  </a:cubicBezTo>
                  <a:lnTo>
                    <a:pt x="572257" y="80104"/>
                  </a:lnTo>
                  <a:cubicBezTo>
                    <a:pt x="581509" y="94448"/>
                    <a:pt x="589161" y="109775"/>
                    <a:pt x="595099" y="125787"/>
                  </a:cubicBezTo>
                  <a:cubicBezTo>
                    <a:pt x="595099" y="127843"/>
                    <a:pt x="598068" y="134467"/>
                    <a:pt x="598983" y="137436"/>
                  </a:cubicBezTo>
                  <a:lnTo>
                    <a:pt x="598983" y="138807"/>
                  </a:lnTo>
                  <a:cubicBezTo>
                    <a:pt x="632331" y="247534"/>
                    <a:pt x="607890" y="385726"/>
                    <a:pt x="530458" y="518208"/>
                  </a:cubicBezTo>
                  <a:cubicBezTo>
                    <a:pt x="471183" y="626934"/>
                    <a:pt x="372392" y="708708"/>
                    <a:pt x="254530" y="746625"/>
                  </a:cubicBezTo>
                  <a:close/>
                </a:path>
              </a:pathLst>
            </a:custGeom>
            <a:solidFill>
              <a:srgbClr val="5A43DB"/>
            </a:solidFill>
            <a:ln w="22838" cap="flat">
              <a:noFill/>
              <a:prstDash val="solid"/>
              <a:miter/>
            </a:ln>
          </p:spPr>
          <p:txBody>
            <a:bodyPr rtlCol="0" anchor="ctr"/>
            <a:lstStyle/>
            <a:p>
              <a:endParaRPr lang="zh-CN" altLang="en-US"/>
            </a:p>
          </p:txBody>
        </p:sp>
        <p:sp>
          <p:nvSpPr>
            <p:cNvPr id="297" name="任意多边形: 形状 296"/>
            <p:cNvSpPr/>
            <p:nvPr/>
          </p:nvSpPr>
          <p:spPr>
            <a:xfrm>
              <a:off x="6985844" y="1895310"/>
              <a:ext cx="178225" cy="322982"/>
            </a:xfrm>
            <a:custGeom>
              <a:avLst/>
              <a:gdLst>
                <a:gd name="connsiteX0" fmla="*/ 15537 w 178225"/>
                <a:gd name="connsiteY0" fmla="*/ 96172 h 322982"/>
                <a:gd name="connsiteX1" fmla="*/ 165150 w 178225"/>
                <a:gd name="connsiteY1" fmla="*/ -220 h 322982"/>
                <a:gd name="connsiteX2" fmla="*/ 107588 w 178225"/>
                <a:gd name="connsiteY2" fmla="*/ 322762 h 322982"/>
                <a:gd name="connsiteX3" fmla="*/ -453 w 178225"/>
                <a:gd name="connsiteY3" fmla="*/ 260633 h 322982"/>
                <a:gd name="connsiteX4" fmla="*/ 14622 w 178225"/>
                <a:gd name="connsiteY4" fmla="*/ 230024 h 322982"/>
                <a:gd name="connsiteX5" fmla="*/ 24673 w 178225"/>
                <a:gd name="connsiteY5" fmla="*/ 199417 h 322982"/>
                <a:gd name="connsiteX6" fmla="*/ 15537 w 178225"/>
                <a:gd name="connsiteY6" fmla="*/ 96172 h 322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8225" h="322982">
                  <a:moveTo>
                    <a:pt x="15537" y="96172"/>
                  </a:moveTo>
                  <a:cubicBezTo>
                    <a:pt x="65492" y="64194"/>
                    <a:pt x="115355" y="32055"/>
                    <a:pt x="165150" y="-220"/>
                  </a:cubicBezTo>
                  <a:cubicBezTo>
                    <a:pt x="198271" y="107136"/>
                    <a:pt x="161723" y="228197"/>
                    <a:pt x="107588" y="322762"/>
                  </a:cubicBezTo>
                  <a:lnTo>
                    <a:pt x="-453" y="260633"/>
                  </a:lnTo>
                  <a:cubicBezTo>
                    <a:pt x="-453" y="260633"/>
                    <a:pt x="13023" y="234136"/>
                    <a:pt x="14622" y="230024"/>
                  </a:cubicBezTo>
                  <a:cubicBezTo>
                    <a:pt x="18711" y="220088"/>
                    <a:pt x="22092" y="209855"/>
                    <a:pt x="24673" y="199417"/>
                  </a:cubicBezTo>
                  <a:cubicBezTo>
                    <a:pt x="35249" y="165131"/>
                    <a:pt x="31982" y="128059"/>
                    <a:pt x="15537" y="96172"/>
                  </a:cubicBezTo>
                  <a:close/>
                </a:path>
              </a:pathLst>
            </a:custGeom>
            <a:solidFill>
              <a:srgbClr val="4E90F9"/>
            </a:solidFill>
            <a:ln w="22838" cap="flat">
              <a:noFill/>
              <a:prstDash val="solid"/>
              <a:miter/>
            </a:ln>
          </p:spPr>
          <p:txBody>
            <a:bodyPr rtlCol="0" anchor="ctr"/>
            <a:lstStyle/>
            <a:p>
              <a:endParaRPr lang="zh-CN" altLang="en-US"/>
            </a:p>
          </p:txBody>
        </p:sp>
        <p:sp>
          <p:nvSpPr>
            <p:cNvPr id="298" name="任意多边形: 形状 297"/>
            <p:cNvSpPr/>
            <p:nvPr/>
          </p:nvSpPr>
          <p:spPr>
            <a:xfrm>
              <a:off x="6702835" y="1777240"/>
              <a:ext cx="446554" cy="278646"/>
            </a:xfrm>
            <a:custGeom>
              <a:avLst/>
              <a:gdLst>
                <a:gd name="connsiteX0" fmla="*/ 374836 w 446554"/>
                <a:gd name="connsiteY0" fmla="*/ 19402 h 278646"/>
                <a:gd name="connsiteX1" fmla="*/ 374836 w 446554"/>
                <a:gd name="connsiteY1" fmla="*/ 19402 h 278646"/>
                <a:gd name="connsiteX2" fmla="*/ 423033 w 446554"/>
                <a:gd name="connsiteY2" fmla="*/ 65086 h 278646"/>
                <a:gd name="connsiteX3" fmla="*/ 423033 w 446554"/>
                <a:gd name="connsiteY3" fmla="*/ 66684 h 278646"/>
                <a:gd name="connsiteX4" fmla="*/ 442677 w 446554"/>
                <a:gd name="connsiteY4" fmla="*/ 106201 h 278646"/>
                <a:gd name="connsiteX5" fmla="*/ 446102 w 446554"/>
                <a:gd name="connsiteY5" fmla="*/ 117165 h 278646"/>
                <a:gd name="connsiteX6" fmla="*/ 296490 w 446554"/>
                <a:gd name="connsiteY6" fmla="*/ 213557 h 278646"/>
                <a:gd name="connsiteX7" fmla="*/ 273648 w 446554"/>
                <a:gd name="connsiteY7" fmla="*/ 190715 h 278646"/>
                <a:gd name="connsiteX8" fmla="*/ 108045 w 446554"/>
                <a:gd name="connsiteY8" fmla="*/ 278427 h 278646"/>
                <a:gd name="connsiteX9" fmla="*/ 62362 w 446554"/>
                <a:gd name="connsiteY9" fmla="*/ 252387 h 278646"/>
                <a:gd name="connsiteX10" fmla="*/ -453 w 446554"/>
                <a:gd name="connsiteY10" fmla="*/ 216298 h 278646"/>
                <a:gd name="connsiteX11" fmla="*/ 374836 w 446554"/>
                <a:gd name="connsiteY11" fmla="*/ 19402 h 278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46554" h="278646">
                  <a:moveTo>
                    <a:pt x="374836" y="19402"/>
                  </a:moveTo>
                  <a:lnTo>
                    <a:pt x="374836" y="19402"/>
                  </a:lnTo>
                  <a:cubicBezTo>
                    <a:pt x="394184" y="30732"/>
                    <a:pt x="410676" y="46355"/>
                    <a:pt x="423033" y="65086"/>
                  </a:cubicBezTo>
                  <a:lnTo>
                    <a:pt x="423033" y="66684"/>
                  </a:lnTo>
                  <a:cubicBezTo>
                    <a:pt x="431074" y="79065"/>
                    <a:pt x="437651" y="92313"/>
                    <a:pt x="442677" y="106201"/>
                  </a:cubicBezTo>
                  <a:lnTo>
                    <a:pt x="446102" y="117165"/>
                  </a:lnTo>
                  <a:lnTo>
                    <a:pt x="296490" y="213557"/>
                  </a:lnTo>
                  <a:cubicBezTo>
                    <a:pt x="290962" y="204100"/>
                    <a:pt x="283104" y="196243"/>
                    <a:pt x="273648" y="190715"/>
                  </a:cubicBezTo>
                  <a:cubicBezTo>
                    <a:pt x="226137" y="163305"/>
                    <a:pt x="151901" y="202593"/>
                    <a:pt x="108045" y="278427"/>
                  </a:cubicBezTo>
                  <a:lnTo>
                    <a:pt x="62362" y="252387"/>
                  </a:lnTo>
                  <a:lnTo>
                    <a:pt x="-453" y="216298"/>
                  </a:lnTo>
                  <a:cubicBezTo>
                    <a:pt x="100280" y="46355"/>
                    <a:pt x="267480" y="-42270"/>
                    <a:pt x="374836" y="19402"/>
                  </a:cubicBezTo>
                  <a:close/>
                </a:path>
              </a:pathLst>
            </a:custGeom>
            <a:solidFill>
              <a:srgbClr val="FF70E9"/>
            </a:solidFill>
            <a:ln w="22838" cap="flat">
              <a:noFill/>
              <a:prstDash val="solid"/>
              <a:miter/>
            </a:ln>
          </p:spPr>
          <p:txBody>
            <a:bodyPr rtlCol="0" anchor="ctr"/>
            <a:lstStyle/>
            <a:p>
              <a:endParaRPr lang="zh-CN" altLang="en-US"/>
            </a:p>
          </p:txBody>
        </p:sp>
        <p:sp>
          <p:nvSpPr>
            <p:cNvPr id="299" name="任意多边形: 形状 298"/>
            <p:cNvSpPr/>
            <p:nvPr/>
          </p:nvSpPr>
          <p:spPr>
            <a:xfrm>
              <a:off x="5908857" y="2394858"/>
              <a:ext cx="947702" cy="1084364"/>
            </a:xfrm>
            <a:custGeom>
              <a:avLst/>
              <a:gdLst>
                <a:gd name="connsiteX0" fmla="*/ 489274 w 947702"/>
                <a:gd name="connsiteY0" fmla="*/ 347887 h 1084364"/>
                <a:gd name="connsiteX1" fmla="*/ 489274 w 947702"/>
                <a:gd name="connsiteY1" fmla="*/ -220 h 1084364"/>
                <a:gd name="connsiteX2" fmla="*/ 49115 w 947702"/>
                <a:gd name="connsiteY2" fmla="*/ 253780 h 1084364"/>
                <a:gd name="connsiteX3" fmla="*/ -453 w 947702"/>
                <a:gd name="connsiteY3" fmla="*/ 339893 h 1084364"/>
                <a:gd name="connsiteX4" fmla="*/ -453 w 947702"/>
                <a:gd name="connsiteY4" fmla="*/ 1044331 h 1084364"/>
                <a:gd name="connsiteX5" fmla="*/ 39224 w 947702"/>
                <a:gd name="connsiteY5" fmla="*/ 1084144 h 1084364"/>
                <a:gd name="connsiteX6" fmla="*/ 59165 w 947702"/>
                <a:gd name="connsiteY6" fmla="*/ 1078822 h 1084364"/>
                <a:gd name="connsiteX7" fmla="*/ 897455 w 947702"/>
                <a:gd name="connsiteY7" fmla="*/ 594578 h 1084364"/>
                <a:gd name="connsiteX8" fmla="*/ 947250 w 947702"/>
                <a:gd name="connsiteY8" fmla="*/ 508693 h 1084364"/>
                <a:gd name="connsiteX9" fmla="*/ 947250 w 947702"/>
                <a:gd name="connsiteY9" fmla="*/ 151221 h 1084364"/>
                <a:gd name="connsiteX10" fmla="*/ 548206 w 947702"/>
                <a:gd name="connsiteY10" fmla="*/ 382150 h 1084364"/>
                <a:gd name="connsiteX11" fmla="*/ 494208 w 947702"/>
                <a:gd name="connsiteY11" fmla="*/ 366526 h 1084364"/>
                <a:gd name="connsiteX12" fmla="*/ 489274 w 947702"/>
                <a:gd name="connsiteY12" fmla="*/ 347887 h 1084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47702" h="1084364">
                  <a:moveTo>
                    <a:pt x="489274" y="347887"/>
                  </a:moveTo>
                  <a:lnTo>
                    <a:pt x="489274" y="-220"/>
                  </a:lnTo>
                  <a:lnTo>
                    <a:pt x="49115" y="253780"/>
                  </a:lnTo>
                  <a:cubicBezTo>
                    <a:pt x="18438" y="271596"/>
                    <a:pt x="-453" y="304397"/>
                    <a:pt x="-453" y="339893"/>
                  </a:cubicBezTo>
                  <a:lnTo>
                    <a:pt x="-453" y="1044331"/>
                  </a:lnTo>
                  <a:cubicBezTo>
                    <a:pt x="-497" y="1066282"/>
                    <a:pt x="17273" y="1084099"/>
                    <a:pt x="39224" y="1084144"/>
                  </a:cubicBezTo>
                  <a:cubicBezTo>
                    <a:pt x="46214" y="1084167"/>
                    <a:pt x="53112" y="1082317"/>
                    <a:pt x="59165" y="1078822"/>
                  </a:cubicBezTo>
                  <a:lnTo>
                    <a:pt x="897455" y="594578"/>
                  </a:lnTo>
                  <a:cubicBezTo>
                    <a:pt x="928268" y="576967"/>
                    <a:pt x="947273" y="544190"/>
                    <a:pt x="947250" y="508693"/>
                  </a:cubicBezTo>
                  <a:lnTo>
                    <a:pt x="947250" y="151221"/>
                  </a:lnTo>
                  <a:lnTo>
                    <a:pt x="548206" y="382150"/>
                  </a:lnTo>
                  <a:cubicBezTo>
                    <a:pt x="528973" y="392749"/>
                    <a:pt x="504806" y="385759"/>
                    <a:pt x="494208" y="366526"/>
                  </a:cubicBezTo>
                  <a:cubicBezTo>
                    <a:pt x="491055" y="360816"/>
                    <a:pt x="489366" y="354420"/>
                    <a:pt x="489274" y="347887"/>
                  </a:cubicBezTo>
                  <a:close/>
                </a:path>
              </a:pathLst>
            </a:custGeom>
            <a:gradFill>
              <a:gsLst>
                <a:gs pos="0">
                  <a:srgbClr val="EEF2FC"/>
                </a:gs>
                <a:gs pos="36000">
                  <a:srgbClr val="E9EEFB"/>
                </a:gs>
                <a:gs pos="76000">
                  <a:srgbClr val="DCE4FA"/>
                </a:gs>
                <a:gs pos="100000">
                  <a:srgbClr val="D0DBF8"/>
                </a:gs>
              </a:gsLst>
              <a:lin ang="0" scaled="1"/>
            </a:gradFill>
            <a:ln w="22838" cap="flat">
              <a:noFill/>
              <a:prstDash val="solid"/>
              <a:miter/>
            </a:ln>
          </p:spPr>
          <p:txBody>
            <a:bodyPr rtlCol="0" anchor="ctr"/>
            <a:lstStyle/>
            <a:p>
              <a:endParaRPr lang="zh-CN" altLang="en-US"/>
            </a:p>
          </p:txBody>
        </p:sp>
        <p:sp>
          <p:nvSpPr>
            <p:cNvPr id="300" name="任意多边形: 形状 299"/>
            <p:cNvSpPr/>
            <p:nvPr/>
          </p:nvSpPr>
          <p:spPr>
            <a:xfrm>
              <a:off x="6635538" y="1994900"/>
              <a:ext cx="177623" cy="262907"/>
            </a:xfrm>
            <a:custGeom>
              <a:avLst/>
              <a:gdLst>
                <a:gd name="connsiteX0" fmla="*/ 177171 w 177623"/>
                <a:gd name="connsiteY0" fmla="*/ 61910 h 262907"/>
                <a:gd name="connsiteX1" fmla="*/ 131487 w 177623"/>
                <a:gd name="connsiteY1" fmla="*/ 35870 h 262907"/>
                <a:gd name="connsiteX2" fmla="*/ 68673 w 177623"/>
                <a:gd name="connsiteY2" fmla="*/ -220 h 262907"/>
                <a:gd name="connsiteX3" fmla="*/ 148 w 177623"/>
                <a:gd name="connsiteY3" fmla="*/ 222486 h 262907"/>
                <a:gd name="connsiteX4" fmla="*/ 148 w 177623"/>
                <a:gd name="connsiteY4" fmla="*/ 262688 h 262907"/>
                <a:gd name="connsiteX5" fmla="*/ 146334 w 177623"/>
                <a:gd name="connsiteY5" fmla="*/ 178174 h 262907"/>
                <a:gd name="connsiteX6" fmla="*/ 177171 w 177623"/>
                <a:gd name="connsiteY6" fmla="*/ 61910 h 262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7623" h="262907">
                  <a:moveTo>
                    <a:pt x="177171" y="61910"/>
                  </a:moveTo>
                  <a:lnTo>
                    <a:pt x="131487" y="35870"/>
                  </a:lnTo>
                  <a:lnTo>
                    <a:pt x="68673" y="-220"/>
                  </a:lnTo>
                  <a:cubicBezTo>
                    <a:pt x="28563" y="67551"/>
                    <a:pt x="5081" y="143889"/>
                    <a:pt x="148" y="222486"/>
                  </a:cubicBezTo>
                  <a:cubicBezTo>
                    <a:pt x="-653" y="235872"/>
                    <a:pt x="-653" y="249303"/>
                    <a:pt x="148" y="262688"/>
                  </a:cubicBezTo>
                  <a:lnTo>
                    <a:pt x="146334" y="178174"/>
                  </a:lnTo>
                  <a:cubicBezTo>
                    <a:pt x="145216" y="137264"/>
                    <a:pt x="155928" y="96880"/>
                    <a:pt x="177171" y="61910"/>
                  </a:cubicBezTo>
                  <a:close/>
                </a:path>
              </a:pathLst>
            </a:custGeom>
            <a:solidFill>
              <a:srgbClr val="F3F6FD"/>
            </a:solidFill>
            <a:ln w="22838" cap="flat">
              <a:noFill/>
              <a:prstDash val="solid"/>
              <a:miter/>
            </a:ln>
          </p:spPr>
          <p:txBody>
            <a:bodyPr rtlCol="0" anchor="ctr"/>
            <a:lstStyle/>
            <a:p>
              <a:endParaRPr lang="zh-CN" altLang="en-US"/>
            </a:p>
          </p:txBody>
        </p:sp>
        <p:sp>
          <p:nvSpPr>
            <p:cNvPr id="301" name="任意多边形: 形状 300"/>
            <p:cNvSpPr/>
            <p:nvPr/>
          </p:nvSpPr>
          <p:spPr>
            <a:xfrm>
              <a:off x="6856559" y="2156162"/>
              <a:ext cx="237325" cy="272044"/>
            </a:xfrm>
            <a:custGeom>
              <a:avLst/>
              <a:gdLst>
                <a:gd name="connsiteX0" fmla="*/ 128832 w 237325"/>
                <a:gd name="connsiteY0" fmla="*/ -220 h 272044"/>
                <a:gd name="connsiteX1" fmla="*/ -453 w 237325"/>
                <a:gd name="connsiteY1" fmla="*/ 96857 h 272044"/>
                <a:gd name="connsiteX2" fmla="*/ -453 w 237325"/>
                <a:gd name="connsiteY2" fmla="*/ 271824 h 272044"/>
                <a:gd name="connsiteX3" fmla="*/ 236873 w 237325"/>
                <a:gd name="connsiteY3" fmla="*/ 61910 h 272044"/>
              </a:gdLst>
              <a:ahLst/>
              <a:cxnLst>
                <a:cxn ang="0">
                  <a:pos x="connsiteX0" y="connsiteY0"/>
                </a:cxn>
                <a:cxn ang="0">
                  <a:pos x="connsiteX1" y="connsiteY1"/>
                </a:cxn>
                <a:cxn ang="0">
                  <a:pos x="connsiteX2" y="connsiteY2"/>
                </a:cxn>
                <a:cxn ang="0">
                  <a:pos x="connsiteX3" y="connsiteY3"/>
                </a:cxn>
              </a:cxnLst>
              <a:rect l="l" t="t" r="r" b="b"/>
              <a:pathLst>
                <a:path w="237325" h="272044">
                  <a:moveTo>
                    <a:pt x="128832" y="-220"/>
                  </a:moveTo>
                  <a:cubicBezTo>
                    <a:pt x="98452" y="52544"/>
                    <a:pt x="46374" y="95943"/>
                    <a:pt x="-453" y="96857"/>
                  </a:cubicBezTo>
                  <a:lnTo>
                    <a:pt x="-453" y="271824"/>
                  </a:lnTo>
                  <a:cubicBezTo>
                    <a:pt x="89317" y="244871"/>
                    <a:pt x="179997" y="160585"/>
                    <a:pt x="236873" y="61910"/>
                  </a:cubicBezTo>
                  <a:close/>
                </a:path>
              </a:pathLst>
            </a:custGeom>
            <a:solidFill>
              <a:srgbClr val="F3F6FD"/>
            </a:solidFill>
            <a:ln w="22838" cap="flat">
              <a:noFill/>
              <a:prstDash val="solid"/>
              <a:miter/>
            </a:ln>
          </p:spPr>
          <p:txBody>
            <a:bodyPr rtlCol="0" anchor="ctr"/>
            <a:lstStyle/>
            <a:p>
              <a:endParaRPr lang="zh-CN" altLang="en-US"/>
            </a:p>
          </p:txBody>
        </p:sp>
        <p:sp>
          <p:nvSpPr>
            <p:cNvPr id="302" name="任意多边形: 形状 301"/>
            <p:cNvSpPr/>
            <p:nvPr/>
          </p:nvSpPr>
          <p:spPr>
            <a:xfrm>
              <a:off x="6398583" y="2159748"/>
              <a:ext cx="457975" cy="622802"/>
            </a:xfrm>
            <a:custGeom>
              <a:avLst/>
              <a:gdLst>
                <a:gd name="connsiteX0" fmla="*/ 397907 w 457975"/>
                <a:gd name="connsiteY0" fmla="*/ 5103 h 622802"/>
                <a:gd name="connsiteX1" fmla="*/ 383516 w 457975"/>
                <a:gd name="connsiteY1" fmla="*/ 13326 h 622802"/>
                <a:gd name="connsiteX2" fmla="*/ 237330 w 457975"/>
                <a:gd name="connsiteY2" fmla="*/ 97840 h 622802"/>
                <a:gd name="connsiteX3" fmla="*/ -453 w 457975"/>
                <a:gd name="connsiteY3" fmla="*/ 234890 h 622802"/>
                <a:gd name="connsiteX4" fmla="*/ -453 w 457975"/>
                <a:gd name="connsiteY4" fmla="*/ 582997 h 622802"/>
                <a:gd name="connsiteX5" fmla="*/ 39452 w 457975"/>
                <a:gd name="connsiteY5" fmla="*/ 622582 h 622802"/>
                <a:gd name="connsiteX6" fmla="*/ 59165 w 457975"/>
                <a:gd name="connsiteY6" fmla="*/ 617260 h 622802"/>
                <a:gd name="connsiteX7" fmla="*/ 457523 w 457975"/>
                <a:gd name="connsiteY7" fmla="*/ 386331 h 622802"/>
                <a:gd name="connsiteX8" fmla="*/ 457523 w 457975"/>
                <a:gd name="connsiteY8" fmla="*/ 39365 h 622802"/>
                <a:gd name="connsiteX9" fmla="*/ 417620 w 457975"/>
                <a:gd name="connsiteY9" fmla="*/ -220 h 622802"/>
                <a:gd name="connsiteX10" fmla="*/ 397907 w 457975"/>
                <a:gd name="connsiteY10" fmla="*/ 5103 h 622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7975" h="622802">
                  <a:moveTo>
                    <a:pt x="397907" y="5103"/>
                  </a:moveTo>
                  <a:lnTo>
                    <a:pt x="383516" y="13326"/>
                  </a:lnTo>
                  <a:lnTo>
                    <a:pt x="237330" y="97840"/>
                  </a:lnTo>
                  <a:lnTo>
                    <a:pt x="-453" y="234890"/>
                  </a:lnTo>
                  <a:lnTo>
                    <a:pt x="-453" y="582997"/>
                  </a:lnTo>
                  <a:cubicBezTo>
                    <a:pt x="-361" y="604949"/>
                    <a:pt x="17501" y="622673"/>
                    <a:pt x="39452" y="622582"/>
                  </a:cubicBezTo>
                  <a:cubicBezTo>
                    <a:pt x="46373" y="622560"/>
                    <a:pt x="53180" y="620732"/>
                    <a:pt x="59165" y="617260"/>
                  </a:cubicBezTo>
                  <a:lnTo>
                    <a:pt x="457523" y="386331"/>
                  </a:lnTo>
                  <a:lnTo>
                    <a:pt x="457523" y="39365"/>
                  </a:lnTo>
                  <a:cubicBezTo>
                    <a:pt x="457433" y="17414"/>
                    <a:pt x="439571" y="-311"/>
                    <a:pt x="417620" y="-220"/>
                  </a:cubicBezTo>
                  <a:cubicBezTo>
                    <a:pt x="410698" y="-197"/>
                    <a:pt x="403892" y="1630"/>
                    <a:pt x="397907" y="5103"/>
                  </a:cubicBezTo>
                  <a:close/>
                </a:path>
              </a:pathLst>
            </a:custGeom>
            <a:solidFill>
              <a:srgbClr val="D0DBF8"/>
            </a:solidFill>
            <a:ln w="22838" cap="flat">
              <a:noFill/>
              <a:prstDash val="solid"/>
              <a:miter/>
            </a:ln>
          </p:spPr>
          <p:txBody>
            <a:bodyPr rtlCol="0" anchor="ctr"/>
            <a:lstStyle/>
            <a:p>
              <a:endParaRPr lang="zh-CN" altLang="en-US"/>
            </a:p>
          </p:txBody>
        </p:sp>
        <p:sp>
          <p:nvSpPr>
            <p:cNvPr id="303" name="任意多边形: 形状 302"/>
            <p:cNvSpPr/>
            <p:nvPr/>
          </p:nvSpPr>
          <p:spPr>
            <a:xfrm>
              <a:off x="6714571" y="2649771"/>
              <a:ext cx="202519" cy="103358"/>
            </a:xfrm>
            <a:custGeom>
              <a:avLst/>
              <a:gdLst>
                <a:gd name="connsiteX0" fmla="*/ 67073 w 202519"/>
                <a:gd name="connsiteY0" fmla="*/ 11886 h 103358"/>
                <a:gd name="connsiteX1" fmla="*/ 61134 w 202519"/>
                <a:gd name="connsiteY1" fmla="*/ 18282 h 103358"/>
                <a:gd name="connsiteX2" fmla="*/ 1060 w 202519"/>
                <a:gd name="connsiteY2" fmla="*/ 2064 h 103358"/>
                <a:gd name="connsiteX3" fmla="*/ 85574 w 202519"/>
                <a:gd name="connsiteY3" fmla="*/ 66250 h 103358"/>
                <a:gd name="connsiteX4" fmla="*/ 54966 w 202519"/>
                <a:gd name="connsiteY4" fmla="*/ 66250 h 103358"/>
                <a:gd name="connsiteX5" fmla="*/ 37150 w 202519"/>
                <a:gd name="connsiteY5" fmla="*/ 76071 h 103358"/>
                <a:gd name="connsiteX6" fmla="*/ 53367 w 202519"/>
                <a:gd name="connsiteY6" fmla="*/ 91832 h 103358"/>
                <a:gd name="connsiteX7" fmla="*/ 106588 w 202519"/>
                <a:gd name="connsiteY7" fmla="*/ 102111 h 103358"/>
                <a:gd name="connsiteX8" fmla="*/ 129430 w 202519"/>
                <a:gd name="connsiteY8" fmla="*/ 102111 h 103358"/>
                <a:gd name="connsiteX9" fmla="*/ 143592 w 202519"/>
                <a:gd name="connsiteY9" fmla="*/ 100283 h 103358"/>
                <a:gd name="connsiteX10" fmla="*/ 202067 w 202519"/>
                <a:gd name="connsiteY10" fmla="*/ 102111 h 103358"/>
                <a:gd name="connsiteX11" fmla="*/ 202067 w 202519"/>
                <a:gd name="connsiteY11" fmla="*/ 44550 h 103358"/>
                <a:gd name="connsiteX12" fmla="*/ 174428 w 202519"/>
                <a:gd name="connsiteY12" fmla="*/ 35184 h 103358"/>
                <a:gd name="connsiteX13" fmla="*/ 136282 w 202519"/>
                <a:gd name="connsiteY13" fmla="*/ 12343 h 103358"/>
                <a:gd name="connsiteX14" fmla="*/ 92198 w 202519"/>
                <a:gd name="connsiteY14" fmla="*/ -220 h 103358"/>
                <a:gd name="connsiteX15" fmla="*/ 67073 w 202519"/>
                <a:gd name="connsiteY15" fmla="*/ 11886 h 1033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2519" h="103358">
                  <a:moveTo>
                    <a:pt x="67073" y="11886"/>
                  </a:moveTo>
                  <a:lnTo>
                    <a:pt x="61134" y="18282"/>
                  </a:lnTo>
                  <a:cubicBezTo>
                    <a:pt x="47885" y="18282"/>
                    <a:pt x="6084" y="-4560"/>
                    <a:pt x="1060" y="2064"/>
                  </a:cubicBezTo>
                  <a:cubicBezTo>
                    <a:pt x="-13788" y="24906"/>
                    <a:pt x="85574" y="66250"/>
                    <a:pt x="85574" y="66250"/>
                  </a:cubicBezTo>
                  <a:cubicBezTo>
                    <a:pt x="85574" y="66250"/>
                    <a:pt x="62733" y="66250"/>
                    <a:pt x="54966" y="66250"/>
                  </a:cubicBezTo>
                  <a:cubicBezTo>
                    <a:pt x="47520" y="65336"/>
                    <a:pt x="40347" y="69287"/>
                    <a:pt x="37150" y="76071"/>
                  </a:cubicBezTo>
                  <a:cubicBezTo>
                    <a:pt x="34181" y="86122"/>
                    <a:pt x="47201" y="92061"/>
                    <a:pt x="53367" y="91832"/>
                  </a:cubicBezTo>
                  <a:lnTo>
                    <a:pt x="106588" y="102111"/>
                  </a:lnTo>
                  <a:cubicBezTo>
                    <a:pt x="114149" y="103482"/>
                    <a:pt x="121870" y="103482"/>
                    <a:pt x="129430" y="102111"/>
                  </a:cubicBezTo>
                  <a:lnTo>
                    <a:pt x="143592" y="100283"/>
                  </a:lnTo>
                  <a:cubicBezTo>
                    <a:pt x="163099" y="99667"/>
                    <a:pt x="182628" y="100283"/>
                    <a:pt x="202067" y="102111"/>
                  </a:cubicBezTo>
                  <a:lnTo>
                    <a:pt x="202067" y="44550"/>
                  </a:lnTo>
                  <a:cubicBezTo>
                    <a:pt x="192222" y="43796"/>
                    <a:pt x="182696" y="40576"/>
                    <a:pt x="174428" y="35184"/>
                  </a:cubicBezTo>
                  <a:cubicBezTo>
                    <a:pt x="162322" y="26596"/>
                    <a:pt x="149577" y="18967"/>
                    <a:pt x="136282" y="12343"/>
                  </a:cubicBezTo>
                  <a:cubicBezTo>
                    <a:pt x="122532" y="5376"/>
                    <a:pt x="107548" y="1128"/>
                    <a:pt x="92198" y="-220"/>
                  </a:cubicBezTo>
                  <a:cubicBezTo>
                    <a:pt x="82605" y="511"/>
                    <a:pt x="73628" y="4851"/>
                    <a:pt x="67073" y="11886"/>
                  </a:cubicBezTo>
                  <a:close/>
                </a:path>
              </a:pathLst>
            </a:custGeom>
            <a:solidFill>
              <a:srgbClr val="FCBAC0"/>
            </a:solidFill>
            <a:ln w="22838" cap="flat">
              <a:noFill/>
              <a:prstDash val="solid"/>
              <a:miter/>
            </a:ln>
          </p:spPr>
          <p:txBody>
            <a:bodyPr rtlCol="0" anchor="ctr"/>
            <a:lstStyle/>
            <a:p>
              <a:endParaRPr lang="zh-CN" altLang="en-US"/>
            </a:p>
          </p:txBody>
        </p:sp>
        <p:sp>
          <p:nvSpPr>
            <p:cNvPr id="304" name="任意多边形: 形状 303"/>
            <p:cNvSpPr/>
            <p:nvPr/>
          </p:nvSpPr>
          <p:spPr>
            <a:xfrm>
              <a:off x="7565391" y="4156756"/>
              <a:ext cx="115039" cy="206451"/>
            </a:xfrm>
            <a:custGeom>
              <a:avLst/>
              <a:gdLst>
                <a:gd name="connsiteX0" fmla="*/ 81724 w 115039"/>
                <a:gd name="connsiteY0" fmla="*/ 50143 h 206451"/>
                <a:gd name="connsiteX1" fmla="*/ 22336 w 115039"/>
                <a:gd name="connsiteY1" fmla="*/ 1033 h 206451"/>
                <a:gd name="connsiteX2" fmla="*/ 865 w 115039"/>
                <a:gd name="connsiteY2" fmla="*/ 75040 h 206451"/>
                <a:gd name="connsiteX3" fmla="*/ 8403 w 115039"/>
                <a:gd name="connsiteY3" fmla="*/ 92857 h 206451"/>
                <a:gd name="connsiteX4" fmla="*/ 17768 w 115039"/>
                <a:gd name="connsiteY4" fmla="*/ 130089 h 206451"/>
                <a:gd name="connsiteX5" fmla="*/ 22336 w 115039"/>
                <a:gd name="connsiteY5" fmla="*/ 161611 h 206451"/>
                <a:gd name="connsiteX6" fmla="*/ 56141 w 115039"/>
                <a:gd name="connsiteY6" fmla="*/ 200898 h 206451"/>
                <a:gd name="connsiteX7" fmla="*/ 103127 w 115039"/>
                <a:gd name="connsiteY7" fmla="*/ 190483 h 206451"/>
                <a:gd name="connsiteX8" fmla="*/ 105709 w 115039"/>
                <a:gd name="connsiteY8" fmla="*/ 185595 h 206451"/>
                <a:gd name="connsiteX9" fmla="*/ 108906 w 115039"/>
                <a:gd name="connsiteY9" fmla="*/ 120496 h 206451"/>
                <a:gd name="connsiteX10" fmla="*/ 81724 w 115039"/>
                <a:gd name="connsiteY10" fmla="*/ 50143 h 206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5039" h="206451">
                  <a:moveTo>
                    <a:pt x="81724" y="50143"/>
                  </a:moveTo>
                  <a:cubicBezTo>
                    <a:pt x="71218" y="16109"/>
                    <a:pt x="44492" y="-5819"/>
                    <a:pt x="22336" y="1033"/>
                  </a:cubicBezTo>
                  <a:cubicBezTo>
                    <a:pt x="180" y="7886"/>
                    <a:pt x="-2789" y="39179"/>
                    <a:pt x="865" y="75040"/>
                  </a:cubicBezTo>
                  <a:cubicBezTo>
                    <a:pt x="2167" y="81414"/>
                    <a:pt x="4748" y="87466"/>
                    <a:pt x="8403" y="92857"/>
                  </a:cubicBezTo>
                  <a:cubicBezTo>
                    <a:pt x="14707" y="104255"/>
                    <a:pt x="17928" y="117070"/>
                    <a:pt x="17768" y="130089"/>
                  </a:cubicBezTo>
                  <a:cubicBezTo>
                    <a:pt x="17653" y="140779"/>
                    <a:pt x="19184" y="151400"/>
                    <a:pt x="22336" y="161611"/>
                  </a:cubicBezTo>
                  <a:cubicBezTo>
                    <a:pt x="28755" y="178194"/>
                    <a:pt x="40701" y="192082"/>
                    <a:pt x="56141" y="200898"/>
                  </a:cubicBezTo>
                  <a:cubicBezTo>
                    <a:pt x="71994" y="210995"/>
                    <a:pt x="93031" y="206335"/>
                    <a:pt x="103127" y="190483"/>
                  </a:cubicBezTo>
                  <a:cubicBezTo>
                    <a:pt x="104132" y="188930"/>
                    <a:pt x="104977" y="187284"/>
                    <a:pt x="105709" y="185595"/>
                  </a:cubicBezTo>
                  <a:cubicBezTo>
                    <a:pt x="116307" y="165425"/>
                    <a:pt x="117471" y="141601"/>
                    <a:pt x="108906" y="120496"/>
                  </a:cubicBezTo>
                  <a:cubicBezTo>
                    <a:pt x="103424" y="110673"/>
                    <a:pt x="83552" y="56767"/>
                    <a:pt x="81724" y="50143"/>
                  </a:cubicBezTo>
                  <a:close/>
                </a:path>
              </a:pathLst>
            </a:custGeom>
            <a:solidFill>
              <a:srgbClr val="27145A"/>
            </a:solidFill>
            <a:ln w="22838" cap="flat">
              <a:noFill/>
              <a:prstDash val="solid"/>
              <a:miter/>
            </a:ln>
          </p:spPr>
          <p:txBody>
            <a:bodyPr rtlCol="0" anchor="ctr"/>
            <a:lstStyle/>
            <a:p>
              <a:endParaRPr lang="zh-CN" altLang="en-US"/>
            </a:p>
          </p:txBody>
        </p:sp>
        <p:sp>
          <p:nvSpPr>
            <p:cNvPr id="305" name="任意多边形: 形状 304"/>
            <p:cNvSpPr/>
            <p:nvPr/>
          </p:nvSpPr>
          <p:spPr>
            <a:xfrm>
              <a:off x="7272766" y="4039204"/>
              <a:ext cx="188871" cy="171062"/>
            </a:xfrm>
            <a:custGeom>
              <a:avLst/>
              <a:gdLst>
                <a:gd name="connsiteX0" fmla="*/ 142278 w 188871"/>
                <a:gd name="connsiteY0" fmla="*/ 110819 h 171062"/>
                <a:gd name="connsiteX1" fmla="*/ 73753 w 188871"/>
                <a:gd name="connsiteY1" fmla="*/ 162213 h 171062"/>
                <a:gd name="connsiteX2" fmla="*/ 12080 w 188871"/>
                <a:gd name="connsiteY2" fmla="*/ 169294 h 171062"/>
                <a:gd name="connsiteX3" fmla="*/ 4770 w 188871"/>
                <a:gd name="connsiteY3" fmla="*/ 130006 h 171062"/>
                <a:gd name="connsiteX4" fmla="*/ 102533 w 188871"/>
                <a:gd name="connsiteY4" fmla="*/ 28817 h 171062"/>
                <a:gd name="connsiteX5" fmla="*/ 100248 w 188871"/>
                <a:gd name="connsiteY5" fmla="*/ 5975 h 171062"/>
                <a:gd name="connsiteX6" fmla="*/ 188419 w 188871"/>
                <a:gd name="connsiteY6" fmla="*/ 16026 h 171062"/>
                <a:gd name="connsiteX7" fmla="*/ 188419 w 188871"/>
                <a:gd name="connsiteY7" fmla="*/ 72216 h 171062"/>
                <a:gd name="connsiteX8" fmla="*/ 170601 w 188871"/>
                <a:gd name="connsiteY8" fmla="*/ 98713 h 171062"/>
                <a:gd name="connsiteX9" fmla="*/ 142278 w 188871"/>
                <a:gd name="connsiteY9" fmla="*/ 110819 h 171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8871" h="171062">
                  <a:moveTo>
                    <a:pt x="142278" y="110819"/>
                  </a:moveTo>
                  <a:cubicBezTo>
                    <a:pt x="121446" y="130485"/>
                    <a:pt x="98467" y="147731"/>
                    <a:pt x="73753" y="162213"/>
                  </a:cubicBezTo>
                  <a:cubicBezTo>
                    <a:pt x="54268" y="170344"/>
                    <a:pt x="32889" y="172789"/>
                    <a:pt x="12080" y="169294"/>
                  </a:cubicBezTo>
                  <a:cubicBezTo>
                    <a:pt x="-2311" y="165639"/>
                    <a:pt x="-3681" y="142340"/>
                    <a:pt x="4770" y="130006"/>
                  </a:cubicBezTo>
                  <a:cubicBezTo>
                    <a:pt x="13222" y="117671"/>
                    <a:pt x="102533" y="28817"/>
                    <a:pt x="102533" y="28817"/>
                  </a:cubicBezTo>
                  <a:cubicBezTo>
                    <a:pt x="102533" y="19909"/>
                    <a:pt x="98878" y="5975"/>
                    <a:pt x="100248" y="5975"/>
                  </a:cubicBezTo>
                  <a:cubicBezTo>
                    <a:pt x="131770" y="-6131"/>
                    <a:pt x="180194" y="722"/>
                    <a:pt x="188419" y="16026"/>
                  </a:cubicBezTo>
                  <a:lnTo>
                    <a:pt x="188419" y="72216"/>
                  </a:lnTo>
                  <a:cubicBezTo>
                    <a:pt x="188441" y="83843"/>
                    <a:pt x="181382" y="94327"/>
                    <a:pt x="170601" y="98713"/>
                  </a:cubicBezTo>
                  <a:cubicBezTo>
                    <a:pt x="160826" y="101910"/>
                    <a:pt x="151345" y="105953"/>
                    <a:pt x="142278" y="110819"/>
                  </a:cubicBezTo>
                  <a:close/>
                </a:path>
              </a:pathLst>
            </a:custGeom>
            <a:solidFill>
              <a:srgbClr val="27145A"/>
            </a:solidFill>
            <a:ln w="22838" cap="flat">
              <a:noFill/>
              <a:prstDash val="solid"/>
              <a:miter/>
            </a:ln>
          </p:spPr>
          <p:txBody>
            <a:bodyPr rtlCol="0" anchor="ctr"/>
            <a:lstStyle/>
            <a:p>
              <a:endParaRPr lang="zh-CN" altLang="en-US"/>
            </a:p>
          </p:txBody>
        </p:sp>
        <p:sp>
          <p:nvSpPr>
            <p:cNvPr id="306" name="任意多边形: 形状 305"/>
            <p:cNvSpPr/>
            <p:nvPr/>
          </p:nvSpPr>
          <p:spPr>
            <a:xfrm>
              <a:off x="7338250" y="2949912"/>
              <a:ext cx="345179" cy="1261474"/>
            </a:xfrm>
            <a:custGeom>
              <a:avLst/>
              <a:gdLst>
                <a:gd name="connsiteX0" fmla="*/ 344727 w 345179"/>
                <a:gd name="connsiteY0" fmla="*/ -220 h 1261474"/>
                <a:gd name="connsiteX1" fmla="*/ 344727 w 345179"/>
                <a:gd name="connsiteY1" fmla="*/ 113989 h 1261474"/>
                <a:gd name="connsiteX2" fmla="*/ 315946 w 345179"/>
                <a:gd name="connsiteY2" fmla="*/ 1239856 h 1261474"/>
                <a:gd name="connsiteX3" fmla="*/ 209961 w 345179"/>
                <a:gd name="connsiteY3" fmla="*/ 1234145 h 1261474"/>
                <a:gd name="connsiteX4" fmla="*/ 176155 w 345179"/>
                <a:gd name="connsiteY4" fmla="*/ 426463 h 1261474"/>
                <a:gd name="connsiteX5" fmla="*/ 143035 w 345179"/>
                <a:gd name="connsiteY5" fmla="*/ 414585 h 1261474"/>
                <a:gd name="connsiteX6" fmla="*/ 127730 w 345179"/>
                <a:gd name="connsiteY6" fmla="*/ 1114912 h 1261474"/>
                <a:gd name="connsiteX7" fmla="*/ 16036 w 345179"/>
                <a:gd name="connsiteY7" fmla="*/ 1112399 h 1261474"/>
                <a:gd name="connsiteX8" fmla="*/ -411 w 345179"/>
                <a:gd name="connsiteY8" fmla="*/ 190051 h 1261474"/>
                <a:gd name="connsiteX9" fmla="*/ 4157 w 345179"/>
                <a:gd name="connsiteY9" fmla="*/ 142312 h 126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5179" h="1261474">
                  <a:moveTo>
                    <a:pt x="344727" y="-220"/>
                  </a:moveTo>
                  <a:lnTo>
                    <a:pt x="344727" y="113989"/>
                  </a:lnTo>
                  <a:cubicBezTo>
                    <a:pt x="344727" y="131120"/>
                    <a:pt x="315946" y="1239856"/>
                    <a:pt x="315946" y="1239856"/>
                  </a:cubicBezTo>
                  <a:cubicBezTo>
                    <a:pt x="315946" y="1267951"/>
                    <a:pt x="209733" y="1270692"/>
                    <a:pt x="209961" y="1234145"/>
                  </a:cubicBezTo>
                  <a:lnTo>
                    <a:pt x="176155" y="426463"/>
                  </a:lnTo>
                  <a:lnTo>
                    <a:pt x="143035" y="414585"/>
                  </a:lnTo>
                  <a:lnTo>
                    <a:pt x="127730" y="1114912"/>
                  </a:lnTo>
                  <a:cubicBezTo>
                    <a:pt x="127730" y="1148717"/>
                    <a:pt x="11238" y="1139352"/>
                    <a:pt x="16036" y="1112399"/>
                  </a:cubicBezTo>
                  <a:lnTo>
                    <a:pt x="-411" y="190051"/>
                  </a:lnTo>
                  <a:cubicBezTo>
                    <a:pt x="-730" y="174016"/>
                    <a:pt x="799" y="158004"/>
                    <a:pt x="4157" y="142312"/>
                  </a:cubicBezTo>
                  <a:close/>
                </a:path>
              </a:pathLst>
            </a:custGeom>
            <a:solidFill>
              <a:srgbClr val="D0DBF8"/>
            </a:solidFill>
            <a:ln w="22838" cap="flat">
              <a:noFill/>
              <a:prstDash val="solid"/>
              <a:miter/>
            </a:ln>
          </p:spPr>
          <p:txBody>
            <a:bodyPr rtlCol="0" anchor="ctr"/>
            <a:lstStyle/>
            <a:p>
              <a:endParaRPr lang="zh-CN" altLang="en-US"/>
            </a:p>
          </p:txBody>
        </p:sp>
        <p:sp>
          <p:nvSpPr>
            <p:cNvPr id="307" name="任意多边形: 形状 306"/>
            <p:cNvSpPr/>
            <p:nvPr/>
          </p:nvSpPr>
          <p:spPr>
            <a:xfrm>
              <a:off x="7346580" y="2557524"/>
              <a:ext cx="392812" cy="670225"/>
            </a:xfrm>
            <a:custGeom>
              <a:avLst/>
              <a:gdLst>
                <a:gd name="connsiteX0" fmla="*/ 392359 w 392812"/>
                <a:gd name="connsiteY0" fmla="*/ 202810 h 670225"/>
                <a:gd name="connsiteX1" fmla="*/ 348732 w 392812"/>
                <a:gd name="connsiteY1" fmla="*/ 347398 h 670225"/>
                <a:gd name="connsiteX2" fmla="*/ 340281 w 392812"/>
                <a:gd name="connsiteY2" fmla="*/ 611677 h 670225"/>
                <a:gd name="connsiteX3" fmla="*/ -61 w 392812"/>
                <a:gd name="connsiteY3" fmla="*/ 553202 h 670225"/>
                <a:gd name="connsiteX4" fmla="*/ -61 w 392812"/>
                <a:gd name="connsiteY4" fmla="*/ 108930 h 670225"/>
                <a:gd name="connsiteX5" fmla="*/ 87103 w 392812"/>
                <a:gd name="connsiteY5" fmla="*/ 4544 h 670225"/>
                <a:gd name="connsiteX6" fmla="*/ 110036 w 392812"/>
                <a:gd name="connsiteY6" fmla="*/ 5230 h 670225"/>
                <a:gd name="connsiteX7" fmla="*/ 146127 w 392812"/>
                <a:gd name="connsiteY7" fmla="*/ 14366 h 670225"/>
                <a:gd name="connsiteX8" fmla="*/ 189068 w 392812"/>
                <a:gd name="connsiteY8" fmla="*/ -24 h 670225"/>
                <a:gd name="connsiteX9" fmla="*/ 280435 w 392812"/>
                <a:gd name="connsiteY9" fmla="*/ 52284 h 670225"/>
                <a:gd name="connsiteX10" fmla="*/ 298480 w 392812"/>
                <a:gd name="connsiteY10" fmla="*/ 62790 h 670225"/>
                <a:gd name="connsiteX11" fmla="*/ 392359 w 392812"/>
                <a:gd name="connsiteY11" fmla="*/ 202810 h 670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92812" h="670225">
                  <a:moveTo>
                    <a:pt x="392359" y="202810"/>
                  </a:moveTo>
                  <a:lnTo>
                    <a:pt x="348732" y="347398"/>
                  </a:lnTo>
                  <a:lnTo>
                    <a:pt x="340281" y="611677"/>
                  </a:lnTo>
                  <a:cubicBezTo>
                    <a:pt x="325205" y="709668"/>
                    <a:pt x="-61" y="680202"/>
                    <a:pt x="-61" y="553202"/>
                  </a:cubicBezTo>
                  <a:lnTo>
                    <a:pt x="-61" y="108930"/>
                  </a:lnTo>
                  <a:cubicBezTo>
                    <a:pt x="-4812" y="56030"/>
                    <a:pt x="34202" y="9295"/>
                    <a:pt x="87103" y="4544"/>
                  </a:cubicBezTo>
                  <a:cubicBezTo>
                    <a:pt x="94755" y="3859"/>
                    <a:pt x="102452" y="4087"/>
                    <a:pt x="110036" y="5230"/>
                  </a:cubicBezTo>
                  <a:cubicBezTo>
                    <a:pt x="122439" y="6486"/>
                    <a:pt x="134614" y="9570"/>
                    <a:pt x="146127" y="14366"/>
                  </a:cubicBezTo>
                  <a:cubicBezTo>
                    <a:pt x="150467" y="16193"/>
                    <a:pt x="184501" y="-2309"/>
                    <a:pt x="189068" y="-24"/>
                  </a:cubicBezTo>
                  <a:lnTo>
                    <a:pt x="280435" y="52284"/>
                  </a:lnTo>
                  <a:lnTo>
                    <a:pt x="298480" y="62790"/>
                  </a:lnTo>
                  <a:cubicBezTo>
                    <a:pt x="356726" y="98880"/>
                    <a:pt x="392359" y="132686"/>
                    <a:pt x="392359" y="202810"/>
                  </a:cubicBezTo>
                  <a:close/>
                </a:path>
              </a:pathLst>
            </a:custGeom>
            <a:solidFill>
              <a:srgbClr val="0BC0CF"/>
            </a:solidFill>
            <a:ln w="22838" cap="flat">
              <a:noFill/>
              <a:prstDash val="solid"/>
              <a:miter/>
            </a:ln>
          </p:spPr>
          <p:txBody>
            <a:bodyPr rtlCol="0" anchor="ctr"/>
            <a:lstStyle/>
            <a:p>
              <a:endParaRPr lang="zh-CN" altLang="en-US"/>
            </a:p>
          </p:txBody>
        </p:sp>
        <p:sp>
          <p:nvSpPr>
            <p:cNvPr id="308" name="任意多边形: 形状 307"/>
            <p:cNvSpPr/>
            <p:nvPr/>
          </p:nvSpPr>
          <p:spPr>
            <a:xfrm>
              <a:off x="7492930" y="2443511"/>
              <a:ext cx="100502" cy="187398"/>
            </a:xfrm>
            <a:custGeom>
              <a:avLst/>
              <a:gdLst>
                <a:gd name="connsiteX0" fmla="*/ 100050 w 100502"/>
                <a:gd name="connsiteY0" fmla="*/ 36784 h 187398"/>
                <a:gd name="connsiteX1" fmla="*/ 100050 w 100502"/>
                <a:gd name="connsiteY1" fmla="*/ 162413 h 187398"/>
                <a:gd name="connsiteX2" fmla="*/ 89772 w 100502"/>
                <a:gd name="connsiteY2" fmla="*/ 177260 h 187398"/>
                <a:gd name="connsiteX3" fmla="*/ 19648 w 100502"/>
                <a:gd name="connsiteY3" fmla="*/ 182057 h 187398"/>
                <a:gd name="connsiteX4" fmla="*/ -453 w 100502"/>
                <a:gd name="connsiteY4" fmla="*/ 162413 h 187398"/>
                <a:gd name="connsiteX5" fmla="*/ -453 w 100502"/>
                <a:gd name="connsiteY5" fmla="*/ 61453 h 187398"/>
                <a:gd name="connsiteX6" fmla="*/ 47057 w 100502"/>
                <a:gd name="connsiteY6" fmla="*/ -220 h 187398"/>
                <a:gd name="connsiteX7" fmla="*/ 52312 w 100502"/>
                <a:gd name="connsiteY7" fmla="*/ -220 h 187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502" h="187398">
                  <a:moveTo>
                    <a:pt x="100050" y="36784"/>
                  </a:moveTo>
                  <a:lnTo>
                    <a:pt x="100050" y="162413"/>
                  </a:lnTo>
                  <a:cubicBezTo>
                    <a:pt x="99274" y="168740"/>
                    <a:pt x="95437" y="174313"/>
                    <a:pt x="89772" y="177260"/>
                  </a:cubicBezTo>
                  <a:cubicBezTo>
                    <a:pt x="68073" y="188544"/>
                    <a:pt x="42673" y="190280"/>
                    <a:pt x="19648" y="182057"/>
                  </a:cubicBezTo>
                  <a:cubicBezTo>
                    <a:pt x="6628" y="177260"/>
                    <a:pt x="-453" y="170179"/>
                    <a:pt x="-453" y="162413"/>
                  </a:cubicBezTo>
                  <a:lnTo>
                    <a:pt x="-453" y="61453"/>
                  </a:lnTo>
                  <a:lnTo>
                    <a:pt x="47057" y="-220"/>
                  </a:lnTo>
                  <a:lnTo>
                    <a:pt x="52312" y="-220"/>
                  </a:lnTo>
                  <a:close/>
                </a:path>
              </a:pathLst>
            </a:custGeom>
            <a:solidFill>
              <a:srgbClr val="FBADA3"/>
            </a:solidFill>
            <a:ln w="22838" cap="flat">
              <a:noFill/>
              <a:prstDash val="solid"/>
              <a:miter/>
            </a:ln>
          </p:spPr>
          <p:txBody>
            <a:bodyPr rtlCol="0" anchor="ctr"/>
            <a:lstStyle/>
            <a:p>
              <a:endParaRPr lang="zh-CN" altLang="en-US"/>
            </a:p>
          </p:txBody>
        </p:sp>
        <p:sp>
          <p:nvSpPr>
            <p:cNvPr id="309" name="任意多边形: 形状 308"/>
            <p:cNvSpPr/>
            <p:nvPr/>
          </p:nvSpPr>
          <p:spPr>
            <a:xfrm>
              <a:off x="7622617" y="2788863"/>
              <a:ext cx="114833" cy="723206"/>
            </a:xfrm>
            <a:custGeom>
              <a:avLst/>
              <a:gdLst>
                <a:gd name="connsiteX0" fmla="*/ 2571 w 114833"/>
                <a:gd name="connsiteY0" fmla="*/ 664717 h 723206"/>
                <a:gd name="connsiteX1" fmla="*/ 4855 w 114833"/>
                <a:gd name="connsiteY1" fmla="*/ 615378 h 723206"/>
                <a:gd name="connsiteX2" fmla="*/ 11707 w 114833"/>
                <a:gd name="connsiteY2" fmla="*/ 596648 h 723206"/>
                <a:gd name="connsiteX3" fmla="*/ 18332 w 114833"/>
                <a:gd name="connsiteY3" fmla="*/ 585227 h 723206"/>
                <a:gd name="connsiteX4" fmla="*/ 28611 w 114833"/>
                <a:gd name="connsiteY4" fmla="*/ 543655 h 723206"/>
                <a:gd name="connsiteX5" fmla="*/ 20844 w 114833"/>
                <a:gd name="connsiteY5" fmla="*/ 269555 h 723206"/>
                <a:gd name="connsiteX6" fmla="*/ 19474 w 114833"/>
                <a:gd name="connsiteY6" fmla="*/ 237805 h 723206"/>
                <a:gd name="connsiteX7" fmla="*/ -398 w 114833"/>
                <a:gd name="connsiteY7" fmla="*/ 22865 h 723206"/>
                <a:gd name="connsiteX8" fmla="*/ 15750 w 114833"/>
                <a:gd name="connsiteY8" fmla="*/ 3952 h 723206"/>
                <a:gd name="connsiteX9" fmla="*/ 16504 w 114833"/>
                <a:gd name="connsiteY9" fmla="*/ 3906 h 723206"/>
                <a:gd name="connsiteX10" fmla="*/ 91653 w 114833"/>
                <a:gd name="connsiteY10" fmla="*/ -206 h 723206"/>
                <a:gd name="connsiteX11" fmla="*/ 110155 w 114833"/>
                <a:gd name="connsiteY11" fmla="*/ 16902 h 723206"/>
                <a:gd name="connsiteX12" fmla="*/ 110155 w 114833"/>
                <a:gd name="connsiteY12" fmla="*/ 17154 h 723206"/>
                <a:gd name="connsiteX13" fmla="*/ 114039 w 114833"/>
                <a:gd name="connsiteY13" fmla="*/ 245571 h 723206"/>
                <a:gd name="connsiteX14" fmla="*/ 114039 w 114833"/>
                <a:gd name="connsiteY14" fmla="*/ 270925 h 723206"/>
                <a:gd name="connsiteX15" fmla="*/ 85487 w 114833"/>
                <a:gd name="connsiteY15" fmla="*/ 567867 h 723206"/>
                <a:gd name="connsiteX16" fmla="*/ 97363 w 114833"/>
                <a:gd name="connsiteY16" fmla="*/ 611267 h 723206"/>
                <a:gd name="connsiteX17" fmla="*/ 97363 w 114833"/>
                <a:gd name="connsiteY17" fmla="*/ 672254 h 723206"/>
                <a:gd name="connsiteX18" fmla="*/ 58989 w 114833"/>
                <a:gd name="connsiteY18" fmla="*/ 722963 h 723206"/>
                <a:gd name="connsiteX19" fmla="*/ 28838 w 114833"/>
                <a:gd name="connsiteY19" fmla="*/ 645301 h 723206"/>
                <a:gd name="connsiteX20" fmla="*/ 22215 w 114833"/>
                <a:gd name="connsiteY20" fmla="*/ 670884 h 723206"/>
                <a:gd name="connsiteX21" fmla="*/ 6682 w 114833"/>
                <a:gd name="connsiteY21" fmla="*/ 683903 h 723206"/>
                <a:gd name="connsiteX22" fmla="*/ 2571 w 114833"/>
                <a:gd name="connsiteY22" fmla="*/ 664717 h 723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14833" h="723206">
                  <a:moveTo>
                    <a:pt x="2571" y="664717"/>
                  </a:moveTo>
                  <a:lnTo>
                    <a:pt x="4855" y="615378"/>
                  </a:lnTo>
                  <a:cubicBezTo>
                    <a:pt x="6157" y="608822"/>
                    <a:pt x="8464" y="602496"/>
                    <a:pt x="11707" y="596648"/>
                  </a:cubicBezTo>
                  <a:lnTo>
                    <a:pt x="18332" y="585227"/>
                  </a:lnTo>
                  <a:cubicBezTo>
                    <a:pt x="25481" y="572573"/>
                    <a:pt x="29045" y="558183"/>
                    <a:pt x="28611" y="543655"/>
                  </a:cubicBezTo>
                  <a:lnTo>
                    <a:pt x="20844" y="269555"/>
                  </a:lnTo>
                  <a:cubicBezTo>
                    <a:pt x="21073" y="258956"/>
                    <a:pt x="20615" y="248358"/>
                    <a:pt x="19474" y="237805"/>
                  </a:cubicBezTo>
                  <a:cubicBezTo>
                    <a:pt x="14221" y="190066"/>
                    <a:pt x="2571" y="62152"/>
                    <a:pt x="-398" y="22865"/>
                  </a:cubicBezTo>
                  <a:cubicBezTo>
                    <a:pt x="-1153" y="13179"/>
                    <a:pt x="6066" y="4705"/>
                    <a:pt x="15750" y="3952"/>
                  </a:cubicBezTo>
                  <a:cubicBezTo>
                    <a:pt x="16002" y="3929"/>
                    <a:pt x="16253" y="3906"/>
                    <a:pt x="16504" y="3906"/>
                  </a:cubicBezTo>
                  <a:lnTo>
                    <a:pt x="91653" y="-206"/>
                  </a:lnTo>
                  <a:cubicBezTo>
                    <a:pt x="101475" y="-594"/>
                    <a:pt x="109767" y="7081"/>
                    <a:pt x="110155" y="16902"/>
                  </a:cubicBezTo>
                  <a:cubicBezTo>
                    <a:pt x="110155" y="16994"/>
                    <a:pt x="110155" y="17063"/>
                    <a:pt x="110155" y="17154"/>
                  </a:cubicBezTo>
                  <a:lnTo>
                    <a:pt x="114039" y="245571"/>
                  </a:lnTo>
                  <a:cubicBezTo>
                    <a:pt x="114495" y="254022"/>
                    <a:pt x="114495" y="262474"/>
                    <a:pt x="114039" y="270925"/>
                  </a:cubicBezTo>
                  <a:lnTo>
                    <a:pt x="85487" y="567867"/>
                  </a:lnTo>
                  <a:cubicBezTo>
                    <a:pt x="88570" y="582555"/>
                    <a:pt x="92521" y="597059"/>
                    <a:pt x="97363" y="611267"/>
                  </a:cubicBezTo>
                  <a:cubicBezTo>
                    <a:pt x="103645" y="631116"/>
                    <a:pt x="103645" y="652405"/>
                    <a:pt x="97363" y="672254"/>
                  </a:cubicBezTo>
                  <a:cubicBezTo>
                    <a:pt x="89598" y="695096"/>
                    <a:pt x="76807" y="721821"/>
                    <a:pt x="58989" y="722963"/>
                  </a:cubicBezTo>
                  <a:cubicBezTo>
                    <a:pt x="36148" y="724562"/>
                    <a:pt x="28838" y="645301"/>
                    <a:pt x="28838" y="645301"/>
                  </a:cubicBezTo>
                  <a:cubicBezTo>
                    <a:pt x="27217" y="653958"/>
                    <a:pt x="25001" y="662524"/>
                    <a:pt x="22215" y="670884"/>
                  </a:cubicBezTo>
                  <a:cubicBezTo>
                    <a:pt x="19931" y="678421"/>
                    <a:pt x="12393" y="685959"/>
                    <a:pt x="6682" y="683903"/>
                  </a:cubicBezTo>
                  <a:cubicBezTo>
                    <a:pt x="972" y="681848"/>
                    <a:pt x="-627" y="674767"/>
                    <a:pt x="2571" y="664717"/>
                  </a:cubicBezTo>
                  <a:close/>
                </a:path>
              </a:pathLst>
            </a:custGeom>
            <a:solidFill>
              <a:srgbClr val="FCBAC0"/>
            </a:solidFill>
            <a:ln w="22838" cap="flat">
              <a:noFill/>
              <a:prstDash val="solid"/>
              <a:miter/>
            </a:ln>
          </p:spPr>
          <p:txBody>
            <a:bodyPr rtlCol="0" anchor="ctr"/>
            <a:lstStyle/>
            <a:p>
              <a:endParaRPr lang="zh-CN" altLang="en-US"/>
            </a:p>
          </p:txBody>
        </p:sp>
        <p:sp>
          <p:nvSpPr>
            <p:cNvPr id="310" name="任意多边形: 形状 309"/>
            <p:cNvSpPr/>
            <p:nvPr/>
          </p:nvSpPr>
          <p:spPr>
            <a:xfrm>
              <a:off x="7309739" y="2562060"/>
              <a:ext cx="183419" cy="693842"/>
            </a:xfrm>
            <a:custGeom>
              <a:avLst/>
              <a:gdLst>
                <a:gd name="connsiteX0" fmla="*/ -453 w 183419"/>
                <a:gd name="connsiteY0" fmla="*/ 608282 h 693842"/>
                <a:gd name="connsiteX1" fmla="*/ 74469 w 183419"/>
                <a:gd name="connsiteY1" fmla="*/ 693025 h 693842"/>
                <a:gd name="connsiteX2" fmla="*/ 87716 w 183419"/>
                <a:gd name="connsiteY2" fmla="*/ 263829 h 693842"/>
                <a:gd name="connsiteX3" fmla="*/ 145506 w 183419"/>
                <a:gd name="connsiteY3" fmla="*/ 53229 h 693842"/>
                <a:gd name="connsiteX4" fmla="*/ 182967 w 183419"/>
                <a:gd name="connsiteY4" fmla="*/ 9830 h 693842"/>
                <a:gd name="connsiteX5" fmla="*/ 172002 w 183419"/>
                <a:gd name="connsiteY5" fmla="*/ 5946 h 693842"/>
                <a:gd name="connsiteX6" fmla="*/ 84975 w 183419"/>
                <a:gd name="connsiteY6" fmla="*/ 12342 h 693842"/>
                <a:gd name="connsiteX7" fmla="*/ 28100 w 183419"/>
                <a:gd name="connsiteY7" fmla="*/ 103709 h 693842"/>
                <a:gd name="connsiteX8" fmla="*/ 19420 w 183419"/>
                <a:gd name="connsiteY8" fmla="*/ 289641 h 693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419" h="693842">
                  <a:moveTo>
                    <a:pt x="-453" y="608282"/>
                  </a:moveTo>
                  <a:cubicBezTo>
                    <a:pt x="-453" y="649854"/>
                    <a:pt x="65789" y="699649"/>
                    <a:pt x="74469" y="693025"/>
                  </a:cubicBezTo>
                  <a:cubicBezTo>
                    <a:pt x="83147" y="686401"/>
                    <a:pt x="66702" y="431716"/>
                    <a:pt x="87716" y="263829"/>
                  </a:cubicBezTo>
                  <a:cubicBezTo>
                    <a:pt x="98224" y="179543"/>
                    <a:pt x="116040" y="101653"/>
                    <a:pt x="145506" y="53229"/>
                  </a:cubicBezTo>
                  <a:cubicBezTo>
                    <a:pt x="155990" y="37148"/>
                    <a:pt x="168599" y="22553"/>
                    <a:pt x="182967" y="9830"/>
                  </a:cubicBezTo>
                  <a:cubicBezTo>
                    <a:pt x="182967" y="9830"/>
                    <a:pt x="175429" y="6860"/>
                    <a:pt x="172002" y="5946"/>
                  </a:cubicBezTo>
                  <a:cubicBezTo>
                    <a:pt x="143359" y="-4104"/>
                    <a:pt x="111838" y="-1797"/>
                    <a:pt x="84975" y="12342"/>
                  </a:cubicBezTo>
                  <a:cubicBezTo>
                    <a:pt x="48612" y="27715"/>
                    <a:pt x="25838" y="64284"/>
                    <a:pt x="28100" y="103709"/>
                  </a:cubicBezTo>
                  <a:lnTo>
                    <a:pt x="19420" y="289641"/>
                  </a:lnTo>
                  <a:close/>
                </a:path>
              </a:pathLst>
            </a:custGeom>
            <a:solidFill>
              <a:srgbClr val="3C2DA1"/>
            </a:solidFill>
            <a:ln w="22838" cap="flat">
              <a:noFill/>
              <a:prstDash val="solid"/>
              <a:miter/>
            </a:ln>
          </p:spPr>
          <p:txBody>
            <a:bodyPr rtlCol="0" anchor="ctr"/>
            <a:lstStyle/>
            <a:p>
              <a:endParaRPr lang="zh-CN" altLang="en-US"/>
            </a:p>
          </p:txBody>
        </p:sp>
        <p:sp>
          <p:nvSpPr>
            <p:cNvPr id="311" name="任意多边形: 形状 310"/>
            <p:cNvSpPr/>
            <p:nvPr/>
          </p:nvSpPr>
          <p:spPr>
            <a:xfrm>
              <a:off x="7476224" y="2590840"/>
              <a:ext cx="280755" cy="707945"/>
            </a:xfrm>
            <a:custGeom>
              <a:avLst/>
              <a:gdLst>
                <a:gd name="connsiteX0" fmla="*/ 212463 w 280755"/>
                <a:gd name="connsiteY0" fmla="*/ 664930 h 707945"/>
                <a:gd name="connsiteX1" fmla="*/ 219088 w 280755"/>
                <a:gd name="connsiteY1" fmla="*/ 314081 h 707945"/>
                <a:gd name="connsiteX2" fmla="*/ 280303 w 280755"/>
                <a:gd name="connsiteY2" fmla="*/ 177031 h 707945"/>
                <a:gd name="connsiteX3" fmla="*/ 167921 w 280755"/>
                <a:gd name="connsiteY3" fmla="*/ 29474 h 707945"/>
                <a:gd name="connsiteX4" fmla="*/ 149877 w 280755"/>
                <a:gd name="connsiteY4" fmla="*/ 18967 h 707945"/>
                <a:gd name="connsiteX5" fmla="*/ 116756 w 280755"/>
                <a:gd name="connsiteY5" fmla="*/ -220 h 707945"/>
                <a:gd name="connsiteX6" fmla="*/ 119497 w 280755"/>
                <a:gd name="connsiteY6" fmla="*/ 18967 h 707945"/>
                <a:gd name="connsiteX7" fmla="*/ 36354 w 280755"/>
                <a:gd name="connsiteY7" fmla="*/ 272510 h 707945"/>
                <a:gd name="connsiteX8" fmla="*/ 948 w 280755"/>
                <a:gd name="connsiteY8" fmla="*/ 700563 h 707945"/>
                <a:gd name="connsiteX9" fmla="*/ 212463 w 280755"/>
                <a:gd name="connsiteY9" fmla="*/ 664930 h 707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0755" h="707945">
                  <a:moveTo>
                    <a:pt x="212463" y="664930"/>
                  </a:moveTo>
                  <a:lnTo>
                    <a:pt x="219088" y="314081"/>
                  </a:lnTo>
                  <a:lnTo>
                    <a:pt x="280303" y="177031"/>
                  </a:lnTo>
                  <a:cubicBezTo>
                    <a:pt x="280303" y="106908"/>
                    <a:pt x="227310" y="65564"/>
                    <a:pt x="167921" y="29474"/>
                  </a:cubicBezTo>
                  <a:cubicBezTo>
                    <a:pt x="162211" y="25819"/>
                    <a:pt x="156044" y="22393"/>
                    <a:pt x="149877" y="18967"/>
                  </a:cubicBezTo>
                  <a:lnTo>
                    <a:pt x="116756" y="-220"/>
                  </a:lnTo>
                  <a:lnTo>
                    <a:pt x="119497" y="18967"/>
                  </a:lnTo>
                  <a:cubicBezTo>
                    <a:pt x="124523" y="52316"/>
                    <a:pt x="56911" y="183199"/>
                    <a:pt x="36354" y="272510"/>
                  </a:cubicBezTo>
                  <a:cubicBezTo>
                    <a:pt x="9401" y="389687"/>
                    <a:pt x="-5218" y="695310"/>
                    <a:pt x="948" y="700563"/>
                  </a:cubicBezTo>
                  <a:cubicBezTo>
                    <a:pt x="12598" y="709015"/>
                    <a:pt x="204011" y="720664"/>
                    <a:pt x="212463" y="664930"/>
                  </a:cubicBezTo>
                  <a:close/>
                </a:path>
              </a:pathLst>
            </a:custGeom>
            <a:solidFill>
              <a:srgbClr val="3C2DA1"/>
            </a:solidFill>
            <a:ln w="22838" cap="flat">
              <a:noFill/>
              <a:prstDash val="solid"/>
              <a:miter/>
            </a:ln>
          </p:spPr>
          <p:txBody>
            <a:bodyPr rtlCol="0" anchor="ctr"/>
            <a:lstStyle/>
            <a:p>
              <a:endParaRPr lang="zh-CN" altLang="en-US"/>
            </a:p>
          </p:txBody>
        </p:sp>
        <p:sp>
          <p:nvSpPr>
            <p:cNvPr id="312" name="任意多边形: 形状 311"/>
            <p:cNvSpPr/>
            <p:nvPr/>
          </p:nvSpPr>
          <p:spPr>
            <a:xfrm>
              <a:off x="7603712" y="2768091"/>
              <a:ext cx="151669" cy="569320"/>
            </a:xfrm>
            <a:custGeom>
              <a:avLst/>
              <a:gdLst>
                <a:gd name="connsiteX0" fmla="*/ -453 w 151669"/>
                <a:gd name="connsiteY0" fmla="*/ 53230 h 569320"/>
                <a:gd name="connsiteX1" fmla="*/ 22389 w 151669"/>
                <a:gd name="connsiteY1" fmla="*/ 276393 h 569320"/>
                <a:gd name="connsiteX2" fmla="*/ 23760 w 151669"/>
                <a:gd name="connsiteY2" fmla="*/ 304946 h 569320"/>
                <a:gd name="connsiteX3" fmla="*/ 30385 w 151669"/>
                <a:gd name="connsiteY3" fmla="*/ 547981 h 569320"/>
                <a:gd name="connsiteX4" fmla="*/ 121751 w 151669"/>
                <a:gd name="connsiteY4" fmla="*/ 554377 h 569320"/>
                <a:gd name="connsiteX5" fmla="*/ 146419 w 151669"/>
                <a:gd name="connsiteY5" fmla="*/ 308143 h 569320"/>
                <a:gd name="connsiteX6" fmla="*/ 146419 w 151669"/>
                <a:gd name="connsiteY6" fmla="*/ 281419 h 569320"/>
                <a:gd name="connsiteX7" fmla="*/ 151217 w 151669"/>
                <a:gd name="connsiteY7" fmla="*/ -220 h 569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1669" h="569320">
                  <a:moveTo>
                    <a:pt x="-453" y="53230"/>
                  </a:moveTo>
                  <a:cubicBezTo>
                    <a:pt x="2517" y="93203"/>
                    <a:pt x="18964" y="241674"/>
                    <a:pt x="22389" y="276393"/>
                  </a:cubicBezTo>
                  <a:cubicBezTo>
                    <a:pt x="23531" y="285872"/>
                    <a:pt x="23988" y="295398"/>
                    <a:pt x="23760" y="304946"/>
                  </a:cubicBezTo>
                  <a:lnTo>
                    <a:pt x="30385" y="547981"/>
                  </a:lnTo>
                  <a:cubicBezTo>
                    <a:pt x="30385" y="573107"/>
                    <a:pt x="120380" y="576533"/>
                    <a:pt x="121751" y="554377"/>
                  </a:cubicBezTo>
                  <a:lnTo>
                    <a:pt x="146419" y="308143"/>
                  </a:lnTo>
                  <a:cubicBezTo>
                    <a:pt x="146991" y="299235"/>
                    <a:pt x="146991" y="290327"/>
                    <a:pt x="146419" y="281419"/>
                  </a:cubicBezTo>
                  <a:lnTo>
                    <a:pt x="151217" y="-220"/>
                  </a:lnTo>
                  <a:close/>
                </a:path>
              </a:pathLst>
            </a:custGeom>
            <a:solidFill>
              <a:srgbClr val="3C2DA1"/>
            </a:solidFill>
            <a:ln w="22838" cap="flat">
              <a:noFill/>
              <a:prstDash val="solid"/>
              <a:miter/>
            </a:ln>
          </p:spPr>
          <p:txBody>
            <a:bodyPr rtlCol="0" anchor="ctr"/>
            <a:lstStyle/>
            <a:p>
              <a:endParaRPr lang="zh-CN" altLang="en-US"/>
            </a:p>
          </p:txBody>
        </p:sp>
        <p:sp>
          <p:nvSpPr>
            <p:cNvPr id="313" name="任意多边形: 形状 312"/>
            <p:cNvSpPr/>
            <p:nvPr/>
          </p:nvSpPr>
          <p:spPr>
            <a:xfrm>
              <a:off x="7492930" y="2440999"/>
              <a:ext cx="100511" cy="130699"/>
            </a:xfrm>
            <a:custGeom>
              <a:avLst/>
              <a:gdLst>
                <a:gd name="connsiteX0" fmla="*/ 100050 w 100511"/>
                <a:gd name="connsiteY0" fmla="*/ 39296 h 130699"/>
                <a:gd name="connsiteX1" fmla="*/ 100050 w 100511"/>
                <a:gd name="connsiteY1" fmla="*/ 45235 h 130699"/>
                <a:gd name="connsiteX2" fmla="*/ 17181 w 100511"/>
                <a:gd name="connsiteY2" fmla="*/ 130480 h 130699"/>
                <a:gd name="connsiteX3" fmla="*/ 13252 w 100511"/>
                <a:gd name="connsiteY3" fmla="*/ 130434 h 130699"/>
                <a:gd name="connsiteX4" fmla="*/ 2288 w 100511"/>
                <a:gd name="connsiteY4" fmla="*/ 129064 h 130699"/>
                <a:gd name="connsiteX5" fmla="*/ -453 w 100511"/>
                <a:gd name="connsiteY5" fmla="*/ 129064 h 130699"/>
                <a:gd name="connsiteX6" fmla="*/ -453 w 100511"/>
                <a:gd name="connsiteY6" fmla="*/ 63965 h 130699"/>
                <a:gd name="connsiteX7" fmla="*/ 47057 w 100511"/>
                <a:gd name="connsiteY7" fmla="*/ 2292 h 130699"/>
                <a:gd name="connsiteX8" fmla="*/ 49114 w 100511"/>
                <a:gd name="connsiteY8" fmla="*/ -220 h 130699"/>
                <a:gd name="connsiteX9" fmla="*/ 52312 w 100511"/>
                <a:gd name="connsiteY9" fmla="*/ 2292 h 130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0511" h="130699">
                  <a:moveTo>
                    <a:pt x="100050" y="39296"/>
                  </a:moveTo>
                  <a:lnTo>
                    <a:pt x="100050" y="45235"/>
                  </a:lnTo>
                  <a:cubicBezTo>
                    <a:pt x="100712" y="91649"/>
                    <a:pt x="63618" y="129818"/>
                    <a:pt x="17181" y="130480"/>
                  </a:cubicBezTo>
                  <a:cubicBezTo>
                    <a:pt x="15878" y="130480"/>
                    <a:pt x="14554" y="130480"/>
                    <a:pt x="13252" y="130434"/>
                  </a:cubicBezTo>
                  <a:cubicBezTo>
                    <a:pt x="9574" y="130274"/>
                    <a:pt x="5896" y="129818"/>
                    <a:pt x="2288" y="129064"/>
                  </a:cubicBezTo>
                  <a:lnTo>
                    <a:pt x="-453" y="129064"/>
                  </a:lnTo>
                  <a:lnTo>
                    <a:pt x="-453" y="63965"/>
                  </a:lnTo>
                  <a:lnTo>
                    <a:pt x="47057" y="2292"/>
                  </a:lnTo>
                  <a:lnTo>
                    <a:pt x="49114" y="-220"/>
                  </a:lnTo>
                  <a:lnTo>
                    <a:pt x="52312" y="2292"/>
                  </a:lnTo>
                  <a:close/>
                </a:path>
              </a:pathLst>
            </a:custGeom>
            <a:solidFill>
              <a:srgbClr val="ED8B8B"/>
            </a:solidFill>
            <a:ln w="22838" cap="flat">
              <a:noFill/>
              <a:prstDash val="solid"/>
              <a:miter/>
            </a:ln>
          </p:spPr>
          <p:txBody>
            <a:bodyPr rtlCol="0" anchor="ctr"/>
            <a:lstStyle/>
            <a:p>
              <a:endParaRPr lang="zh-CN" altLang="en-US"/>
            </a:p>
          </p:txBody>
        </p:sp>
        <p:sp>
          <p:nvSpPr>
            <p:cNvPr id="314" name="任意多边形: 形状 313"/>
            <p:cNvSpPr/>
            <p:nvPr/>
          </p:nvSpPr>
          <p:spPr>
            <a:xfrm>
              <a:off x="7420057" y="2288842"/>
              <a:ext cx="230507" cy="264537"/>
            </a:xfrm>
            <a:custGeom>
              <a:avLst/>
              <a:gdLst>
                <a:gd name="connsiteX0" fmla="*/ 29250 w 230507"/>
                <a:gd name="connsiteY0" fmla="*/ 70848 h 264537"/>
                <a:gd name="connsiteX1" fmla="*/ 8465 w 230507"/>
                <a:gd name="connsiteY1" fmla="*/ 224801 h 264537"/>
                <a:gd name="connsiteX2" fmla="*/ 65112 w 230507"/>
                <a:gd name="connsiteY2" fmla="*/ 264317 h 264537"/>
                <a:gd name="connsiteX3" fmla="*/ 156478 w 230507"/>
                <a:gd name="connsiteY3" fmla="*/ 236450 h 264537"/>
                <a:gd name="connsiteX4" fmla="*/ 207644 w 230507"/>
                <a:gd name="connsiteY4" fmla="*/ 186199 h 264537"/>
                <a:gd name="connsiteX5" fmla="*/ 181375 w 230507"/>
                <a:gd name="connsiteY5" fmla="*/ 26307 h 264537"/>
                <a:gd name="connsiteX6" fmla="*/ 29250 w 230507"/>
                <a:gd name="connsiteY6" fmla="*/ 70848 h 264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0507" h="264537">
                  <a:moveTo>
                    <a:pt x="29250" y="70848"/>
                  </a:moveTo>
                  <a:cubicBezTo>
                    <a:pt x="5266" y="109679"/>
                    <a:pt x="-11636" y="185057"/>
                    <a:pt x="8465" y="224801"/>
                  </a:cubicBezTo>
                  <a:cubicBezTo>
                    <a:pt x="17943" y="247940"/>
                    <a:pt x="40099" y="263403"/>
                    <a:pt x="65112" y="264317"/>
                  </a:cubicBezTo>
                  <a:cubicBezTo>
                    <a:pt x="97410" y="262787"/>
                    <a:pt x="128817" y="253193"/>
                    <a:pt x="156478" y="236450"/>
                  </a:cubicBezTo>
                  <a:cubicBezTo>
                    <a:pt x="176808" y="223385"/>
                    <a:pt x="194212" y="206277"/>
                    <a:pt x="207644" y="186199"/>
                  </a:cubicBezTo>
                  <a:cubicBezTo>
                    <a:pt x="248074" y="123384"/>
                    <a:pt x="230485" y="59427"/>
                    <a:pt x="181375" y="26307"/>
                  </a:cubicBezTo>
                  <a:cubicBezTo>
                    <a:pt x="89324" y="-33081"/>
                    <a:pt x="61456" y="18540"/>
                    <a:pt x="29250" y="70848"/>
                  </a:cubicBezTo>
                  <a:close/>
                </a:path>
              </a:pathLst>
            </a:custGeom>
            <a:solidFill>
              <a:srgbClr val="FCBAC0"/>
            </a:solidFill>
            <a:ln w="22838" cap="flat">
              <a:noFill/>
              <a:prstDash val="solid"/>
              <a:miter/>
            </a:ln>
          </p:spPr>
          <p:txBody>
            <a:bodyPr rtlCol="0" anchor="ctr"/>
            <a:lstStyle/>
            <a:p>
              <a:endParaRPr lang="zh-CN" altLang="en-US"/>
            </a:p>
          </p:txBody>
        </p:sp>
        <p:sp>
          <p:nvSpPr>
            <p:cNvPr id="315" name="任意多边形: 形状 314"/>
            <p:cNvSpPr/>
            <p:nvPr/>
          </p:nvSpPr>
          <p:spPr>
            <a:xfrm>
              <a:off x="7449759" y="2268792"/>
              <a:ext cx="243215" cy="263115"/>
            </a:xfrm>
            <a:custGeom>
              <a:avLst/>
              <a:gdLst>
                <a:gd name="connsiteX0" fmla="*/ 242583 w 243215"/>
                <a:gd name="connsiteY0" fmla="*/ 136353 h 263115"/>
                <a:gd name="connsiteX1" fmla="*/ 143221 w 243215"/>
                <a:gd name="connsiteY1" fmla="*/ 262896 h 263115"/>
                <a:gd name="connsiteX2" fmla="*/ 143221 w 243215"/>
                <a:gd name="connsiteY2" fmla="*/ 237770 h 263115"/>
                <a:gd name="connsiteX3" fmla="*/ 162638 w 243215"/>
                <a:gd name="connsiteY3" fmla="*/ 210817 h 263115"/>
                <a:gd name="connsiteX4" fmla="*/ 143221 w 243215"/>
                <a:gd name="connsiteY4" fmla="*/ 204193 h 263115"/>
                <a:gd name="connsiteX5" fmla="*/ 141622 w 243215"/>
                <a:gd name="connsiteY5" fmla="*/ 204193 h 263115"/>
                <a:gd name="connsiteX6" fmla="*/ 122207 w 243215"/>
                <a:gd name="connsiteY6" fmla="*/ 204193 h 263115"/>
                <a:gd name="connsiteX7" fmla="*/ 107566 w 243215"/>
                <a:gd name="connsiteY7" fmla="*/ 182128 h 263115"/>
                <a:gd name="connsiteX8" fmla="*/ 108730 w 243215"/>
                <a:gd name="connsiteY8" fmla="*/ 178382 h 263115"/>
                <a:gd name="connsiteX9" fmla="*/ 28100 w 243215"/>
                <a:gd name="connsiteY9" fmla="*/ 57549 h 263115"/>
                <a:gd name="connsiteX10" fmla="*/ -453 w 243215"/>
                <a:gd name="connsiteY10" fmla="*/ 89984 h 263115"/>
                <a:gd name="connsiteX11" fmla="*/ 14395 w 243215"/>
                <a:gd name="connsiteY11" fmla="*/ 52295 h 263115"/>
                <a:gd name="connsiteX12" fmla="*/ 102335 w 243215"/>
                <a:gd name="connsiteY12" fmla="*/ 445 h 263115"/>
                <a:gd name="connsiteX13" fmla="*/ 121065 w 243215"/>
                <a:gd name="connsiteY13" fmla="*/ 3871 h 263115"/>
                <a:gd name="connsiteX14" fmla="*/ 242583 w 243215"/>
                <a:gd name="connsiteY14" fmla="*/ 136353 h 263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43215" h="263115">
                  <a:moveTo>
                    <a:pt x="242583" y="136353"/>
                  </a:moveTo>
                  <a:cubicBezTo>
                    <a:pt x="235457" y="193686"/>
                    <a:pt x="197219" y="242362"/>
                    <a:pt x="143221" y="262896"/>
                  </a:cubicBezTo>
                  <a:lnTo>
                    <a:pt x="143221" y="237770"/>
                  </a:lnTo>
                  <a:cubicBezTo>
                    <a:pt x="151993" y="230689"/>
                    <a:pt x="158709" y="221393"/>
                    <a:pt x="162638" y="210817"/>
                  </a:cubicBezTo>
                  <a:cubicBezTo>
                    <a:pt x="164921" y="203965"/>
                    <a:pt x="154186" y="200081"/>
                    <a:pt x="143221" y="204193"/>
                  </a:cubicBezTo>
                  <a:lnTo>
                    <a:pt x="141622" y="204193"/>
                  </a:lnTo>
                  <a:cubicBezTo>
                    <a:pt x="135295" y="206066"/>
                    <a:pt x="128534" y="206066"/>
                    <a:pt x="122207" y="204193"/>
                  </a:cubicBezTo>
                  <a:cubicBezTo>
                    <a:pt x="112066" y="202137"/>
                    <a:pt x="105510" y="192270"/>
                    <a:pt x="107566" y="182128"/>
                  </a:cubicBezTo>
                  <a:cubicBezTo>
                    <a:pt x="107817" y="180849"/>
                    <a:pt x="108206" y="179592"/>
                    <a:pt x="108730" y="178382"/>
                  </a:cubicBezTo>
                  <a:cubicBezTo>
                    <a:pt x="141622" y="100948"/>
                    <a:pt x="50713" y="82903"/>
                    <a:pt x="28100" y="57549"/>
                  </a:cubicBezTo>
                  <a:cubicBezTo>
                    <a:pt x="18506" y="66914"/>
                    <a:pt x="-453" y="89984"/>
                    <a:pt x="-453" y="89984"/>
                  </a:cubicBezTo>
                  <a:cubicBezTo>
                    <a:pt x="3705" y="77124"/>
                    <a:pt x="8661" y="64539"/>
                    <a:pt x="14395" y="52295"/>
                  </a:cubicBezTo>
                  <a:cubicBezTo>
                    <a:pt x="28465" y="16982"/>
                    <a:pt x="64623" y="-4329"/>
                    <a:pt x="102335" y="445"/>
                  </a:cubicBezTo>
                  <a:cubicBezTo>
                    <a:pt x="108639" y="1176"/>
                    <a:pt x="114898" y="2318"/>
                    <a:pt x="121065" y="3871"/>
                  </a:cubicBezTo>
                  <a:cubicBezTo>
                    <a:pt x="211975" y="26028"/>
                    <a:pt x="245553" y="90213"/>
                    <a:pt x="242583" y="136353"/>
                  </a:cubicBezTo>
                  <a:close/>
                </a:path>
              </a:pathLst>
            </a:custGeom>
            <a:solidFill>
              <a:srgbClr val="27145A"/>
            </a:solidFill>
            <a:ln w="22838" cap="flat">
              <a:noFill/>
              <a:prstDash val="solid"/>
              <a:miter/>
            </a:ln>
          </p:spPr>
          <p:txBody>
            <a:bodyPr rtlCol="0" anchor="ctr"/>
            <a:lstStyle/>
            <a:p>
              <a:endParaRPr lang="zh-CN" altLang="en-US"/>
            </a:p>
          </p:txBody>
        </p:sp>
        <p:sp>
          <p:nvSpPr>
            <p:cNvPr id="316" name="任意多边形: 形状 315"/>
            <p:cNvSpPr/>
            <p:nvPr/>
          </p:nvSpPr>
          <p:spPr>
            <a:xfrm>
              <a:off x="7555050" y="2453283"/>
              <a:ext cx="72655" cy="69847"/>
            </a:xfrm>
            <a:custGeom>
              <a:avLst/>
              <a:gdLst>
                <a:gd name="connsiteX0" fmla="*/ 17602 w 72655"/>
                <a:gd name="connsiteY0" fmla="*/ 14220 h 69847"/>
                <a:gd name="connsiteX1" fmla="*/ 4125 w 72655"/>
                <a:gd name="connsiteY1" fmla="*/ 62873 h 69847"/>
                <a:gd name="connsiteX2" fmla="*/ 54148 w 72655"/>
                <a:gd name="connsiteY2" fmla="*/ 55335 h 69847"/>
                <a:gd name="connsiteX3" fmla="*/ 67625 w 72655"/>
                <a:gd name="connsiteY3" fmla="*/ 6454 h 69847"/>
                <a:gd name="connsiteX4" fmla="*/ 17602 w 72655"/>
                <a:gd name="connsiteY4" fmla="*/ 14220 h 698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655" h="69847">
                  <a:moveTo>
                    <a:pt x="17602" y="14220"/>
                  </a:moveTo>
                  <a:cubicBezTo>
                    <a:pt x="13" y="29753"/>
                    <a:pt x="-5240" y="51453"/>
                    <a:pt x="4125" y="62873"/>
                  </a:cubicBezTo>
                  <a:cubicBezTo>
                    <a:pt x="13489" y="74294"/>
                    <a:pt x="36560" y="70868"/>
                    <a:pt x="54148" y="55335"/>
                  </a:cubicBezTo>
                  <a:cubicBezTo>
                    <a:pt x="71737" y="39803"/>
                    <a:pt x="76990" y="17875"/>
                    <a:pt x="67625" y="6454"/>
                  </a:cubicBezTo>
                  <a:cubicBezTo>
                    <a:pt x="58259" y="-4966"/>
                    <a:pt x="35189" y="-1312"/>
                    <a:pt x="17602" y="14220"/>
                  </a:cubicBezTo>
                  <a:close/>
                </a:path>
              </a:pathLst>
            </a:custGeom>
            <a:solidFill>
              <a:srgbClr val="FCBAC0"/>
            </a:solidFill>
            <a:ln w="22838" cap="flat">
              <a:noFill/>
              <a:prstDash val="solid"/>
              <a:miter/>
            </a:ln>
          </p:spPr>
          <p:txBody>
            <a:bodyPr rtlCol="0" anchor="ctr"/>
            <a:lstStyle/>
            <a:p>
              <a:endParaRPr lang="zh-CN" altLang="en-US"/>
            </a:p>
          </p:txBody>
        </p:sp>
        <p:sp>
          <p:nvSpPr>
            <p:cNvPr id="317" name="任意多边形: 形状 316"/>
            <p:cNvSpPr/>
            <p:nvPr/>
          </p:nvSpPr>
          <p:spPr>
            <a:xfrm>
              <a:off x="6900014" y="2577135"/>
              <a:ext cx="490128" cy="245966"/>
            </a:xfrm>
            <a:custGeom>
              <a:avLst/>
              <a:gdLst>
                <a:gd name="connsiteX0" fmla="*/ 489676 w 490128"/>
                <a:gd name="connsiteY0" fmla="*/ -220 h 245966"/>
                <a:gd name="connsiteX1" fmla="*/ 273364 w 490128"/>
                <a:gd name="connsiteY1" fmla="*/ 136830 h 245966"/>
                <a:gd name="connsiteX2" fmla="*/ 23705 w 490128"/>
                <a:gd name="connsiteY2" fmla="*/ 103938 h 245966"/>
                <a:gd name="connsiteX3" fmla="*/ 13197 w 490128"/>
                <a:gd name="connsiteY3" fmla="*/ 193935 h 245966"/>
                <a:gd name="connsiteX4" fmla="*/ 250523 w 490128"/>
                <a:gd name="connsiteY4" fmla="*/ 243044 h 245966"/>
                <a:gd name="connsiteX5" fmla="*/ 309683 w 490128"/>
                <a:gd name="connsiteY5" fmla="*/ 240532 h 245966"/>
                <a:gd name="connsiteX6" fmla="*/ 476199 w 490128"/>
                <a:gd name="connsiteY6" fmla="*/ 190051 h 24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0128" h="245966">
                  <a:moveTo>
                    <a:pt x="489676" y="-220"/>
                  </a:moveTo>
                  <a:cubicBezTo>
                    <a:pt x="455185" y="20109"/>
                    <a:pt x="282273" y="132034"/>
                    <a:pt x="273364" y="136830"/>
                  </a:cubicBezTo>
                  <a:lnTo>
                    <a:pt x="23705" y="103938"/>
                  </a:lnTo>
                  <a:cubicBezTo>
                    <a:pt x="863" y="105537"/>
                    <a:pt x="-11700" y="190051"/>
                    <a:pt x="13197" y="193935"/>
                  </a:cubicBezTo>
                  <a:lnTo>
                    <a:pt x="250523" y="243044"/>
                  </a:lnTo>
                  <a:cubicBezTo>
                    <a:pt x="270122" y="247361"/>
                    <a:pt x="290519" y="246493"/>
                    <a:pt x="309683" y="240532"/>
                  </a:cubicBezTo>
                  <a:lnTo>
                    <a:pt x="476199" y="190051"/>
                  </a:lnTo>
                  <a:close/>
                </a:path>
              </a:pathLst>
            </a:custGeom>
            <a:solidFill>
              <a:srgbClr val="3C2DA1"/>
            </a:solidFill>
            <a:ln w="22838" cap="flat">
              <a:noFill/>
              <a:prstDash val="solid"/>
              <a:miter/>
            </a:ln>
          </p:spPr>
          <p:txBody>
            <a:bodyPr rtlCol="0" anchor="ctr"/>
            <a:lstStyle/>
            <a:p>
              <a:endParaRPr lang="zh-CN" altLang="en-US"/>
            </a:p>
          </p:txBody>
        </p:sp>
        <p:sp>
          <p:nvSpPr>
            <p:cNvPr id="318" name="任意多边形: 形状 317"/>
            <p:cNvSpPr/>
            <p:nvPr/>
          </p:nvSpPr>
          <p:spPr>
            <a:xfrm>
              <a:off x="5696424" y="4145446"/>
              <a:ext cx="1528145" cy="900877"/>
            </a:xfrm>
            <a:custGeom>
              <a:avLst/>
              <a:gdLst>
                <a:gd name="connsiteX0" fmla="*/ -446 w 1528145"/>
                <a:gd name="connsiteY0" fmla="*/ 624044 h 900877"/>
                <a:gd name="connsiteX1" fmla="*/ 33359 w 1528145"/>
                <a:gd name="connsiteY1" fmla="*/ 624044 h 900877"/>
                <a:gd name="connsiteX2" fmla="*/ 1098468 w 1528145"/>
                <a:gd name="connsiteY2" fmla="*/ 10059 h 900877"/>
                <a:gd name="connsiteX3" fmla="*/ 1175444 w 1528145"/>
                <a:gd name="connsiteY3" fmla="*/ 10059 h 900877"/>
                <a:gd name="connsiteX4" fmla="*/ 1497056 w 1528145"/>
                <a:gd name="connsiteY4" fmla="*/ 195762 h 900877"/>
                <a:gd name="connsiteX5" fmla="*/ 1527664 w 1528145"/>
                <a:gd name="connsiteY5" fmla="*/ 195762 h 900877"/>
                <a:gd name="connsiteX6" fmla="*/ 1527664 w 1528145"/>
                <a:gd name="connsiteY6" fmla="*/ 234136 h 900877"/>
                <a:gd name="connsiteX7" fmla="*/ 1508476 w 1528145"/>
                <a:gd name="connsiteY7" fmla="*/ 268856 h 900877"/>
                <a:gd name="connsiteX8" fmla="*/ 428293 w 1528145"/>
                <a:gd name="connsiteY8" fmla="*/ 890378 h 900877"/>
                <a:gd name="connsiteX9" fmla="*/ 351316 w 1528145"/>
                <a:gd name="connsiteY9" fmla="*/ 890378 h 900877"/>
                <a:gd name="connsiteX10" fmla="*/ 18741 w 1528145"/>
                <a:gd name="connsiteY10" fmla="*/ 698280 h 900877"/>
                <a:gd name="connsiteX11" fmla="*/ -446 w 1528145"/>
                <a:gd name="connsiteY11" fmla="*/ 664474 h 900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28145" h="900877">
                  <a:moveTo>
                    <a:pt x="-446" y="624044"/>
                  </a:moveTo>
                  <a:lnTo>
                    <a:pt x="33359" y="624044"/>
                  </a:lnTo>
                  <a:lnTo>
                    <a:pt x="1098468" y="10059"/>
                  </a:lnTo>
                  <a:cubicBezTo>
                    <a:pt x="1122292" y="-3646"/>
                    <a:pt x="1151621" y="-3646"/>
                    <a:pt x="1175444" y="10059"/>
                  </a:cubicBezTo>
                  <a:lnTo>
                    <a:pt x="1497056" y="195762"/>
                  </a:lnTo>
                  <a:lnTo>
                    <a:pt x="1527664" y="195762"/>
                  </a:lnTo>
                  <a:lnTo>
                    <a:pt x="1527664" y="234136"/>
                  </a:lnTo>
                  <a:cubicBezTo>
                    <a:pt x="1528212" y="248367"/>
                    <a:pt x="1520834" y="261752"/>
                    <a:pt x="1508476" y="268856"/>
                  </a:cubicBezTo>
                  <a:lnTo>
                    <a:pt x="428293" y="890378"/>
                  </a:lnTo>
                  <a:cubicBezTo>
                    <a:pt x="404468" y="904084"/>
                    <a:pt x="375140" y="904084"/>
                    <a:pt x="351316" y="890378"/>
                  </a:cubicBezTo>
                  <a:lnTo>
                    <a:pt x="18741" y="698280"/>
                  </a:lnTo>
                  <a:cubicBezTo>
                    <a:pt x="6658" y="691358"/>
                    <a:pt x="-697" y="678407"/>
                    <a:pt x="-446" y="664474"/>
                  </a:cubicBezTo>
                  <a:close/>
                </a:path>
              </a:pathLst>
            </a:custGeom>
            <a:solidFill>
              <a:srgbClr val="D0DBF8"/>
            </a:solidFill>
            <a:ln w="22838" cap="flat">
              <a:noFill/>
              <a:prstDash val="solid"/>
              <a:miter/>
            </a:ln>
          </p:spPr>
          <p:txBody>
            <a:bodyPr rtlCol="0" anchor="ctr"/>
            <a:lstStyle/>
            <a:p>
              <a:endParaRPr lang="zh-CN" altLang="en-US"/>
            </a:p>
          </p:txBody>
        </p:sp>
        <p:sp>
          <p:nvSpPr>
            <p:cNvPr id="319" name="任意多边形: 形状 318"/>
            <p:cNvSpPr/>
            <p:nvPr/>
          </p:nvSpPr>
          <p:spPr>
            <a:xfrm>
              <a:off x="5711048" y="4159613"/>
              <a:ext cx="1499814" cy="873935"/>
            </a:xfrm>
            <a:custGeom>
              <a:avLst/>
              <a:gdLst>
                <a:gd name="connsiteX0" fmla="*/ 375294 w 1499814"/>
                <a:gd name="connsiteY0" fmla="*/ 873698 h 873935"/>
                <a:gd name="connsiteX1" fmla="*/ 406816 w 1499814"/>
                <a:gd name="connsiteY1" fmla="*/ 865246 h 873935"/>
                <a:gd name="connsiteX2" fmla="*/ 1487000 w 1499814"/>
                <a:gd name="connsiteY2" fmla="*/ 242810 h 873935"/>
                <a:gd name="connsiteX3" fmla="*/ 1499105 w 1499814"/>
                <a:gd name="connsiteY3" fmla="*/ 219968 h 873935"/>
                <a:gd name="connsiteX4" fmla="*/ 1499105 w 1499814"/>
                <a:gd name="connsiteY4" fmla="*/ 205807 h 873935"/>
                <a:gd name="connsiteX5" fmla="*/ 1499105 w 1499814"/>
                <a:gd name="connsiteY5" fmla="*/ 194843 h 873935"/>
                <a:gd name="connsiteX6" fmla="*/ 1478548 w 1499814"/>
                <a:gd name="connsiteY6" fmla="*/ 194843 h 873935"/>
                <a:gd name="connsiteX7" fmla="*/ 1153967 w 1499814"/>
                <a:gd name="connsiteY7" fmla="*/ 8226 h 873935"/>
                <a:gd name="connsiteX8" fmla="*/ 1090697 w 1499814"/>
                <a:gd name="connsiteY8" fmla="*/ 8226 h 873935"/>
                <a:gd name="connsiteX9" fmla="*/ 22390 w 1499814"/>
                <a:gd name="connsiteY9" fmla="*/ 624952 h 873935"/>
                <a:gd name="connsiteX10" fmla="*/ -452 w 1499814"/>
                <a:gd name="connsiteY10" fmla="*/ 624952 h 873935"/>
                <a:gd name="connsiteX11" fmla="*/ -452 w 1499814"/>
                <a:gd name="connsiteY11" fmla="*/ 652819 h 873935"/>
                <a:gd name="connsiteX12" fmla="*/ 11882 w 1499814"/>
                <a:gd name="connsiteY12" fmla="*/ 674519 h 873935"/>
                <a:gd name="connsiteX13" fmla="*/ 344457 w 1499814"/>
                <a:gd name="connsiteY13" fmla="*/ 866617 h 873935"/>
                <a:gd name="connsiteX14" fmla="*/ 375294 w 1499814"/>
                <a:gd name="connsiteY14" fmla="*/ 873698 h 873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99814" h="873935">
                  <a:moveTo>
                    <a:pt x="375294" y="873698"/>
                  </a:moveTo>
                  <a:cubicBezTo>
                    <a:pt x="386350" y="873652"/>
                    <a:pt x="397222" y="870751"/>
                    <a:pt x="406816" y="865246"/>
                  </a:cubicBezTo>
                  <a:lnTo>
                    <a:pt x="1487000" y="242810"/>
                  </a:lnTo>
                  <a:cubicBezTo>
                    <a:pt x="1495154" y="238219"/>
                    <a:pt x="1499859" y="229288"/>
                    <a:pt x="1499105" y="219968"/>
                  </a:cubicBezTo>
                  <a:lnTo>
                    <a:pt x="1499105" y="205807"/>
                  </a:lnTo>
                  <a:cubicBezTo>
                    <a:pt x="1499448" y="202152"/>
                    <a:pt x="1499448" y="198497"/>
                    <a:pt x="1499105" y="194843"/>
                  </a:cubicBezTo>
                  <a:lnTo>
                    <a:pt x="1478548" y="194843"/>
                  </a:lnTo>
                  <a:lnTo>
                    <a:pt x="1153967" y="8226"/>
                  </a:lnTo>
                  <a:cubicBezTo>
                    <a:pt x="1134370" y="-3035"/>
                    <a:pt x="1110294" y="-3035"/>
                    <a:pt x="1090697" y="8226"/>
                  </a:cubicBezTo>
                  <a:lnTo>
                    <a:pt x="22390" y="624952"/>
                  </a:lnTo>
                  <a:lnTo>
                    <a:pt x="-452" y="624952"/>
                  </a:lnTo>
                  <a:lnTo>
                    <a:pt x="-452" y="652819"/>
                  </a:lnTo>
                  <a:cubicBezTo>
                    <a:pt x="-520" y="661750"/>
                    <a:pt x="4185" y="670018"/>
                    <a:pt x="11882" y="674519"/>
                  </a:cubicBezTo>
                  <a:lnTo>
                    <a:pt x="344457" y="866617"/>
                  </a:lnTo>
                  <a:cubicBezTo>
                    <a:pt x="353982" y="871505"/>
                    <a:pt x="364582" y="873949"/>
                    <a:pt x="375294" y="873698"/>
                  </a:cubicBezTo>
                  <a:close/>
                </a:path>
              </a:pathLst>
            </a:custGeom>
            <a:solidFill>
              <a:srgbClr val="5A43DB"/>
            </a:solidFill>
            <a:ln w="22838" cap="flat">
              <a:noFill/>
              <a:prstDash val="solid"/>
              <a:miter/>
            </a:ln>
          </p:spPr>
          <p:txBody>
            <a:bodyPr rtlCol="0" anchor="ctr"/>
            <a:lstStyle/>
            <a:p>
              <a:endParaRPr lang="zh-CN" altLang="en-US"/>
            </a:p>
          </p:txBody>
        </p:sp>
        <p:sp>
          <p:nvSpPr>
            <p:cNvPr id="320" name="任意多边形: 形状 319"/>
            <p:cNvSpPr/>
            <p:nvPr/>
          </p:nvSpPr>
          <p:spPr>
            <a:xfrm>
              <a:off x="5696450" y="4101133"/>
              <a:ext cx="1528100" cy="901790"/>
            </a:xfrm>
            <a:custGeom>
              <a:avLst/>
              <a:gdLst>
                <a:gd name="connsiteX0" fmla="*/ 1508450 w 1528100"/>
                <a:gd name="connsiteY0" fmla="*/ 202386 h 901790"/>
                <a:gd name="connsiteX1" fmla="*/ 1175418 w 1528100"/>
                <a:gd name="connsiteY1" fmla="*/ 10058 h 901790"/>
                <a:gd name="connsiteX2" fmla="*/ 1098441 w 1528100"/>
                <a:gd name="connsiteY2" fmla="*/ 10058 h 901790"/>
                <a:gd name="connsiteX3" fmla="*/ 18715 w 1528100"/>
                <a:gd name="connsiteY3" fmla="*/ 632495 h 901790"/>
                <a:gd name="connsiteX4" fmla="*/ 4804 w 1528100"/>
                <a:gd name="connsiteY4" fmla="*/ 685282 h 901790"/>
                <a:gd name="connsiteX5" fmla="*/ 18715 w 1528100"/>
                <a:gd name="connsiteY5" fmla="*/ 699193 h 901790"/>
                <a:gd name="connsiteX6" fmla="*/ 351290 w 1528100"/>
                <a:gd name="connsiteY6" fmla="*/ 891292 h 901790"/>
                <a:gd name="connsiteX7" fmla="*/ 428266 w 1528100"/>
                <a:gd name="connsiteY7" fmla="*/ 891292 h 901790"/>
                <a:gd name="connsiteX8" fmla="*/ 1508450 w 1528100"/>
                <a:gd name="connsiteY8" fmla="*/ 268855 h 901790"/>
                <a:gd name="connsiteX9" fmla="*/ 1522497 w 1528100"/>
                <a:gd name="connsiteY9" fmla="*/ 216433 h 901790"/>
                <a:gd name="connsiteX10" fmla="*/ 1508450 w 1528100"/>
                <a:gd name="connsiteY10" fmla="*/ 202386 h 90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28100" h="901790">
                  <a:moveTo>
                    <a:pt x="1508450" y="202386"/>
                  </a:moveTo>
                  <a:lnTo>
                    <a:pt x="1175418" y="10058"/>
                  </a:lnTo>
                  <a:cubicBezTo>
                    <a:pt x="1151594" y="-3646"/>
                    <a:pt x="1122266" y="-3646"/>
                    <a:pt x="1098441" y="10058"/>
                  </a:cubicBezTo>
                  <a:lnTo>
                    <a:pt x="18715" y="632495"/>
                  </a:lnTo>
                  <a:cubicBezTo>
                    <a:pt x="304" y="643230"/>
                    <a:pt x="-5932" y="666872"/>
                    <a:pt x="4804" y="685282"/>
                  </a:cubicBezTo>
                  <a:cubicBezTo>
                    <a:pt x="8161" y="691039"/>
                    <a:pt x="12958" y="695835"/>
                    <a:pt x="18715" y="699193"/>
                  </a:cubicBezTo>
                  <a:lnTo>
                    <a:pt x="351290" y="891292"/>
                  </a:lnTo>
                  <a:cubicBezTo>
                    <a:pt x="375113" y="904997"/>
                    <a:pt x="404442" y="904997"/>
                    <a:pt x="428266" y="891292"/>
                  </a:cubicBezTo>
                  <a:lnTo>
                    <a:pt x="1508450" y="268855"/>
                  </a:lnTo>
                  <a:cubicBezTo>
                    <a:pt x="1526815" y="258256"/>
                    <a:pt x="1533096" y="234798"/>
                    <a:pt x="1522497" y="216433"/>
                  </a:cubicBezTo>
                  <a:cubicBezTo>
                    <a:pt x="1519140" y="210609"/>
                    <a:pt x="1514275" y="205744"/>
                    <a:pt x="1508450" y="202386"/>
                  </a:cubicBezTo>
                  <a:close/>
                </a:path>
              </a:pathLst>
            </a:custGeom>
            <a:gradFill>
              <a:gsLst>
                <a:gs pos="0">
                  <a:srgbClr val="EEF2FC"/>
                </a:gs>
                <a:gs pos="59000">
                  <a:srgbClr val="D9E2F9"/>
                </a:gs>
                <a:gs pos="100000">
                  <a:srgbClr val="D0DBF8"/>
                </a:gs>
              </a:gsLst>
              <a:lin ang="0" scaled="1"/>
            </a:gradFill>
            <a:ln w="22838" cap="flat">
              <a:noFill/>
              <a:prstDash val="solid"/>
              <a:miter/>
            </a:ln>
          </p:spPr>
          <p:txBody>
            <a:bodyPr rtlCol="0" anchor="ctr"/>
            <a:lstStyle/>
            <a:p>
              <a:endParaRPr lang="zh-CN" altLang="en-US"/>
            </a:p>
          </p:txBody>
        </p:sp>
        <p:sp>
          <p:nvSpPr>
            <p:cNvPr id="321" name="任意多边形: 形状 320"/>
            <p:cNvSpPr/>
            <p:nvPr/>
          </p:nvSpPr>
          <p:spPr>
            <a:xfrm>
              <a:off x="7032909" y="4289958"/>
              <a:ext cx="96599" cy="53870"/>
            </a:xfrm>
            <a:custGeom>
              <a:avLst/>
              <a:gdLst>
                <a:gd name="connsiteX0" fmla="*/ 53671 w 96599"/>
                <a:gd name="connsiteY0" fmla="*/ 51479 h 53870"/>
                <a:gd name="connsiteX1" fmla="*/ 91361 w 96599"/>
                <a:gd name="connsiteY1" fmla="*/ 28637 h 53870"/>
                <a:gd name="connsiteX2" fmla="*/ 92960 w 96599"/>
                <a:gd name="connsiteY2" fmla="*/ 18130 h 53870"/>
                <a:gd name="connsiteX3" fmla="*/ 60981 w 96599"/>
                <a:gd name="connsiteY3" fmla="*/ 1227 h 53870"/>
                <a:gd name="connsiteX4" fmla="*/ 42022 w 96599"/>
                <a:gd name="connsiteY4" fmla="*/ 2597 h 53870"/>
                <a:gd name="connsiteX5" fmla="*/ 4334 w 96599"/>
                <a:gd name="connsiteY5" fmla="*/ 24297 h 53870"/>
                <a:gd name="connsiteX6" fmla="*/ 2735 w 96599"/>
                <a:gd name="connsiteY6" fmla="*/ 34804 h 53870"/>
                <a:gd name="connsiteX7" fmla="*/ 34712 w 96599"/>
                <a:gd name="connsiteY7" fmla="*/ 51707 h 53870"/>
                <a:gd name="connsiteX8" fmla="*/ 53671 w 96599"/>
                <a:gd name="connsiteY8" fmla="*/ 51479 h 53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599" h="53870">
                  <a:moveTo>
                    <a:pt x="53671" y="51479"/>
                  </a:moveTo>
                  <a:lnTo>
                    <a:pt x="91361" y="28637"/>
                  </a:lnTo>
                  <a:cubicBezTo>
                    <a:pt x="97071" y="25211"/>
                    <a:pt x="97756" y="20643"/>
                    <a:pt x="92960" y="18130"/>
                  </a:cubicBezTo>
                  <a:lnTo>
                    <a:pt x="60981" y="1227"/>
                  </a:lnTo>
                  <a:cubicBezTo>
                    <a:pt x="54767" y="-1103"/>
                    <a:pt x="47847" y="-600"/>
                    <a:pt x="42022" y="2597"/>
                  </a:cubicBezTo>
                  <a:lnTo>
                    <a:pt x="4334" y="24297"/>
                  </a:lnTo>
                  <a:cubicBezTo>
                    <a:pt x="-1377" y="27495"/>
                    <a:pt x="-2063" y="32292"/>
                    <a:pt x="2735" y="34804"/>
                  </a:cubicBezTo>
                  <a:lnTo>
                    <a:pt x="34712" y="51707"/>
                  </a:lnTo>
                  <a:cubicBezTo>
                    <a:pt x="40766" y="54379"/>
                    <a:pt x="47686" y="54288"/>
                    <a:pt x="53671" y="51479"/>
                  </a:cubicBezTo>
                  <a:close/>
                </a:path>
              </a:pathLst>
            </a:custGeom>
            <a:solidFill>
              <a:srgbClr val="A2B7EB"/>
            </a:solidFill>
            <a:ln w="22838" cap="flat">
              <a:noFill/>
              <a:prstDash val="solid"/>
              <a:miter/>
            </a:ln>
          </p:spPr>
          <p:txBody>
            <a:bodyPr rtlCol="0" anchor="ctr"/>
            <a:lstStyle/>
            <a:p>
              <a:endParaRPr lang="zh-CN" altLang="en-US"/>
            </a:p>
          </p:txBody>
        </p:sp>
        <p:sp>
          <p:nvSpPr>
            <p:cNvPr id="322" name="任意多边形: 形状 321"/>
            <p:cNvSpPr/>
            <p:nvPr/>
          </p:nvSpPr>
          <p:spPr>
            <a:xfrm>
              <a:off x="6877585" y="4380361"/>
              <a:ext cx="96598" cy="53424"/>
            </a:xfrm>
            <a:custGeom>
              <a:avLst/>
              <a:gdLst>
                <a:gd name="connsiteX0" fmla="*/ 53672 w 96598"/>
                <a:gd name="connsiteY0" fmla="*/ 50387 h 53424"/>
                <a:gd name="connsiteX1" fmla="*/ 91360 w 96598"/>
                <a:gd name="connsiteY1" fmla="*/ 28687 h 53424"/>
                <a:gd name="connsiteX2" fmla="*/ 92959 w 96598"/>
                <a:gd name="connsiteY2" fmla="*/ 18180 h 53424"/>
                <a:gd name="connsiteX3" fmla="*/ 61210 w 96598"/>
                <a:gd name="connsiteY3" fmla="*/ 1277 h 53424"/>
                <a:gd name="connsiteX4" fmla="*/ 42022 w 96598"/>
                <a:gd name="connsiteY4" fmla="*/ 2648 h 53424"/>
                <a:gd name="connsiteX5" fmla="*/ 4333 w 96598"/>
                <a:gd name="connsiteY5" fmla="*/ 24347 h 53424"/>
                <a:gd name="connsiteX6" fmla="*/ 2735 w 96598"/>
                <a:gd name="connsiteY6" fmla="*/ 34854 h 53424"/>
                <a:gd name="connsiteX7" fmla="*/ 34713 w 96598"/>
                <a:gd name="connsiteY7" fmla="*/ 51757 h 53424"/>
                <a:gd name="connsiteX8" fmla="*/ 53672 w 96598"/>
                <a:gd name="connsiteY8" fmla="*/ 50387 h 53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598" h="53424">
                  <a:moveTo>
                    <a:pt x="53672" y="50387"/>
                  </a:moveTo>
                  <a:lnTo>
                    <a:pt x="91360" y="28687"/>
                  </a:lnTo>
                  <a:cubicBezTo>
                    <a:pt x="97070" y="25261"/>
                    <a:pt x="97756" y="20692"/>
                    <a:pt x="92959" y="18180"/>
                  </a:cubicBezTo>
                  <a:lnTo>
                    <a:pt x="61210" y="1277"/>
                  </a:lnTo>
                  <a:cubicBezTo>
                    <a:pt x="54928" y="-1121"/>
                    <a:pt x="47915" y="-619"/>
                    <a:pt x="42022" y="2648"/>
                  </a:cubicBezTo>
                  <a:lnTo>
                    <a:pt x="4333" y="24347"/>
                  </a:lnTo>
                  <a:cubicBezTo>
                    <a:pt x="-1377" y="27773"/>
                    <a:pt x="-2062" y="32342"/>
                    <a:pt x="2735" y="34854"/>
                  </a:cubicBezTo>
                  <a:lnTo>
                    <a:pt x="34713" y="51757"/>
                  </a:lnTo>
                  <a:cubicBezTo>
                    <a:pt x="40927" y="54087"/>
                    <a:pt x="47847" y="53584"/>
                    <a:pt x="53672" y="50387"/>
                  </a:cubicBezTo>
                  <a:close/>
                </a:path>
              </a:pathLst>
            </a:custGeom>
            <a:solidFill>
              <a:srgbClr val="A2B7EB"/>
            </a:solidFill>
            <a:ln w="22838" cap="flat">
              <a:noFill/>
              <a:prstDash val="solid"/>
              <a:miter/>
            </a:ln>
          </p:spPr>
          <p:txBody>
            <a:bodyPr rtlCol="0" anchor="ctr"/>
            <a:lstStyle/>
            <a:p>
              <a:endParaRPr lang="zh-CN" altLang="en-US"/>
            </a:p>
          </p:txBody>
        </p:sp>
        <p:sp>
          <p:nvSpPr>
            <p:cNvPr id="323" name="任意多边形: 形状 322"/>
            <p:cNvSpPr/>
            <p:nvPr/>
          </p:nvSpPr>
          <p:spPr>
            <a:xfrm>
              <a:off x="6955246" y="4335869"/>
              <a:ext cx="96599" cy="53145"/>
            </a:xfrm>
            <a:custGeom>
              <a:avLst/>
              <a:gdLst>
                <a:gd name="connsiteX0" fmla="*/ 53671 w 96599"/>
                <a:gd name="connsiteY0" fmla="*/ 50108 h 53145"/>
                <a:gd name="connsiteX1" fmla="*/ 91361 w 96599"/>
                <a:gd name="connsiteY1" fmla="*/ 28409 h 53145"/>
                <a:gd name="connsiteX2" fmla="*/ 92960 w 96599"/>
                <a:gd name="connsiteY2" fmla="*/ 17902 h 53145"/>
                <a:gd name="connsiteX3" fmla="*/ 60981 w 96599"/>
                <a:gd name="connsiteY3" fmla="*/ 1227 h 53145"/>
                <a:gd name="connsiteX4" fmla="*/ 42023 w 96599"/>
                <a:gd name="connsiteY4" fmla="*/ 2598 h 53145"/>
                <a:gd name="connsiteX5" fmla="*/ 4334 w 96599"/>
                <a:gd name="connsiteY5" fmla="*/ 24297 h 53145"/>
                <a:gd name="connsiteX6" fmla="*/ 2735 w 96599"/>
                <a:gd name="connsiteY6" fmla="*/ 34804 h 53145"/>
                <a:gd name="connsiteX7" fmla="*/ 34714 w 96599"/>
                <a:gd name="connsiteY7" fmla="*/ 51478 h 53145"/>
                <a:gd name="connsiteX8" fmla="*/ 53671 w 96599"/>
                <a:gd name="connsiteY8" fmla="*/ 50108 h 5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599" h="53145">
                  <a:moveTo>
                    <a:pt x="53671" y="50108"/>
                  </a:moveTo>
                  <a:lnTo>
                    <a:pt x="91361" y="28409"/>
                  </a:lnTo>
                  <a:cubicBezTo>
                    <a:pt x="97071" y="25211"/>
                    <a:pt x="97757" y="20414"/>
                    <a:pt x="92960" y="17902"/>
                  </a:cubicBezTo>
                  <a:lnTo>
                    <a:pt x="60981" y="1227"/>
                  </a:lnTo>
                  <a:cubicBezTo>
                    <a:pt x="54769" y="-1102"/>
                    <a:pt x="47848" y="-601"/>
                    <a:pt x="42023" y="2598"/>
                  </a:cubicBezTo>
                  <a:lnTo>
                    <a:pt x="4334" y="24297"/>
                  </a:lnTo>
                  <a:cubicBezTo>
                    <a:pt x="-1377" y="27495"/>
                    <a:pt x="-2063" y="32292"/>
                    <a:pt x="2735" y="34804"/>
                  </a:cubicBezTo>
                  <a:lnTo>
                    <a:pt x="34714" y="51478"/>
                  </a:lnTo>
                  <a:cubicBezTo>
                    <a:pt x="40926" y="53809"/>
                    <a:pt x="47848" y="53306"/>
                    <a:pt x="53671" y="50108"/>
                  </a:cubicBezTo>
                  <a:close/>
                </a:path>
              </a:pathLst>
            </a:custGeom>
            <a:solidFill>
              <a:srgbClr val="A2B7EB"/>
            </a:solidFill>
            <a:ln w="22838" cap="flat">
              <a:noFill/>
              <a:prstDash val="solid"/>
              <a:miter/>
            </a:ln>
          </p:spPr>
          <p:txBody>
            <a:bodyPr rtlCol="0" anchor="ctr"/>
            <a:lstStyle/>
            <a:p>
              <a:endParaRPr lang="zh-CN" altLang="en-US"/>
            </a:p>
          </p:txBody>
        </p:sp>
        <p:sp>
          <p:nvSpPr>
            <p:cNvPr id="324" name="任意多边形: 形状 323"/>
            <p:cNvSpPr/>
            <p:nvPr/>
          </p:nvSpPr>
          <p:spPr>
            <a:xfrm>
              <a:off x="6429431" y="4638522"/>
              <a:ext cx="96599" cy="53145"/>
            </a:xfrm>
            <a:custGeom>
              <a:avLst/>
              <a:gdLst>
                <a:gd name="connsiteX0" fmla="*/ 53672 w 96599"/>
                <a:gd name="connsiteY0" fmla="*/ 50108 h 53145"/>
                <a:gd name="connsiteX1" fmla="*/ 91360 w 96599"/>
                <a:gd name="connsiteY1" fmla="*/ 28409 h 53145"/>
                <a:gd name="connsiteX2" fmla="*/ 92959 w 96599"/>
                <a:gd name="connsiteY2" fmla="*/ 17902 h 53145"/>
                <a:gd name="connsiteX3" fmla="*/ 60982 w 96599"/>
                <a:gd name="connsiteY3" fmla="*/ 1227 h 53145"/>
                <a:gd name="connsiteX4" fmla="*/ 42023 w 96599"/>
                <a:gd name="connsiteY4" fmla="*/ 2598 h 53145"/>
                <a:gd name="connsiteX5" fmla="*/ 4333 w 96599"/>
                <a:gd name="connsiteY5" fmla="*/ 24297 h 53145"/>
                <a:gd name="connsiteX6" fmla="*/ 2734 w 96599"/>
                <a:gd name="connsiteY6" fmla="*/ 34804 h 53145"/>
                <a:gd name="connsiteX7" fmla="*/ 34713 w 96599"/>
                <a:gd name="connsiteY7" fmla="*/ 51478 h 53145"/>
                <a:gd name="connsiteX8" fmla="*/ 53672 w 96599"/>
                <a:gd name="connsiteY8" fmla="*/ 50108 h 5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599" h="53145">
                  <a:moveTo>
                    <a:pt x="53672" y="50108"/>
                  </a:moveTo>
                  <a:lnTo>
                    <a:pt x="91360" y="28409"/>
                  </a:lnTo>
                  <a:cubicBezTo>
                    <a:pt x="97071" y="25211"/>
                    <a:pt x="97756" y="20414"/>
                    <a:pt x="92959" y="17902"/>
                  </a:cubicBezTo>
                  <a:lnTo>
                    <a:pt x="60982" y="1227"/>
                  </a:lnTo>
                  <a:cubicBezTo>
                    <a:pt x="54768" y="-1102"/>
                    <a:pt x="47847" y="-601"/>
                    <a:pt x="42023" y="2598"/>
                  </a:cubicBezTo>
                  <a:lnTo>
                    <a:pt x="4333" y="24297"/>
                  </a:lnTo>
                  <a:cubicBezTo>
                    <a:pt x="-1377" y="27495"/>
                    <a:pt x="-2062" y="32292"/>
                    <a:pt x="2734" y="34804"/>
                  </a:cubicBezTo>
                  <a:lnTo>
                    <a:pt x="34713" y="51478"/>
                  </a:lnTo>
                  <a:cubicBezTo>
                    <a:pt x="40925" y="53809"/>
                    <a:pt x="47847" y="53306"/>
                    <a:pt x="53672" y="50108"/>
                  </a:cubicBezTo>
                  <a:close/>
                </a:path>
              </a:pathLst>
            </a:custGeom>
            <a:solidFill>
              <a:srgbClr val="A2B7EB"/>
            </a:solidFill>
            <a:ln w="22838" cap="flat">
              <a:noFill/>
              <a:prstDash val="solid"/>
              <a:miter/>
            </a:ln>
          </p:spPr>
          <p:txBody>
            <a:bodyPr rtlCol="0" anchor="ctr"/>
            <a:lstStyle/>
            <a:p>
              <a:endParaRPr lang="zh-CN" altLang="en-US"/>
            </a:p>
          </p:txBody>
        </p:sp>
        <p:sp>
          <p:nvSpPr>
            <p:cNvPr id="325" name="任意多边形: 形状 324"/>
            <p:cNvSpPr/>
            <p:nvPr/>
          </p:nvSpPr>
          <p:spPr>
            <a:xfrm>
              <a:off x="6800152" y="4424902"/>
              <a:ext cx="96713" cy="53424"/>
            </a:xfrm>
            <a:custGeom>
              <a:avLst/>
              <a:gdLst>
                <a:gd name="connsiteX0" fmla="*/ 53671 w 96713"/>
                <a:gd name="connsiteY0" fmla="*/ 50387 h 53424"/>
                <a:gd name="connsiteX1" fmla="*/ 91589 w 96713"/>
                <a:gd name="connsiteY1" fmla="*/ 28688 h 53424"/>
                <a:gd name="connsiteX2" fmla="*/ 92960 w 96713"/>
                <a:gd name="connsiteY2" fmla="*/ 18180 h 53424"/>
                <a:gd name="connsiteX3" fmla="*/ 61209 w 96713"/>
                <a:gd name="connsiteY3" fmla="*/ 1277 h 53424"/>
                <a:gd name="connsiteX4" fmla="*/ 42022 w 96713"/>
                <a:gd name="connsiteY4" fmla="*/ 2648 h 53424"/>
                <a:gd name="connsiteX5" fmla="*/ 4334 w 96713"/>
                <a:gd name="connsiteY5" fmla="*/ 24348 h 53424"/>
                <a:gd name="connsiteX6" fmla="*/ 2735 w 96713"/>
                <a:gd name="connsiteY6" fmla="*/ 34855 h 53424"/>
                <a:gd name="connsiteX7" fmla="*/ 34712 w 96713"/>
                <a:gd name="connsiteY7" fmla="*/ 51757 h 53424"/>
                <a:gd name="connsiteX8" fmla="*/ 53671 w 96713"/>
                <a:gd name="connsiteY8" fmla="*/ 50387 h 53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713" h="53424">
                  <a:moveTo>
                    <a:pt x="53671" y="50387"/>
                  </a:moveTo>
                  <a:lnTo>
                    <a:pt x="91589" y="28688"/>
                  </a:lnTo>
                  <a:cubicBezTo>
                    <a:pt x="97071" y="25261"/>
                    <a:pt x="97984" y="20693"/>
                    <a:pt x="92960" y="18180"/>
                  </a:cubicBezTo>
                  <a:lnTo>
                    <a:pt x="61209" y="1277"/>
                  </a:lnTo>
                  <a:cubicBezTo>
                    <a:pt x="54927" y="-1121"/>
                    <a:pt x="47915" y="-619"/>
                    <a:pt x="42022" y="2648"/>
                  </a:cubicBezTo>
                  <a:lnTo>
                    <a:pt x="4334" y="24348"/>
                  </a:lnTo>
                  <a:cubicBezTo>
                    <a:pt x="-1377" y="27774"/>
                    <a:pt x="-2063" y="32342"/>
                    <a:pt x="2735" y="34855"/>
                  </a:cubicBezTo>
                  <a:lnTo>
                    <a:pt x="34712" y="51757"/>
                  </a:lnTo>
                  <a:cubicBezTo>
                    <a:pt x="40926" y="54088"/>
                    <a:pt x="47847" y="53585"/>
                    <a:pt x="53671" y="50387"/>
                  </a:cubicBezTo>
                  <a:close/>
                </a:path>
              </a:pathLst>
            </a:custGeom>
            <a:solidFill>
              <a:srgbClr val="A2B7EB"/>
            </a:solidFill>
            <a:ln w="22838" cap="flat">
              <a:noFill/>
              <a:prstDash val="solid"/>
              <a:miter/>
            </a:ln>
          </p:spPr>
          <p:txBody>
            <a:bodyPr rtlCol="0" anchor="ctr"/>
            <a:lstStyle/>
            <a:p>
              <a:endParaRPr lang="zh-CN" altLang="en-US"/>
            </a:p>
          </p:txBody>
        </p:sp>
        <p:sp>
          <p:nvSpPr>
            <p:cNvPr id="326" name="任意多边形: 形状 325"/>
            <p:cNvSpPr/>
            <p:nvPr/>
          </p:nvSpPr>
          <p:spPr>
            <a:xfrm>
              <a:off x="6277762" y="4726006"/>
              <a:ext cx="96598" cy="53145"/>
            </a:xfrm>
            <a:custGeom>
              <a:avLst/>
              <a:gdLst>
                <a:gd name="connsiteX0" fmla="*/ 53671 w 96598"/>
                <a:gd name="connsiteY0" fmla="*/ 50109 h 53145"/>
                <a:gd name="connsiteX1" fmla="*/ 91361 w 96598"/>
                <a:gd name="connsiteY1" fmla="*/ 28409 h 53145"/>
                <a:gd name="connsiteX2" fmla="*/ 92958 w 96598"/>
                <a:gd name="connsiteY2" fmla="*/ 17902 h 53145"/>
                <a:gd name="connsiteX3" fmla="*/ 60981 w 96598"/>
                <a:gd name="connsiteY3" fmla="*/ 1227 h 53145"/>
                <a:gd name="connsiteX4" fmla="*/ 42022 w 96598"/>
                <a:gd name="connsiteY4" fmla="*/ 2597 h 53145"/>
                <a:gd name="connsiteX5" fmla="*/ 4334 w 96598"/>
                <a:gd name="connsiteY5" fmla="*/ 24297 h 53145"/>
                <a:gd name="connsiteX6" fmla="*/ 2735 w 96598"/>
                <a:gd name="connsiteY6" fmla="*/ 34804 h 53145"/>
                <a:gd name="connsiteX7" fmla="*/ 34712 w 96598"/>
                <a:gd name="connsiteY7" fmla="*/ 51479 h 53145"/>
                <a:gd name="connsiteX8" fmla="*/ 53671 w 96598"/>
                <a:gd name="connsiteY8" fmla="*/ 50109 h 5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598" h="53145">
                  <a:moveTo>
                    <a:pt x="53671" y="50109"/>
                  </a:moveTo>
                  <a:lnTo>
                    <a:pt x="91361" y="28409"/>
                  </a:lnTo>
                  <a:cubicBezTo>
                    <a:pt x="97071" y="25211"/>
                    <a:pt x="97756" y="20414"/>
                    <a:pt x="92958" y="17902"/>
                  </a:cubicBezTo>
                  <a:lnTo>
                    <a:pt x="60981" y="1227"/>
                  </a:lnTo>
                  <a:cubicBezTo>
                    <a:pt x="54767" y="-1103"/>
                    <a:pt x="47847" y="-600"/>
                    <a:pt x="42022" y="2597"/>
                  </a:cubicBezTo>
                  <a:lnTo>
                    <a:pt x="4334" y="24297"/>
                  </a:lnTo>
                  <a:cubicBezTo>
                    <a:pt x="-1377" y="27495"/>
                    <a:pt x="-2063" y="32292"/>
                    <a:pt x="2735" y="34804"/>
                  </a:cubicBezTo>
                  <a:lnTo>
                    <a:pt x="34712" y="51479"/>
                  </a:lnTo>
                  <a:cubicBezTo>
                    <a:pt x="40926" y="53809"/>
                    <a:pt x="47847" y="53306"/>
                    <a:pt x="53671" y="50109"/>
                  </a:cubicBezTo>
                  <a:close/>
                </a:path>
              </a:pathLst>
            </a:custGeom>
            <a:solidFill>
              <a:srgbClr val="A2B7EB"/>
            </a:solidFill>
            <a:ln w="22838" cap="flat">
              <a:noFill/>
              <a:prstDash val="solid"/>
              <a:miter/>
            </a:ln>
          </p:spPr>
          <p:txBody>
            <a:bodyPr rtlCol="0" anchor="ctr"/>
            <a:lstStyle/>
            <a:p>
              <a:endParaRPr lang="zh-CN" altLang="en-US"/>
            </a:p>
          </p:txBody>
        </p:sp>
        <p:sp>
          <p:nvSpPr>
            <p:cNvPr id="327" name="任意多边形: 形状 326"/>
            <p:cNvSpPr/>
            <p:nvPr/>
          </p:nvSpPr>
          <p:spPr>
            <a:xfrm>
              <a:off x="6201928" y="4769633"/>
              <a:ext cx="96599" cy="54084"/>
            </a:xfrm>
            <a:custGeom>
              <a:avLst/>
              <a:gdLst>
                <a:gd name="connsiteX0" fmla="*/ 53671 w 96599"/>
                <a:gd name="connsiteY0" fmla="*/ 50336 h 54084"/>
                <a:gd name="connsiteX1" fmla="*/ 91361 w 96599"/>
                <a:gd name="connsiteY1" fmla="*/ 28637 h 54084"/>
                <a:gd name="connsiteX2" fmla="*/ 92960 w 96599"/>
                <a:gd name="connsiteY2" fmla="*/ 18130 h 54084"/>
                <a:gd name="connsiteX3" fmla="*/ 60981 w 96599"/>
                <a:gd name="connsiteY3" fmla="*/ 1227 h 54084"/>
                <a:gd name="connsiteX4" fmla="*/ 42022 w 96599"/>
                <a:gd name="connsiteY4" fmla="*/ 2597 h 54084"/>
                <a:gd name="connsiteX5" fmla="*/ 4334 w 96599"/>
                <a:gd name="connsiteY5" fmla="*/ 25439 h 54084"/>
                <a:gd name="connsiteX6" fmla="*/ 2735 w 96599"/>
                <a:gd name="connsiteY6" fmla="*/ 35947 h 54084"/>
                <a:gd name="connsiteX7" fmla="*/ 34712 w 96599"/>
                <a:gd name="connsiteY7" fmla="*/ 52849 h 54084"/>
                <a:gd name="connsiteX8" fmla="*/ 53671 w 96599"/>
                <a:gd name="connsiteY8" fmla="*/ 50336 h 5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599" h="54084">
                  <a:moveTo>
                    <a:pt x="53671" y="50336"/>
                  </a:moveTo>
                  <a:lnTo>
                    <a:pt x="91361" y="28637"/>
                  </a:lnTo>
                  <a:cubicBezTo>
                    <a:pt x="97071" y="25211"/>
                    <a:pt x="97756" y="20643"/>
                    <a:pt x="92960" y="18130"/>
                  </a:cubicBezTo>
                  <a:lnTo>
                    <a:pt x="60981" y="1227"/>
                  </a:lnTo>
                  <a:cubicBezTo>
                    <a:pt x="54769" y="-1103"/>
                    <a:pt x="47847" y="-600"/>
                    <a:pt x="42022" y="2597"/>
                  </a:cubicBezTo>
                  <a:lnTo>
                    <a:pt x="4334" y="25439"/>
                  </a:lnTo>
                  <a:cubicBezTo>
                    <a:pt x="-1377" y="28865"/>
                    <a:pt x="-2063" y="33434"/>
                    <a:pt x="2735" y="35947"/>
                  </a:cubicBezTo>
                  <a:lnTo>
                    <a:pt x="34712" y="52849"/>
                  </a:lnTo>
                  <a:cubicBezTo>
                    <a:pt x="41086" y="54814"/>
                    <a:pt x="48029" y="53900"/>
                    <a:pt x="53671" y="50336"/>
                  </a:cubicBezTo>
                  <a:close/>
                </a:path>
              </a:pathLst>
            </a:custGeom>
            <a:solidFill>
              <a:srgbClr val="A2B7EB"/>
            </a:solidFill>
            <a:ln w="22838" cap="flat">
              <a:noFill/>
              <a:prstDash val="solid"/>
              <a:miter/>
            </a:ln>
          </p:spPr>
          <p:txBody>
            <a:bodyPr rtlCol="0" anchor="ctr"/>
            <a:lstStyle/>
            <a:p>
              <a:endParaRPr lang="zh-CN" altLang="en-US"/>
            </a:p>
          </p:txBody>
        </p:sp>
        <p:sp>
          <p:nvSpPr>
            <p:cNvPr id="328" name="任意多边形: 形状 327"/>
            <p:cNvSpPr/>
            <p:nvPr/>
          </p:nvSpPr>
          <p:spPr>
            <a:xfrm>
              <a:off x="6050258" y="4857117"/>
              <a:ext cx="96599" cy="53374"/>
            </a:xfrm>
            <a:custGeom>
              <a:avLst/>
              <a:gdLst>
                <a:gd name="connsiteX0" fmla="*/ 53671 w 96599"/>
                <a:gd name="connsiteY0" fmla="*/ 50337 h 53374"/>
                <a:gd name="connsiteX1" fmla="*/ 91361 w 96599"/>
                <a:gd name="connsiteY1" fmla="*/ 28637 h 53374"/>
                <a:gd name="connsiteX2" fmla="*/ 92960 w 96599"/>
                <a:gd name="connsiteY2" fmla="*/ 18130 h 53374"/>
                <a:gd name="connsiteX3" fmla="*/ 60981 w 96599"/>
                <a:gd name="connsiteY3" fmla="*/ 1227 h 53374"/>
                <a:gd name="connsiteX4" fmla="*/ 42023 w 96599"/>
                <a:gd name="connsiteY4" fmla="*/ 2598 h 53374"/>
                <a:gd name="connsiteX5" fmla="*/ 4334 w 96599"/>
                <a:gd name="connsiteY5" fmla="*/ 24297 h 53374"/>
                <a:gd name="connsiteX6" fmla="*/ 2735 w 96599"/>
                <a:gd name="connsiteY6" fmla="*/ 34805 h 53374"/>
                <a:gd name="connsiteX7" fmla="*/ 34714 w 96599"/>
                <a:gd name="connsiteY7" fmla="*/ 51707 h 53374"/>
                <a:gd name="connsiteX8" fmla="*/ 53671 w 96599"/>
                <a:gd name="connsiteY8" fmla="*/ 50337 h 53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599" h="53374">
                  <a:moveTo>
                    <a:pt x="53671" y="50337"/>
                  </a:moveTo>
                  <a:lnTo>
                    <a:pt x="91361" y="28637"/>
                  </a:lnTo>
                  <a:cubicBezTo>
                    <a:pt x="97071" y="25211"/>
                    <a:pt x="97756" y="20642"/>
                    <a:pt x="92960" y="18130"/>
                  </a:cubicBezTo>
                  <a:lnTo>
                    <a:pt x="60981" y="1227"/>
                  </a:lnTo>
                  <a:cubicBezTo>
                    <a:pt x="54769" y="-1103"/>
                    <a:pt x="47847" y="-600"/>
                    <a:pt x="42023" y="2598"/>
                  </a:cubicBezTo>
                  <a:lnTo>
                    <a:pt x="4334" y="24297"/>
                  </a:lnTo>
                  <a:cubicBezTo>
                    <a:pt x="-1377" y="27724"/>
                    <a:pt x="-2063" y="32292"/>
                    <a:pt x="2735" y="34805"/>
                  </a:cubicBezTo>
                  <a:lnTo>
                    <a:pt x="34714" y="51707"/>
                  </a:lnTo>
                  <a:cubicBezTo>
                    <a:pt x="40926" y="54037"/>
                    <a:pt x="47847" y="53534"/>
                    <a:pt x="53671" y="50337"/>
                  </a:cubicBezTo>
                  <a:close/>
                </a:path>
              </a:pathLst>
            </a:custGeom>
            <a:solidFill>
              <a:srgbClr val="A2B7EB"/>
            </a:solidFill>
            <a:ln w="22838" cap="flat">
              <a:noFill/>
              <a:prstDash val="solid"/>
              <a:miter/>
            </a:ln>
          </p:spPr>
          <p:txBody>
            <a:bodyPr rtlCol="0" anchor="ctr"/>
            <a:lstStyle/>
            <a:p>
              <a:endParaRPr lang="zh-CN" altLang="en-US"/>
            </a:p>
          </p:txBody>
        </p:sp>
        <p:sp>
          <p:nvSpPr>
            <p:cNvPr id="329" name="任意多边形: 形状 328"/>
            <p:cNvSpPr/>
            <p:nvPr/>
          </p:nvSpPr>
          <p:spPr>
            <a:xfrm>
              <a:off x="6126093" y="4813489"/>
              <a:ext cx="96599" cy="53146"/>
            </a:xfrm>
            <a:custGeom>
              <a:avLst/>
              <a:gdLst>
                <a:gd name="connsiteX0" fmla="*/ 53671 w 96599"/>
                <a:gd name="connsiteY0" fmla="*/ 50108 h 53146"/>
                <a:gd name="connsiteX1" fmla="*/ 91361 w 96599"/>
                <a:gd name="connsiteY1" fmla="*/ 28409 h 53146"/>
                <a:gd name="connsiteX2" fmla="*/ 92960 w 96599"/>
                <a:gd name="connsiteY2" fmla="*/ 17901 h 53146"/>
                <a:gd name="connsiteX3" fmla="*/ 60981 w 96599"/>
                <a:gd name="connsiteY3" fmla="*/ 1227 h 53146"/>
                <a:gd name="connsiteX4" fmla="*/ 42022 w 96599"/>
                <a:gd name="connsiteY4" fmla="*/ 2598 h 53146"/>
                <a:gd name="connsiteX5" fmla="*/ 4334 w 96599"/>
                <a:gd name="connsiteY5" fmla="*/ 24297 h 53146"/>
                <a:gd name="connsiteX6" fmla="*/ 2735 w 96599"/>
                <a:gd name="connsiteY6" fmla="*/ 34805 h 53146"/>
                <a:gd name="connsiteX7" fmla="*/ 34714 w 96599"/>
                <a:gd name="connsiteY7" fmla="*/ 51479 h 53146"/>
                <a:gd name="connsiteX8" fmla="*/ 53671 w 96599"/>
                <a:gd name="connsiteY8" fmla="*/ 50108 h 53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599" h="53146">
                  <a:moveTo>
                    <a:pt x="53671" y="50108"/>
                  </a:moveTo>
                  <a:lnTo>
                    <a:pt x="91361" y="28409"/>
                  </a:lnTo>
                  <a:cubicBezTo>
                    <a:pt x="97071" y="25211"/>
                    <a:pt x="97756" y="20414"/>
                    <a:pt x="92960" y="17901"/>
                  </a:cubicBezTo>
                  <a:lnTo>
                    <a:pt x="60981" y="1227"/>
                  </a:lnTo>
                  <a:cubicBezTo>
                    <a:pt x="54769" y="-1103"/>
                    <a:pt x="47847" y="-600"/>
                    <a:pt x="42022" y="2598"/>
                  </a:cubicBezTo>
                  <a:lnTo>
                    <a:pt x="4334" y="24297"/>
                  </a:lnTo>
                  <a:cubicBezTo>
                    <a:pt x="-1377" y="27495"/>
                    <a:pt x="-2063" y="32292"/>
                    <a:pt x="2735" y="34805"/>
                  </a:cubicBezTo>
                  <a:lnTo>
                    <a:pt x="34714" y="51479"/>
                  </a:lnTo>
                  <a:cubicBezTo>
                    <a:pt x="40926" y="53809"/>
                    <a:pt x="47847" y="53307"/>
                    <a:pt x="53671" y="50108"/>
                  </a:cubicBezTo>
                  <a:close/>
                </a:path>
              </a:pathLst>
            </a:custGeom>
            <a:solidFill>
              <a:srgbClr val="A2B7EB"/>
            </a:solidFill>
            <a:ln w="22838" cap="flat">
              <a:noFill/>
              <a:prstDash val="solid"/>
              <a:miter/>
            </a:ln>
          </p:spPr>
          <p:txBody>
            <a:bodyPr rtlCol="0" anchor="ctr"/>
            <a:lstStyle/>
            <a:p>
              <a:endParaRPr lang="zh-CN" altLang="en-US"/>
            </a:p>
          </p:txBody>
        </p:sp>
        <p:sp>
          <p:nvSpPr>
            <p:cNvPr id="330" name="任意多边形: 形状 329"/>
            <p:cNvSpPr/>
            <p:nvPr/>
          </p:nvSpPr>
          <p:spPr>
            <a:xfrm>
              <a:off x="6353596" y="4681007"/>
              <a:ext cx="96598" cy="53870"/>
            </a:xfrm>
            <a:custGeom>
              <a:avLst/>
              <a:gdLst>
                <a:gd name="connsiteX0" fmla="*/ 53672 w 96598"/>
                <a:gd name="connsiteY0" fmla="*/ 51479 h 53870"/>
                <a:gd name="connsiteX1" fmla="*/ 91360 w 96598"/>
                <a:gd name="connsiteY1" fmla="*/ 28637 h 53870"/>
                <a:gd name="connsiteX2" fmla="*/ 92959 w 96598"/>
                <a:gd name="connsiteY2" fmla="*/ 18130 h 53870"/>
                <a:gd name="connsiteX3" fmla="*/ 60981 w 96598"/>
                <a:gd name="connsiteY3" fmla="*/ 1227 h 53870"/>
                <a:gd name="connsiteX4" fmla="*/ 42022 w 96598"/>
                <a:gd name="connsiteY4" fmla="*/ 2597 h 53870"/>
                <a:gd name="connsiteX5" fmla="*/ 4333 w 96598"/>
                <a:gd name="connsiteY5" fmla="*/ 24297 h 53870"/>
                <a:gd name="connsiteX6" fmla="*/ 2735 w 96598"/>
                <a:gd name="connsiteY6" fmla="*/ 34804 h 53870"/>
                <a:gd name="connsiteX7" fmla="*/ 34713 w 96598"/>
                <a:gd name="connsiteY7" fmla="*/ 51708 h 53870"/>
                <a:gd name="connsiteX8" fmla="*/ 53672 w 96598"/>
                <a:gd name="connsiteY8" fmla="*/ 51479 h 53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598" h="53870">
                  <a:moveTo>
                    <a:pt x="53672" y="51479"/>
                  </a:moveTo>
                  <a:lnTo>
                    <a:pt x="91360" y="28637"/>
                  </a:lnTo>
                  <a:cubicBezTo>
                    <a:pt x="97070" y="25211"/>
                    <a:pt x="97756" y="20643"/>
                    <a:pt x="92959" y="18130"/>
                  </a:cubicBezTo>
                  <a:lnTo>
                    <a:pt x="60981" y="1227"/>
                  </a:lnTo>
                  <a:cubicBezTo>
                    <a:pt x="54768" y="-1103"/>
                    <a:pt x="47847" y="-600"/>
                    <a:pt x="42022" y="2597"/>
                  </a:cubicBezTo>
                  <a:lnTo>
                    <a:pt x="4333" y="24297"/>
                  </a:lnTo>
                  <a:cubicBezTo>
                    <a:pt x="-1377" y="27723"/>
                    <a:pt x="-2062" y="32292"/>
                    <a:pt x="2735" y="34804"/>
                  </a:cubicBezTo>
                  <a:lnTo>
                    <a:pt x="34713" y="51708"/>
                  </a:lnTo>
                  <a:cubicBezTo>
                    <a:pt x="40766" y="54379"/>
                    <a:pt x="47687" y="54288"/>
                    <a:pt x="53672" y="51479"/>
                  </a:cubicBezTo>
                  <a:close/>
                </a:path>
              </a:pathLst>
            </a:custGeom>
            <a:solidFill>
              <a:srgbClr val="A2B7EB"/>
            </a:solidFill>
            <a:ln w="22838" cap="flat">
              <a:noFill/>
              <a:prstDash val="solid"/>
              <a:miter/>
            </a:ln>
          </p:spPr>
          <p:txBody>
            <a:bodyPr rtlCol="0" anchor="ctr"/>
            <a:lstStyle/>
            <a:p>
              <a:endParaRPr lang="zh-CN" altLang="en-US"/>
            </a:p>
          </p:txBody>
        </p:sp>
        <p:sp>
          <p:nvSpPr>
            <p:cNvPr id="331" name="任意多边形: 形状 330"/>
            <p:cNvSpPr/>
            <p:nvPr/>
          </p:nvSpPr>
          <p:spPr>
            <a:xfrm>
              <a:off x="6507321" y="4469215"/>
              <a:ext cx="313307" cy="178240"/>
            </a:xfrm>
            <a:custGeom>
              <a:avLst/>
              <a:gdLst>
                <a:gd name="connsiteX0" fmla="*/ 54357 w 313307"/>
                <a:gd name="connsiteY0" fmla="*/ 175102 h 178240"/>
                <a:gd name="connsiteX1" fmla="*/ 307900 w 313307"/>
                <a:gd name="connsiteY1" fmla="*/ 28916 h 178240"/>
                <a:gd name="connsiteX2" fmla="*/ 309499 w 313307"/>
                <a:gd name="connsiteY2" fmla="*/ 18409 h 178240"/>
                <a:gd name="connsiteX3" fmla="*/ 277292 w 313307"/>
                <a:gd name="connsiteY3" fmla="*/ 1277 h 178240"/>
                <a:gd name="connsiteX4" fmla="*/ 258105 w 313307"/>
                <a:gd name="connsiteY4" fmla="*/ 2648 h 178240"/>
                <a:gd name="connsiteX5" fmla="*/ 4334 w 313307"/>
                <a:gd name="connsiteY5" fmla="*/ 148834 h 178240"/>
                <a:gd name="connsiteX6" fmla="*/ 2735 w 313307"/>
                <a:gd name="connsiteY6" fmla="*/ 159342 h 178240"/>
                <a:gd name="connsiteX7" fmla="*/ 34941 w 313307"/>
                <a:gd name="connsiteY7" fmla="*/ 176473 h 178240"/>
                <a:gd name="connsiteX8" fmla="*/ 54357 w 313307"/>
                <a:gd name="connsiteY8" fmla="*/ 175102 h 178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307" h="178240">
                  <a:moveTo>
                    <a:pt x="54357" y="175102"/>
                  </a:moveTo>
                  <a:lnTo>
                    <a:pt x="307900" y="28916"/>
                  </a:lnTo>
                  <a:cubicBezTo>
                    <a:pt x="313839" y="25718"/>
                    <a:pt x="314523" y="20921"/>
                    <a:pt x="309499" y="18409"/>
                  </a:cubicBezTo>
                  <a:lnTo>
                    <a:pt x="277292" y="1277"/>
                  </a:lnTo>
                  <a:cubicBezTo>
                    <a:pt x="271010" y="-1121"/>
                    <a:pt x="263998" y="-619"/>
                    <a:pt x="258105" y="2648"/>
                  </a:cubicBezTo>
                  <a:lnTo>
                    <a:pt x="4334" y="148834"/>
                  </a:lnTo>
                  <a:cubicBezTo>
                    <a:pt x="-1377" y="152033"/>
                    <a:pt x="-2063" y="156829"/>
                    <a:pt x="2735" y="159342"/>
                  </a:cubicBezTo>
                  <a:lnTo>
                    <a:pt x="34941" y="176473"/>
                  </a:lnTo>
                  <a:cubicBezTo>
                    <a:pt x="41291" y="178940"/>
                    <a:pt x="48418" y="178438"/>
                    <a:pt x="54357" y="175102"/>
                  </a:cubicBezTo>
                  <a:close/>
                </a:path>
              </a:pathLst>
            </a:custGeom>
            <a:solidFill>
              <a:srgbClr val="A2B7EB"/>
            </a:solidFill>
            <a:ln w="22838" cap="flat">
              <a:noFill/>
              <a:prstDash val="solid"/>
              <a:miter/>
            </a:ln>
          </p:spPr>
          <p:txBody>
            <a:bodyPr rtlCol="0" anchor="ctr"/>
            <a:lstStyle/>
            <a:p>
              <a:endParaRPr lang="zh-CN" altLang="en-US"/>
            </a:p>
          </p:txBody>
        </p:sp>
        <p:sp>
          <p:nvSpPr>
            <p:cNvPr id="332" name="任意多边形: 形状 331"/>
            <p:cNvSpPr/>
            <p:nvPr/>
          </p:nvSpPr>
          <p:spPr>
            <a:xfrm>
              <a:off x="6773884" y="4155192"/>
              <a:ext cx="96599" cy="53195"/>
            </a:xfrm>
            <a:custGeom>
              <a:avLst/>
              <a:gdLst>
                <a:gd name="connsiteX0" fmla="*/ 53671 w 96599"/>
                <a:gd name="connsiteY0" fmla="*/ 50109 h 53195"/>
                <a:gd name="connsiteX1" fmla="*/ 91360 w 96599"/>
                <a:gd name="connsiteY1" fmla="*/ 28409 h 53195"/>
                <a:gd name="connsiteX2" fmla="*/ 92959 w 96599"/>
                <a:gd name="connsiteY2" fmla="*/ 17902 h 53195"/>
                <a:gd name="connsiteX3" fmla="*/ 60980 w 96599"/>
                <a:gd name="connsiteY3" fmla="*/ 1227 h 53195"/>
                <a:gd name="connsiteX4" fmla="*/ 42023 w 96599"/>
                <a:gd name="connsiteY4" fmla="*/ 2597 h 53195"/>
                <a:gd name="connsiteX5" fmla="*/ 4333 w 96599"/>
                <a:gd name="connsiteY5" fmla="*/ 24297 h 53195"/>
                <a:gd name="connsiteX6" fmla="*/ 2734 w 96599"/>
                <a:gd name="connsiteY6" fmla="*/ 34804 h 53195"/>
                <a:gd name="connsiteX7" fmla="*/ 34484 w 96599"/>
                <a:gd name="connsiteY7" fmla="*/ 51479 h 53195"/>
                <a:gd name="connsiteX8" fmla="*/ 53671 w 96599"/>
                <a:gd name="connsiteY8" fmla="*/ 50109 h 53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599" h="53195">
                  <a:moveTo>
                    <a:pt x="53671" y="50109"/>
                  </a:moveTo>
                  <a:lnTo>
                    <a:pt x="91360" y="28409"/>
                  </a:lnTo>
                  <a:cubicBezTo>
                    <a:pt x="97071" y="25210"/>
                    <a:pt x="97756" y="20414"/>
                    <a:pt x="92959" y="17902"/>
                  </a:cubicBezTo>
                  <a:lnTo>
                    <a:pt x="60980" y="1227"/>
                  </a:lnTo>
                  <a:cubicBezTo>
                    <a:pt x="54768" y="-1103"/>
                    <a:pt x="47847" y="-600"/>
                    <a:pt x="42023" y="2597"/>
                  </a:cubicBezTo>
                  <a:lnTo>
                    <a:pt x="4333" y="24297"/>
                  </a:lnTo>
                  <a:cubicBezTo>
                    <a:pt x="-1377" y="27495"/>
                    <a:pt x="-2062" y="32063"/>
                    <a:pt x="2734" y="34804"/>
                  </a:cubicBezTo>
                  <a:lnTo>
                    <a:pt x="34484" y="51479"/>
                  </a:lnTo>
                  <a:cubicBezTo>
                    <a:pt x="40767" y="53877"/>
                    <a:pt x="47778" y="53374"/>
                    <a:pt x="53671" y="50109"/>
                  </a:cubicBezTo>
                  <a:close/>
                </a:path>
              </a:pathLst>
            </a:custGeom>
            <a:solidFill>
              <a:srgbClr val="A2B7EB"/>
            </a:solidFill>
            <a:ln w="22838" cap="flat">
              <a:noFill/>
              <a:prstDash val="solid"/>
              <a:miter/>
            </a:ln>
          </p:spPr>
          <p:txBody>
            <a:bodyPr rtlCol="0" anchor="ctr"/>
            <a:lstStyle/>
            <a:p>
              <a:endParaRPr lang="zh-CN" altLang="en-US"/>
            </a:p>
          </p:txBody>
        </p:sp>
        <p:sp>
          <p:nvSpPr>
            <p:cNvPr id="333" name="任意多边形: 形状 332"/>
            <p:cNvSpPr/>
            <p:nvPr/>
          </p:nvSpPr>
          <p:spPr>
            <a:xfrm>
              <a:off x="6618560" y="4244452"/>
              <a:ext cx="96599" cy="53195"/>
            </a:xfrm>
            <a:custGeom>
              <a:avLst/>
              <a:gdLst>
                <a:gd name="connsiteX0" fmla="*/ 53671 w 96599"/>
                <a:gd name="connsiteY0" fmla="*/ 50158 h 53195"/>
                <a:gd name="connsiteX1" fmla="*/ 91361 w 96599"/>
                <a:gd name="connsiteY1" fmla="*/ 28459 h 53195"/>
                <a:gd name="connsiteX2" fmla="*/ 92960 w 96599"/>
                <a:gd name="connsiteY2" fmla="*/ 17952 h 53195"/>
                <a:gd name="connsiteX3" fmla="*/ 61209 w 96599"/>
                <a:gd name="connsiteY3" fmla="*/ 1277 h 53195"/>
                <a:gd name="connsiteX4" fmla="*/ 42022 w 96599"/>
                <a:gd name="connsiteY4" fmla="*/ 2648 h 53195"/>
                <a:gd name="connsiteX5" fmla="*/ 4334 w 96599"/>
                <a:gd name="connsiteY5" fmla="*/ 24348 h 53195"/>
                <a:gd name="connsiteX6" fmla="*/ 2735 w 96599"/>
                <a:gd name="connsiteY6" fmla="*/ 34855 h 53195"/>
                <a:gd name="connsiteX7" fmla="*/ 34714 w 96599"/>
                <a:gd name="connsiteY7" fmla="*/ 51529 h 53195"/>
                <a:gd name="connsiteX8" fmla="*/ 53671 w 96599"/>
                <a:gd name="connsiteY8" fmla="*/ 50158 h 53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599" h="53195">
                  <a:moveTo>
                    <a:pt x="53671" y="50158"/>
                  </a:moveTo>
                  <a:lnTo>
                    <a:pt x="91361" y="28459"/>
                  </a:lnTo>
                  <a:cubicBezTo>
                    <a:pt x="97071" y="25261"/>
                    <a:pt x="97756" y="20464"/>
                    <a:pt x="92960" y="17952"/>
                  </a:cubicBezTo>
                  <a:lnTo>
                    <a:pt x="61209" y="1277"/>
                  </a:lnTo>
                  <a:cubicBezTo>
                    <a:pt x="54927" y="-1121"/>
                    <a:pt x="47916" y="-619"/>
                    <a:pt x="42022" y="2648"/>
                  </a:cubicBezTo>
                  <a:lnTo>
                    <a:pt x="4334" y="24348"/>
                  </a:lnTo>
                  <a:cubicBezTo>
                    <a:pt x="-1377" y="27545"/>
                    <a:pt x="-2063" y="32342"/>
                    <a:pt x="2735" y="34855"/>
                  </a:cubicBezTo>
                  <a:lnTo>
                    <a:pt x="34714" y="51529"/>
                  </a:lnTo>
                  <a:cubicBezTo>
                    <a:pt x="40926" y="53859"/>
                    <a:pt x="47847" y="53356"/>
                    <a:pt x="53671" y="50158"/>
                  </a:cubicBezTo>
                  <a:close/>
                </a:path>
              </a:pathLst>
            </a:custGeom>
            <a:solidFill>
              <a:srgbClr val="A2B7EB"/>
            </a:solidFill>
            <a:ln w="22838" cap="flat">
              <a:noFill/>
              <a:prstDash val="solid"/>
              <a:miter/>
            </a:ln>
          </p:spPr>
          <p:txBody>
            <a:bodyPr rtlCol="0" anchor="ctr"/>
            <a:lstStyle/>
            <a:p>
              <a:endParaRPr lang="zh-CN" altLang="en-US"/>
            </a:p>
          </p:txBody>
        </p:sp>
        <p:sp>
          <p:nvSpPr>
            <p:cNvPr id="334" name="任意多边形: 形状 333"/>
            <p:cNvSpPr/>
            <p:nvPr/>
          </p:nvSpPr>
          <p:spPr>
            <a:xfrm>
              <a:off x="6697364" y="4199046"/>
              <a:ext cx="96599" cy="53426"/>
            </a:xfrm>
            <a:custGeom>
              <a:avLst/>
              <a:gdLst>
                <a:gd name="connsiteX0" fmla="*/ 53671 w 96599"/>
                <a:gd name="connsiteY0" fmla="*/ 50339 h 53426"/>
                <a:gd name="connsiteX1" fmla="*/ 91361 w 96599"/>
                <a:gd name="connsiteY1" fmla="*/ 28639 h 53426"/>
                <a:gd name="connsiteX2" fmla="*/ 92960 w 96599"/>
                <a:gd name="connsiteY2" fmla="*/ 18132 h 53426"/>
                <a:gd name="connsiteX3" fmla="*/ 60981 w 96599"/>
                <a:gd name="connsiteY3" fmla="*/ 1457 h 53426"/>
                <a:gd name="connsiteX4" fmla="*/ 42022 w 96599"/>
                <a:gd name="connsiteY4" fmla="*/ 2600 h 53426"/>
                <a:gd name="connsiteX5" fmla="*/ 4334 w 96599"/>
                <a:gd name="connsiteY5" fmla="*/ 24299 h 53426"/>
                <a:gd name="connsiteX6" fmla="*/ 2735 w 96599"/>
                <a:gd name="connsiteY6" fmla="*/ 34807 h 53426"/>
                <a:gd name="connsiteX7" fmla="*/ 34485 w 96599"/>
                <a:gd name="connsiteY7" fmla="*/ 51709 h 53426"/>
                <a:gd name="connsiteX8" fmla="*/ 53671 w 96599"/>
                <a:gd name="connsiteY8" fmla="*/ 50339 h 53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599" h="53426">
                  <a:moveTo>
                    <a:pt x="53671" y="50339"/>
                  </a:moveTo>
                  <a:lnTo>
                    <a:pt x="91361" y="28639"/>
                  </a:lnTo>
                  <a:cubicBezTo>
                    <a:pt x="97071" y="25442"/>
                    <a:pt x="97756" y="20644"/>
                    <a:pt x="92960" y="18132"/>
                  </a:cubicBezTo>
                  <a:lnTo>
                    <a:pt x="60981" y="1457"/>
                  </a:lnTo>
                  <a:cubicBezTo>
                    <a:pt x="54837" y="-1124"/>
                    <a:pt x="47824" y="-713"/>
                    <a:pt x="42022" y="2600"/>
                  </a:cubicBezTo>
                  <a:lnTo>
                    <a:pt x="4334" y="24299"/>
                  </a:lnTo>
                  <a:cubicBezTo>
                    <a:pt x="-1377" y="27725"/>
                    <a:pt x="-2063" y="32294"/>
                    <a:pt x="2735" y="34807"/>
                  </a:cubicBezTo>
                  <a:lnTo>
                    <a:pt x="34485" y="51709"/>
                  </a:lnTo>
                  <a:cubicBezTo>
                    <a:pt x="40766" y="54107"/>
                    <a:pt x="47778" y="53605"/>
                    <a:pt x="53671" y="50339"/>
                  </a:cubicBezTo>
                  <a:close/>
                </a:path>
              </a:pathLst>
            </a:custGeom>
            <a:solidFill>
              <a:srgbClr val="A2B7EB"/>
            </a:solidFill>
            <a:ln w="22838" cap="flat">
              <a:noFill/>
              <a:prstDash val="solid"/>
              <a:miter/>
            </a:ln>
          </p:spPr>
          <p:txBody>
            <a:bodyPr rtlCol="0" anchor="ctr"/>
            <a:lstStyle/>
            <a:p>
              <a:endParaRPr lang="zh-CN" altLang="en-US"/>
            </a:p>
          </p:txBody>
        </p:sp>
        <p:sp>
          <p:nvSpPr>
            <p:cNvPr id="335" name="任意多边形: 形状 334"/>
            <p:cNvSpPr/>
            <p:nvPr/>
          </p:nvSpPr>
          <p:spPr>
            <a:xfrm>
              <a:off x="6540442" y="4289729"/>
              <a:ext cx="96598" cy="53145"/>
            </a:xfrm>
            <a:custGeom>
              <a:avLst/>
              <a:gdLst>
                <a:gd name="connsiteX0" fmla="*/ 53671 w 96598"/>
                <a:gd name="connsiteY0" fmla="*/ 50108 h 53145"/>
                <a:gd name="connsiteX1" fmla="*/ 91361 w 96598"/>
                <a:gd name="connsiteY1" fmla="*/ 28408 h 53145"/>
                <a:gd name="connsiteX2" fmla="*/ 92958 w 96598"/>
                <a:gd name="connsiteY2" fmla="*/ 17901 h 53145"/>
                <a:gd name="connsiteX3" fmla="*/ 60981 w 96598"/>
                <a:gd name="connsiteY3" fmla="*/ 1227 h 53145"/>
                <a:gd name="connsiteX4" fmla="*/ 42022 w 96598"/>
                <a:gd name="connsiteY4" fmla="*/ 2598 h 53145"/>
                <a:gd name="connsiteX5" fmla="*/ 4334 w 96598"/>
                <a:gd name="connsiteY5" fmla="*/ 24297 h 53145"/>
                <a:gd name="connsiteX6" fmla="*/ 2735 w 96598"/>
                <a:gd name="connsiteY6" fmla="*/ 34804 h 53145"/>
                <a:gd name="connsiteX7" fmla="*/ 34712 w 96598"/>
                <a:gd name="connsiteY7" fmla="*/ 51479 h 53145"/>
                <a:gd name="connsiteX8" fmla="*/ 53671 w 96598"/>
                <a:gd name="connsiteY8" fmla="*/ 50108 h 5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598" h="53145">
                  <a:moveTo>
                    <a:pt x="53671" y="50108"/>
                  </a:moveTo>
                  <a:lnTo>
                    <a:pt x="91361" y="28408"/>
                  </a:lnTo>
                  <a:cubicBezTo>
                    <a:pt x="97071" y="25211"/>
                    <a:pt x="97756" y="20414"/>
                    <a:pt x="92958" y="17901"/>
                  </a:cubicBezTo>
                  <a:lnTo>
                    <a:pt x="60981" y="1227"/>
                  </a:lnTo>
                  <a:cubicBezTo>
                    <a:pt x="54767" y="-1103"/>
                    <a:pt x="47847" y="-600"/>
                    <a:pt x="42022" y="2598"/>
                  </a:cubicBezTo>
                  <a:lnTo>
                    <a:pt x="4334" y="24297"/>
                  </a:lnTo>
                  <a:cubicBezTo>
                    <a:pt x="-1377" y="27495"/>
                    <a:pt x="-2063" y="32292"/>
                    <a:pt x="2735" y="34804"/>
                  </a:cubicBezTo>
                  <a:lnTo>
                    <a:pt x="34712" y="51479"/>
                  </a:lnTo>
                  <a:cubicBezTo>
                    <a:pt x="40926" y="53808"/>
                    <a:pt x="47847" y="53307"/>
                    <a:pt x="53671" y="50108"/>
                  </a:cubicBezTo>
                  <a:close/>
                </a:path>
              </a:pathLst>
            </a:custGeom>
            <a:solidFill>
              <a:srgbClr val="A2B7EB"/>
            </a:solidFill>
            <a:ln w="22838" cap="flat">
              <a:noFill/>
              <a:prstDash val="solid"/>
              <a:miter/>
            </a:ln>
          </p:spPr>
          <p:txBody>
            <a:bodyPr rtlCol="0" anchor="ctr"/>
            <a:lstStyle/>
            <a:p>
              <a:endParaRPr lang="zh-CN" altLang="en-US"/>
            </a:p>
          </p:txBody>
        </p:sp>
        <p:sp>
          <p:nvSpPr>
            <p:cNvPr id="336" name="任意多边形: 形状 335"/>
            <p:cNvSpPr/>
            <p:nvPr/>
          </p:nvSpPr>
          <p:spPr>
            <a:xfrm>
              <a:off x="6461409" y="4334956"/>
              <a:ext cx="96599" cy="53145"/>
            </a:xfrm>
            <a:custGeom>
              <a:avLst/>
              <a:gdLst>
                <a:gd name="connsiteX0" fmla="*/ 53671 w 96599"/>
                <a:gd name="connsiteY0" fmla="*/ 50109 h 53145"/>
                <a:gd name="connsiteX1" fmla="*/ 91361 w 96599"/>
                <a:gd name="connsiteY1" fmla="*/ 28409 h 53145"/>
                <a:gd name="connsiteX2" fmla="*/ 92960 w 96599"/>
                <a:gd name="connsiteY2" fmla="*/ 17902 h 53145"/>
                <a:gd name="connsiteX3" fmla="*/ 60981 w 96599"/>
                <a:gd name="connsiteY3" fmla="*/ 1227 h 53145"/>
                <a:gd name="connsiteX4" fmla="*/ 42023 w 96599"/>
                <a:gd name="connsiteY4" fmla="*/ 2597 h 53145"/>
                <a:gd name="connsiteX5" fmla="*/ 4334 w 96599"/>
                <a:gd name="connsiteY5" fmla="*/ 24297 h 53145"/>
                <a:gd name="connsiteX6" fmla="*/ 2735 w 96599"/>
                <a:gd name="connsiteY6" fmla="*/ 34804 h 53145"/>
                <a:gd name="connsiteX7" fmla="*/ 34714 w 96599"/>
                <a:gd name="connsiteY7" fmla="*/ 51479 h 53145"/>
                <a:gd name="connsiteX8" fmla="*/ 53671 w 96599"/>
                <a:gd name="connsiteY8" fmla="*/ 50109 h 5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599" h="53145">
                  <a:moveTo>
                    <a:pt x="53671" y="50109"/>
                  </a:moveTo>
                  <a:lnTo>
                    <a:pt x="91361" y="28409"/>
                  </a:lnTo>
                  <a:cubicBezTo>
                    <a:pt x="97071" y="25211"/>
                    <a:pt x="97756" y="20414"/>
                    <a:pt x="92960" y="17902"/>
                  </a:cubicBezTo>
                  <a:lnTo>
                    <a:pt x="60981" y="1227"/>
                  </a:lnTo>
                  <a:cubicBezTo>
                    <a:pt x="54769" y="-1103"/>
                    <a:pt x="47847" y="-600"/>
                    <a:pt x="42023" y="2597"/>
                  </a:cubicBezTo>
                  <a:lnTo>
                    <a:pt x="4334" y="24297"/>
                  </a:lnTo>
                  <a:cubicBezTo>
                    <a:pt x="-1377" y="27495"/>
                    <a:pt x="-2063" y="32292"/>
                    <a:pt x="2735" y="34804"/>
                  </a:cubicBezTo>
                  <a:lnTo>
                    <a:pt x="34714" y="51479"/>
                  </a:lnTo>
                  <a:cubicBezTo>
                    <a:pt x="40926" y="53809"/>
                    <a:pt x="47847" y="53306"/>
                    <a:pt x="53671" y="50109"/>
                  </a:cubicBezTo>
                  <a:close/>
                </a:path>
              </a:pathLst>
            </a:custGeom>
            <a:solidFill>
              <a:srgbClr val="A2B7EB"/>
            </a:solidFill>
            <a:ln w="22838" cap="flat">
              <a:noFill/>
              <a:prstDash val="solid"/>
              <a:miter/>
            </a:ln>
          </p:spPr>
          <p:txBody>
            <a:bodyPr rtlCol="0" anchor="ctr"/>
            <a:lstStyle/>
            <a:p>
              <a:endParaRPr lang="zh-CN" altLang="en-US"/>
            </a:p>
          </p:txBody>
        </p:sp>
        <p:sp>
          <p:nvSpPr>
            <p:cNvPr id="337" name="任意多边形: 形状 336"/>
            <p:cNvSpPr/>
            <p:nvPr/>
          </p:nvSpPr>
          <p:spPr>
            <a:xfrm>
              <a:off x="6382833" y="4380182"/>
              <a:ext cx="96599" cy="53284"/>
            </a:xfrm>
            <a:custGeom>
              <a:avLst/>
              <a:gdLst>
                <a:gd name="connsiteX0" fmla="*/ 53671 w 96599"/>
                <a:gd name="connsiteY0" fmla="*/ 50337 h 53284"/>
                <a:gd name="connsiteX1" fmla="*/ 91361 w 96599"/>
                <a:gd name="connsiteY1" fmla="*/ 28637 h 53284"/>
                <a:gd name="connsiteX2" fmla="*/ 92960 w 96599"/>
                <a:gd name="connsiteY2" fmla="*/ 18130 h 53284"/>
                <a:gd name="connsiteX3" fmla="*/ 60981 w 96599"/>
                <a:gd name="connsiteY3" fmla="*/ 1227 h 53284"/>
                <a:gd name="connsiteX4" fmla="*/ 42023 w 96599"/>
                <a:gd name="connsiteY4" fmla="*/ 2598 h 53284"/>
                <a:gd name="connsiteX5" fmla="*/ 4334 w 96599"/>
                <a:gd name="connsiteY5" fmla="*/ 24297 h 53284"/>
                <a:gd name="connsiteX6" fmla="*/ 2735 w 96599"/>
                <a:gd name="connsiteY6" fmla="*/ 34805 h 53284"/>
                <a:gd name="connsiteX7" fmla="*/ 34485 w 96599"/>
                <a:gd name="connsiteY7" fmla="*/ 51479 h 53284"/>
                <a:gd name="connsiteX8" fmla="*/ 53671 w 96599"/>
                <a:gd name="connsiteY8" fmla="*/ 50337 h 53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599" h="53284">
                  <a:moveTo>
                    <a:pt x="53671" y="50337"/>
                  </a:moveTo>
                  <a:lnTo>
                    <a:pt x="91361" y="28637"/>
                  </a:lnTo>
                  <a:cubicBezTo>
                    <a:pt x="97071" y="25211"/>
                    <a:pt x="97757" y="20643"/>
                    <a:pt x="92960" y="18130"/>
                  </a:cubicBezTo>
                  <a:lnTo>
                    <a:pt x="60981" y="1227"/>
                  </a:lnTo>
                  <a:cubicBezTo>
                    <a:pt x="54769" y="-1103"/>
                    <a:pt x="47847" y="-600"/>
                    <a:pt x="42023" y="2598"/>
                  </a:cubicBezTo>
                  <a:lnTo>
                    <a:pt x="4334" y="24297"/>
                  </a:lnTo>
                  <a:cubicBezTo>
                    <a:pt x="-1377" y="27495"/>
                    <a:pt x="-2063" y="32292"/>
                    <a:pt x="2735" y="34805"/>
                  </a:cubicBezTo>
                  <a:lnTo>
                    <a:pt x="34485" y="51479"/>
                  </a:lnTo>
                  <a:cubicBezTo>
                    <a:pt x="40743" y="53946"/>
                    <a:pt x="47756" y="53512"/>
                    <a:pt x="53671" y="50337"/>
                  </a:cubicBezTo>
                  <a:close/>
                </a:path>
              </a:pathLst>
            </a:custGeom>
            <a:solidFill>
              <a:srgbClr val="A2B7EB"/>
            </a:solidFill>
            <a:ln w="22838" cap="flat">
              <a:noFill/>
              <a:prstDash val="solid"/>
              <a:miter/>
            </a:ln>
          </p:spPr>
          <p:txBody>
            <a:bodyPr rtlCol="0" anchor="ctr"/>
            <a:lstStyle/>
            <a:p>
              <a:endParaRPr lang="zh-CN" altLang="en-US"/>
            </a:p>
          </p:txBody>
        </p:sp>
        <p:sp>
          <p:nvSpPr>
            <p:cNvPr id="338" name="任意多边形: 形状 337"/>
            <p:cNvSpPr/>
            <p:nvPr/>
          </p:nvSpPr>
          <p:spPr>
            <a:xfrm>
              <a:off x="6304030" y="4424217"/>
              <a:ext cx="96599" cy="53920"/>
            </a:xfrm>
            <a:custGeom>
              <a:avLst/>
              <a:gdLst>
                <a:gd name="connsiteX0" fmla="*/ 53672 w 96599"/>
                <a:gd name="connsiteY0" fmla="*/ 51529 h 53920"/>
                <a:gd name="connsiteX1" fmla="*/ 91360 w 96599"/>
                <a:gd name="connsiteY1" fmla="*/ 28688 h 53920"/>
                <a:gd name="connsiteX2" fmla="*/ 92959 w 96599"/>
                <a:gd name="connsiteY2" fmla="*/ 18180 h 53920"/>
                <a:gd name="connsiteX3" fmla="*/ 61209 w 96599"/>
                <a:gd name="connsiteY3" fmla="*/ 1277 h 53920"/>
                <a:gd name="connsiteX4" fmla="*/ 42023 w 96599"/>
                <a:gd name="connsiteY4" fmla="*/ 2648 h 53920"/>
                <a:gd name="connsiteX5" fmla="*/ 4333 w 96599"/>
                <a:gd name="connsiteY5" fmla="*/ 24348 h 53920"/>
                <a:gd name="connsiteX6" fmla="*/ 2734 w 96599"/>
                <a:gd name="connsiteY6" fmla="*/ 34855 h 53920"/>
                <a:gd name="connsiteX7" fmla="*/ 34713 w 96599"/>
                <a:gd name="connsiteY7" fmla="*/ 51757 h 53920"/>
                <a:gd name="connsiteX8" fmla="*/ 53672 w 96599"/>
                <a:gd name="connsiteY8" fmla="*/ 51529 h 53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599" h="53920">
                  <a:moveTo>
                    <a:pt x="53672" y="51529"/>
                  </a:moveTo>
                  <a:lnTo>
                    <a:pt x="91360" y="28688"/>
                  </a:lnTo>
                  <a:cubicBezTo>
                    <a:pt x="97071" y="25261"/>
                    <a:pt x="97756" y="20693"/>
                    <a:pt x="92959" y="18180"/>
                  </a:cubicBezTo>
                  <a:lnTo>
                    <a:pt x="61209" y="1277"/>
                  </a:lnTo>
                  <a:cubicBezTo>
                    <a:pt x="54928" y="-1121"/>
                    <a:pt x="47916" y="-619"/>
                    <a:pt x="42023" y="2648"/>
                  </a:cubicBezTo>
                  <a:lnTo>
                    <a:pt x="4333" y="24348"/>
                  </a:lnTo>
                  <a:cubicBezTo>
                    <a:pt x="-1377" y="27774"/>
                    <a:pt x="-2062" y="32342"/>
                    <a:pt x="2734" y="34855"/>
                  </a:cubicBezTo>
                  <a:lnTo>
                    <a:pt x="34713" y="51757"/>
                  </a:lnTo>
                  <a:cubicBezTo>
                    <a:pt x="40767" y="54430"/>
                    <a:pt x="47687" y="54338"/>
                    <a:pt x="53672" y="51529"/>
                  </a:cubicBezTo>
                  <a:close/>
                </a:path>
              </a:pathLst>
            </a:custGeom>
            <a:solidFill>
              <a:srgbClr val="A2B7EB"/>
            </a:solidFill>
            <a:ln w="22838" cap="flat">
              <a:noFill/>
              <a:prstDash val="solid"/>
              <a:miter/>
            </a:ln>
          </p:spPr>
          <p:txBody>
            <a:bodyPr rtlCol="0" anchor="ctr"/>
            <a:lstStyle/>
            <a:p>
              <a:endParaRPr lang="zh-CN" altLang="en-US"/>
            </a:p>
          </p:txBody>
        </p:sp>
        <p:sp>
          <p:nvSpPr>
            <p:cNvPr id="339" name="任意多边形: 形状 338"/>
            <p:cNvSpPr/>
            <p:nvPr/>
          </p:nvSpPr>
          <p:spPr>
            <a:xfrm>
              <a:off x="6225454" y="4470635"/>
              <a:ext cx="96599" cy="53374"/>
            </a:xfrm>
            <a:custGeom>
              <a:avLst/>
              <a:gdLst>
                <a:gd name="connsiteX0" fmla="*/ 53672 w 96599"/>
                <a:gd name="connsiteY0" fmla="*/ 50336 h 53374"/>
                <a:gd name="connsiteX1" fmla="*/ 91360 w 96599"/>
                <a:gd name="connsiteY1" fmla="*/ 28637 h 53374"/>
                <a:gd name="connsiteX2" fmla="*/ 92959 w 96599"/>
                <a:gd name="connsiteY2" fmla="*/ 18130 h 53374"/>
                <a:gd name="connsiteX3" fmla="*/ 60982 w 96599"/>
                <a:gd name="connsiteY3" fmla="*/ 1227 h 53374"/>
                <a:gd name="connsiteX4" fmla="*/ 42023 w 96599"/>
                <a:gd name="connsiteY4" fmla="*/ 2597 h 53374"/>
                <a:gd name="connsiteX5" fmla="*/ 4333 w 96599"/>
                <a:gd name="connsiteY5" fmla="*/ 24297 h 53374"/>
                <a:gd name="connsiteX6" fmla="*/ 2734 w 96599"/>
                <a:gd name="connsiteY6" fmla="*/ 34804 h 53374"/>
                <a:gd name="connsiteX7" fmla="*/ 34713 w 96599"/>
                <a:gd name="connsiteY7" fmla="*/ 51707 h 53374"/>
                <a:gd name="connsiteX8" fmla="*/ 53672 w 96599"/>
                <a:gd name="connsiteY8" fmla="*/ 50336 h 53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599" h="53374">
                  <a:moveTo>
                    <a:pt x="53672" y="50336"/>
                  </a:moveTo>
                  <a:lnTo>
                    <a:pt x="91360" y="28637"/>
                  </a:lnTo>
                  <a:cubicBezTo>
                    <a:pt x="97071" y="25439"/>
                    <a:pt x="97756" y="20643"/>
                    <a:pt x="92959" y="18130"/>
                  </a:cubicBezTo>
                  <a:lnTo>
                    <a:pt x="60982" y="1227"/>
                  </a:lnTo>
                  <a:cubicBezTo>
                    <a:pt x="54768" y="-1103"/>
                    <a:pt x="47847" y="-600"/>
                    <a:pt x="42023" y="2597"/>
                  </a:cubicBezTo>
                  <a:lnTo>
                    <a:pt x="4333" y="24297"/>
                  </a:lnTo>
                  <a:cubicBezTo>
                    <a:pt x="-1377" y="27723"/>
                    <a:pt x="-2062" y="32292"/>
                    <a:pt x="2734" y="34804"/>
                  </a:cubicBezTo>
                  <a:lnTo>
                    <a:pt x="34713" y="51707"/>
                  </a:lnTo>
                  <a:cubicBezTo>
                    <a:pt x="40925" y="54037"/>
                    <a:pt x="47847" y="53535"/>
                    <a:pt x="53672" y="50336"/>
                  </a:cubicBezTo>
                  <a:close/>
                </a:path>
              </a:pathLst>
            </a:custGeom>
            <a:solidFill>
              <a:srgbClr val="A2B7EB"/>
            </a:solidFill>
            <a:ln w="22838" cap="flat">
              <a:noFill/>
              <a:prstDash val="solid"/>
              <a:miter/>
            </a:ln>
          </p:spPr>
          <p:txBody>
            <a:bodyPr rtlCol="0" anchor="ctr"/>
            <a:lstStyle/>
            <a:p>
              <a:endParaRPr lang="zh-CN" altLang="en-US"/>
            </a:p>
          </p:txBody>
        </p:sp>
        <p:sp>
          <p:nvSpPr>
            <p:cNvPr id="340" name="任意多边形: 形状 339"/>
            <p:cNvSpPr/>
            <p:nvPr/>
          </p:nvSpPr>
          <p:spPr>
            <a:xfrm>
              <a:off x="6146879" y="4516090"/>
              <a:ext cx="96599" cy="53145"/>
            </a:xfrm>
            <a:custGeom>
              <a:avLst/>
              <a:gdLst>
                <a:gd name="connsiteX0" fmla="*/ 53672 w 96599"/>
                <a:gd name="connsiteY0" fmla="*/ 50109 h 53145"/>
                <a:gd name="connsiteX1" fmla="*/ 91360 w 96599"/>
                <a:gd name="connsiteY1" fmla="*/ 28409 h 53145"/>
                <a:gd name="connsiteX2" fmla="*/ 92959 w 96599"/>
                <a:gd name="connsiteY2" fmla="*/ 17902 h 53145"/>
                <a:gd name="connsiteX3" fmla="*/ 60982 w 96599"/>
                <a:gd name="connsiteY3" fmla="*/ 1227 h 53145"/>
                <a:gd name="connsiteX4" fmla="*/ 42023 w 96599"/>
                <a:gd name="connsiteY4" fmla="*/ 2597 h 53145"/>
                <a:gd name="connsiteX5" fmla="*/ 4333 w 96599"/>
                <a:gd name="connsiteY5" fmla="*/ 24297 h 53145"/>
                <a:gd name="connsiteX6" fmla="*/ 2734 w 96599"/>
                <a:gd name="connsiteY6" fmla="*/ 34804 h 53145"/>
                <a:gd name="connsiteX7" fmla="*/ 34713 w 96599"/>
                <a:gd name="connsiteY7" fmla="*/ 51479 h 53145"/>
                <a:gd name="connsiteX8" fmla="*/ 53672 w 96599"/>
                <a:gd name="connsiteY8" fmla="*/ 50109 h 5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599" h="53145">
                  <a:moveTo>
                    <a:pt x="53672" y="50109"/>
                  </a:moveTo>
                  <a:lnTo>
                    <a:pt x="91360" y="28409"/>
                  </a:lnTo>
                  <a:cubicBezTo>
                    <a:pt x="97071" y="25211"/>
                    <a:pt x="97756" y="20415"/>
                    <a:pt x="92959" y="17902"/>
                  </a:cubicBezTo>
                  <a:lnTo>
                    <a:pt x="60982" y="1227"/>
                  </a:lnTo>
                  <a:cubicBezTo>
                    <a:pt x="54768" y="-1103"/>
                    <a:pt x="47847" y="-600"/>
                    <a:pt x="42023" y="2597"/>
                  </a:cubicBezTo>
                  <a:lnTo>
                    <a:pt x="4333" y="24297"/>
                  </a:lnTo>
                  <a:cubicBezTo>
                    <a:pt x="-1377" y="27495"/>
                    <a:pt x="-2062" y="32063"/>
                    <a:pt x="2734" y="34804"/>
                  </a:cubicBezTo>
                  <a:lnTo>
                    <a:pt x="34713" y="51479"/>
                  </a:lnTo>
                  <a:cubicBezTo>
                    <a:pt x="40925" y="53809"/>
                    <a:pt x="47847" y="53306"/>
                    <a:pt x="53672" y="50109"/>
                  </a:cubicBezTo>
                  <a:close/>
                </a:path>
              </a:pathLst>
            </a:custGeom>
            <a:solidFill>
              <a:srgbClr val="A2B7EB"/>
            </a:solidFill>
            <a:ln w="22838" cap="flat">
              <a:noFill/>
              <a:prstDash val="solid"/>
              <a:miter/>
            </a:ln>
          </p:spPr>
          <p:txBody>
            <a:bodyPr rtlCol="0" anchor="ctr"/>
            <a:lstStyle/>
            <a:p>
              <a:endParaRPr lang="zh-CN" altLang="en-US"/>
            </a:p>
          </p:txBody>
        </p:sp>
        <p:sp>
          <p:nvSpPr>
            <p:cNvPr id="341" name="任意多边形: 形状 340"/>
            <p:cNvSpPr/>
            <p:nvPr/>
          </p:nvSpPr>
          <p:spPr>
            <a:xfrm>
              <a:off x="6068303" y="4561317"/>
              <a:ext cx="96599" cy="53912"/>
            </a:xfrm>
            <a:custGeom>
              <a:avLst/>
              <a:gdLst>
                <a:gd name="connsiteX0" fmla="*/ 53672 w 96599"/>
                <a:gd name="connsiteY0" fmla="*/ 50109 h 53912"/>
                <a:gd name="connsiteX1" fmla="*/ 91360 w 96599"/>
                <a:gd name="connsiteY1" fmla="*/ 28409 h 53912"/>
                <a:gd name="connsiteX2" fmla="*/ 92959 w 96599"/>
                <a:gd name="connsiteY2" fmla="*/ 17902 h 53912"/>
                <a:gd name="connsiteX3" fmla="*/ 60982 w 96599"/>
                <a:gd name="connsiteY3" fmla="*/ 1227 h 53912"/>
                <a:gd name="connsiteX4" fmla="*/ 42023 w 96599"/>
                <a:gd name="connsiteY4" fmla="*/ 2597 h 53912"/>
                <a:gd name="connsiteX5" fmla="*/ 4333 w 96599"/>
                <a:gd name="connsiteY5" fmla="*/ 25439 h 53912"/>
                <a:gd name="connsiteX6" fmla="*/ 2734 w 96599"/>
                <a:gd name="connsiteY6" fmla="*/ 35946 h 53912"/>
                <a:gd name="connsiteX7" fmla="*/ 34484 w 96599"/>
                <a:gd name="connsiteY7" fmla="*/ 52621 h 53912"/>
                <a:gd name="connsiteX8" fmla="*/ 53672 w 96599"/>
                <a:gd name="connsiteY8" fmla="*/ 50109 h 53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599" h="53912">
                  <a:moveTo>
                    <a:pt x="53672" y="50109"/>
                  </a:moveTo>
                  <a:lnTo>
                    <a:pt x="91360" y="28409"/>
                  </a:lnTo>
                  <a:cubicBezTo>
                    <a:pt x="97071" y="25210"/>
                    <a:pt x="97756" y="20414"/>
                    <a:pt x="92959" y="17902"/>
                  </a:cubicBezTo>
                  <a:lnTo>
                    <a:pt x="60982" y="1227"/>
                  </a:lnTo>
                  <a:cubicBezTo>
                    <a:pt x="54768" y="-1103"/>
                    <a:pt x="47847" y="-600"/>
                    <a:pt x="42023" y="2597"/>
                  </a:cubicBezTo>
                  <a:lnTo>
                    <a:pt x="4333" y="25439"/>
                  </a:lnTo>
                  <a:cubicBezTo>
                    <a:pt x="-1377" y="28637"/>
                    <a:pt x="-2062" y="33434"/>
                    <a:pt x="2734" y="35946"/>
                  </a:cubicBezTo>
                  <a:lnTo>
                    <a:pt x="34484" y="52621"/>
                  </a:lnTo>
                  <a:cubicBezTo>
                    <a:pt x="40925" y="54676"/>
                    <a:pt x="47962" y="53740"/>
                    <a:pt x="53672" y="50109"/>
                  </a:cubicBezTo>
                  <a:close/>
                </a:path>
              </a:pathLst>
            </a:custGeom>
            <a:solidFill>
              <a:srgbClr val="A2B7EB"/>
            </a:solidFill>
            <a:ln w="22838" cap="flat">
              <a:noFill/>
              <a:prstDash val="solid"/>
              <a:miter/>
            </a:ln>
          </p:spPr>
          <p:txBody>
            <a:bodyPr rtlCol="0" anchor="ctr"/>
            <a:lstStyle/>
            <a:p>
              <a:endParaRPr lang="zh-CN" altLang="en-US"/>
            </a:p>
          </p:txBody>
        </p:sp>
        <p:sp>
          <p:nvSpPr>
            <p:cNvPr id="342" name="任意多边形: 形状 341"/>
            <p:cNvSpPr/>
            <p:nvPr/>
          </p:nvSpPr>
          <p:spPr>
            <a:xfrm>
              <a:off x="5989499" y="4606494"/>
              <a:ext cx="96713" cy="53329"/>
            </a:xfrm>
            <a:custGeom>
              <a:avLst/>
              <a:gdLst>
                <a:gd name="connsiteX0" fmla="*/ 53672 w 96713"/>
                <a:gd name="connsiteY0" fmla="*/ 50158 h 53329"/>
                <a:gd name="connsiteX1" fmla="*/ 91589 w 96713"/>
                <a:gd name="connsiteY1" fmla="*/ 28459 h 53329"/>
                <a:gd name="connsiteX2" fmla="*/ 92959 w 96713"/>
                <a:gd name="connsiteY2" fmla="*/ 17951 h 53329"/>
                <a:gd name="connsiteX3" fmla="*/ 61210 w 96713"/>
                <a:gd name="connsiteY3" fmla="*/ 1277 h 53329"/>
                <a:gd name="connsiteX4" fmla="*/ 42022 w 96713"/>
                <a:gd name="connsiteY4" fmla="*/ 2648 h 53329"/>
                <a:gd name="connsiteX5" fmla="*/ 4333 w 96713"/>
                <a:gd name="connsiteY5" fmla="*/ 24347 h 53329"/>
                <a:gd name="connsiteX6" fmla="*/ 2735 w 96713"/>
                <a:gd name="connsiteY6" fmla="*/ 34855 h 53329"/>
                <a:gd name="connsiteX7" fmla="*/ 34713 w 96713"/>
                <a:gd name="connsiteY7" fmla="*/ 51529 h 53329"/>
                <a:gd name="connsiteX8" fmla="*/ 53672 w 96713"/>
                <a:gd name="connsiteY8" fmla="*/ 50158 h 53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713" h="53329">
                  <a:moveTo>
                    <a:pt x="53672" y="50158"/>
                  </a:moveTo>
                  <a:lnTo>
                    <a:pt x="91589" y="28459"/>
                  </a:lnTo>
                  <a:cubicBezTo>
                    <a:pt x="97072" y="25261"/>
                    <a:pt x="97985" y="20464"/>
                    <a:pt x="92959" y="17951"/>
                  </a:cubicBezTo>
                  <a:lnTo>
                    <a:pt x="61210" y="1277"/>
                  </a:lnTo>
                  <a:cubicBezTo>
                    <a:pt x="54928" y="-1121"/>
                    <a:pt x="47915" y="-619"/>
                    <a:pt x="42022" y="2648"/>
                  </a:cubicBezTo>
                  <a:lnTo>
                    <a:pt x="4333" y="24347"/>
                  </a:lnTo>
                  <a:cubicBezTo>
                    <a:pt x="-1377" y="27545"/>
                    <a:pt x="-2062" y="32342"/>
                    <a:pt x="2735" y="34855"/>
                  </a:cubicBezTo>
                  <a:lnTo>
                    <a:pt x="34713" y="51529"/>
                  </a:lnTo>
                  <a:cubicBezTo>
                    <a:pt x="40903" y="54042"/>
                    <a:pt x="47915" y="53539"/>
                    <a:pt x="53672" y="50158"/>
                  </a:cubicBezTo>
                  <a:close/>
                </a:path>
              </a:pathLst>
            </a:custGeom>
            <a:solidFill>
              <a:srgbClr val="A2B7EB"/>
            </a:solidFill>
            <a:ln w="22838" cap="flat">
              <a:noFill/>
              <a:prstDash val="solid"/>
              <a:miter/>
            </a:ln>
          </p:spPr>
          <p:txBody>
            <a:bodyPr rtlCol="0" anchor="ctr"/>
            <a:lstStyle/>
            <a:p>
              <a:endParaRPr lang="zh-CN" altLang="en-US"/>
            </a:p>
          </p:txBody>
        </p:sp>
        <p:sp>
          <p:nvSpPr>
            <p:cNvPr id="343" name="任意多边形: 形状 342"/>
            <p:cNvSpPr/>
            <p:nvPr/>
          </p:nvSpPr>
          <p:spPr>
            <a:xfrm>
              <a:off x="5910925" y="4650856"/>
              <a:ext cx="96598" cy="53642"/>
            </a:xfrm>
            <a:custGeom>
              <a:avLst/>
              <a:gdLst>
                <a:gd name="connsiteX0" fmla="*/ 53671 w 96598"/>
                <a:gd name="connsiteY0" fmla="*/ 51251 h 53642"/>
                <a:gd name="connsiteX1" fmla="*/ 91361 w 96598"/>
                <a:gd name="connsiteY1" fmla="*/ 28409 h 53642"/>
                <a:gd name="connsiteX2" fmla="*/ 92958 w 96598"/>
                <a:gd name="connsiteY2" fmla="*/ 17901 h 53642"/>
                <a:gd name="connsiteX3" fmla="*/ 60981 w 96598"/>
                <a:gd name="connsiteY3" fmla="*/ 1227 h 53642"/>
                <a:gd name="connsiteX4" fmla="*/ 42022 w 96598"/>
                <a:gd name="connsiteY4" fmla="*/ 2598 h 53642"/>
                <a:gd name="connsiteX5" fmla="*/ 4334 w 96598"/>
                <a:gd name="connsiteY5" fmla="*/ 24297 h 53642"/>
                <a:gd name="connsiteX6" fmla="*/ 2735 w 96598"/>
                <a:gd name="connsiteY6" fmla="*/ 34805 h 53642"/>
                <a:gd name="connsiteX7" fmla="*/ 34712 w 96598"/>
                <a:gd name="connsiteY7" fmla="*/ 51479 h 53642"/>
                <a:gd name="connsiteX8" fmla="*/ 53671 w 96598"/>
                <a:gd name="connsiteY8" fmla="*/ 51251 h 53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598" h="53642">
                  <a:moveTo>
                    <a:pt x="53671" y="51251"/>
                  </a:moveTo>
                  <a:lnTo>
                    <a:pt x="91361" y="28409"/>
                  </a:lnTo>
                  <a:cubicBezTo>
                    <a:pt x="97071" y="25211"/>
                    <a:pt x="97756" y="20642"/>
                    <a:pt x="92958" y="17901"/>
                  </a:cubicBezTo>
                  <a:lnTo>
                    <a:pt x="60981" y="1227"/>
                  </a:lnTo>
                  <a:cubicBezTo>
                    <a:pt x="54767" y="-1103"/>
                    <a:pt x="47847" y="-600"/>
                    <a:pt x="42022" y="2598"/>
                  </a:cubicBezTo>
                  <a:lnTo>
                    <a:pt x="4334" y="24297"/>
                  </a:lnTo>
                  <a:cubicBezTo>
                    <a:pt x="-1377" y="27495"/>
                    <a:pt x="-2063" y="32292"/>
                    <a:pt x="2735" y="34805"/>
                  </a:cubicBezTo>
                  <a:lnTo>
                    <a:pt x="34712" y="51479"/>
                  </a:lnTo>
                  <a:cubicBezTo>
                    <a:pt x="40766" y="54151"/>
                    <a:pt x="47686" y="54060"/>
                    <a:pt x="53671" y="51251"/>
                  </a:cubicBezTo>
                  <a:close/>
                </a:path>
              </a:pathLst>
            </a:custGeom>
            <a:solidFill>
              <a:srgbClr val="A2B7EB"/>
            </a:solidFill>
            <a:ln w="22838" cap="flat">
              <a:noFill/>
              <a:prstDash val="solid"/>
              <a:miter/>
            </a:ln>
          </p:spPr>
          <p:txBody>
            <a:bodyPr rtlCol="0" anchor="ctr"/>
            <a:lstStyle/>
            <a:p>
              <a:endParaRPr lang="zh-CN" altLang="en-US"/>
            </a:p>
          </p:txBody>
        </p:sp>
        <p:sp>
          <p:nvSpPr>
            <p:cNvPr id="344" name="任意多边形: 形状 343"/>
            <p:cNvSpPr/>
            <p:nvPr/>
          </p:nvSpPr>
          <p:spPr>
            <a:xfrm>
              <a:off x="5796467" y="4699887"/>
              <a:ext cx="127515" cy="70978"/>
            </a:xfrm>
            <a:custGeom>
              <a:avLst/>
              <a:gdLst>
                <a:gd name="connsiteX0" fmla="*/ 51408 w 127515"/>
                <a:gd name="connsiteY0" fmla="*/ 68232 h 70978"/>
                <a:gd name="connsiteX1" fmla="*/ 122446 w 127515"/>
                <a:gd name="connsiteY1" fmla="*/ 27345 h 70978"/>
                <a:gd name="connsiteX2" fmla="*/ 124045 w 127515"/>
                <a:gd name="connsiteY2" fmla="*/ 17295 h 70978"/>
                <a:gd name="connsiteX3" fmla="*/ 93436 w 127515"/>
                <a:gd name="connsiteY3" fmla="*/ 1077 h 70978"/>
                <a:gd name="connsiteX4" fmla="*/ 75163 w 127515"/>
                <a:gd name="connsiteY4" fmla="*/ 2448 h 70978"/>
                <a:gd name="connsiteX5" fmla="*/ 4126 w 127515"/>
                <a:gd name="connsiteY5" fmla="*/ 43335 h 70978"/>
                <a:gd name="connsiteX6" fmla="*/ 2755 w 127515"/>
                <a:gd name="connsiteY6" fmla="*/ 53385 h 70978"/>
                <a:gd name="connsiteX7" fmla="*/ 33135 w 127515"/>
                <a:gd name="connsiteY7" fmla="*/ 69374 h 70978"/>
                <a:gd name="connsiteX8" fmla="*/ 51408 w 127515"/>
                <a:gd name="connsiteY8" fmla="*/ 68232 h 70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7515" h="70978">
                  <a:moveTo>
                    <a:pt x="51408" y="68232"/>
                  </a:moveTo>
                  <a:lnTo>
                    <a:pt x="122446" y="27345"/>
                  </a:lnTo>
                  <a:cubicBezTo>
                    <a:pt x="127927" y="24148"/>
                    <a:pt x="128613" y="19579"/>
                    <a:pt x="124045" y="17295"/>
                  </a:cubicBezTo>
                  <a:lnTo>
                    <a:pt x="93436" y="1077"/>
                  </a:lnTo>
                  <a:cubicBezTo>
                    <a:pt x="87429" y="-1047"/>
                    <a:pt x="80805" y="-544"/>
                    <a:pt x="75163" y="2448"/>
                  </a:cubicBezTo>
                  <a:lnTo>
                    <a:pt x="4126" y="43335"/>
                  </a:lnTo>
                  <a:cubicBezTo>
                    <a:pt x="-1356" y="46532"/>
                    <a:pt x="-2042" y="50872"/>
                    <a:pt x="2755" y="53385"/>
                  </a:cubicBezTo>
                  <a:lnTo>
                    <a:pt x="33135" y="69374"/>
                  </a:lnTo>
                  <a:cubicBezTo>
                    <a:pt x="39119" y="71567"/>
                    <a:pt x="45742" y="71133"/>
                    <a:pt x="51408" y="68232"/>
                  </a:cubicBezTo>
                  <a:close/>
                </a:path>
              </a:pathLst>
            </a:custGeom>
            <a:solidFill>
              <a:srgbClr val="A2B7EB"/>
            </a:solidFill>
            <a:ln w="22838" cap="flat">
              <a:noFill/>
              <a:prstDash val="solid"/>
              <a:miter/>
            </a:ln>
          </p:spPr>
          <p:txBody>
            <a:bodyPr rtlCol="0" anchor="ctr"/>
            <a:lstStyle/>
            <a:p>
              <a:endParaRPr lang="zh-CN" altLang="en-US"/>
            </a:p>
          </p:txBody>
        </p:sp>
        <p:sp>
          <p:nvSpPr>
            <p:cNvPr id="345" name="任意多边形: 形状 344"/>
            <p:cNvSpPr/>
            <p:nvPr/>
          </p:nvSpPr>
          <p:spPr>
            <a:xfrm>
              <a:off x="6642430" y="4301930"/>
              <a:ext cx="96638" cy="53329"/>
            </a:xfrm>
            <a:custGeom>
              <a:avLst/>
              <a:gdLst>
                <a:gd name="connsiteX0" fmla="*/ 53785 w 96638"/>
                <a:gd name="connsiteY0" fmla="*/ 50242 h 53329"/>
                <a:gd name="connsiteX1" fmla="*/ 91474 w 96638"/>
                <a:gd name="connsiteY1" fmla="*/ 28542 h 53329"/>
                <a:gd name="connsiteX2" fmla="*/ 93073 w 96638"/>
                <a:gd name="connsiteY2" fmla="*/ 18035 h 53329"/>
                <a:gd name="connsiteX3" fmla="*/ 61094 w 96638"/>
                <a:gd name="connsiteY3" fmla="*/ 1360 h 53329"/>
                <a:gd name="connsiteX4" fmla="*/ 42137 w 96638"/>
                <a:gd name="connsiteY4" fmla="*/ 2731 h 53329"/>
                <a:gd name="connsiteX5" fmla="*/ 4219 w 96638"/>
                <a:gd name="connsiteY5" fmla="*/ 24431 h 53329"/>
                <a:gd name="connsiteX6" fmla="*/ 2848 w 96638"/>
                <a:gd name="connsiteY6" fmla="*/ 34938 h 53329"/>
                <a:gd name="connsiteX7" fmla="*/ 34599 w 96638"/>
                <a:gd name="connsiteY7" fmla="*/ 51612 h 53329"/>
                <a:gd name="connsiteX8" fmla="*/ 53785 w 96638"/>
                <a:gd name="connsiteY8" fmla="*/ 50242 h 53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638" h="53329">
                  <a:moveTo>
                    <a:pt x="53785" y="50242"/>
                  </a:moveTo>
                  <a:lnTo>
                    <a:pt x="91474" y="28542"/>
                  </a:lnTo>
                  <a:cubicBezTo>
                    <a:pt x="96956" y="25344"/>
                    <a:pt x="97871" y="20547"/>
                    <a:pt x="93073" y="18035"/>
                  </a:cubicBezTo>
                  <a:lnTo>
                    <a:pt x="61094" y="1360"/>
                  </a:lnTo>
                  <a:cubicBezTo>
                    <a:pt x="54904" y="-1152"/>
                    <a:pt x="47892" y="-649"/>
                    <a:pt x="42137" y="2731"/>
                  </a:cubicBezTo>
                  <a:lnTo>
                    <a:pt x="4219" y="24431"/>
                  </a:lnTo>
                  <a:cubicBezTo>
                    <a:pt x="-1263" y="27628"/>
                    <a:pt x="-2176" y="32425"/>
                    <a:pt x="2848" y="34938"/>
                  </a:cubicBezTo>
                  <a:lnTo>
                    <a:pt x="34599" y="51612"/>
                  </a:lnTo>
                  <a:cubicBezTo>
                    <a:pt x="40881" y="54010"/>
                    <a:pt x="47892" y="53508"/>
                    <a:pt x="53785" y="50242"/>
                  </a:cubicBezTo>
                  <a:close/>
                </a:path>
              </a:pathLst>
            </a:custGeom>
            <a:solidFill>
              <a:srgbClr val="A2B7EB"/>
            </a:solidFill>
            <a:ln w="22838" cap="flat">
              <a:noFill/>
              <a:prstDash val="solid"/>
              <a:miter/>
            </a:ln>
          </p:spPr>
          <p:txBody>
            <a:bodyPr rtlCol="0" anchor="ctr"/>
            <a:lstStyle/>
            <a:p>
              <a:endParaRPr lang="zh-CN" altLang="en-US"/>
            </a:p>
          </p:txBody>
        </p:sp>
        <p:sp>
          <p:nvSpPr>
            <p:cNvPr id="346" name="任意多边形: 形状 345"/>
            <p:cNvSpPr/>
            <p:nvPr/>
          </p:nvSpPr>
          <p:spPr>
            <a:xfrm>
              <a:off x="6721119" y="4256609"/>
              <a:ext cx="96599" cy="53374"/>
            </a:xfrm>
            <a:custGeom>
              <a:avLst/>
              <a:gdLst>
                <a:gd name="connsiteX0" fmla="*/ 53671 w 96599"/>
                <a:gd name="connsiteY0" fmla="*/ 50337 h 53374"/>
                <a:gd name="connsiteX1" fmla="*/ 91361 w 96599"/>
                <a:gd name="connsiteY1" fmla="*/ 28637 h 53374"/>
                <a:gd name="connsiteX2" fmla="*/ 92960 w 96599"/>
                <a:gd name="connsiteY2" fmla="*/ 18130 h 53374"/>
                <a:gd name="connsiteX3" fmla="*/ 60981 w 96599"/>
                <a:gd name="connsiteY3" fmla="*/ 1227 h 53374"/>
                <a:gd name="connsiteX4" fmla="*/ 42023 w 96599"/>
                <a:gd name="connsiteY4" fmla="*/ 2598 h 53374"/>
                <a:gd name="connsiteX5" fmla="*/ 4334 w 96599"/>
                <a:gd name="connsiteY5" fmla="*/ 24297 h 53374"/>
                <a:gd name="connsiteX6" fmla="*/ 2735 w 96599"/>
                <a:gd name="connsiteY6" fmla="*/ 34804 h 53374"/>
                <a:gd name="connsiteX7" fmla="*/ 34714 w 96599"/>
                <a:gd name="connsiteY7" fmla="*/ 51707 h 53374"/>
                <a:gd name="connsiteX8" fmla="*/ 53671 w 96599"/>
                <a:gd name="connsiteY8" fmla="*/ 50337 h 53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599" h="53374">
                  <a:moveTo>
                    <a:pt x="53671" y="50337"/>
                  </a:moveTo>
                  <a:lnTo>
                    <a:pt x="91361" y="28637"/>
                  </a:lnTo>
                  <a:cubicBezTo>
                    <a:pt x="97071" y="25211"/>
                    <a:pt x="97757" y="20643"/>
                    <a:pt x="92960" y="18130"/>
                  </a:cubicBezTo>
                  <a:lnTo>
                    <a:pt x="60981" y="1227"/>
                  </a:lnTo>
                  <a:cubicBezTo>
                    <a:pt x="54769" y="-1102"/>
                    <a:pt x="47848" y="-601"/>
                    <a:pt x="42023" y="2598"/>
                  </a:cubicBezTo>
                  <a:lnTo>
                    <a:pt x="4334" y="24297"/>
                  </a:lnTo>
                  <a:cubicBezTo>
                    <a:pt x="-1377" y="27724"/>
                    <a:pt x="-2063" y="32292"/>
                    <a:pt x="2735" y="34804"/>
                  </a:cubicBezTo>
                  <a:lnTo>
                    <a:pt x="34714" y="51707"/>
                  </a:lnTo>
                  <a:cubicBezTo>
                    <a:pt x="40926" y="54037"/>
                    <a:pt x="47848" y="53535"/>
                    <a:pt x="53671" y="50337"/>
                  </a:cubicBezTo>
                  <a:close/>
                </a:path>
              </a:pathLst>
            </a:custGeom>
            <a:solidFill>
              <a:srgbClr val="A2B7EB"/>
            </a:solidFill>
            <a:ln w="22838" cap="flat">
              <a:noFill/>
              <a:prstDash val="solid"/>
              <a:miter/>
            </a:ln>
          </p:spPr>
          <p:txBody>
            <a:bodyPr rtlCol="0" anchor="ctr"/>
            <a:lstStyle/>
            <a:p>
              <a:endParaRPr lang="zh-CN" altLang="en-US"/>
            </a:p>
          </p:txBody>
        </p:sp>
        <p:sp>
          <p:nvSpPr>
            <p:cNvPr id="347" name="任意多边形: 形状 346"/>
            <p:cNvSpPr/>
            <p:nvPr/>
          </p:nvSpPr>
          <p:spPr>
            <a:xfrm>
              <a:off x="6563283" y="4347290"/>
              <a:ext cx="96598" cy="53374"/>
            </a:xfrm>
            <a:custGeom>
              <a:avLst/>
              <a:gdLst>
                <a:gd name="connsiteX0" fmla="*/ 53671 w 96598"/>
                <a:gd name="connsiteY0" fmla="*/ 50337 h 53374"/>
                <a:gd name="connsiteX1" fmla="*/ 91361 w 96598"/>
                <a:gd name="connsiteY1" fmla="*/ 28637 h 53374"/>
                <a:gd name="connsiteX2" fmla="*/ 92958 w 96598"/>
                <a:gd name="connsiteY2" fmla="*/ 18130 h 53374"/>
                <a:gd name="connsiteX3" fmla="*/ 60981 w 96598"/>
                <a:gd name="connsiteY3" fmla="*/ 1227 h 53374"/>
                <a:gd name="connsiteX4" fmla="*/ 42022 w 96598"/>
                <a:gd name="connsiteY4" fmla="*/ 2598 h 53374"/>
                <a:gd name="connsiteX5" fmla="*/ 4334 w 96598"/>
                <a:gd name="connsiteY5" fmla="*/ 24297 h 53374"/>
                <a:gd name="connsiteX6" fmla="*/ 2735 w 96598"/>
                <a:gd name="connsiteY6" fmla="*/ 34804 h 53374"/>
                <a:gd name="connsiteX7" fmla="*/ 34712 w 96598"/>
                <a:gd name="connsiteY7" fmla="*/ 51707 h 53374"/>
                <a:gd name="connsiteX8" fmla="*/ 53671 w 96598"/>
                <a:gd name="connsiteY8" fmla="*/ 50337 h 53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598" h="53374">
                  <a:moveTo>
                    <a:pt x="53671" y="50337"/>
                  </a:moveTo>
                  <a:lnTo>
                    <a:pt x="91361" y="28637"/>
                  </a:lnTo>
                  <a:cubicBezTo>
                    <a:pt x="97071" y="25211"/>
                    <a:pt x="97756" y="20643"/>
                    <a:pt x="92958" y="18130"/>
                  </a:cubicBezTo>
                  <a:lnTo>
                    <a:pt x="60981" y="1227"/>
                  </a:lnTo>
                  <a:cubicBezTo>
                    <a:pt x="54767" y="-1102"/>
                    <a:pt x="47847" y="-601"/>
                    <a:pt x="42022" y="2598"/>
                  </a:cubicBezTo>
                  <a:lnTo>
                    <a:pt x="4334" y="24297"/>
                  </a:lnTo>
                  <a:cubicBezTo>
                    <a:pt x="-1377" y="27495"/>
                    <a:pt x="-2063" y="32292"/>
                    <a:pt x="2735" y="34804"/>
                  </a:cubicBezTo>
                  <a:lnTo>
                    <a:pt x="34712" y="51707"/>
                  </a:lnTo>
                  <a:cubicBezTo>
                    <a:pt x="40926" y="54037"/>
                    <a:pt x="47847" y="53535"/>
                    <a:pt x="53671" y="50337"/>
                  </a:cubicBezTo>
                  <a:close/>
                </a:path>
              </a:pathLst>
            </a:custGeom>
            <a:solidFill>
              <a:srgbClr val="A2B7EB"/>
            </a:solidFill>
            <a:ln w="22838" cap="flat">
              <a:noFill/>
              <a:prstDash val="solid"/>
              <a:miter/>
            </a:ln>
          </p:spPr>
          <p:txBody>
            <a:bodyPr rtlCol="0" anchor="ctr"/>
            <a:lstStyle/>
            <a:p>
              <a:endParaRPr lang="zh-CN" altLang="en-US"/>
            </a:p>
          </p:txBody>
        </p:sp>
        <p:sp>
          <p:nvSpPr>
            <p:cNvPr id="348" name="任意多边形: 形状 347"/>
            <p:cNvSpPr/>
            <p:nvPr/>
          </p:nvSpPr>
          <p:spPr>
            <a:xfrm>
              <a:off x="6484936" y="4390551"/>
              <a:ext cx="96598" cy="54286"/>
            </a:xfrm>
            <a:custGeom>
              <a:avLst/>
              <a:gdLst>
                <a:gd name="connsiteX0" fmla="*/ 53672 w 96598"/>
                <a:gd name="connsiteY0" fmla="*/ 51389 h 54286"/>
                <a:gd name="connsiteX1" fmla="*/ 91360 w 96598"/>
                <a:gd name="connsiteY1" fmla="*/ 28548 h 54286"/>
                <a:gd name="connsiteX2" fmla="*/ 92959 w 96598"/>
                <a:gd name="connsiteY2" fmla="*/ 18041 h 54286"/>
                <a:gd name="connsiteX3" fmla="*/ 61210 w 96598"/>
                <a:gd name="connsiteY3" fmla="*/ 1366 h 54286"/>
                <a:gd name="connsiteX4" fmla="*/ 42022 w 96598"/>
                <a:gd name="connsiteY4" fmla="*/ 2508 h 54286"/>
                <a:gd name="connsiteX5" fmla="*/ 4333 w 96598"/>
                <a:gd name="connsiteY5" fmla="*/ 25349 h 54286"/>
                <a:gd name="connsiteX6" fmla="*/ 2735 w 96598"/>
                <a:gd name="connsiteY6" fmla="*/ 35857 h 54286"/>
                <a:gd name="connsiteX7" fmla="*/ 34713 w 96598"/>
                <a:gd name="connsiteY7" fmla="*/ 52531 h 54286"/>
                <a:gd name="connsiteX8" fmla="*/ 53672 w 96598"/>
                <a:gd name="connsiteY8" fmla="*/ 51389 h 54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598" h="54286">
                  <a:moveTo>
                    <a:pt x="53672" y="51389"/>
                  </a:moveTo>
                  <a:lnTo>
                    <a:pt x="91360" y="28548"/>
                  </a:lnTo>
                  <a:cubicBezTo>
                    <a:pt x="97070" y="25349"/>
                    <a:pt x="97756" y="20553"/>
                    <a:pt x="92959" y="18041"/>
                  </a:cubicBezTo>
                  <a:lnTo>
                    <a:pt x="61210" y="1366"/>
                  </a:lnTo>
                  <a:cubicBezTo>
                    <a:pt x="54950" y="-1101"/>
                    <a:pt x="47938" y="-667"/>
                    <a:pt x="42022" y="2508"/>
                  </a:cubicBezTo>
                  <a:lnTo>
                    <a:pt x="4333" y="25349"/>
                  </a:lnTo>
                  <a:cubicBezTo>
                    <a:pt x="-1377" y="28548"/>
                    <a:pt x="-2062" y="33116"/>
                    <a:pt x="2735" y="35857"/>
                  </a:cubicBezTo>
                  <a:lnTo>
                    <a:pt x="34713" y="52531"/>
                  </a:lnTo>
                  <a:cubicBezTo>
                    <a:pt x="40903" y="54930"/>
                    <a:pt x="47825" y="54495"/>
                    <a:pt x="53672" y="51389"/>
                  </a:cubicBezTo>
                  <a:close/>
                </a:path>
              </a:pathLst>
            </a:custGeom>
            <a:solidFill>
              <a:srgbClr val="A2B7EB"/>
            </a:solidFill>
            <a:ln w="22838" cap="flat">
              <a:noFill/>
              <a:prstDash val="solid"/>
              <a:miter/>
            </a:ln>
          </p:spPr>
          <p:txBody>
            <a:bodyPr rtlCol="0" anchor="ctr"/>
            <a:lstStyle/>
            <a:p>
              <a:endParaRPr lang="zh-CN" altLang="en-US"/>
            </a:p>
          </p:txBody>
        </p:sp>
        <p:sp>
          <p:nvSpPr>
            <p:cNvPr id="349" name="任意多边形: 形状 348"/>
            <p:cNvSpPr/>
            <p:nvPr/>
          </p:nvSpPr>
          <p:spPr>
            <a:xfrm>
              <a:off x="6406361" y="4437515"/>
              <a:ext cx="96599" cy="53196"/>
            </a:xfrm>
            <a:custGeom>
              <a:avLst/>
              <a:gdLst>
                <a:gd name="connsiteX0" fmla="*/ 53672 w 96599"/>
                <a:gd name="connsiteY0" fmla="*/ 50108 h 53196"/>
                <a:gd name="connsiteX1" fmla="*/ 91361 w 96599"/>
                <a:gd name="connsiteY1" fmla="*/ 28409 h 53196"/>
                <a:gd name="connsiteX2" fmla="*/ 92959 w 96599"/>
                <a:gd name="connsiteY2" fmla="*/ 17902 h 53196"/>
                <a:gd name="connsiteX3" fmla="*/ 60981 w 96599"/>
                <a:gd name="connsiteY3" fmla="*/ 1227 h 53196"/>
                <a:gd name="connsiteX4" fmla="*/ 42022 w 96599"/>
                <a:gd name="connsiteY4" fmla="*/ 2598 h 53196"/>
                <a:gd name="connsiteX5" fmla="*/ 4333 w 96599"/>
                <a:gd name="connsiteY5" fmla="*/ 24297 h 53196"/>
                <a:gd name="connsiteX6" fmla="*/ 2735 w 96599"/>
                <a:gd name="connsiteY6" fmla="*/ 34804 h 53196"/>
                <a:gd name="connsiteX7" fmla="*/ 34484 w 96599"/>
                <a:gd name="connsiteY7" fmla="*/ 51479 h 53196"/>
                <a:gd name="connsiteX8" fmla="*/ 53672 w 96599"/>
                <a:gd name="connsiteY8" fmla="*/ 50108 h 53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599" h="53196">
                  <a:moveTo>
                    <a:pt x="53672" y="50108"/>
                  </a:moveTo>
                  <a:lnTo>
                    <a:pt x="91361" y="28409"/>
                  </a:lnTo>
                  <a:cubicBezTo>
                    <a:pt x="97072" y="25211"/>
                    <a:pt x="97756" y="20415"/>
                    <a:pt x="92959" y="17902"/>
                  </a:cubicBezTo>
                  <a:lnTo>
                    <a:pt x="60981" y="1227"/>
                  </a:lnTo>
                  <a:cubicBezTo>
                    <a:pt x="54768" y="-1103"/>
                    <a:pt x="47847" y="-600"/>
                    <a:pt x="42022" y="2598"/>
                  </a:cubicBezTo>
                  <a:lnTo>
                    <a:pt x="4333" y="24297"/>
                  </a:lnTo>
                  <a:cubicBezTo>
                    <a:pt x="-1377" y="27495"/>
                    <a:pt x="-2062" y="32292"/>
                    <a:pt x="2735" y="34804"/>
                  </a:cubicBezTo>
                  <a:lnTo>
                    <a:pt x="34484" y="51479"/>
                  </a:lnTo>
                  <a:cubicBezTo>
                    <a:pt x="40766" y="53878"/>
                    <a:pt x="47779" y="53375"/>
                    <a:pt x="53672" y="50108"/>
                  </a:cubicBezTo>
                  <a:close/>
                </a:path>
              </a:pathLst>
            </a:custGeom>
            <a:solidFill>
              <a:srgbClr val="A2B7EB"/>
            </a:solidFill>
            <a:ln w="22838" cap="flat">
              <a:noFill/>
              <a:prstDash val="solid"/>
              <a:miter/>
            </a:ln>
          </p:spPr>
          <p:txBody>
            <a:bodyPr rtlCol="0" anchor="ctr"/>
            <a:lstStyle/>
            <a:p>
              <a:endParaRPr lang="zh-CN" altLang="en-US"/>
            </a:p>
          </p:txBody>
        </p:sp>
        <p:sp>
          <p:nvSpPr>
            <p:cNvPr id="350" name="任意多边形: 形状 349"/>
            <p:cNvSpPr/>
            <p:nvPr/>
          </p:nvSpPr>
          <p:spPr>
            <a:xfrm>
              <a:off x="6327557" y="4482970"/>
              <a:ext cx="96599" cy="53374"/>
            </a:xfrm>
            <a:custGeom>
              <a:avLst/>
              <a:gdLst>
                <a:gd name="connsiteX0" fmla="*/ 53671 w 96599"/>
                <a:gd name="connsiteY0" fmla="*/ 50337 h 53374"/>
                <a:gd name="connsiteX1" fmla="*/ 91361 w 96599"/>
                <a:gd name="connsiteY1" fmla="*/ 28637 h 53374"/>
                <a:gd name="connsiteX2" fmla="*/ 92960 w 96599"/>
                <a:gd name="connsiteY2" fmla="*/ 18130 h 53374"/>
                <a:gd name="connsiteX3" fmla="*/ 60981 w 96599"/>
                <a:gd name="connsiteY3" fmla="*/ 1227 h 53374"/>
                <a:gd name="connsiteX4" fmla="*/ 42022 w 96599"/>
                <a:gd name="connsiteY4" fmla="*/ 2598 h 53374"/>
                <a:gd name="connsiteX5" fmla="*/ 4334 w 96599"/>
                <a:gd name="connsiteY5" fmla="*/ 24297 h 53374"/>
                <a:gd name="connsiteX6" fmla="*/ 2735 w 96599"/>
                <a:gd name="connsiteY6" fmla="*/ 34805 h 53374"/>
                <a:gd name="connsiteX7" fmla="*/ 34712 w 96599"/>
                <a:gd name="connsiteY7" fmla="*/ 51707 h 53374"/>
                <a:gd name="connsiteX8" fmla="*/ 53671 w 96599"/>
                <a:gd name="connsiteY8" fmla="*/ 50337 h 53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599" h="53374">
                  <a:moveTo>
                    <a:pt x="53671" y="50337"/>
                  </a:moveTo>
                  <a:lnTo>
                    <a:pt x="91361" y="28637"/>
                  </a:lnTo>
                  <a:cubicBezTo>
                    <a:pt x="97071" y="25211"/>
                    <a:pt x="97756" y="20643"/>
                    <a:pt x="92960" y="18130"/>
                  </a:cubicBezTo>
                  <a:lnTo>
                    <a:pt x="60981" y="1227"/>
                  </a:lnTo>
                  <a:cubicBezTo>
                    <a:pt x="54769" y="-1103"/>
                    <a:pt x="47847" y="-600"/>
                    <a:pt x="42022" y="2598"/>
                  </a:cubicBezTo>
                  <a:lnTo>
                    <a:pt x="4334" y="24297"/>
                  </a:lnTo>
                  <a:cubicBezTo>
                    <a:pt x="-1377" y="27724"/>
                    <a:pt x="-2063" y="32292"/>
                    <a:pt x="2735" y="34805"/>
                  </a:cubicBezTo>
                  <a:lnTo>
                    <a:pt x="34712" y="51707"/>
                  </a:lnTo>
                  <a:cubicBezTo>
                    <a:pt x="40926" y="54037"/>
                    <a:pt x="47847" y="53535"/>
                    <a:pt x="53671" y="50337"/>
                  </a:cubicBezTo>
                  <a:close/>
                </a:path>
              </a:pathLst>
            </a:custGeom>
            <a:solidFill>
              <a:srgbClr val="A2B7EB"/>
            </a:solidFill>
            <a:ln w="22838" cap="flat">
              <a:noFill/>
              <a:prstDash val="solid"/>
              <a:miter/>
            </a:ln>
          </p:spPr>
          <p:txBody>
            <a:bodyPr rtlCol="0" anchor="ctr"/>
            <a:lstStyle/>
            <a:p>
              <a:endParaRPr lang="zh-CN" altLang="en-US"/>
            </a:p>
          </p:txBody>
        </p:sp>
        <p:sp>
          <p:nvSpPr>
            <p:cNvPr id="351" name="任意多边形: 形状 350"/>
            <p:cNvSpPr/>
            <p:nvPr/>
          </p:nvSpPr>
          <p:spPr>
            <a:xfrm>
              <a:off x="6248753" y="4528832"/>
              <a:ext cx="96599" cy="53195"/>
            </a:xfrm>
            <a:custGeom>
              <a:avLst/>
              <a:gdLst>
                <a:gd name="connsiteX0" fmla="*/ 53671 w 96599"/>
                <a:gd name="connsiteY0" fmla="*/ 50158 h 53195"/>
                <a:gd name="connsiteX1" fmla="*/ 91361 w 96599"/>
                <a:gd name="connsiteY1" fmla="*/ 28458 h 53195"/>
                <a:gd name="connsiteX2" fmla="*/ 92960 w 96599"/>
                <a:gd name="connsiteY2" fmla="*/ 17951 h 53195"/>
                <a:gd name="connsiteX3" fmla="*/ 61209 w 96599"/>
                <a:gd name="connsiteY3" fmla="*/ 1277 h 53195"/>
                <a:gd name="connsiteX4" fmla="*/ 42022 w 96599"/>
                <a:gd name="connsiteY4" fmla="*/ 2648 h 53195"/>
                <a:gd name="connsiteX5" fmla="*/ 4334 w 96599"/>
                <a:gd name="connsiteY5" fmla="*/ 24347 h 53195"/>
                <a:gd name="connsiteX6" fmla="*/ 2735 w 96599"/>
                <a:gd name="connsiteY6" fmla="*/ 34854 h 53195"/>
                <a:gd name="connsiteX7" fmla="*/ 34714 w 96599"/>
                <a:gd name="connsiteY7" fmla="*/ 51529 h 53195"/>
                <a:gd name="connsiteX8" fmla="*/ 53671 w 96599"/>
                <a:gd name="connsiteY8" fmla="*/ 50158 h 53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599" h="53195">
                  <a:moveTo>
                    <a:pt x="53671" y="50158"/>
                  </a:moveTo>
                  <a:lnTo>
                    <a:pt x="91361" y="28458"/>
                  </a:lnTo>
                  <a:cubicBezTo>
                    <a:pt x="97071" y="25261"/>
                    <a:pt x="97756" y="20464"/>
                    <a:pt x="92960" y="17951"/>
                  </a:cubicBezTo>
                  <a:lnTo>
                    <a:pt x="61209" y="1277"/>
                  </a:lnTo>
                  <a:cubicBezTo>
                    <a:pt x="54927" y="-1121"/>
                    <a:pt x="47916" y="-619"/>
                    <a:pt x="42022" y="2648"/>
                  </a:cubicBezTo>
                  <a:lnTo>
                    <a:pt x="4334" y="24347"/>
                  </a:lnTo>
                  <a:cubicBezTo>
                    <a:pt x="-1377" y="27545"/>
                    <a:pt x="-2063" y="32342"/>
                    <a:pt x="2735" y="34854"/>
                  </a:cubicBezTo>
                  <a:lnTo>
                    <a:pt x="34714" y="51529"/>
                  </a:lnTo>
                  <a:cubicBezTo>
                    <a:pt x="40926" y="53858"/>
                    <a:pt x="47847" y="53356"/>
                    <a:pt x="53671" y="50158"/>
                  </a:cubicBezTo>
                  <a:close/>
                </a:path>
              </a:pathLst>
            </a:custGeom>
            <a:solidFill>
              <a:srgbClr val="A2B7EB"/>
            </a:solidFill>
            <a:ln w="22838" cap="flat">
              <a:noFill/>
              <a:prstDash val="solid"/>
              <a:miter/>
            </a:ln>
          </p:spPr>
          <p:txBody>
            <a:bodyPr rtlCol="0" anchor="ctr"/>
            <a:lstStyle/>
            <a:p>
              <a:endParaRPr lang="zh-CN" altLang="en-US"/>
            </a:p>
          </p:txBody>
        </p:sp>
        <p:sp>
          <p:nvSpPr>
            <p:cNvPr id="352" name="任意多边形: 形状 351"/>
            <p:cNvSpPr/>
            <p:nvPr/>
          </p:nvSpPr>
          <p:spPr>
            <a:xfrm>
              <a:off x="6170177" y="4573423"/>
              <a:ext cx="96599" cy="53320"/>
            </a:xfrm>
            <a:custGeom>
              <a:avLst/>
              <a:gdLst>
                <a:gd name="connsiteX0" fmla="*/ 53671 w 96599"/>
                <a:gd name="connsiteY0" fmla="*/ 51250 h 53320"/>
                <a:gd name="connsiteX1" fmla="*/ 91361 w 96599"/>
                <a:gd name="connsiteY1" fmla="*/ 28409 h 53320"/>
                <a:gd name="connsiteX2" fmla="*/ 92960 w 96599"/>
                <a:gd name="connsiteY2" fmla="*/ 18130 h 53320"/>
                <a:gd name="connsiteX3" fmla="*/ 60981 w 96599"/>
                <a:gd name="connsiteY3" fmla="*/ 1227 h 53320"/>
                <a:gd name="connsiteX4" fmla="*/ 42023 w 96599"/>
                <a:gd name="connsiteY4" fmla="*/ 2597 h 53320"/>
                <a:gd name="connsiteX5" fmla="*/ 4334 w 96599"/>
                <a:gd name="connsiteY5" fmla="*/ 24297 h 53320"/>
                <a:gd name="connsiteX6" fmla="*/ 2735 w 96599"/>
                <a:gd name="connsiteY6" fmla="*/ 34804 h 53320"/>
                <a:gd name="connsiteX7" fmla="*/ 35627 w 96599"/>
                <a:gd name="connsiteY7" fmla="*/ 51250 h 53320"/>
                <a:gd name="connsiteX8" fmla="*/ 53671 w 96599"/>
                <a:gd name="connsiteY8" fmla="*/ 51250 h 53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599" h="53320">
                  <a:moveTo>
                    <a:pt x="53671" y="51250"/>
                  </a:moveTo>
                  <a:lnTo>
                    <a:pt x="91361" y="28409"/>
                  </a:lnTo>
                  <a:cubicBezTo>
                    <a:pt x="97071" y="25210"/>
                    <a:pt x="97756" y="20643"/>
                    <a:pt x="92960" y="18130"/>
                  </a:cubicBezTo>
                  <a:lnTo>
                    <a:pt x="60981" y="1227"/>
                  </a:lnTo>
                  <a:cubicBezTo>
                    <a:pt x="54769" y="-1103"/>
                    <a:pt x="47847" y="-600"/>
                    <a:pt x="42023" y="2597"/>
                  </a:cubicBezTo>
                  <a:lnTo>
                    <a:pt x="4334" y="24297"/>
                  </a:lnTo>
                  <a:cubicBezTo>
                    <a:pt x="-1377" y="27495"/>
                    <a:pt x="-2063" y="32292"/>
                    <a:pt x="2735" y="34804"/>
                  </a:cubicBezTo>
                  <a:lnTo>
                    <a:pt x="35627" y="51250"/>
                  </a:lnTo>
                  <a:cubicBezTo>
                    <a:pt x="41383" y="53717"/>
                    <a:pt x="47916" y="53717"/>
                    <a:pt x="53671" y="51250"/>
                  </a:cubicBezTo>
                  <a:close/>
                </a:path>
              </a:pathLst>
            </a:custGeom>
            <a:solidFill>
              <a:srgbClr val="A2B7EB"/>
            </a:solidFill>
            <a:ln w="22838" cap="flat">
              <a:noFill/>
              <a:prstDash val="solid"/>
              <a:miter/>
            </a:ln>
          </p:spPr>
          <p:txBody>
            <a:bodyPr rtlCol="0" anchor="ctr"/>
            <a:lstStyle/>
            <a:p>
              <a:endParaRPr lang="zh-CN" altLang="en-US"/>
            </a:p>
          </p:txBody>
        </p:sp>
        <p:sp>
          <p:nvSpPr>
            <p:cNvPr id="353" name="任意多边形: 形状 352"/>
            <p:cNvSpPr/>
            <p:nvPr/>
          </p:nvSpPr>
          <p:spPr>
            <a:xfrm>
              <a:off x="6091602" y="4618876"/>
              <a:ext cx="96599" cy="53821"/>
            </a:xfrm>
            <a:custGeom>
              <a:avLst/>
              <a:gdLst>
                <a:gd name="connsiteX0" fmla="*/ 53444 w 96599"/>
                <a:gd name="connsiteY0" fmla="*/ 51481 h 53821"/>
                <a:gd name="connsiteX1" fmla="*/ 91361 w 96599"/>
                <a:gd name="connsiteY1" fmla="*/ 28639 h 53821"/>
                <a:gd name="connsiteX2" fmla="*/ 92960 w 96599"/>
                <a:gd name="connsiteY2" fmla="*/ 18132 h 53821"/>
                <a:gd name="connsiteX3" fmla="*/ 60981 w 96599"/>
                <a:gd name="connsiteY3" fmla="*/ 1457 h 53821"/>
                <a:gd name="connsiteX4" fmla="*/ 42023 w 96599"/>
                <a:gd name="connsiteY4" fmla="*/ 2599 h 53821"/>
                <a:gd name="connsiteX5" fmla="*/ 4334 w 96599"/>
                <a:gd name="connsiteY5" fmla="*/ 24299 h 53821"/>
                <a:gd name="connsiteX6" fmla="*/ 2735 w 96599"/>
                <a:gd name="connsiteY6" fmla="*/ 34806 h 53821"/>
                <a:gd name="connsiteX7" fmla="*/ 34714 w 96599"/>
                <a:gd name="connsiteY7" fmla="*/ 51709 h 53821"/>
                <a:gd name="connsiteX8" fmla="*/ 53444 w 96599"/>
                <a:gd name="connsiteY8" fmla="*/ 51481 h 53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599" h="53821">
                  <a:moveTo>
                    <a:pt x="53444" y="51481"/>
                  </a:moveTo>
                  <a:lnTo>
                    <a:pt x="91361" y="28639"/>
                  </a:lnTo>
                  <a:cubicBezTo>
                    <a:pt x="97071" y="25441"/>
                    <a:pt x="97757" y="20644"/>
                    <a:pt x="92960" y="18132"/>
                  </a:cubicBezTo>
                  <a:lnTo>
                    <a:pt x="60981" y="1457"/>
                  </a:lnTo>
                  <a:cubicBezTo>
                    <a:pt x="54837" y="-1124"/>
                    <a:pt x="47824" y="-713"/>
                    <a:pt x="42023" y="2599"/>
                  </a:cubicBezTo>
                  <a:lnTo>
                    <a:pt x="4334" y="24299"/>
                  </a:lnTo>
                  <a:cubicBezTo>
                    <a:pt x="-1377" y="27725"/>
                    <a:pt x="-2063" y="32294"/>
                    <a:pt x="2735" y="34806"/>
                  </a:cubicBezTo>
                  <a:lnTo>
                    <a:pt x="34714" y="51709"/>
                  </a:lnTo>
                  <a:cubicBezTo>
                    <a:pt x="40697" y="54313"/>
                    <a:pt x="47527" y="54222"/>
                    <a:pt x="53444" y="51481"/>
                  </a:cubicBezTo>
                  <a:close/>
                </a:path>
              </a:pathLst>
            </a:custGeom>
            <a:solidFill>
              <a:srgbClr val="A2B7EB"/>
            </a:solidFill>
            <a:ln w="22838" cap="flat">
              <a:noFill/>
              <a:prstDash val="solid"/>
              <a:miter/>
            </a:ln>
          </p:spPr>
          <p:txBody>
            <a:bodyPr rtlCol="0" anchor="ctr"/>
            <a:lstStyle/>
            <a:p>
              <a:endParaRPr lang="zh-CN" altLang="en-US"/>
            </a:p>
          </p:txBody>
        </p:sp>
        <p:sp>
          <p:nvSpPr>
            <p:cNvPr id="354" name="任意多边形: 形状 353"/>
            <p:cNvSpPr/>
            <p:nvPr/>
          </p:nvSpPr>
          <p:spPr>
            <a:xfrm>
              <a:off x="6012570" y="4664512"/>
              <a:ext cx="96713" cy="53329"/>
            </a:xfrm>
            <a:custGeom>
              <a:avLst/>
              <a:gdLst>
                <a:gd name="connsiteX0" fmla="*/ 53672 w 96713"/>
                <a:gd name="connsiteY0" fmla="*/ 50158 h 53329"/>
                <a:gd name="connsiteX1" fmla="*/ 91589 w 96713"/>
                <a:gd name="connsiteY1" fmla="*/ 28458 h 53329"/>
                <a:gd name="connsiteX2" fmla="*/ 92959 w 96713"/>
                <a:gd name="connsiteY2" fmla="*/ 17951 h 53329"/>
                <a:gd name="connsiteX3" fmla="*/ 61209 w 96713"/>
                <a:gd name="connsiteY3" fmla="*/ 1277 h 53329"/>
                <a:gd name="connsiteX4" fmla="*/ 42023 w 96713"/>
                <a:gd name="connsiteY4" fmla="*/ 2647 h 53329"/>
                <a:gd name="connsiteX5" fmla="*/ 4333 w 96713"/>
                <a:gd name="connsiteY5" fmla="*/ 24347 h 53329"/>
                <a:gd name="connsiteX6" fmla="*/ 2734 w 96713"/>
                <a:gd name="connsiteY6" fmla="*/ 34854 h 53329"/>
                <a:gd name="connsiteX7" fmla="*/ 34713 w 96713"/>
                <a:gd name="connsiteY7" fmla="*/ 51529 h 53329"/>
                <a:gd name="connsiteX8" fmla="*/ 53672 w 96713"/>
                <a:gd name="connsiteY8" fmla="*/ 50158 h 53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713" h="53329">
                  <a:moveTo>
                    <a:pt x="53672" y="50158"/>
                  </a:moveTo>
                  <a:lnTo>
                    <a:pt x="91589" y="28458"/>
                  </a:lnTo>
                  <a:cubicBezTo>
                    <a:pt x="97071" y="25261"/>
                    <a:pt x="97985" y="20464"/>
                    <a:pt x="92959" y="17951"/>
                  </a:cubicBezTo>
                  <a:lnTo>
                    <a:pt x="61209" y="1277"/>
                  </a:lnTo>
                  <a:cubicBezTo>
                    <a:pt x="54928" y="-1121"/>
                    <a:pt x="47916" y="-619"/>
                    <a:pt x="42023" y="2647"/>
                  </a:cubicBezTo>
                  <a:lnTo>
                    <a:pt x="4333" y="24347"/>
                  </a:lnTo>
                  <a:cubicBezTo>
                    <a:pt x="-1377" y="27545"/>
                    <a:pt x="-2062" y="32342"/>
                    <a:pt x="2734" y="34854"/>
                  </a:cubicBezTo>
                  <a:lnTo>
                    <a:pt x="34713" y="51529"/>
                  </a:lnTo>
                  <a:cubicBezTo>
                    <a:pt x="40903" y="54041"/>
                    <a:pt x="47916" y="53539"/>
                    <a:pt x="53672" y="50158"/>
                  </a:cubicBezTo>
                  <a:close/>
                </a:path>
              </a:pathLst>
            </a:custGeom>
            <a:solidFill>
              <a:srgbClr val="A2B7EB"/>
            </a:solidFill>
            <a:ln w="22838" cap="flat">
              <a:noFill/>
              <a:prstDash val="solid"/>
              <a:miter/>
            </a:ln>
          </p:spPr>
          <p:txBody>
            <a:bodyPr rtlCol="0" anchor="ctr"/>
            <a:lstStyle/>
            <a:p>
              <a:endParaRPr lang="zh-CN" altLang="en-US"/>
            </a:p>
          </p:txBody>
        </p:sp>
        <p:sp>
          <p:nvSpPr>
            <p:cNvPr id="355" name="任意多边形: 形状 354"/>
            <p:cNvSpPr/>
            <p:nvPr/>
          </p:nvSpPr>
          <p:spPr>
            <a:xfrm>
              <a:off x="5933994" y="4709788"/>
              <a:ext cx="96599" cy="54084"/>
            </a:xfrm>
            <a:custGeom>
              <a:avLst/>
              <a:gdLst>
                <a:gd name="connsiteX0" fmla="*/ 53672 w 96599"/>
                <a:gd name="connsiteY0" fmla="*/ 50336 h 54084"/>
                <a:gd name="connsiteX1" fmla="*/ 91360 w 96599"/>
                <a:gd name="connsiteY1" fmla="*/ 28637 h 54084"/>
                <a:gd name="connsiteX2" fmla="*/ 92959 w 96599"/>
                <a:gd name="connsiteY2" fmla="*/ 18130 h 54084"/>
                <a:gd name="connsiteX3" fmla="*/ 60982 w 96599"/>
                <a:gd name="connsiteY3" fmla="*/ 1227 h 54084"/>
                <a:gd name="connsiteX4" fmla="*/ 42023 w 96599"/>
                <a:gd name="connsiteY4" fmla="*/ 2597 h 54084"/>
                <a:gd name="connsiteX5" fmla="*/ 4333 w 96599"/>
                <a:gd name="connsiteY5" fmla="*/ 25439 h 54084"/>
                <a:gd name="connsiteX6" fmla="*/ 2734 w 96599"/>
                <a:gd name="connsiteY6" fmla="*/ 35946 h 54084"/>
                <a:gd name="connsiteX7" fmla="*/ 34713 w 96599"/>
                <a:gd name="connsiteY7" fmla="*/ 52849 h 54084"/>
                <a:gd name="connsiteX8" fmla="*/ 53672 w 96599"/>
                <a:gd name="connsiteY8" fmla="*/ 50336 h 5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599" h="54084">
                  <a:moveTo>
                    <a:pt x="53672" y="50336"/>
                  </a:moveTo>
                  <a:lnTo>
                    <a:pt x="91360" y="28637"/>
                  </a:lnTo>
                  <a:cubicBezTo>
                    <a:pt x="97071" y="25210"/>
                    <a:pt x="97756" y="20643"/>
                    <a:pt x="92959" y="18130"/>
                  </a:cubicBezTo>
                  <a:lnTo>
                    <a:pt x="60982" y="1227"/>
                  </a:lnTo>
                  <a:cubicBezTo>
                    <a:pt x="54768" y="-1103"/>
                    <a:pt x="47847" y="-600"/>
                    <a:pt x="42023" y="2597"/>
                  </a:cubicBezTo>
                  <a:lnTo>
                    <a:pt x="4333" y="25439"/>
                  </a:lnTo>
                  <a:cubicBezTo>
                    <a:pt x="-1377" y="28865"/>
                    <a:pt x="-2062" y="33434"/>
                    <a:pt x="2734" y="35946"/>
                  </a:cubicBezTo>
                  <a:lnTo>
                    <a:pt x="34713" y="52849"/>
                  </a:lnTo>
                  <a:cubicBezTo>
                    <a:pt x="41086" y="54814"/>
                    <a:pt x="48030" y="53900"/>
                    <a:pt x="53672" y="50336"/>
                  </a:cubicBezTo>
                  <a:close/>
                </a:path>
              </a:pathLst>
            </a:custGeom>
            <a:solidFill>
              <a:srgbClr val="A2B7EB"/>
            </a:solidFill>
            <a:ln w="22838" cap="flat">
              <a:noFill/>
              <a:prstDash val="solid"/>
              <a:miter/>
            </a:ln>
          </p:spPr>
          <p:txBody>
            <a:bodyPr rtlCol="0" anchor="ctr"/>
            <a:lstStyle/>
            <a:p>
              <a:endParaRPr lang="zh-CN" altLang="en-US"/>
            </a:p>
          </p:txBody>
        </p:sp>
        <p:sp>
          <p:nvSpPr>
            <p:cNvPr id="356" name="任意多边形: 形状 355"/>
            <p:cNvSpPr/>
            <p:nvPr/>
          </p:nvSpPr>
          <p:spPr>
            <a:xfrm>
              <a:off x="5855191" y="4754508"/>
              <a:ext cx="96598" cy="53424"/>
            </a:xfrm>
            <a:custGeom>
              <a:avLst/>
              <a:gdLst>
                <a:gd name="connsiteX0" fmla="*/ 53671 w 96598"/>
                <a:gd name="connsiteY0" fmla="*/ 50387 h 53424"/>
                <a:gd name="connsiteX1" fmla="*/ 91361 w 96598"/>
                <a:gd name="connsiteY1" fmla="*/ 28687 h 53424"/>
                <a:gd name="connsiteX2" fmla="*/ 92958 w 96598"/>
                <a:gd name="connsiteY2" fmla="*/ 18180 h 53424"/>
                <a:gd name="connsiteX3" fmla="*/ 61209 w 96598"/>
                <a:gd name="connsiteY3" fmla="*/ 1277 h 53424"/>
                <a:gd name="connsiteX4" fmla="*/ 42022 w 96598"/>
                <a:gd name="connsiteY4" fmla="*/ 2647 h 53424"/>
                <a:gd name="connsiteX5" fmla="*/ 4334 w 96598"/>
                <a:gd name="connsiteY5" fmla="*/ 24347 h 53424"/>
                <a:gd name="connsiteX6" fmla="*/ 2735 w 96598"/>
                <a:gd name="connsiteY6" fmla="*/ 34854 h 53424"/>
                <a:gd name="connsiteX7" fmla="*/ 34712 w 96598"/>
                <a:gd name="connsiteY7" fmla="*/ 51757 h 53424"/>
                <a:gd name="connsiteX8" fmla="*/ 53671 w 96598"/>
                <a:gd name="connsiteY8" fmla="*/ 50387 h 53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598" h="53424">
                  <a:moveTo>
                    <a:pt x="53671" y="50387"/>
                  </a:moveTo>
                  <a:lnTo>
                    <a:pt x="91361" y="28687"/>
                  </a:lnTo>
                  <a:cubicBezTo>
                    <a:pt x="97071" y="25261"/>
                    <a:pt x="97756" y="20692"/>
                    <a:pt x="92958" y="18180"/>
                  </a:cubicBezTo>
                  <a:lnTo>
                    <a:pt x="61209" y="1277"/>
                  </a:lnTo>
                  <a:cubicBezTo>
                    <a:pt x="54927" y="-1121"/>
                    <a:pt x="47915" y="-619"/>
                    <a:pt x="42022" y="2647"/>
                  </a:cubicBezTo>
                  <a:lnTo>
                    <a:pt x="4334" y="24347"/>
                  </a:lnTo>
                  <a:cubicBezTo>
                    <a:pt x="-1377" y="27545"/>
                    <a:pt x="-2063" y="32342"/>
                    <a:pt x="2735" y="34854"/>
                  </a:cubicBezTo>
                  <a:lnTo>
                    <a:pt x="34712" y="51757"/>
                  </a:lnTo>
                  <a:cubicBezTo>
                    <a:pt x="40926" y="54087"/>
                    <a:pt x="47847" y="53584"/>
                    <a:pt x="53671" y="50387"/>
                  </a:cubicBezTo>
                  <a:close/>
                </a:path>
              </a:pathLst>
            </a:custGeom>
            <a:solidFill>
              <a:srgbClr val="A2B7EB"/>
            </a:solidFill>
            <a:ln w="22838" cap="flat">
              <a:noFill/>
              <a:prstDash val="solid"/>
              <a:miter/>
            </a:ln>
          </p:spPr>
          <p:txBody>
            <a:bodyPr rtlCol="0" anchor="ctr"/>
            <a:lstStyle/>
            <a:p>
              <a:endParaRPr lang="zh-CN" altLang="en-US"/>
            </a:p>
          </p:txBody>
        </p:sp>
        <p:sp>
          <p:nvSpPr>
            <p:cNvPr id="357" name="任意多边形: 形状 356"/>
            <p:cNvSpPr/>
            <p:nvPr/>
          </p:nvSpPr>
          <p:spPr>
            <a:xfrm>
              <a:off x="6802605" y="4191003"/>
              <a:ext cx="127515" cy="72308"/>
            </a:xfrm>
            <a:custGeom>
              <a:avLst/>
              <a:gdLst>
                <a:gd name="connsiteX0" fmla="*/ 51447 w 127515"/>
                <a:gd name="connsiteY0" fmla="*/ 68203 h 72308"/>
                <a:gd name="connsiteX1" fmla="*/ 122484 w 127515"/>
                <a:gd name="connsiteY1" fmla="*/ 27316 h 72308"/>
                <a:gd name="connsiteX2" fmla="*/ 123855 w 127515"/>
                <a:gd name="connsiteY2" fmla="*/ 17266 h 72308"/>
                <a:gd name="connsiteX3" fmla="*/ 93475 w 127515"/>
                <a:gd name="connsiteY3" fmla="*/ 1277 h 72308"/>
                <a:gd name="connsiteX4" fmla="*/ 75202 w 127515"/>
                <a:gd name="connsiteY4" fmla="*/ 2648 h 72308"/>
                <a:gd name="connsiteX5" fmla="*/ 4164 w 127515"/>
                <a:gd name="connsiteY5" fmla="*/ 45362 h 72308"/>
                <a:gd name="connsiteX6" fmla="*/ 2565 w 127515"/>
                <a:gd name="connsiteY6" fmla="*/ 55412 h 72308"/>
                <a:gd name="connsiteX7" fmla="*/ 33174 w 127515"/>
                <a:gd name="connsiteY7" fmla="*/ 71401 h 72308"/>
                <a:gd name="connsiteX8" fmla="*/ 51447 w 127515"/>
                <a:gd name="connsiteY8" fmla="*/ 68203 h 72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7515" h="72308">
                  <a:moveTo>
                    <a:pt x="51447" y="68203"/>
                  </a:moveTo>
                  <a:lnTo>
                    <a:pt x="122484" y="27316"/>
                  </a:lnTo>
                  <a:cubicBezTo>
                    <a:pt x="127966" y="24119"/>
                    <a:pt x="128652" y="19779"/>
                    <a:pt x="123855" y="17266"/>
                  </a:cubicBezTo>
                  <a:lnTo>
                    <a:pt x="93475" y="1277"/>
                  </a:lnTo>
                  <a:cubicBezTo>
                    <a:pt x="87491" y="-1121"/>
                    <a:pt x="80753" y="-619"/>
                    <a:pt x="75202" y="2648"/>
                  </a:cubicBezTo>
                  <a:lnTo>
                    <a:pt x="4164" y="45362"/>
                  </a:lnTo>
                  <a:cubicBezTo>
                    <a:pt x="-1317" y="48331"/>
                    <a:pt x="-2003" y="52899"/>
                    <a:pt x="2565" y="55412"/>
                  </a:cubicBezTo>
                  <a:lnTo>
                    <a:pt x="33174" y="71401"/>
                  </a:lnTo>
                  <a:cubicBezTo>
                    <a:pt x="39432" y="72978"/>
                    <a:pt x="46080" y="71812"/>
                    <a:pt x="51447" y="68203"/>
                  </a:cubicBezTo>
                  <a:close/>
                </a:path>
              </a:pathLst>
            </a:custGeom>
            <a:solidFill>
              <a:srgbClr val="A2B7EB"/>
            </a:solidFill>
            <a:ln w="22838" cap="flat">
              <a:noFill/>
              <a:prstDash val="solid"/>
              <a:miter/>
            </a:ln>
          </p:spPr>
          <p:txBody>
            <a:bodyPr rtlCol="0" anchor="ctr"/>
            <a:lstStyle/>
            <a:p>
              <a:endParaRPr lang="zh-CN" altLang="en-US"/>
            </a:p>
          </p:txBody>
        </p:sp>
        <p:sp>
          <p:nvSpPr>
            <p:cNvPr id="358" name="任意多边形: 形状 357"/>
            <p:cNvSpPr/>
            <p:nvPr/>
          </p:nvSpPr>
          <p:spPr>
            <a:xfrm>
              <a:off x="6688228" y="4344776"/>
              <a:ext cx="96599" cy="53872"/>
            </a:xfrm>
            <a:custGeom>
              <a:avLst/>
              <a:gdLst>
                <a:gd name="connsiteX0" fmla="*/ 53671 w 96599"/>
                <a:gd name="connsiteY0" fmla="*/ 51481 h 53872"/>
                <a:gd name="connsiteX1" fmla="*/ 91360 w 96599"/>
                <a:gd name="connsiteY1" fmla="*/ 28639 h 53872"/>
                <a:gd name="connsiteX2" fmla="*/ 92959 w 96599"/>
                <a:gd name="connsiteY2" fmla="*/ 18132 h 53872"/>
                <a:gd name="connsiteX3" fmla="*/ 60980 w 96599"/>
                <a:gd name="connsiteY3" fmla="*/ 1457 h 53872"/>
                <a:gd name="connsiteX4" fmla="*/ 42023 w 96599"/>
                <a:gd name="connsiteY4" fmla="*/ 2599 h 53872"/>
                <a:gd name="connsiteX5" fmla="*/ 4333 w 96599"/>
                <a:gd name="connsiteY5" fmla="*/ 24299 h 53872"/>
                <a:gd name="connsiteX6" fmla="*/ 2734 w 96599"/>
                <a:gd name="connsiteY6" fmla="*/ 34806 h 53872"/>
                <a:gd name="connsiteX7" fmla="*/ 34713 w 96599"/>
                <a:gd name="connsiteY7" fmla="*/ 51709 h 53872"/>
                <a:gd name="connsiteX8" fmla="*/ 53671 w 96599"/>
                <a:gd name="connsiteY8" fmla="*/ 51481 h 53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599" h="53872">
                  <a:moveTo>
                    <a:pt x="53671" y="51481"/>
                  </a:moveTo>
                  <a:lnTo>
                    <a:pt x="91360" y="28639"/>
                  </a:lnTo>
                  <a:cubicBezTo>
                    <a:pt x="97071" y="25441"/>
                    <a:pt x="97756" y="20644"/>
                    <a:pt x="92959" y="18132"/>
                  </a:cubicBezTo>
                  <a:lnTo>
                    <a:pt x="60980" y="1457"/>
                  </a:lnTo>
                  <a:cubicBezTo>
                    <a:pt x="54836" y="-1124"/>
                    <a:pt x="47824" y="-713"/>
                    <a:pt x="42023" y="2599"/>
                  </a:cubicBezTo>
                  <a:lnTo>
                    <a:pt x="4333" y="24299"/>
                  </a:lnTo>
                  <a:cubicBezTo>
                    <a:pt x="-1377" y="27725"/>
                    <a:pt x="-2062" y="32294"/>
                    <a:pt x="2734" y="34806"/>
                  </a:cubicBezTo>
                  <a:lnTo>
                    <a:pt x="34713" y="51709"/>
                  </a:lnTo>
                  <a:cubicBezTo>
                    <a:pt x="40767" y="54382"/>
                    <a:pt x="47687" y="54290"/>
                    <a:pt x="53671" y="51481"/>
                  </a:cubicBezTo>
                  <a:close/>
                </a:path>
              </a:pathLst>
            </a:custGeom>
            <a:solidFill>
              <a:srgbClr val="A2B7EB"/>
            </a:solidFill>
            <a:ln w="22838" cap="flat">
              <a:noFill/>
              <a:prstDash val="solid"/>
              <a:miter/>
            </a:ln>
          </p:spPr>
          <p:txBody>
            <a:bodyPr rtlCol="0" anchor="ctr"/>
            <a:lstStyle/>
            <a:p>
              <a:endParaRPr lang="zh-CN" altLang="en-US"/>
            </a:p>
          </p:txBody>
        </p:sp>
        <p:sp>
          <p:nvSpPr>
            <p:cNvPr id="359" name="任意多边形: 形状 358"/>
            <p:cNvSpPr/>
            <p:nvPr/>
          </p:nvSpPr>
          <p:spPr>
            <a:xfrm>
              <a:off x="6766802" y="4301557"/>
              <a:ext cx="96599" cy="53424"/>
            </a:xfrm>
            <a:custGeom>
              <a:avLst/>
              <a:gdLst>
                <a:gd name="connsiteX0" fmla="*/ 53671 w 96599"/>
                <a:gd name="connsiteY0" fmla="*/ 50387 h 53424"/>
                <a:gd name="connsiteX1" fmla="*/ 91361 w 96599"/>
                <a:gd name="connsiteY1" fmla="*/ 28687 h 53424"/>
                <a:gd name="connsiteX2" fmla="*/ 92960 w 96599"/>
                <a:gd name="connsiteY2" fmla="*/ 18180 h 53424"/>
                <a:gd name="connsiteX3" fmla="*/ 61209 w 96599"/>
                <a:gd name="connsiteY3" fmla="*/ 1277 h 53424"/>
                <a:gd name="connsiteX4" fmla="*/ 42023 w 96599"/>
                <a:gd name="connsiteY4" fmla="*/ 2648 h 53424"/>
                <a:gd name="connsiteX5" fmla="*/ 4334 w 96599"/>
                <a:gd name="connsiteY5" fmla="*/ 24348 h 53424"/>
                <a:gd name="connsiteX6" fmla="*/ 2735 w 96599"/>
                <a:gd name="connsiteY6" fmla="*/ 34855 h 53424"/>
                <a:gd name="connsiteX7" fmla="*/ 34714 w 96599"/>
                <a:gd name="connsiteY7" fmla="*/ 51757 h 53424"/>
                <a:gd name="connsiteX8" fmla="*/ 53671 w 96599"/>
                <a:gd name="connsiteY8" fmla="*/ 50387 h 53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599" h="53424">
                  <a:moveTo>
                    <a:pt x="53671" y="50387"/>
                  </a:moveTo>
                  <a:lnTo>
                    <a:pt x="91361" y="28687"/>
                  </a:lnTo>
                  <a:cubicBezTo>
                    <a:pt x="97071" y="25261"/>
                    <a:pt x="97757" y="20693"/>
                    <a:pt x="92960" y="18180"/>
                  </a:cubicBezTo>
                  <a:lnTo>
                    <a:pt x="61209" y="1277"/>
                  </a:lnTo>
                  <a:cubicBezTo>
                    <a:pt x="54929" y="-1121"/>
                    <a:pt x="47916" y="-619"/>
                    <a:pt x="42023" y="2648"/>
                  </a:cubicBezTo>
                  <a:lnTo>
                    <a:pt x="4334" y="24348"/>
                  </a:lnTo>
                  <a:cubicBezTo>
                    <a:pt x="-1377" y="27774"/>
                    <a:pt x="-2063" y="32342"/>
                    <a:pt x="2735" y="34855"/>
                  </a:cubicBezTo>
                  <a:lnTo>
                    <a:pt x="34714" y="51757"/>
                  </a:lnTo>
                  <a:cubicBezTo>
                    <a:pt x="40926" y="54087"/>
                    <a:pt x="47848" y="53585"/>
                    <a:pt x="53671" y="50387"/>
                  </a:cubicBezTo>
                  <a:close/>
                </a:path>
              </a:pathLst>
            </a:custGeom>
            <a:solidFill>
              <a:srgbClr val="A2B7EB"/>
            </a:solidFill>
            <a:ln w="22838" cap="flat">
              <a:noFill/>
              <a:prstDash val="solid"/>
              <a:miter/>
            </a:ln>
          </p:spPr>
          <p:txBody>
            <a:bodyPr rtlCol="0" anchor="ctr"/>
            <a:lstStyle/>
            <a:p>
              <a:endParaRPr lang="zh-CN" altLang="en-US"/>
            </a:p>
          </p:txBody>
        </p:sp>
        <p:sp>
          <p:nvSpPr>
            <p:cNvPr id="360" name="任意多边形: 形状 359"/>
            <p:cNvSpPr/>
            <p:nvPr/>
          </p:nvSpPr>
          <p:spPr>
            <a:xfrm>
              <a:off x="6608853" y="4391698"/>
              <a:ext cx="96638" cy="53329"/>
            </a:xfrm>
            <a:custGeom>
              <a:avLst/>
              <a:gdLst>
                <a:gd name="connsiteX0" fmla="*/ 53785 w 96638"/>
                <a:gd name="connsiteY0" fmla="*/ 50242 h 53329"/>
                <a:gd name="connsiteX1" fmla="*/ 91475 w 96638"/>
                <a:gd name="connsiteY1" fmla="*/ 28542 h 53329"/>
                <a:gd name="connsiteX2" fmla="*/ 93073 w 96638"/>
                <a:gd name="connsiteY2" fmla="*/ 18035 h 53329"/>
                <a:gd name="connsiteX3" fmla="*/ 61095 w 96638"/>
                <a:gd name="connsiteY3" fmla="*/ 1360 h 53329"/>
                <a:gd name="connsiteX4" fmla="*/ 42136 w 96638"/>
                <a:gd name="connsiteY4" fmla="*/ 2731 h 53329"/>
                <a:gd name="connsiteX5" fmla="*/ 4219 w 96638"/>
                <a:gd name="connsiteY5" fmla="*/ 24431 h 53329"/>
                <a:gd name="connsiteX6" fmla="*/ 2849 w 96638"/>
                <a:gd name="connsiteY6" fmla="*/ 34938 h 53329"/>
                <a:gd name="connsiteX7" fmla="*/ 34598 w 96638"/>
                <a:gd name="connsiteY7" fmla="*/ 51612 h 53329"/>
                <a:gd name="connsiteX8" fmla="*/ 53785 w 96638"/>
                <a:gd name="connsiteY8" fmla="*/ 50242 h 53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638" h="53329">
                  <a:moveTo>
                    <a:pt x="53785" y="50242"/>
                  </a:moveTo>
                  <a:lnTo>
                    <a:pt x="91475" y="28542"/>
                  </a:lnTo>
                  <a:cubicBezTo>
                    <a:pt x="96957" y="25344"/>
                    <a:pt x="97870" y="20548"/>
                    <a:pt x="93073" y="18035"/>
                  </a:cubicBezTo>
                  <a:lnTo>
                    <a:pt x="61095" y="1360"/>
                  </a:lnTo>
                  <a:cubicBezTo>
                    <a:pt x="54905" y="-1152"/>
                    <a:pt x="47892" y="-649"/>
                    <a:pt x="42136" y="2731"/>
                  </a:cubicBezTo>
                  <a:lnTo>
                    <a:pt x="4219" y="24431"/>
                  </a:lnTo>
                  <a:cubicBezTo>
                    <a:pt x="-1262" y="27629"/>
                    <a:pt x="-2177" y="32425"/>
                    <a:pt x="2849" y="34938"/>
                  </a:cubicBezTo>
                  <a:lnTo>
                    <a:pt x="34598" y="51612"/>
                  </a:lnTo>
                  <a:cubicBezTo>
                    <a:pt x="40880" y="54011"/>
                    <a:pt x="47892" y="53508"/>
                    <a:pt x="53785" y="50242"/>
                  </a:cubicBezTo>
                  <a:close/>
                </a:path>
              </a:pathLst>
            </a:custGeom>
            <a:solidFill>
              <a:srgbClr val="A2B7EB"/>
            </a:solidFill>
            <a:ln w="22838" cap="flat">
              <a:noFill/>
              <a:prstDash val="solid"/>
              <a:miter/>
            </a:ln>
          </p:spPr>
          <p:txBody>
            <a:bodyPr rtlCol="0" anchor="ctr"/>
            <a:lstStyle/>
            <a:p>
              <a:endParaRPr lang="zh-CN" altLang="en-US"/>
            </a:p>
          </p:txBody>
        </p:sp>
        <p:sp>
          <p:nvSpPr>
            <p:cNvPr id="361" name="任意多边形: 形状 360"/>
            <p:cNvSpPr/>
            <p:nvPr/>
          </p:nvSpPr>
          <p:spPr>
            <a:xfrm>
              <a:off x="6530848" y="4437515"/>
              <a:ext cx="96599" cy="53145"/>
            </a:xfrm>
            <a:custGeom>
              <a:avLst/>
              <a:gdLst>
                <a:gd name="connsiteX0" fmla="*/ 53672 w 96599"/>
                <a:gd name="connsiteY0" fmla="*/ 50108 h 53145"/>
                <a:gd name="connsiteX1" fmla="*/ 91360 w 96599"/>
                <a:gd name="connsiteY1" fmla="*/ 28409 h 53145"/>
                <a:gd name="connsiteX2" fmla="*/ 92959 w 96599"/>
                <a:gd name="connsiteY2" fmla="*/ 17902 h 53145"/>
                <a:gd name="connsiteX3" fmla="*/ 60982 w 96599"/>
                <a:gd name="connsiteY3" fmla="*/ 1227 h 53145"/>
                <a:gd name="connsiteX4" fmla="*/ 42023 w 96599"/>
                <a:gd name="connsiteY4" fmla="*/ 2598 h 53145"/>
                <a:gd name="connsiteX5" fmla="*/ 4333 w 96599"/>
                <a:gd name="connsiteY5" fmla="*/ 24297 h 53145"/>
                <a:gd name="connsiteX6" fmla="*/ 2734 w 96599"/>
                <a:gd name="connsiteY6" fmla="*/ 34804 h 53145"/>
                <a:gd name="connsiteX7" fmla="*/ 34713 w 96599"/>
                <a:gd name="connsiteY7" fmla="*/ 51479 h 53145"/>
                <a:gd name="connsiteX8" fmla="*/ 53672 w 96599"/>
                <a:gd name="connsiteY8" fmla="*/ 50108 h 5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599" h="53145">
                  <a:moveTo>
                    <a:pt x="53672" y="50108"/>
                  </a:moveTo>
                  <a:lnTo>
                    <a:pt x="91360" y="28409"/>
                  </a:lnTo>
                  <a:cubicBezTo>
                    <a:pt x="97071" y="25211"/>
                    <a:pt x="97756" y="20642"/>
                    <a:pt x="92959" y="17902"/>
                  </a:cubicBezTo>
                  <a:lnTo>
                    <a:pt x="60982" y="1227"/>
                  </a:lnTo>
                  <a:cubicBezTo>
                    <a:pt x="54768" y="-1103"/>
                    <a:pt x="47847" y="-600"/>
                    <a:pt x="42023" y="2598"/>
                  </a:cubicBezTo>
                  <a:lnTo>
                    <a:pt x="4333" y="24297"/>
                  </a:lnTo>
                  <a:cubicBezTo>
                    <a:pt x="-1377" y="27495"/>
                    <a:pt x="-2062" y="32292"/>
                    <a:pt x="2734" y="34804"/>
                  </a:cubicBezTo>
                  <a:lnTo>
                    <a:pt x="34713" y="51479"/>
                  </a:lnTo>
                  <a:cubicBezTo>
                    <a:pt x="40925" y="53809"/>
                    <a:pt x="47847" y="53307"/>
                    <a:pt x="53672" y="50108"/>
                  </a:cubicBezTo>
                  <a:close/>
                </a:path>
              </a:pathLst>
            </a:custGeom>
            <a:solidFill>
              <a:srgbClr val="A2B7EB"/>
            </a:solidFill>
            <a:ln w="22838" cap="flat">
              <a:noFill/>
              <a:prstDash val="solid"/>
              <a:miter/>
            </a:ln>
          </p:spPr>
          <p:txBody>
            <a:bodyPr rtlCol="0" anchor="ctr"/>
            <a:lstStyle/>
            <a:p>
              <a:endParaRPr lang="zh-CN" altLang="en-US"/>
            </a:p>
          </p:txBody>
        </p:sp>
        <p:sp>
          <p:nvSpPr>
            <p:cNvPr id="362" name="任意多边形: 形状 361"/>
            <p:cNvSpPr/>
            <p:nvPr/>
          </p:nvSpPr>
          <p:spPr>
            <a:xfrm>
              <a:off x="6452272" y="4482970"/>
              <a:ext cx="96599" cy="54141"/>
            </a:xfrm>
            <a:custGeom>
              <a:avLst/>
              <a:gdLst>
                <a:gd name="connsiteX0" fmla="*/ 53672 w 96599"/>
                <a:gd name="connsiteY0" fmla="*/ 50337 h 54141"/>
                <a:gd name="connsiteX1" fmla="*/ 91360 w 96599"/>
                <a:gd name="connsiteY1" fmla="*/ 28637 h 54141"/>
                <a:gd name="connsiteX2" fmla="*/ 92959 w 96599"/>
                <a:gd name="connsiteY2" fmla="*/ 18130 h 54141"/>
                <a:gd name="connsiteX3" fmla="*/ 60982 w 96599"/>
                <a:gd name="connsiteY3" fmla="*/ 1227 h 54141"/>
                <a:gd name="connsiteX4" fmla="*/ 42023 w 96599"/>
                <a:gd name="connsiteY4" fmla="*/ 2598 h 54141"/>
                <a:gd name="connsiteX5" fmla="*/ 4333 w 96599"/>
                <a:gd name="connsiteY5" fmla="*/ 25440 h 54141"/>
                <a:gd name="connsiteX6" fmla="*/ 2734 w 96599"/>
                <a:gd name="connsiteY6" fmla="*/ 35947 h 54141"/>
                <a:gd name="connsiteX7" fmla="*/ 34484 w 96599"/>
                <a:gd name="connsiteY7" fmla="*/ 52849 h 54141"/>
                <a:gd name="connsiteX8" fmla="*/ 53672 w 96599"/>
                <a:gd name="connsiteY8" fmla="*/ 50337 h 54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599" h="54141">
                  <a:moveTo>
                    <a:pt x="53672" y="50337"/>
                  </a:moveTo>
                  <a:lnTo>
                    <a:pt x="91360" y="28637"/>
                  </a:lnTo>
                  <a:cubicBezTo>
                    <a:pt x="97071" y="25211"/>
                    <a:pt x="97756" y="20643"/>
                    <a:pt x="92959" y="18130"/>
                  </a:cubicBezTo>
                  <a:lnTo>
                    <a:pt x="60982" y="1227"/>
                  </a:lnTo>
                  <a:cubicBezTo>
                    <a:pt x="54768" y="-1103"/>
                    <a:pt x="47847" y="-600"/>
                    <a:pt x="42023" y="2598"/>
                  </a:cubicBezTo>
                  <a:lnTo>
                    <a:pt x="4333" y="25440"/>
                  </a:lnTo>
                  <a:cubicBezTo>
                    <a:pt x="-1377" y="28866"/>
                    <a:pt x="-2062" y="33434"/>
                    <a:pt x="2734" y="35947"/>
                  </a:cubicBezTo>
                  <a:lnTo>
                    <a:pt x="34484" y="52849"/>
                  </a:lnTo>
                  <a:cubicBezTo>
                    <a:pt x="40925" y="54906"/>
                    <a:pt x="47962" y="53969"/>
                    <a:pt x="53672" y="50337"/>
                  </a:cubicBezTo>
                  <a:close/>
                </a:path>
              </a:pathLst>
            </a:custGeom>
            <a:solidFill>
              <a:srgbClr val="A2B7EB"/>
            </a:solidFill>
            <a:ln w="22838" cap="flat">
              <a:noFill/>
              <a:prstDash val="solid"/>
              <a:miter/>
            </a:ln>
          </p:spPr>
          <p:txBody>
            <a:bodyPr rtlCol="0" anchor="ctr"/>
            <a:lstStyle/>
            <a:p>
              <a:endParaRPr lang="zh-CN" altLang="en-US"/>
            </a:p>
          </p:txBody>
        </p:sp>
        <p:sp>
          <p:nvSpPr>
            <p:cNvPr id="363" name="任意多边形: 形状 362"/>
            <p:cNvSpPr/>
            <p:nvPr/>
          </p:nvSpPr>
          <p:spPr>
            <a:xfrm>
              <a:off x="6373469" y="4527651"/>
              <a:ext cx="96598" cy="54236"/>
            </a:xfrm>
            <a:custGeom>
              <a:avLst/>
              <a:gdLst>
                <a:gd name="connsiteX0" fmla="*/ 53671 w 96598"/>
                <a:gd name="connsiteY0" fmla="*/ 51339 h 54236"/>
                <a:gd name="connsiteX1" fmla="*/ 91361 w 96598"/>
                <a:gd name="connsiteY1" fmla="*/ 28497 h 54236"/>
                <a:gd name="connsiteX2" fmla="*/ 92958 w 96598"/>
                <a:gd name="connsiteY2" fmla="*/ 17990 h 54236"/>
                <a:gd name="connsiteX3" fmla="*/ 60981 w 96598"/>
                <a:gd name="connsiteY3" fmla="*/ 1316 h 54236"/>
                <a:gd name="connsiteX4" fmla="*/ 42022 w 96598"/>
                <a:gd name="connsiteY4" fmla="*/ 2458 h 54236"/>
                <a:gd name="connsiteX5" fmla="*/ 4334 w 96598"/>
                <a:gd name="connsiteY5" fmla="*/ 25299 h 54236"/>
                <a:gd name="connsiteX6" fmla="*/ 2735 w 96598"/>
                <a:gd name="connsiteY6" fmla="*/ 35807 h 54236"/>
                <a:gd name="connsiteX7" fmla="*/ 34712 w 96598"/>
                <a:gd name="connsiteY7" fmla="*/ 52481 h 54236"/>
                <a:gd name="connsiteX8" fmla="*/ 53671 w 96598"/>
                <a:gd name="connsiteY8" fmla="*/ 51339 h 54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598" h="54236">
                  <a:moveTo>
                    <a:pt x="53671" y="51339"/>
                  </a:moveTo>
                  <a:lnTo>
                    <a:pt x="91361" y="28497"/>
                  </a:lnTo>
                  <a:cubicBezTo>
                    <a:pt x="97071" y="25299"/>
                    <a:pt x="97756" y="20503"/>
                    <a:pt x="92958" y="17990"/>
                  </a:cubicBezTo>
                  <a:lnTo>
                    <a:pt x="60981" y="1316"/>
                  </a:lnTo>
                  <a:cubicBezTo>
                    <a:pt x="54791" y="-1083"/>
                    <a:pt x="47869" y="-649"/>
                    <a:pt x="42022" y="2458"/>
                  </a:cubicBezTo>
                  <a:lnTo>
                    <a:pt x="4334" y="25299"/>
                  </a:lnTo>
                  <a:cubicBezTo>
                    <a:pt x="-1377" y="28497"/>
                    <a:pt x="-2063" y="33066"/>
                    <a:pt x="2735" y="35807"/>
                  </a:cubicBezTo>
                  <a:lnTo>
                    <a:pt x="34712" y="52481"/>
                  </a:lnTo>
                  <a:cubicBezTo>
                    <a:pt x="40902" y="54880"/>
                    <a:pt x="47824" y="54445"/>
                    <a:pt x="53671" y="51339"/>
                  </a:cubicBezTo>
                  <a:close/>
                </a:path>
              </a:pathLst>
            </a:custGeom>
            <a:solidFill>
              <a:srgbClr val="A2B7EB"/>
            </a:solidFill>
            <a:ln w="22838" cap="flat">
              <a:noFill/>
              <a:prstDash val="solid"/>
              <a:miter/>
            </a:ln>
          </p:spPr>
          <p:txBody>
            <a:bodyPr rtlCol="0" anchor="ctr"/>
            <a:lstStyle/>
            <a:p>
              <a:endParaRPr lang="zh-CN" altLang="en-US"/>
            </a:p>
          </p:txBody>
        </p:sp>
        <p:sp>
          <p:nvSpPr>
            <p:cNvPr id="364" name="任意多边形: 形状 363"/>
            <p:cNvSpPr/>
            <p:nvPr/>
          </p:nvSpPr>
          <p:spPr>
            <a:xfrm>
              <a:off x="6294893" y="4574565"/>
              <a:ext cx="96598" cy="53145"/>
            </a:xfrm>
            <a:custGeom>
              <a:avLst/>
              <a:gdLst>
                <a:gd name="connsiteX0" fmla="*/ 53671 w 96598"/>
                <a:gd name="connsiteY0" fmla="*/ 50108 h 53145"/>
                <a:gd name="connsiteX1" fmla="*/ 91361 w 96598"/>
                <a:gd name="connsiteY1" fmla="*/ 28409 h 53145"/>
                <a:gd name="connsiteX2" fmla="*/ 92958 w 96598"/>
                <a:gd name="connsiteY2" fmla="*/ 17902 h 53145"/>
                <a:gd name="connsiteX3" fmla="*/ 60981 w 96598"/>
                <a:gd name="connsiteY3" fmla="*/ 1227 h 53145"/>
                <a:gd name="connsiteX4" fmla="*/ 42022 w 96598"/>
                <a:gd name="connsiteY4" fmla="*/ 2598 h 53145"/>
                <a:gd name="connsiteX5" fmla="*/ 4334 w 96598"/>
                <a:gd name="connsiteY5" fmla="*/ 24297 h 53145"/>
                <a:gd name="connsiteX6" fmla="*/ 2735 w 96598"/>
                <a:gd name="connsiteY6" fmla="*/ 34804 h 53145"/>
                <a:gd name="connsiteX7" fmla="*/ 34712 w 96598"/>
                <a:gd name="connsiteY7" fmla="*/ 51479 h 53145"/>
                <a:gd name="connsiteX8" fmla="*/ 53671 w 96598"/>
                <a:gd name="connsiteY8" fmla="*/ 50108 h 5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598" h="53145">
                  <a:moveTo>
                    <a:pt x="53671" y="50108"/>
                  </a:moveTo>
                  <a:lnTo>
                    <a:pt x="91361" y="28409"/>
                  </a:lnTo>
                  <a:cubicBezTo>
                    <a:pt x="97071" y="25211"/>
                    <a:pt x="97756" y="20415"/>
                    <a:pt x="92958" y="17902"/>
                  </a:cubicBezTo>
                  <a:lnTo>
                    <a:pt x="60981" y="1227"/>
                  </a:lnTo>
                  <a:cubicBezTo>
                    <a:pt x="54767" y="-1103"/>
                    <a:pt x="47847" y="-600"/>
                    <a:pt x="42022" y="2598"/>
                  </a:cubicBezTo>
                  <a:lnTo>
                    <a:pt x="4334" y="24297"/>
                  </a:lnTo>
                  <a:cubicBezTo>
                    <a:pt x="-1377" y="27495"/>
                    <a:pt x="-2063" y="32292"/>
                    <a:pt x="2735" y="34804"/>
                  </a:cubicBezTo>
                  <a:lnTo>
                    <a:pt x="34712" y="51479"/>
                  </a:lnTo>
                  <a:cubicBezTo>
                    <a:pt x="40926" y="53809"/>
                    <a:pt x="47847" y="53307"/>
                    <a:pt x="53671" y="50108"/>
                  </a:cubicBezTo>
                  <a:close/>
                </a:path>
              </a:pathLst>
            </a:custGeom>
            <a:solidFill>
              <a:srgbClr val="A2B7EB"/>
            </a:solidFill>
            <a:ln w="22838" cap="flat">
              <a:noFill/>
              <a:prstDash val="solid"/>
              <a:miter/>
            </a:ln>
          </p:spPr>
          <p:txBody>
            <a:bodyPr rtlCol="0" anchor="ctr"/>
            <a:lstStyle/>
            <a:p>
              <a:endParaRPr lang="zh-CN" altLang="en-US"/>
            </a:p>
          </p:txBody>
        </p:sp>
        <p:sp>
          <p:nvSpPr>
            <p:cNvPr id="365" name="任意多边形: 形状 364"/>
            <p:cNvSpPr/>
            <p:nvPr/>
          </p:nvSpPr>
          <p:spPr>
            <a:xfrm>
              <a:off x="6216089" y="4617686"/>
              <a:ext cx="96599" cy="53692"/>
            </a:xfrm>
            <a:custGeom>
              <a:avLst/>
              <a:gdLst>
                <a:gd name="connsiteX0" fmla="*/ 53671 w 96599"/>
                <a:gd name="connsiteY0" fmla="*/ 51301 h 53692"/>
                <a:gd name="connsiteX1" fmla="*/ 91361 w 96599"/>
                <a:gd name="connsiteY1" fmla="*/ 28459 h 53692"/>
                <a:gd name="connsiteX2" fmla="*/ 92960 w 96599"/>
                <a:gd name="connsiteY2" fmla="*/ 17952 h 53692"/>
                <a:gd name="connsiteX3" fmla="*/ 61209 w 96599"/>
                <a:gd name="connsiteY3" fmla="*/ 1277 h 53692"/>
                <a:gd name="connsiteX4" fmla="*/ 42022 w 96599"/>
                <a:gd name="connsiteY4" fmla="*/ 2648 h 53692"/>
                <a:gd name="connsiteX5" fmla="*/ 4334 w 96599"/>
                <a:gd name="connsiteY5" fmla="*/ 24348 h 53692"/>
                <a:gd name="connsiteX6" fmla="*/ 2735 w 96599"/>
                <a:gd name="connsiteY6" fmla="*/ 34855 h 53692"/>
                <a:gd name="connsiteX7" fmla="*/ 34712 w 96599"/>
                <a:gd name="connsiteY7" fmla="*/ 51529 h 53692"/>
                <a:gd name="connsiteX8" fmla="*/ 53671 w 96599"/>
                <a:gd name="connsiteY8" fmla="*/ 51301 h 5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599" h="53692">
                  <a:moveTo>
                    <a:pt x="53671" y="51301"/>
                  </a:moveTo>
                  <a:lnTo>
                    <a:pt x="91361" y="28459"/>
                  </a:lnTo>
                  <a:cubicBezTo>
                    <a:pt x="97071" y="25261"/>
                    <a:pt x="97756" y="20693"/>
                    <a:pt x="92960" y="17952"/>
                  </a:cubicBezTo>
                  <a:lnTo>
                    <a:pt x="61209" y="1277"/>
                  </a:lnTo>
                  <a:cubicBezTo>
                    <a:pt x="54927" y="-1121"/>
                    <a:pt x="47915" y="-619"/>
                    <a:pt x="42022" y="2648"/>
                  </a:cubicBezTo>
                  <a:lnTo>
                    <a:pt x="4334" y="24348"/>
                  </a:lnTo>
                  <a:cubicBezTo>
                    <a:pt x="-1377" y="27545"/>
                    <a:pt x="-2063" y="32342"/>
                    <a:pt x="2735" y="34855"/>
                  </a:cubicBezTo>
                  <a:lnTo>
                    <a:pt x="34712" y="51529"/>
                  </a:lnTo>
                  <a:cubicBezTo>
                    <a:pt x="40766" y="54201"/>
                    <a:pt x="47688" y="54110"/>
                    <a:pt x="53671" y="51301"/>
                  </a:cubicBezTo>
                  <a:close/>
                </a:path>
              </a:pathLst>
            </a:custGeom>
            <a:solidFill>
              <a:srgbClr val="A2B7EB"/>
            </a:solidFill>
            <a:ln w="22838" cap="flat">
              <a:noFill/>
              <a:prstDash val="solid"/>
              <a:miter/>
            </a:ln>
          </p:spPr>
          <p:txBody>
            <a:bodyPr rtlCol="0" anchor="ctr"/>
            <a:lstStyle/>
            <a:p>
              <a:endParaRPr lang="zh-CN" altLang="en-US"/>
            </a:p>
          </p:txBody>
        </p:sp>
        <p:sp>
          <p:nvSpPr>
            <p:cNvPr id="366" name="任意多边形: 形状 365"/>
            <p:cNvSpPr/>
            <p:nvPr/>
          </p:nvSpPr>
          <p:spPr>
            <a:xfrm>
              <a:off x="6137285" y="4664561"/>
              <a:ext cx="96599" cy="53161"/>
            </a:xfrm>
            <a:custGeom>
              <a:avLst/>
              <a:gdLst>
                <a:gd name="connsiteX0" fmla="*/ 53900 w 96599"/>
                <a:gd name="connsiteY0" fmla="*/ 49652 h 53161"/>
                <a:gd name="connsiteX1" fmla="*/ 91361 w 96599"/>
                <a:gd name="connsiteY1" fmla="*/ 28637 h 53161"/>
                <a:gd name="connsiteX2" fmla="*/ 92960 w 96599"/>
                <a:gd name="connsiteY2" fmla="*/ 18130 h 53161"/>
                <a:gd name="connsiteX3" fmla="*/ 60981 w 96599"/>
                <a:gd name="connsiteY3" fmla="*/ 1227 h 53161"/>
                <a:gd name="connsiteX4" fmla="*/ 42023 w 96599"/>
                <a:gd name="connsiteY4" fmla="*/ 2597 h 53161"/>
                <a:gd name="connsiteX5" fmla="*/ 4334 w 96599"/>
                <a:gd name="connsiteY5" fmla="*/ 24297 h 53161"/>
                <a:gd name="connsiteX6" fmla="*/ 2735 w 96599"/>
                <a:gd name="connsiteY6" fmla="*/ 34804 h 53161"/>
                <a:gd name="connsiteX7" fmla="*/ 34714 w 96599"/>
                <a:gd name="connsiteY7" fmla="*/ 51708 h 53161"/>
                <a:gd name="connsiteX8" fmla="*/ 53900 w 96599"/>
                <a:gd name="connsiteY8" fmla="*/ 49652 h 53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599" h="53161">
                  <a:moveTo>
                    <a:pt x="53900" y="49652"/>
                  </a:moveTo>
                  <a:lnTo>
                    <a:pt x="91361" y="28637"/>
                  </a:lnTo>
                  <a:cubicBezTo>
                    <a:pt x="97071" y="25211"/>
                    <a:pt x="97757" y="20643"/>
                    <a:pt x="92960" y="18130"/>
                  </a:cubicBezTo>
                  <a:lnTo>
                    <a:pt x="60981" y="1227"/>
                  </a:lnTo>
                  <a:cubicBezTo>
                    <a:pt x="54769" y="-1103"/>
                    <a:pt x="47847" y="-600"/>
                    <a:pt x="42023" y="2597"/>
                  </a:cubicBezTo>
                  <a:lnTo>
                    <a:pt x="4334" y="24297"/>
                  </a:lnTo>
                  <a:cubicBezTo>
                    <a:pt x="-1377" y="27723"/>
                    <a:pt x="-2063" y="32292"/>
                    <a:pt x="2735" y="34804"/>
                  </a:cubicBezTo>
                  <a:lnTo>
                    <a:pt x="34714" y="51708"/>
                  </a:lnTo>
                  <a:cubicBezTo>
                    <a:pt x="41109" y="53900"/>
                    <a:pt x="48121" y="53146"/>
                    <a:pt x="53900" y="49652"/>
                  </a:cubicBezTo>
                  <a:close/>
                </a:path>
              </a:pathLst>
            </a:custGeom>
            <a:solidFill>
              <a:srgbClr val="A2B7EB"/>
            </a:solidFill>
            <a:ln w="22838" cap="flat">
              <a:noFill/>
              <a:prstDash val="solid"/>
              <a:miter/>
            </a:ln>
          </p:spPr>
          <p:txBody>
            <a:bodyPr rtlCol="0" anchor="ctr"/>
            <a:lstStyle/>
            <a:p>
              <a:endParaRPr lang="zh-CN" altLang="en-US"/>
            </a:p>
          </p:txBody>
        </p:sp>
        <p:sp>
          <p:nvSpPr>
            <p:cNvPr id="367" name="任意多边形: 形状 366"/>
            <p:cNvSpPr/>
            <p:nvPr/>
          </p:nvSpPr>
          <p:spPr>
            <a:xfrm>
              <a:off x="6058938" y="4709198"/>
              <a:ext cx="96599" cy="53329"/>
            </a:xfrm>
            <a:custGeom>
              <a:avLst/>
              <a:gdLst>
                <a:gd name="connsiteX0" fmla="*/ 53671 w 96599"/>
                <a:gd name="connsiteY0" fmla="*/ 50242 h 53329"/>
                <a:gd name="connsiteX1" fmla="*/ 91361 w 96599"/>
                <a:gd name="connsiteY1" fmla="*/ 28542 h 53329"/>
                <a:gd name="connsiteX2" fmla="*/ 92960 w 96599"/>
                <a:gd name="connsiteY2" fmla="*/ 18035 h 53329"/>
                <a:gd name="connsiteX3" fmla="*/ 60981 w 96599"/>
                <a:gd name="connsiteY3" fmla="*/ 1361 h 53329"/>
                <a:gd name="connsiteX4" fmla="*/ 42022 w 96599"/>
                <a:gd name="connsiteY4" fmla="*/ 2731 h 53329"/>
                <a:gd name="connsiteX5" fmla="*/ 4334 w 96599"/>
                <a:gd name="connsiteY5" fmla="*/ 24430 h 53329"/>
                <a:gd name="connsiteX6" fmla="*/ 2735 w 96599"/>
                <a:gd name="connsiteY6" fmla="*/ 34938 h 53329"/>
                <a:gd name="connsiteX7" fmla="*/ 34485 w 96599"/>
                <a:gd name="connsiteY7" fmla="*/ 51612 h 53329"/>
                <a:gd name="connsiteX8" fmla="*/ 53671 w 96599"/>
                <a:gd name="connsiteY8" fmla="*/ 50242 h 53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599" h="53329">
                  <a:moveTo>
                    <a:pt x="53671" y="50242"/>
                  </a:moveTo>
                  <a:lnTo>
                    <a:pt x="91361" y="28542"/>
                  </a:lnTo>
                  <a:cubicBezTo>
                    <a:pt x="97071" y="25344"/>
                    <a:pt x="97756" y="20548"/>
                    <a:pt x="92960" y="18035"/>
                  </a:cubicBezTo>
                  <a:lnTo>
                    <a:pt x="60981" y="1361"/>
                  </a:lnTo>
                  <a:cubicBezTo>
                    <a:pt x="54791" y="-1152"/>
                    <a:pt x="47778" y="-650"/>
                    <a:pt x="42022" y="2731"/>
                  </a:cubicBezTo>
                  <a:lnTo>
                    <a:pt x="4334" y="24430"/>
                  </a:lnTo>
                  <a:cubicBezTo>
                    <a:pt x="-1377" y="27629"/>
                    <a:pt x="-2063" y="32196"/>
                    <a:pt x="2735" y="34938"/>
                  </a:cubicBezTo>
                  <a:lnTo>
                    <a:pt x="34485" y="51612"/>
                  </a:lnTo>
                  <a:cubicBezTo>
                    <a:pt x="40766" y="54011"/>
                    <a:pt x="47778" y="53508"/>
                    <a:pt x="53671" y="50242"/>
                  </a:cubicBezTo>
                  <a:close/>
                </a:path>
              </a:pathLst>
            </a:custGeom>
            <a:solidFill>
              <a:srgbClr val="A2B7EB"/>
            </a:solidFill>
            <a:ln w="22838" cap="flat">
              <a:noFill/>
              <a:prstDash val="solid"/>
              <a:miter/>
            </a:ln>
          </p:spPr>
          <p:txBody>
            <a:bodyPr rtlCol="0" anchor="ctr"/>
            <a:lstStyle/>
            <a:p>
              <a:endParaRPr lang="zh-CN" altLang="en-US"/>
            </a:p>
          </p:txBody>
        </p:sp>
        <p:sp>
          <p:nvSpPr>
            <p:cNvPr id="368" name="任意多边形: 形状 367"/>
            <p:cNvSpPr/>
            <p:nvPr/>
          </p:nvSpPr>
          <p:spPr>
            <a:xfrm>
              <a:off x="6851715" y="4226379"/>
              <a:ext cx="142401" cy="79658"/>
            </a:xfrm>
            <a:custGeom>
              <a:avLst/>
              <a:gdLst>
                <a:gd name="connsiteX0" fmla="*/ 51675 w 142401"/>
                <a:gd name="connsiteY0" fmla="*/ 76912 h 79658"/>
                <a:gd name="connsiteX1" fmla="*/ 137331 w 142401"/>
                <a:gd name="connsiteY1" fmla="*/ 27574 h 79658"/>
                <a:gd name="connsiteX2" fmla="*/ 138930 w 142401"/>
                <a:gd name="connsiteY2" fmla="*/ 17296 h 79658"/>
                <a:gd name="connsiteX3" fmla="*/ 108094 w 142401"/>
                <a:gd name="connsiteY3" fmla="*/ 1077 h 79658"/>
                <a:gd name="connsiteX4" fmla="*/ 89821 w 142401"/>
                <a:gd name="connsiteY4" fmla="*/ 2449 h 79658"/>
                <a:gd name="connsiteX5" fmla="*/ 4165 w 142401"/>
                <a:gd name="connsiteY5" fmla="*/ 51786 h 79658"/>
                <a:gd name="connsiteX6" fmla="*/ 2566 w 142401"/>
                <a:gd name="connsiteY6" fmla="*/ 62065 h 79658"/>
                <a:gd name="connsiteX7" fmla="*/ 33402 w 142401"/>
                <a:gd name="connsiteY7" fmla="*/ 78055 h 79658"/>
                <a:gd name="connsiteX8" fmla="*/ 51675 w 142401"/>
                <a:gd name="connsiteY8" fmla="*/ 76912 h 796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401" h="79658">
                  <a:moveTo>
                    <a:pt x="51675" y="76912"/>
                  </a:moveTo>
                  <a:lnTo>
                    <a:pt x="137331" y="27574"/>
                  </a:lnTo>
                  <a:cubicBezTo>
                    <a:pt x="142814" y="24376"/>
                    <a:pt x="143499" y="19808"/>
                    <a:pt x="138930" y="17296"/>
                  </a:cubicBezTo>
                  <a:lnTo>
                    <a:pt x="108094" y="1077"/>
                  </a:lnTo>
                  <a:cubicBezTo>
                    <a:pt x="102087" y="-1047"/>
                    <a:pt x="95462" y="-544"/>
                    <a:pt x="89821" y="2449"/>
                  </a:cubicBezTo>
                  <a:lnTo>
                    <a:pt x="4165" y="51786"/>
                  </a:lnTo>
                  <a:cubicBezTo>
                    <a:pt x="-1318" y="54984"/>
                    <a:pt x="-2003" y="59553"/>
                    <a:pt x="2566" y="62065"/>
                  </a:cubicBezTo>
                  <a:lnTo>
                    <a:pt x="33402" y="78055"/>
                  </a:lnTo>
                  <a:cubicBezTo>
                    <a:pt x="39387" y="80247"/>
                    <a:pt x="46010" y="79813"/>
                    <a:pt x="51675" y="76912"/>
                  </a:cubicBezTo>
                  <a:close/>
                </a:path>
              </a:pathLst>
            </a:custGeom>
            <a:solidFill>
              <a:srgbClr val="A2B7EB"/>
            </a:solidFill>
            <a:ln w="22838" cap="flat">
              <a:noFill/>
              <a:prstDash val="solid"/>
              <a:miter/>
            </a:ln>
          </p:spPr>
          <p:txBody>
            <a:bodyPr rtlCol="0" anchor="ctr"/>
            <a:lstStyle/>
            <a:p>
              <a:endParaRPr lang="zh-CN" altLang="en-US"/>
            </a:p>
          </p:txBody>
        </p:sp>
        <p:sp>
          <p:nvSpPr>
            <p:cNvPr id="369" name="任意多边形: 形状 368"/>
            <p:cNvSpPr/>
            <p:nvPr/>
          </p:nvSpPr>
          <p:spPr>
            <a:xfrm>
              <a:off x="5927578" y="4758751"/>
              <a:ext cx="141677" cy="79583"/>
            </a:xfrm>
            <a:custGeom>
              <a:avLst/>
              <a:gdLst>
                <a:gd name="connsiteX0" fmla="*/ 50951 w 141677"/>
                <a:gd name="connsiteY0" fmla="*/ 76979 h 79583"/>
                <a:gd name="connsiteX1" fmla="*/ 136607 w 141677"/>
                <a:gd name="connsiteY1" fmla="*/ 27641 h 79583"/>
                <a:gd name="connsiteX2" fmla="*/ 138206 w 141677"/>
                <a:gd name="connsiteY2" fmla="*/ 17363 h 79583"/>
                <a:gd name="connsiteX3" fmla="*/ 107371 w 141677"/>
                <a:gd name="connsiteY3" fmla="*/ 1373 h 79583"/>
                <a:gd name="connsiteX4" fmla="*/ 89096 w 141677"/>
                <a:gd name="connsiteY4" fmla="*/ 2516 h 79583"/>
                <a:gd name="connsiteX5" fmla="*/ 4126 w 141677"/>
                <a:gd name="connsiteY5" fmla="*/ 51854 h 79583"/>
                <a:gd name="connsiteX6" fmla="*/ 2755 w 141677"/>
                <a:gd name="connsiteY6" fmla="*/ 62132 h 79583"/>
                <a:gd name="connsiteX7" fmla="*/ 33364 w 141677"/>
                <a:gd name="connsiteY7" fmla="*/ 78122 h 79583"/>
                <a:gd name="connsiteX8" fmla="*/ 50951 w 141677"/>
                <a:gd name="connsiteY8" fmla="*/ 76979 h 79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1677" h="79583">
                  <a:moveTo>
                    <a:pt x="50951" y="76979"/>
                  </a:moveTo>
                  <a:lnTo>
                    <a:pt x="136607" y="27641"/>
                  </a:lnTo>
                  <a:cubicBezTo>
                    <a:pt x="142089" y="24444"/>
                    <a:pt x="142775" y="19875"/>
                    <a:pt x="138206" y="17363"/>
                  </a:cubicBezTo>
                  <a:lnTo>
                    <a:pt x="107371" y="1373"/>
                  </a:lnTo>
                  <a:cubicBezTo>
                    <a:pt x="101432" y="-1094"/>
                    <a:pt x="94694" y="-683"/>
                    <a:pt x="89096" y="2516"/>
                  </a:cubicBezTo>
                  <a:lnTo>
                    <a:pt x="4126" y="51854"/>
                  </a:lnTo>
                  <a:cubicBezTo>
                    <a:pt x="-1356" y="55051"/>
                    <a:pt x="-2042" y="59620"/>
                    <a:pt x="2755" y="62132"/>
                  </a:cubicBezTo>
                  <a:lnTo>
                    <a:pt x="33364" y="78122"/>
                  </a:lnTo>
                  <a:cubicBezTo>
                    <a:pt x="39143" y="80109"/>
                    <a:pt x="45469" y="79698"/>
                    <a:pt x="50951" y="76979"/>
                  </a:cubicBezTo>
                  <a:close/>
                </a:path>
              </a:pathLst>
            </a:custGeom>
            <a:solidFill>
              <a:srgbClr val="A2B7EB"/>
            </a:solidFill>
            <a:ln w="22838" cap="flat">
              <a:noFill/>
              <a:prstDash val="solid"/>
              <a:miter/>
            </a:ln>
          </p:spPr>
          <p:txBody>
            <a:bodyPr rtlCol="0" anchor="ctr"/>
            <a:lstStyle/>
            <a:p>
              <a:endParaRPr lang="zh-CN" altLang="en-US"/>
            </a:p>
          </p:txBody>
        </p:sp>
        <p:sp>
          <p:nvSpPr>
            <p:cNvPr id="370" name="任意多边形: 形状 369"/>
            <p:cNvSpPr/>
            <p:nvPr/>
          </p:nvSpPr>
          <p:spPr>
            <a:xfrm>
              <a:off x="6713581" y="4402796"/>
              <a:ext cx="96599" cy="53870"/>
            </a:xfrm>
            <a:custGeom>
              <a:avLst/>
              <a:gdLst>
                <a:gd name="connsiteX0" fmla="*/ 53672 w 96599"/>
                <a:gd name="connsiteY0" fmla="*/ 51479 h 53870"/>
                <a:gd name="connsiteX1" fmla="*/ 91360 w 96599"/>
                <a:gd name="connsiteY1" fmla="*/ 28637 h 53870"/>
                <a:gd name="connsiteX2" fmla="*/ 92959 w 96599"/>
                <a:gd name="connsiteY2" fmla="*/ 18130 h 53870"/>
                <a:gd name="connsiteX3" fmla="*/ 60982 w 96599"/>
                <a:gd name="connsiteY3" fmla="*/ 1227 h 53870"/>
                <a:gd name="connsiteX4" fmla="*/ 42023 w 96599"/>
                <a:gd name="connsiteY4" fmla="*/ 2597 h 53870"/>
                <a:gd name="connsiteX5" fmla="*/ 4333 w 96599"/>
                <a:gd name="connsiteY5" fmla="*/ 24297 h 53870"/>
                <a:gd name="connsiteX6" fmla="*/ 2734 w 96599"/>
                <a:gd name="connsiteY6" fmla="*/ 34804 h 53870"/>
                <a:gd name="connsiteX7" fmla="*/ 34713 w 96599"/>
                <a:gd name="connsiteY7" fmla="*/ 51707 h 53870"/>
                <a:gd name="connsiteX8" fmla="*/ 53672 w 96599"/>
                <a:gd name="connsiteY8" fmla="*/ 51479 h 53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599" h="53870">
                  <a:moveTo>
                    <a:pt x="53672" y="51479"/>
                  </a:moveTo>
                  <a:lnTo>
                    <a:pt x="91360" y="28637"/>
                  </a:lnTo>
                  <a:cubicBezTo>
                    <a:pt x="97071" y="25211"/>
                    <a:pt x="97756" y="20643"/>
                    <a:pt x="92959" y="18130"/>
                  </a:cubicBezTo>
                  <a:lnTo>
                    <a:pt x="60982" y="1227"/>
                  </a:lnTo>
                  <a:cubicBezTo>
                    <a:pt x="54768" y="-1103"/>
                    <a:pt x="47847" y="-600"/>
                    <a:pt x="42023" y="2597"/>
                  </a:cubicBezTo>
                  <a:lnTo>
                    <a:pt x="4333" y="24297"/>
                  </a:lnTo>
                  <a:cubicBezTo>
                    <a:pt x="-1377" y="27723"/>
                    <a:pt x="-2062" y="32292"/>
                    <a:pt x="2734" y="34804"/>
                  </a:cubicBezTo>
                  <a:lnTo>
                    <a:pt x="34713" y="51707"/>
                  </a:lnTo>
                  <a:cubicBezTo>
                    <a:pt x="40767" y="54379"/>
                    <a:pt x="47687" y="54288"/>
                    <a:pt x="53672" y="51479"/>
                  </a:cubicBezTo>
                  <a:close/>
                </a:path>
              </a:pathLst>
            </a:custGeom>
            <a:solidFill>
              <a:srgbClr val="A2B7EB"/>
            </a:solidFill>
            <a:ln w="22838" cap="flat">
              <a:noFill/>
              <a:prstDash val="solid"/>
              <a:miter/>
            </a:ln>
          </p:spPr>
          <p:txBody>
            <a:bodyPr rtlCol="0" anchor="ctr"/>
            <a:lstStyle/>
            <a:p>
              <a:endParaRPr lang="zh-CN" altLang="en-US"/>
            </a:p>
          </p:txBody>
        </p:sp>
        <p:sp>
          <p:nvSpPr>
            <p:cNvPr id="371" name="任意多边形: 形状 370"/>
            <p:cNvSpPr/>
            <p:nvPr/>
          </p:nvSpPr>
          <p:spPr>
            <a:xfrm>
              <a:off x="6791701" y="4358711"/>
              <a:ext cx="96598" cy="53374"/>
            </a:xfrm>
            <a:custGeom>
              <a:avLst/>
              <a:gdLst>
                <a:gd name="connsiteX0" fmla="*/ 53671 w 96598"/>
                <a:gd name="connsiteY0" fmla="*/ 50337 h 53374"/>
                <a:gd name="connsiteX1" fmla="*/ 91361 w 96598"/>
                <a:gd name="connsiteY1" fmla="*/ 28637 h 53374"/>
                <a:gd name="connsiteX2" fmla="*/ 92958 w 96598"/>
                <a:gd name="connsiteY2" fmla="*/ 18130 h 53374"/>
                <a:gd name="connsiteX3" fmla="*/ 60981 w 96598"/>
                <a:gd name="connsiteY3" fmla="*/ 1227 h 53374"/>
                <a:gd name="connsiteX4" fmla="*/ 42022 w 96598"/>
                <a:gd name="connsiteY4" fmla="*/ 2598 h 53374"/>
                <a:gd name="connsiteX5" fmla="*/ 4334 w 96598"/>
                <a:gd name="connsiteY5" fmla="*/ 24297 h 53374"/>
                <a:gd name="connsiteX6" fmla="*/ 2735 w 96598"/>
                <a:gd name="connsiteY6" fmla="*/ 34804 h 53374"/>
                <a:gd name="connsiteX7" fmla="*/ 34712 w 96598"/>
                <a:gd name="connsiteY7" fmla="*/ 51707 h 53374"/>
                <a:gd name="connsiteX8" fmla="*/ 53671 w 96598"/>
                <a:gd name="connsiteY8" fmla="*/ 50337 h 53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598" h="53374">
                  <a:moveTo>
                    <a:pt x="53671" y="50337"/>
                  </a:moveTo>
                  <a:lnTo>
                    <a:pt x="91361" y="28637"/>
                  </a:lnTo>
                  <a:cubicBezTo>
                    <a:pt x="97071" y="25211"/>
                    <a:pt x="97756" y="20643"/>
                    <a:pt x="92958" y="18130"/>
                  </a:cubicBezTo>
                  <a:lnTo>
                    <a:pt x="60981" y="1227"/>
                  </a:lnTo>
                  <a:cubicBezTo>
                    <a:pt x="54767" y="-1102"/>
                    <a:pt x="47847" y="-601"/>
                    <a:pt x="42022" y="2598"/>
                  </a:cubicBezTo>
                  <a:lnTo>
                    <a:pt x="4334" y="24297"/>
                  </a:lnTo>
                  <a:cubicBezTo>
                    <a:pt x="-1377" y="27724"/>
                    <a:pt x="-2063" y="32292"/>
                    <a:pt x="2735" y="34804"/>
                  </a:cubicBezTo>
                  <a:lnTo>
                    <a:pt x="34712" y="51707"/>
                  </a:lnTo>
                  <a:cubicBezTo>
                    <a:pt x="40926" y="54037"/>
                    <a:pt x="47847" y="53535"/>
                    <a:pt x="53671" y="50337"/>
                  </a:cubicBezTo>
                  <a:close/>
                </a:path>
              </a:pathLst>
            </a:custGeom>
            <a:solidFill>
              <a:srgbClr val="A2B7EB"/>
            </a:solidFill>
            <a:ln w="22838" cap="flat">
              <a:noFill/>
              <a:prstDash val="solid"/>
              <a:miter/>
            </a:ln>
          </p:spPr>
          <p:txBody>
            <a:bodyPr rtlCol="0" anchor="ctr"/>
            <a:lstStyle/>
            <a:p>
              <a:endParaRPr lang="zh-CN" altLang="en-US"/>
            </a:p>
          </p:txBody>
        </p:sp>
        <p:sp>
          <p:nvSpPr>
            <p:cNvPr id="372" name="任意多边形: 形状 371"/>
            <p:cNvSpPr/>
            <p:nvPr/>
          </p:nvSpPr>
          <p:spPr>
            <a:xfrm>
              <a:off x="6635006" y="4449164"/>
              <a:ext cx="96599" cy="53424"/>
            </a:xfrm>
            <a:custGeom>
              <a:avLst/>
              <a:gdLst>
                <a:gd name="connsiteX0" fmla="*/ 53672 w 96599"/>
                <a:gd name="connsiteY0" fmla="*/ 50336 h 53424"/>
                <a:gd name="connsiteX1" fmla="*/ 91360 w 96599"/>
                <a:gd name="connsiteY1" fmla="*/ 28637 h 53424"/>
                <a:gd name="connsiteX2" fmla="*/ 92959 w 96599"/>
                <a:gd name="connsiteY2" fmla="*/ 18130 h 53424"/>
                <a:gd name="connsiteX3" fmla="*/ 60982 w 96599"/>
                <a:gd name="connsiteY3" fmla="*/ 1227 h 53424"/>
                <a:gd name="connsiteX4" fmla="*/ 42023 w 96599"/>
                <a:gd name="connsiteY4" fmla="*/ 2597 h 53424"/>
                <a:gd name="connsiteX5" fmla="*/ 4333 w 96599"/>
                <a:gd name="connsiteY5" fmla="*/ 24297 h 53424"/>
                <a:gd name="connsiteX6" fmla="*/ 2734 w 96599"/>
                <a:gd name="connsiteY6" fmla="*/ 34804 h 53424"/>
                <a:gd name="connsiteX7" fmla="*/ 34484 w 96599"/>
                <a:gd name="connsiteY7" fmla="*/ 51707 h 53424"/>
                <a:gd name="connsiteX8" fmla="*/ 53672 w 96599"/>
                <a:gd name="connsiteY8" fmla="*/ 50336 h 53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599" h="53424">
                  <a:moveTo>
                    <a:pt x="53672" y="50336"/>
                  </a:moveTo>
                  <a:lnTo>
                    <a:pt x="91360" y="28637"/>
                  </a:lnTo>
                  <a:cubicBezTo>
                    <a:pt x="97071" y="25439"/>
                    <a:pt x="97756" y="20643"/>
                    <a:pt x="92959" y="18130"/>
                  </a:cubicBezTo>
                  <a:lnTo>
                    <a:pt x="60982" y="1227"/>
                  </a:lnTo>
                  <a:cubicBezTo>
                    <a:pt x="54768" y="-1103"/>
                    <a:pt x="47847" y="-600"/>
                    <a:pt x="42023" y="2597"/>
                  </a:cubicBezTo>
                  <a:lnTo>
                    <a:pt x="4333" y="24297"/>
                  </a:lnTo>
                  <a:cubicBezTo>
                    <a:pt x="-1377" y="27723"/>
                    <a:pt x="-2062" y="32292"/>
                    <a:pt x="2734" y="34804"/>
                  </a:cubicBezTo>
                  <a:lnTo>
                    <a:pt x="34484" y="51707"/>
                  </a:lnTo>
                  <a:cubicBezTo>
                    <a:pt x="40767" y="54106"/>
                    <a:pt x="47779" y="53603"/>
                    <a:pt x="53672" y="50336"/>
                  </a:cubicBezTo>
                  <a:close/>
                </a:path>
              </a:pathLst>
            </a:custGeom>
            <a:solidFill>
              <a:srgbClr val="A2B7EB"/>
            </a:solidFill>
            <a:ln w="22838" cap="flat">
              <a:noFill/>
              <a:prstDash val="solid"/>
              <a:miter/>
            </a:ln>
          </p:spPr>
          <p:txBody>
            <a:bodyPr rtlCol="0" anchor="ctr"/>
            <a:lstStyle/>
            <a:p>
              <a:endParaRPr lang="zh-CN" altLang="en-US"/>
            </a:p>
          </p:txBody>
        </p:sp>
        <p:sp>
          <p:nvSpPr>
            <p:cNvPr id="373" name="任意多边形: 形状 372"/>
            <p:cNvSpPr/>
            <p:nvPr/>
          </p:nvSpPr>
          <p:spPr>
            <a:xfrm>
              <a:off x="6556203" y="4494480"/>
              <a:ext cx="96712" cy="53845"/>
            </a:xfrm>
            <a:custGeom>
              <a:avLst/>
              <a:gdLst>
                <a:gd name="connsiteX0" fmla="*/ 53671 w 96712"/>
                <a:gd name="connsiteY0" fmla="*/ 50247 h 53845"/>
                <a:gd name="connsiteX1" fmla="*/ 91588 w 96712"/>
                <a:gd name="connsiteY1" fmla="*/ 28547 h 53845"/>
                <a:gd name="connsiteX2" fmla="*/ 92958 w 96712"/>
                <a:gd name="connsiteY2" fmla="*/ 18040 h 53845"/>
                <a:gd name="connsiteX3" fmla="*/ 61209 w 96712"/>
                <a:gd name="connsiteY3" fmla="*/ 1366 h 53845"/>
                <a:gd name="connsiteX4" fmla="*/ 42022 w 96712"/>
                <a:gd name="connsiteY4" fmla="*/ 2508 h 53845"/>
                <a:gd name="connsiteX5" fmla="*/ 4334 w 96712"/>
                <a:gd name="connsiteY5" fmla="*/ 25350 h 53845"/>
                <a:gd name="connsiteX6" fmla="*/ 2735 w 96712"/>
                <a:gd name="connsiteY6" fmla="*/ 35857 h 53845"/>
                <a:gd name="connsiteX7" fmla="*/ 34712 w 96712"/>
                <a:gd name="connsiteY7" fmla="*/ 52531 h 53845"/>
                <a:gd name="connsiteX8" fmla="*/ 53671 w 96712"/>
                <a:gd name="connsiteY8" fmla="*/ 50247 h 53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712" h="53845">
                  <a:moveTo>
                    <a:pt x="53671" y="50247"/>
                  </a:moveTo>
                  <a:lnTo>
                    <a:pt x="91588" y="28547"/>
                  </a:lnTo>
                  <a:cubicBezTo>
                    <a:pt x="97071" y="25350"/>
                    <a:pt x="97984" y="20553"/>
                    <a:pt x="92958" y="18040"/>
                  </a:cubicBezTo>
                  <a:lnTo>
                    <a:pt x="61209" y="1366"/>
                  </a:lnTo>
                  <a:cubicBezTo>
                    <a:pt x="54950" y="-1101"/>
                    <a:pt x="47939" y="-667"/>
                    <a:pt x="42022" y="2508"/>
                  </a:cubicBezTo>
                  <a:lnTo>
                    <a:pt x="4334" y="25350"/>
                  </a:lnTo>
                  <a:cubicBezTo>
                    <a:pt x="-1377" y="28547"/>
                    <a:pt x="-2063" y="33116"/>
                    <a:pt x="2735" y="35857"/>
                  </a:cubicBezTo>
                  <a:lnTo>
                    <a:pt x="34712" y="52531"/>
                  </a:lnTo>
                  <a:cubicBezTo>
                    <a:pt x="41063" y="54564"/>
                    <a:pt x="47983" y="53742"/>
                    <a:pt x="53671" y="50247"/>
                  </a:cubicBezTo>
                  <a:close/>
                </a:path>
              </a:pathLst>
            </a:custGeom>
            <a:solidFill>
              <a:srgbClr val="A2B7EB"/>
            </a:solidFill>
            <a:ln w="22838" cap="flat">
              <a:noFill/>
              <a:prstDash val="solid"/>
              <a:miter/>
            </a:ln>
          </p:spPr>
          <p:txBody>
            <a:bodyPr rtlCol="0" anchor="ctr"/>
            <a:lstStyle/>
            <a:p>
              <a:endParaRPr lang="zh-CN" altLang="en-US"/>
            </a:p>
          </p:txBody>
        </p:sp>
        <p:sp>
          <p:nvSpPr>
            <p:cNvPr id="374" name="任意多边形: 形状 373"/>
            <p:cNvSpPr/>
            <p:nvPr/>
          </p:nvSpPr>
          <p:spPr>
            <a:xfrm>
              <a:off x="6477627" y="4538654"/>
              <a:ext cx="96598" cy="54337"/>
            </a:xfrm>
            <a:custGeom>
              <a:avLst/>
              <a:gdLst>
                <a:gd name="connsiteX0" fmla="*/ 53671 w 96598"/>
                <a:gd name="connsiteY0" fmla="*/ 51301 h 54337"/>
                <a:gd name="connsiteX1" fmla="*/ 91361 w 96598"/>
                <a:gd name="connsiteY1" fmla="*/ 28459 h 54337"/>
                <a:gd name="connsiteX2" fmla="*/ 92958 w 96598"/>
                <a:gd name="connsiteY2" fmla="*/ 17951 h 54337"/>
                <a:gd name="connsiteX3" fmla="*/ 61209 w 96598"/>
                <a:gd name="connsiteY3" fmla="*/ 1277 h 54337"/>
                <a:gd name="connsiteX4" fmla="*/ 42022 w 96598"/>
                <a:gd name="connsiteY4" fmla="*/ 2648 h 54337"/>
                <a:gd name="connsiteX5" fmla="*/ 4334 w 96598"/>
                <a:gd name="connsiteY5" fmla="*/ 25489 h 54337"/>
                <a:gd name="connsiteX6" fmla="*/ 2735 w 96598"/>
                <a:gd name="connsiteY6" fmla="*/ 35996 h 54337"/>
                <a:gd name="connsiteX7" fmla="*/ 34712 w 96598"/>
                <a:gd name="connsiteY7" fmla="*/ 52671 h 54337"/>
                <a:gd name="connsiteX8" fmla="*/ 53671 w 96598"/>
                <a:gd name="connsiteY8" fmla="*/ 51301 h 54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598" h="54337">
                  <a:moveTo>
                    <a:pt x="53671" y="51301"/>
                  </a:moveTo>
                  <a:lnTo>
                    <a:pt x="91361" y="28459"/>
                  </a:lnTo>
                  <a:cubicBezTo>
                    <a:pt x="97071" y="25261"/>
                    <a:pt x="97756" y="20464"/>
                    <a:pt x="92958" y="17951"/>
                  </a:cubicBezTo>
                  <a:lnTo>
                    <a:pt x="61209" y="1277"/>
                  </a:lnTo>
                  <a:cubicBezTo>
                    <a:pt x="54927" y="-1121"/>
                    <a:pt x="47915" y="-619"/>
                    <a:pt x="42022" y="2648"/>
                  </a:cubicBezTo>
                  <a:lnTo>
                    <a:pt x="4334" y="25489"/>
                  </a:lnTo>
                  <a:cubicBezTo>
                    <a:pt x="-1377" y="28687"/>
                    <a:pt x="-2063" y="33484"/>
                    <a:pt x="2735" y="35996"/>
                  </a:cubicBezTo>
                  <a:lnTo>
                    <a:pt x="34712" y="52671"/>
                  </a:lnTo>
                  <a:cubicBezTo>
                    <a:pt x="40926" y="55001"/>
                    <a:pt x="47847" y="54498"/>
                    <a:pt x="53671" y="51301"/>
                  </a:cubicBezTo>
                  <a:close/>
                </a:path>
              </a:pathLst>
            </a:custGeom>
            <a:solidFill>
              <a:srgbClr val="A2B7EB"/>
            </a:solidFill>
            <a:ln w="22838" cap="flat">
              <a:noFill/>
              <a:prstDash val="solid"/>
              <a:miter/>
            </a:ln>
          </p:spPr>
          <p:txBody>
            <a:bodyPr rtlCol="0" anchor="ctr"/>
            <a:lstStyle/>
            <a:p>
              <a:endParaRPr lang="zh-CN" altLang="en-US"/>
            </a:p>
          </p:txBody>
        </p:sp>
        <p:sp>
          <p:nvSpPr>
            <p:cNvPr id="375" name="任意多边形: 形状 374"/>
            <p:cNvSpPr/>
            <p:nvPr/>
          </p:nvSpPr>
          <p:spPr>
            <a:xfrm>
              <a:off x="6399052" y="4585072"/>
              <a:ext cx="96599" cy="53146"/>
            </a:xfrm>
            <a:custGeom>
              <a:avLst/>
              <a:gdLst>
                <a:gd name="connsiteX0" fmla="*/ 53671 w 96599"/>
                <a:gd name="connsiteY0" fmla="*/ 50108 h 53146"/>
                <a:gd name="connsiteX1" fmla="*/ 91361 w 96599"/>
                <a:gd name="connsiteY1" fmla="*/ 28409 h 53146"/>
                <a:gd name="connsiteX2" fmla="*/ 92960 w 96599"/>
                <a:gd name="connsiteY2" fmla="*/ 17901 h 53146"/>
                <a:gd name="connsiteX3" fmla="*/ 60981 w 96599"/>
                <a:gd name="connsiteY3" fmla="*/ 1227 h 53146"/>
                <a:gd name="connsiteX4" fmla="*/ 42022 w 96599"/>
                <a:gd name="connsiteY4" fmla="*/ 2598 h 53146"/>
                <a:gd name="connsiteX5" fmla="*/ 4334 w 96599"/>
                <a:gd name="connsiteY5" fmla="*/ 24297 h 53146"/>
                <a:gd name="connsiteX6" fmla="*/ 2735 w 96599"/>
                <a:gd name="connsiteY6" fmla="*/ 34805 h 53146"/>
                <a:gd name="connsiteX7" fmla="*/ 34712 w 96599"/>
                <a:gd name="connsiteY7" fmla="*/ 51479 h 53146"/>
                <a:gd name="connsiteX8" fmla="*/ 53671 w 96599"/>
                <a:gd name="connsiteY8" fmla="*/ 50108 h 53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599" h="53146">
                  <a:moveTo>
                    <a:pt x="53671" y="50108"/>
                  </a:moveTo>
                  <a:lnTo>
                    <a:pt x="91361" y="28409"/>
                  </a:lnTo>
                  <a:cubicBezTo>
                    <a:pt x="97071" y="25211"/>
                    <a:pt x="97756" y="20414"/>
                    <a:pt x="92960" y="17901"/>
                  </a:cubicBezTo>
                  <a:lnTo>
                    <a:pt x="60981" y="1227"/>
                  </a:lnTo>
                  <a:cubicBezTo>
                    <a:pt x="54767" y="-1103"/>
                    <a:pt x="47847" y="-600"/>
                    <a:pt x="42022" y="2598"/>
                  </a:cubicBezTo>
                  <a:lnTo>
                    <a:pt x="4334" y="24297"/>
                  </a:lnTo>
                  <a:cubicBezTo>
                    <a:pt x="-1377" y="27495"/>
                    <a:pt x="-2063" y="32292"/>
                    <a:pt x="2735" y="34805"/>
                  </a:cubicBezTo>
                  <a:lnTo>
                    <a:pt x="34712" y="51479"/>
                  </a:lnTo>
                  <a:cubicBezTo>
                    <a:pt x="40926" y="53809"/>
                    <a:pt x="47847" y="53307"/>
                    <a:pt x="53671" y="50108"/>
                  </a:cubicBezTo>
                  <a:close/>
                </a:path>
              </a:pathLst>
            </a:custGeom>
            <a:solidFill>
              <a:srgbClr val="A2B7EB"/>
            </a:solidFill>
            <a:ln w="22838" cap="flat">
              <a:noFill/>
              <a:prstDash val="solid"/>
              <a:miter/>
            </a:ln>
          </p:spPr>
          <p:txBody>
            <a:bodyPr rtlCol="0" anchor="ctr"/>
            <a:lstStyle/>
            <a:p>
              <a:endParaRPr lang="zh-CN" altLang="en-US"/>
            </a:p>
          </p:txBody>
        </p:sp>
        <p:sp>
          <p:nvSpPr>
            <p:cNvPr id="376" name="任意多边形: 形状 375"/>
            <p:cNvSpPr/>
            <p:nvPr/>
          </p:nvSpPr>
          <p:spPr>
            <a:xfrm>
              <a:off x="6320476" y="4630299"/>
              <a:ext cx="96599" cy="53145"/>
            </a:xfrm>
            <a:custGeom>
              <a:avLst/>
              <a:gdLst>
                <a:gd name="connsiteX0" fmla="*/ 53671 w 96599"/>
                <a:gd name="connsiteY0" fmla="*/ 50109 h 53145"/>
                <a:gd name="connsiteX1" fmla="*/ 91361 w 96599"/>
                <a:gd name="connsiteY1" fmla="*/ 28409 h 53145"/>
                <a:gd name="connsiteX2" fmla="*/ 92960 w 96599"/>
                <a:gd name="connsiteY2" fmla="*/ 17902 h 53145"/>
                <a:gd name="connsiteX3" fmla="*/ 60981 w 96599"/>
                <a:gd name="connsiteY3" fmla="*/ 1227 h 53145"/>
                <a:gd name="connsiteX4" fmla="*/ 42022 w 96599"/>
                <a:gd name="connsiteY4" fmla="*/ 2597 h 53145"/>
                <a:gd name="connsiteX5" fmla="*/ 4334 w 96599"/>
                <a:gd name="connsiteY5" fmla="*/ 24297 h 53145"/>
                <a:gd name="connsiteX6" fmla="*/ 2735 w 96599"/>
                <a:gd name="connsiteY6" fmla="*/ 34804 h 53145"/>
                <a:gd name="connsiteX7" fmla="*/ 34712 w 96599"/>
                <a:gd name="connsiteY7" fmla="*/ 51479 h 53145"/>
                <a:gd name="connsiteX8" fmla="*/ 53671 w 96599"/>
                <a:gd name="connsiteY8" fmla="*/ 50109 h 5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599" h="53145">
                  <a:moveTo>
                    <a:pt x="53671" y="50109"/>
                  </a:moveTo>
                  <a:lnTo>
                    <a:pt x="91361" y="28409"/>
                  </a:lnTo>
                  <a:cubicBezTo>
                    <a:pt x="97071" y="25211"/>
                    <a:pt x="97756" y="20415"/>
                    <a:pt x="92960" y="17902"/>
                  </a:cubicBezTo>
                  <a:lnTo>
                    <a:pt x="60981" y="1227"/>
                  </a:lnTo>
                  <a:cubicBezTo>
                    <a:pt x="54769" y="-1103"/>
                    <a:pt x="47847" y="-600"/>
                    <a:pt x="42022" y="2597"/>
                  </a:cubicBezTo>
                  <a:lnTo>
                    <a:pt x="4334" y="24297"/>
                  </a:lnTo>
                  <a:cubicBezTo>
                    <a:pt x="-1377" y="27495"/>
                    <a:pt x="-2063" y="32292"/>
                    <a:pt x="2735" y="34804"/>
                  </a:cubicBezTo>
                  <a:lnTo>
                    <a:pt x="34712" y="51479"/>
                  </a:lnTo>
                  <a:cubicBezTo>
                    <a:pt x="40926" y="53809"/>
                    <a:pt x="47847" y="53306"/>
                    <a:pt x="53671" y="50109"/>
                  </a:cubicBezTo>
                  <a:close/>
                </a:path>
              </a:pathLst>
            </a:custGeom>
            <a:solidFill>
              <a:srgbClr val="A2B7EB"/>
            </a:solidFill>
            <a:ln w="22838" cap="flat">
              <a:noFill/>
              <a:prstDash val="solid"/>
              <a:miter/>
            </a:ln>
          </p:spPr>
          <p:txBody>
            <a:bodyPr rtlCol="0" anchor="ctr"/>
            <a:lstStyle/>
            <a:p>
              <a:endParaRPr lang="zh-CN" altLang="en-US"/>
            </a:p>
          </p:txBody>
        </p:sp>
        <p:sp>
          <p:nvSpPr>
            <p:cNvPr id="377" name="任意多边形: 形状 376"/>
            <p:cNvSpPr/>
            <p:nvPr/>
          </p:nvSpPr>
          <p:spPr>
            <a:xfrm>
              <a:off x="6241901" y="4675526"/>
              <a:ext cx="96599" cy="53855"/>
            </a:xfrm>
            <a:custGeom>
              <a:avLst/>
              <a:gdLst>
                <a:gd name="connsiteX0" fmla="*/ 53671 w 96599"/>
                <a:gd name="connsiteY0" fmla="*/ 50109 h 53855"/>
                <a:gd name="connsiteX1" fmla="*/ 91361 w 96599"/>
                <a:gd name="connsiteY1" fmla="*/ 28409 h 53855"/>
                <a:gd name="connsiteX2" fmla="*/ 92960 w 96599"/>
                <a:gd name="connsiteY2" fmla="*/ 17902 h 53855"/>
                <a:gd name="connsiteX3" fmla="*/ 60981 w 96599"/>
                <a:gd name="connsiteY3" fmla="*/ 1227 h 53855"/>
                <a:gd name="connsiteX4" fmla="*/ 42022 w 96599"/>
                <a:gd name="connsiteY4" fmla="*/ 2597 h 53855"/>
                <a:gd name="connsiteX5" fmla="*/ 4334 w 96599"/>
                <a:gd name="connsiteY5" fmla="*/ 25439 h 53855"/>
                <a:gd name="connsiteX6" fmla="*/ 2735 w 96599"/>
                <a:gd name="connsiteY6" fmla="*/ 35946 h 53855"/>
                <a:gd name="connsiteX7" fmla="*/ 34712 w 96599"/>
                <a:gd name="connsiteY7" fmla="*/ 52621 h 53855"/>
                <a:gd name="connsiteX8" fmla="*/ 53671 w 96599"/>
                <a:gd name="connsiteY8" fmla="*/ 50109 h 53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599" h="53855">
                  <a:moveTo>
                    <a:pt x="53671" y="50109"/>
                  </a:moveTo>
                  <a:lnTo>
                    <a:pt x="91361" y="28409"/>
                  </a:lnTo>
                  <a:cubicBezTo>
                    <a:pt x="97071" y="25210"/>
                    <a:pt x="97756" y="20414"/>
                    <a:pt x="92960" y="17902"/>
                  </a:cubicBezTo>
                  <a:lnTo>
                    <a:pt x="60981" y="1227"/>
                  </a:lnTo>
                  <a:cubicBezTo>
                    <a:pt x="54769" y="-1103"/>
                    <a:pt x="47847" y="-600"/>
                    <a:pt x="42022" y="2597"/>
                  </a:cubicBezTo>
                  <a:lnTo>
                    <a:pt x="4334" y="25439"/>
                  </a:lnTo>
                  <a:cubicBezTo>
                    <a:pt x="-1377" y="28637"/>
                    <a:pt x="-2063" y="33434"/>
                    <a:pt x="2735" y="35946"/>
                  </a:cubicBezTo>
                  <a:lnTo>
                    <a:pt x="34712" y="52621"/>
                  </a:lnTo>
                  <a:cubicBezTo>
                    <a:pt x="41086" y="54585"/>
                    <a:pt x="48029" y="53671"/>
                    <a:pt x="53671" y="50109"/>
                  </a:cubicBezTo>
                  <a:close/>
                </a:path>
              </a:pathLst>
            </a:custGeom>
            <a:solidFill>
              <a:srgbClr val="A2B7EB"/>
            </a:solidFill>
            <a:ln w="22838" cap="flat">
              <a:noFill/>
              <a:prstDash val="solid"/>
              <a:miter/>
            </a:ln>
          </p:spPr>
          <p:txBody>
            <a:bodyPr rtlCol="0" anchor="ctr"/>
            <a:lstStyle/>
            <a:p>
              <a:endParaRPr lang="zh-CN" altLang="en-US"/>
            </a:p>
          </p:txBody>
        </p:sp>
        <p:sp>
          <p:nvSpPr>
            <p:cNvPr id="378" name="任意多边形: 形状 377"/>
            <p:cNvSpPr/>
            <p:nvPr/>
          </p:nvSpPr>
          <p:spPr>
            <a:xfrm>
              <a:off x="6163325" y="4719610"/>
              <a:ext cx="96599" cy="53805"/>
            </a:xfrm>
            <a:custGeom>
              <a:avLst/>
              <a:gdLst>
                <a:gd name="connsiteX0" fmla="*/ 53671 w 96599"/>
                <a:gd name="connsiteY0" fmla="*/ 51479 h 53805"/>
                <a:gd name="connsiteX1" fmla="*/ 91361 w 96599"/>
                <a:gd name="connsiteY1" fmla="*/ 28637 h 53805"/>
                <a:gd name="connsiteX2" fmla="*/ 92960 w 96599"/>
                <a:gd name="connsiteY2" fmla="*/ 18130 h 53805"/>
                <a:gd name="connsiteX3" fmla="*/ 60981 w 96599"/>
                <a:gd name="connsiteY3" fmla="*/ 1227 h 53805"/>
                <a:gd name="connsiteX4" fmla="*/ 42022 w 96599"/>
                <a:gd name="connsiteY4" fmla="*/ 2597 h 53805"/>
                <a:gd name="connsiteX5" fmla="*/ 4334 w 96599"/>
                <a:gd name="connsiteY5" fmla="*/ 24297 h 53805"/>
                <a:gd name="connsiteX6" fmla="*/ 2735 w 96599"/>
                <a:gd name="connsiteY6" fmla="*/ 34804 h 53805"/>
                <a:gd name="connsiteX7" fmla="*/ 34485 w 96599"/>
                <a:gd name="connsiteY7" fmla="*/ 51479 h 53805"/>
                <a:gd name="connsiteX8" fmla="*/ 53671 w 96599"/>
                <a:gd name="connsiteY8" fmla="*/ 51479 h 53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599" h="53805">
                  <a:moveTo>
                    <a:pt x="53671" y="51479"/>
                  </a:moveTo>
                  <a:lnTo>
                    <a:pt x="91361" y="28637"/>
                  </a:lnTo>
                  <a:cubicBezTo>
                    <a:pt x="97071" y="25211"/>
                    <a:pt x="97756" y="20643"/>
                    <a:pt x="92960" y="18130"/>
                  </a:cubicBezTo>
                  <a:lnTo>
                    <a:pt x="60981" y="1227"/>
                  </a:lnTo>
                  <a:cubicBezTo>
                    <a:pt x="54769" y="-1103"/>
                    <a:pt x="47847" y="-600"/>
                    <a:pt x="42022" y="2597"/>
                  </a:cubicBezTo>
                  <a:lnTo>
                    <a:pt x="4334" y="24297"/>
                  </a:lnTo>
                  <a:cubicBezTo>
                    <a:pt x="-1377" y="27495"/>
                    <a:pt x="-2063" y="32292"/>
                    <a:pt x="2735" y="34804"/>
                  </a:cubicBezTo>
                  <a:lnTo>
                    <a:pt x="34485" y="51479"/>
                  </a:lnTo>
                  <a:cubicBezTo>
                    <a:pt x="40561" y="54288"/>
                    <a:pt x="47596" y="54288"/>
                    <a:pt x="53671" y="51479"/>
                  </a:cubicBezTo>
                  <a:close/>
                </a:path>
              </a:pathLst>
            </a:custGeom>
            <a:solidFill>
              <a:srgbClr val="A2B7EB"/>
            </a:solidFill>
            <a:ln w="22838" cap="flat">
              <a:noFill/>
              <a:prstDash val="solid"/>
              <a:miter/>
            </a:ln>
          </p:spPr>
          <p:txBody>
            <a:bodyPr rtlCol="0" anchor="ctr"/>
            <a:lstStyle/>
            <a:p>
              <a:endParaRPr lang="zh-CN" altLang="en-US"/>
            </a:p>
          </p:txBody>
        </p:sp>
        <p:sp>
          <p:nvSpPr>
            <p:cNvPr id="379" name="任意多边形: 形状 378"/>
            <p:cNvSpPr/>
            <p:nvPr/>
          </p:nvSpPr>
          <p:spPr>
            <a:xfrm>
              <a:off x="6872103" y="4258514"/>
              <a:ext cx="189505" cy="106895"/>
            </a:xfrm>
            <a:custGeom>
              <a:avLst/>
              <a:gdLst>
                <a:gd name="connsiteX0" fmla="*/ 55271 w 189505"/>
                <a:gd name="connsiteY0" fmla="*/ 103708 h 106895"/>
                <a:gd name="connsiteX1" fmla="*/ 184097 w 189505"/>
                <a:gd name="connsiteY1" fmla="*/ 29244 h 106895"/>
                <a:gd name="connsiteX2" fmla="*/ 185696 w 189505"/>
                <a:gd name="connsiteY2" fmla="*/ 18508 h 106895"/>
                <a:gd name="connsiteX3" fmla="*/ 153033 w 189505"/>
                <a:gd name="connsiteY3" fmla="*/ 1377 h 106895"/>
                <a:gd name="connsiteX4" fmla="*/ 133389 w 189505"/>
                <a:gd name="connsiteY4" fmla="*/ 2748 h 106895"/>
                <a:gd name="connsiteX5" fmla="*/ 4333 w 189505"/>
                <a:gd name="connsiteY5" fmla="*/ 76983 h 106895"/>
                <a:gd name="connsiteX6" fmla="*/ 2734 w 189505"/>
                <a:gd name="connsiteY6" fmla="*/ 87719 h 106895"/>
                <a:gd name="connsiteX7" fmla="*/ 35626 w 189505"/>
                <a:gd name="connsiteY7" fmla="*/ 105079 h 106895"/>
                <a:gd name="connsiteX8" fmla="*/ 55271 w 189505"/>
                <a:gd name="connsiteY8" fmla="*/ 103708 h 106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9505" h="106895">
                  <a:moveTo>
                    <a:pt x="55271" y="103708"/>
                  </a:moveTo>
                  <a:lnTo>
                    <a:pt x="184097" y="29244"/>
                  </a:lnTo>
                  <a:cubicBezTo>
                    <a:pt x="190036" y="26046"/>
                    <a:pt x="190722" y="21249"/>
                    <a:pt x="185696" y="18508"/>
                  </a:cubicBezTo>
                  <a:lnTo>
                    <a:pt x="153033" y="1377"/>
                  </a:lnTo>
                  <a:cubicBezTo>
                    <a:pt x="146614" y="-1158"/>
                    <a:pt x="139397" y="-656"/>
                    <a:pt x="133389" y="2748"/>
                  </a:cubicBezTo>
                  <a:lnTo>
                    <a:pt x="4333" y="76983"/>
                  </a:lnTo>
                  <a:cubicBezTo>
                    <a:pt x="-1377" y="80409"/>
                    <a:pt x="-2062" y="85206"/>
                    <a:pt x="2734" y="87719"/>
                  </a:cubicBezTo>
                  <a:lnTo>
                    <a:pt x="35626" y="105079"/>
                  </a:lnTo>
                  <a:cubicBezTo>
                    <a:pt x="42045" y="107614"/>
                    <a:pt x="49264" y="107111"/>
                    <a:pt x="55271" y="103708"/>
                  </a:cubicBezTo>
                  <a:close/>
                </a:path>
              </a:pathLst>
            </a:custGeom>
            <a:solidFill>
              <a:srgbClr val="A2B7EB"/>
            </a:solidFill>
            <a:ln w="22838" cap="flat">
              <a:noFill/>
              <a:prstDash val="solid"/>
              <a:miter/>
            </a:ln>
          </p:spPr>
          <p:txBody>
            <a:bodyPr rtlCol="0" anchor="ctr"/>
            <a:lstStyle/>
            <a:p>
              <a:endParaRPr lang="zh-CN" altLang="en-US"/>
            </a:p>
          </p:txBody>
        </p:sp>
        <p:sp>
          <p:nvSpPr>
            <p:cNvPr id="380" name="任意多边形: 形状 379"/>
            <p:cNvSpPr/>
            <p:nvPr/>
          </p:nvSpPr>
          <p:spPr>
            <a:xfrm>
              <a:off x="5988129" y="4767292"/>
              <a:ext cx="189544" cy="106801"/>
            </a:xfrm>
            <a:custGeom>
              <a:avLst/>
              <a:gdLst>
                <a:gd name="connsiteX0" fmla="*/ 55271 w 189544"/>
                <a:gd name="connsiteY0" fmla="*/ 103615 h 106801"/>
                <a:gd name="connsiteX1" fmla="*/ 184099 w 189544"/>
                <a:gd name="connsiteY1" fmla="*/ 29379 h 106801"/>
                <a:gd name="connsiteX2" fmla="*/ 185925 w 189544"/>
                <a:gd name="connsiteY2" fmla="*/ 18643 h 106801"/>
                <a:gd name="connsiteX3" fmla="*/ 153033 w 189544"/>
                <a:gd name="connsiteY3" fmla="*/ 1283 h 106801"/>
                <a:gd name="connsiteX4" fmla="*/ 133389 w 189544"/>
                <a:gd name="connsiteY4" fmla="*/ 2883 h 106801"/>
                <a:gd name="connsiteX5" fmla="*/ 4333 w 189544"/>
                <a:gd name="connsiteY5" fmla="*/ 77118 h 106801"/>
                <a:gd name="connsiteX6" fmla="*/ 2735 w 189544"/>
                <a:gd name="connsiteY6" fmla="*/ 87854 h 106801"/>
                <a:gd name="connsiteX7" fmla="*/ 35627 w 189544"/>
                <a:gd name="connsiteY7" fmla="*/ 104985 h 106801"/>
                <a:gd name="connsiteX8" fmla="*/ 55271 w 189544"/>
                <a:gd name="connsiteY8" fmla="*/ 103615 h 106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9544" h="106801">
                  <a:moveTo>
                    <a:pt x="55271" y="103615"/>
                  </a:moveTo>
                  <a:lnTo>
                    <a:pt x="184099" y="29379"/>
                  </a:lnTo>
                  <a:cubicBezTo>
                    <a:pt x="190036" y="25953"/>
                    <a:pt x="190722" y="21156"/>
                    <a:pt x="185925" y="18643"/>
                  </a:cubicBezTo>
                  <a:lnTo>
                    <a:pt x="153033" y="1283"/>
                  </a:lnTo>
                  <a:cubicBezTo>
                    <a:pt x="146569" y="-1183"/>
                    <a:pt x="139351" y="-590"/>
                    <a:pt x="133389" y="2883"/>
                  </a:cubicBezTo>
                  <a:lnTo>
                    <a:pt x="4333" y="77118"/>
                  </a:lnTo>
                  <a:cubicBezTo>
                    <a:pt x="-1377" y="80316"/>
                    <a:pt x="-2062" y="85341"/>
                    <a:pt x="2735" y="87854"/>
                  </a:cubicBezTo>
                  <a:lnTo>
                    <a:pt x="35627" y="104985"/>
                  </a:lnTo>
                  <a:cubicBezTo>
                    <a:pt x="42045" y="107520"/>
                    <a:pt x="49264" y="107018"/>
                    <a:pt x="55271" y="103615"/>
                  </a:cubicBezTo>
                  <a:close/>
                </a:path>
              </a:pathLst>
            </a:custGeom>
            <a:solidFill>
              <a:srgbClr val="A2B7EB"/>
            </a:solidFill>
            <a:ln w="22838" cap="flat">
              <a:noFill/>
              <a:prstDash val="solid"/>
              <a:miter/>
            </a:ln>
          </p:spPr>
          <p:txBody>
            <a:bodyPr rtlCol="0" anchor="ctr"/>
            <a:lstStyle/>
            <a:p>
              <a:endParaRPr lang="zh-CN" altLang="en-US"/>
            </a:p>
          </p:txBody>
        </p:sp>
        <p:sp>
          <p:nvSpPr>
            <p:cNvPr id="381" name="任意多边形: 形状 380"/>
            <p:cNvSpPr/>
            <p:nvPr/>
          </p:nvSpPr>
          <p:spPr>
            <a:xfrm>
              <a:off x="4509747" y="4823159"/>
              <a:ext cx="495563" cy="653754"/>
            </a:xfrm>
            <a:custGeom>
              <a:avLst/>
              <a:gdLst>
                <a:gd name="connsiteX0" fmla="*/ 494813 w 495563"/>
                <a:gd name="connsiteY0" fmla="*/ -220 h 653754"/>
                <a:gd name="connsiteX1" fmla="*/ 61 w 495563"/>
                <a:gd name="connsiteY1" fmla="*/ -220 h 653754"/>
                <a:gd name="connsiteX2" fmla="*/ 61 w 495563"/>
                <a:gd name="connsiteY2" fmla="*/ 520571 h 653754"/>
                <a:gd name="connsiteX3" fmla="*/ 40719 w 495563"/>
                <a:gd name="connsiteY3" fmla="*/ 593893 h 653754"/>
                <a:gd name="connsiteX4" fmla="*/ 252005 w 495563"/>
                <a:gd name="connsiteY4" fmla="*/ 653510 h 653754"/>
                <a:gd name="connsiteX5" fmla="*/ 402989 w 495563"/>
                <a:gd name="connsiteY5" fmla="*/ 626100 h 653754"/>
                <a:gd name="connsiteX6" fmla="*/ 494356 w 495563"/>
                <a:gd name="connsiteY6" fmla="*/ 539758 h 653754"/>
                <a:gd name="connsiteX7" fmla="*/ 494813 w 495563"/>
                <a:gd name="connsiteY7" fmla="*/ -220 h 653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5563" h="653754">
                  <a:moveTo>
                    <a:pt x="494813" y="-220"/>
                  </a:moveTo>
                  <a:lnTo>
                    <a:pt x="61" y="-220"/>
                  </a:lnTo>
                  <a:lnTo>
                    <a:pt x="61" y="520571"/>
                  </a:lnTo>
                  <a:cubicBezTo>
                    <a:pt x="-4279" y="551864"/>
                    <a:pt x="19705" y="577676"/>
                    <a:pt x="40719" y="593893"/>
                  </a:cubicBezTo>
                  <a:cubicBezTo>
                    <a:pt x="88916" y="631125"/>
                    <a:pt x="167948" y="653510"/>
                    <a:pt x="252005" y="653510"/>
                  </a:cubicBezTo>
                  <a:cubicBezTo>
                    <a:pt x="303628" y="654081"/>
                    <a:pt x="354861" y="644784"/>
                    <a:pt x="402989" y="626100"/>
                  </a:cubicBezTo>
                  <a:cubicBezTo>
                    <a:pt x="455981" y="603258"/>
                    <a:pt x="490473" y="572193"/>
                    <a:pt x="494356" y="539758"/>
                  </a:cubicBezTo>
                  <a:cubicBezTo>
                    <a:pt x="495726" y="532449"/>
                    <a:pt x="494813" y="-220"/>
                    <a:pt x="494813" y="-220"/>
                  </a:cubicBezTo>
                  <a:close/>
                </a:path>
              </a:pathLst>
            </a:custGeom>
            <a:solidFill>
              <a:srgbClr val="D0DBF8"/>
            </a:solidFill>
            <a:ln w="22838" cap="flat">
              <a:noFill/>
              <a:prstDash val="solid"/>
              <a:miter/>
            </a:ln>
          </p:spPr>
          <p:txBody>
            <a:bodyPr rtlCol="0" anchor="ctr"/>
            <a:lstStyle/>
            <a:p>
              <a:endParaRPr lang="zh-CN" altLang="en-US"/>
            </a:p>
          </p:txBody>
        </p:sp>
        <p:sp>
          <p:nvSpPr>
            <p:cNvPr id="382" name="任意多边形: 形状 381"/>
            <p:cNvSpPr/>
            <p:nvPr/>
          </p:nvSpPr>
          <p:spPr>
            <a:xfrm>
              <a:off x="4509601" y="4699779"/>
              <a:ext cx="495613" cy="246753"/>
            </a:xfrm>
            <a:custGeom>
              <a:avLst/>
              <a:gdLst>
                <a:gd name="connsiteX0" fmla="*/ 403135 w 495613"/>
                <a:gd name="connsiteY0" fmla="*/ 218867 h 246753"/>
                <a:gd name="connsiteX1" fmla="*/ 252151 w 495613"/>
                <a:gd name="connsiteY1" fmla="*/ 246505 h 246753"/>
                <a:gd name="connsiteX2" fmla="*/ 40865 w 495613"/>
                <a:gd name="connsiteY2" fmla="*/ 186889 h 246753"/>
                <a:gd name="connsiteX3" fmla="*/ 207 w 495613"/>
                <a:gd name="connsiteY3" fmla="*/ 113567 h 246753"/>
                <a:gd name="connsiteX4" fmla="*/ 91574 w 495613"/>
                <a:gd name="connsiteY4" fmla="*/ 27226 h 246753"/>
                <a:gd name="connsiteX5" fmla="*/ 242557 w 495613"/>
                <a:gd name="connsiteY5" fmla="*/ -185 h 246753"/>
                <a:gd name="connsiteX6" fmla="*/ 453843 w 495613"/>
                <a:gd name="connsiteY6" fmla="*/ 59433 h 246753"/>
                <a:gd name="connsiteX7" fmla="*/ 494502 w 495613"/>
                <a:gd name="connsiteY7" fmla="*/ 132754 h 246753"/>
                <a:gd name="connsiteX8" fmla="*/ 403135 w 495613"/>
                <a:gd name="connsiteY8" fmla="*/ 218867 h 246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5613" h="246753">
                  <a:moveTo>
                    <a:pt x="403135" y="218867"/>
                  </a:moveTo>
                  <a:cubicBezTo>
                    <a:pt x="355053" y="237735"/>
                    <a:pt x="303796" y="247122"/>
                    <a:pt x="252151" y="246505"/>
                  </a:cubicBezTo>
                  <a:cubicBezTo>
                    <a:pt x="168094" y="246505"/>
                    <a:pt x="89062" y="223664"/>
                    <a:pt x="40865" y="186889"/>
                  </a:cubicBezTo>
                  <a:cubicBezTo>
                    <a:pt x="19851" y="170671"/>
                    <a:pt x="-4818" y="144860"/>
                    <a:pt x="207" y="113567"/>
                  </a:cubicBezTo>
                  <a:cubicBezTo>
                    <a:pt x="5232" y="82274"/>
                    <a:pt x="38581" y="48925"/>
                    <a:pt x="91574" y="27226"/>
                  </a:cubicBezTo>
                  <a:cubicBezTo>
                    <a:pt x="139656" y="8449"/>
                    <a:pt x="190935" y="-870"/>
                    <a:pt x="242557" y="-185"/>
                  </a:cubicBezTo>
                  <a:cubicBezTo>
                    <a:pt x="326615" y="-185"/>
                    <a:pt x="405647" y="22657"/>
                    <a:pt x="453843" y="59433"/>
                  </a:cubicBezTo>
                  <a:cubicBezTo>
                    <a:pt x="474858" y="75650"/>
                    <a:pt x="499526" y="101461"/>
                    <a:pt x="494502" y="132754"/>
                  </a:cubicBezTo>
                  <a:cubicBezTo>
                    <a:pt x="489477" y="164047"/>
                    <a:pt x="456127" y="197168"/>
                    <a:pt x="403135" y="218867"/>
                  </a:cubicBezTo>
                  <a:close/>
                </a:path>
              </a:pathLst>
            </a:custGeom>
            <a:solidFill>
              <a:srgbClr val="FAFBFE"/>
            </a:solidFill>
            <a:ln w="22838" cap="flat">
              <a:noFill/>
              <a:prstDash val="solid"/>
              <a:miter/>
            </a:ln>
          </p:spPr>
          <p:txBody>
            <a:bodyPr rtlCol="0" anchor="ctr"/>
            <a:lstStyle/>
            <a:p>
              <a:endParaRPr lang="zh-CN" altLang="en-US"/>
            </a:p>
          </p:txBody>
        </p:sp>
        <p:sp>
          <p:nvSpPr>
            <p:cNvPr id="383" name="任意多边形: 形状 382"/>
            <p:cNvSpPr/>
            <p:nvPr/>
          </p:nvSpPr>
          <p:spPr>
            <a:xfrm>
              <a:off x="4538435" y="4728328"/>
              <a:ext cx="438011" cy="152848"/>
            </a:xfrm>
            <a:custGeom>
              <a:avLst/>
              <a:gdLst>
                <a:gd name="connsiteX0" fmla="*/ 213723 w 438011"/>
                <a:gd name="connsiteY0" fmla="*/ 112427 h 152848"/>
                <a:gd name="connsiteX1" fmla="*/ 387093 w 438011"/>
                <a:gd name="connsiteY1" fmla="*/ 152629 h 152848"/>
                <a:gd name="connsiteX2" fmla="*/ 437344 w 438011"/>
                <a:gd name="connsiteY2" fmla="*/ 100321 h 152848"/>
                <a:gd name="connsiteX3" fmla="*/ 407421 w 438011"/>
                <a:gd name="connsiteY3" fmla="*/ 53496 h 152848"/>
                <a:gd name="connsiteX4" fmla="*/ 213723 w 438011"/>
                <a:gd name="connsiteY4" fmla="*/ -182 h 152848"/>
                <a:gd name="connsiteX5" fmla="*/ 73476 w 438011"/>
                <a:gd name="connsiteY5" fmla="*/ 25173 h 152848"/>
                <a:gd name="connsiteX6" fmla="*/ -303 w 438011"/>
                <a:gd name="connsiteY6" fmla="*/ 88673 h 152848"/>
                <a:gd name="connsiteX7" fmla="*/ 29391 w 438011"/>
                <a:gd name="connsiteY7" fmla="*/ 135498 h 152848"/>
                <a:gd name="connsiteX8" fmla="*/ 49949 w 438011"/>
                <a:gd name="connsiteY8" fmla="*/ 148974 h 152848"/>
                <a:gd name="connsiteX9" fmla="*/ 72790 w 438011"/>
                <a:gd name="connsiteY9" fmla="*/ 137782 h 152848"/>
                <a:gd name="connsiteX10" fmla="*/ 213723 w 438011"/>
                <a:gd name="connsiteY10" fmla="*/ 112427 h 152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8011" h="152848">
                  <a:moveTo>
                    <a:pt x="213723" y="112427"/>
                  </a:moveTo>
                  <a:cubicBezTo>
                    <a:pt x="273980" y="111034"/>
                    <a:pt x="333597" y="124853"/>
                    <a:pt x="387093" y="152629"/>
                  </a:cubicBezTo>
                  <a:cubicBezTo>
                    <a:pt x="420898" y="134127"/>
                    <a:pt x="435517" y="113798"/>
                    <a:pt x="437344" y="100321"/>
                  </a:cubicBezTo>
                  <a:cubicBezTo>
                    <a:pt x="439857" y="81591"/>
                    <a:pt x="419756" y="62861"/>
                    <a:pt x="407421" y="53496"/>
                  </a:cubicBezTo>
                  <a:cubicBezTo>
                    <a:pt x="364022" y="19919"/>
                    <a:pt x="291614" y="-182"/>
                    <a:pt x="213723" y="-182"/>
                  </a:cubicBezTo>
                  <a:cubicBezTo>
                    <a:pt x="165779" y="-867"/>
                    <a:pt x="118154" y="7744"/>
                    <a:pt x="73476" y="25173"/>
                  </a:cubicBezTo>
                  <a:cubicBezTo>
                    <a:pt x="22538" y="46187"/>
                    <a:pt x="1752" y="72454"/>
                    <a:pt x="-303" y="88673"/>
                  </a:cubicBezTo>
                  <a:cubicBezTo>
                    <a:pt x="-2359" y="104890"/>
                    <a:pt x="17285" y="126133"/>
                    <a:pt x="29391" y="135498"/>
                  </a:cubicBezTo>
                  <a:cubicBezTo>
                    <a:pt x="35947" y="140432"/>
                    <a:pt x="42800" y="144931"/>
                    <a:pt x="49949" y="148974"/>
                  </a:cubicBezTo>
                  <a:cubicBezTo>
                    <a:pt x="57373" y="144863"/>
                    <a:pt x="65001" y="141117"/>
                    <a:pt x="72790" y="137782"/>
                  </a:cubicBezTo>
                  <a:cubicBezTo>
                    <a:pt x="117674" y="120285"/>
                    <a:pt x="165551" y="111674"/>
                    <a:pt x="213723" y="112427"/>
                  </a:cubicBezTo>
                  <a:close/>
                </a:path>
              </a:pathLst>
            </a:custGeom>
            <a:solidFill>
              <a:srgbClr val="D0DBF8"/>
            </a:solidFill>
            <a:ln w="22838" cap="flat">
              <a:noFill/>
              <a:prstDash val="solid"/>
              <a:miter/>
            </a:ln>
          </p:spPr>
          <p:txBody>
            <a:bodyPr rtlCol="0" anchor="ctr"/>
            <a:lstStyle/>
            <a:p>
              <a:endParaRPr lang="zh-CN" altLang="en-US"/>
            </a:p>
          </p:txBody>
        </p:sp>
        <p:sp>
          <p:nvSpPr>
            <p:cNvPr id="384" name="任意多边形: 形状 383"/>
            <p:cNvSpPr/>
            <p:nvPr/>
          </p:nvSpPr>
          <p:spPr>
            <a:xfrm>
              <a:off x="4590892" y="4840976"/>
              <a:ext cx="336229" cy="76291"/>
            </a:xfrm>
            <a:custGeom>
              <a:avLst/>
              <a:gdLst>
                <a:gd name="connsiteX0" fmla="*/ 335777 w 336229"/>
                <a:gd name="connsiteY0" fmla="*/ 39982 h 76291"/>
                <a:gd name="connsiteX1" fmla="*/ 312936 w 336229"/>
                <a:gd name="connsiteY1" fmla="*/ 51403 h 76291"/>
                <a:gd name="connsiteX2" fmla="*/ 251948 w 336229"/>
                <a:gd name="connsiteY2" fmla="*/ 69219 h 76291"/>
                <a:gd name="connsiteX3" fmla="*/ 190504 w 336229"/>
                <a:gd name="connsiteY3" fmla="*/ 76071 h 76291"/>
                <a:gd name="connsiteX4" fmla="*/ 172916 w 336229"/>
                <a:gd name="connsiteY4" fmla="*/ 76071 h 76291"/>
                <a:gd name="connsiteX5" fmla="*/ 165835 w 336229"/>
                <a:gd name="connsiteY5" fmla="*/ 76071 h 76291"/>
                <a:gd name="connsiteX6" fmla="*/ 105533 w 336229"/>
                <a:gd name="connsiteY6" fmla="*/ 71046 h 76291"/>
                <a:gd name="connsiteX7" fmla="*/ -453 w 336229"/>
                <a:gd name="connsiteY7" fmla="*/ 35870 h 76291"/>
                <a:gd name="connsiteX8" fmla="*/ 22389 w 336229"/>
                <a:gd name="connsiteY8" fmla="*/ 24677 h 76291"/>
                <a:gd name="connsiteX9" fmla="*/ 89087 w 336229"/>
                <a:gd name="connsiteY9" fmla="*/ 5719 h 76291"/>
                <a:gd name="connsiteX10" fmla="*/ 146648 w 336229"/>
                <a:gd name="connsiteY10" fmla="*/ -220 h 76291"/>
                <a:gd name="connsiteX11" fmla="*/ 162638 w 336229"/>
                <a:gd name="connsiteY11" fmla="*/ -220 h 76291"/>
                <a:gd name="connsiteX12" fmla="*/ 210148 w 336229"/>
                <a:gd name="connsiteY12" fmla="*/ 2293 h 76291"/>
                <a:gd name="connsiteX13" fmla="*/ 266796 w 336229"/>
                <a:gd name="connsiteY13" fmla="*/ 12571 h 76291"/>
                <a:gd name="connsiteX14" fmla="*/ 335777 w 336229"/>
                <a:gd name="connsiteY14" fmla="*/ 39982 h 76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36229" h="76291">
                  <a:moveTo>
                    <a:pt x="335777" y="39982"/>
                  </a:moveTo>
                  <a:cubicBezTo>
                    <a:pt x="328353" y="44162"/>
                    <a:pt x="320725" y="47976"/>
                    <a:pt x="312936" y="51403"/>
                  </a:cubicBezTo>
                  <a:cubicBezTo>
                    <a:pt x="293223" y="59306"/>
                    <a:pt x="272803" y="65267"/>
                    <a:pt x="251948" y="69219"/>
                  </a:cubicBezTo>
                  <a:cubicBezTo>
                    <a:pt x="231688" y="73171"/>
                    <a:pt x="211130" y="75455"/>
                    <a:pt x="190504" y="76071"/>
                  </a:cubicBezTo>
                  <a:cubicBezTo>
                    <a:pt x="184794" y="76071"/>
                    <a:pt x="178855" y="76071"/>
                    <a:pt x="172916" y="76071"/>
                  </a:cubicBezTo>
                  <a:lnTo>
                    <a:pt x="165835" y="76071"/>
                  </a:lnTo>
                  <a:cubicBezTo>
                    <a:pt x="145643" y="75706"/>
                    <a:pt x="125497" y="74016"/>
                    <a:pt x="105533" y="71046"/>
                  </a:cubicBezTo>
                  <a:cubicBezTo>
                    <a:pt x="68369" y="65838"/>
                    <a:pt x="32463" y="53915"/>
                    <a:pt x="-453" y="35870"/>
                  </a:cubicBezTo>
                  <a:cubicBezTo>
                    <a:pt x="6925" y="31667"/>
                    <a:pt x="14555" y="27944"/>
                    <a:pt x="22389" y="24677"/>
                  </a:cubicBezTo>
                  <a:cubicBezTo>
                    <a:pt x="43860" y="15906"/>
                    <a:pt x="66222" y="9557"/>
                    <a:pt x="89087" y="5719"/>
                  </a:cubicBezTo>
                  <a:cubicBezTo>
                    <a:pt x="108092" y="2224"/>
                    <a:pt x="127324" y="237"/>
                    <a:pt x="146648" y="-220"/>
                  </a:cubicBezTo>
                  <a:lnTo>
                    <a:pt x="162638" y="-220"/>
                  </a:lnTo>
                  <a:cubicBezTo>
                    <a:pt x="178512" y="-197"/>
                    <a:pt x="194364" y="626"/>
                    <a:pt x="210148" y="2293"/>
                  </a:cubicBezTo>
                  <a:cubicBezTo>
                    <a:pt x="229244" y="4417"/>
                    <a:pt x="248180" y="7866"/>
                    <a:pt x="266796" y="12571"/>
                  </a:cubicBezTo>
                  <a:cubicBezTo>
                    <a:pt x="290939" y="18510"/>
                    <a:pt x="314146" y="27738"/>
                    <a:pt x="335777" y="39982"/>
                  </a:cubicBezTo>
                  <a:close/>
                </a:path>
              </a:pathLst>
            </a:custGeom>
            <a:solidFill>
              <a:srgbClr val="27145A"/>
            </a:solidFill>
            <a:ln w="22838" cap="flat">
              <a:noFill/>
              <a:prstDash val="solid"/>
              <a:miter/>
            </a:ln>
          </p:spPr>
          <p:txBody>
            <a:bodyPr rtlCol="0" anchor="ctr"/>
            <a:lstStyle/>
            <a:p>
              <a:endParaRPr lang="zh-CN" altLang="en-US"/>
            </a:p>
          </p:txBody>
        </p:sp>
        <p:sp>
          <p:nvSpPr>
            <p:cNvPr id="385" name="任意多边形: 形状 384"/>
            <p:cNvSpPr/>
            <p:nvPr/>
          </p:nvSpPr>
          <p:spPr>
            <a:xfrm>
              <a:off x="4926162" y="4974891"/>
              <a:ext cx="177754" cy="379109"/>
            </a:xfrm>
            <a:custGeom>
              <a:avLst/>
              <a:gdLst>
                <a:gd name="connsiteX0" fmla="*/ 110604 w 177754"/>
                <a:gd name="connsiteY0" fmla="*/ 378890 h 379109"/>
                <a:gd name="connsiteX1" fmla="*/ 77484 w 177754"/>
                <a:gd name="connsiteY1" fmla="*/ 369981 h 379109"/>
                <a:gd name="connsiteX2" fmla="*/ 16497 w 177754"/>
                <a:gd name="connsiteY2" fmla="*/ 336632 h 379109"/>
                <a:gd name="connsiteX3" fmla="*/ 2175 w 177754"/>
                <a:gd name="connsiteY3" fmla="*/ 298189 h 379109"/>
                <a:gd name="connsiteX4" fmla="*/ 40640 w 177754"/>
                <a:gd name="connsiteY4" fmla="*/ 283868 h 379109"/>
                <a:gd name="connsiteX5" fmla="*/ 44364 w 177754"/>
                <a:gd name="connsiteY5" fmla="*/ 285924 h 379109"/>
                <a:gd name="connsiteX6" fmla="*/ 105807 w 177754"/>
                <a:gd name="connsiteY6" fmla="*/ 319501 h 379109"/>
                <a:gd name="connsiteX7" fmla="*/ 117845 w 177754"/>
                <a:gd name="connsiteY7" fmla="*/ 317057 h 379109"/>
                <a:gd name="connsiteX8" fmla="*/ 119284 w 177754"/>
                <a:gd name="connsiteY8" fmla="*/ 312192 h 379109"/>
                <a:gd name="connsiteX9" fmla="*/ 119284 w 177754"/>
                <a:gd name="connsiteY9" fmla="*/ 130600 h 379109"/>
                <a:gd name="connsiteX10" fmla="*/ 98270 w 177754"/>
                <a:gd name="connsiteY10" fmla="*/ 95195 h 379109"/>
                <a:gd name="connsiteX11" fmla="*/ 17182 w 177754"/>
                <a:gd name="connsiteY11" fmla="*/ 53395 h 379109"/>
                <a:gd name="connsiteX12" fmla="*/ 7953 w 177754"/>
                <a:gd name="connsiteY12" fmla="*/ 13422 h 379109"/>
                <a:gd name="connsiteX13" fmla="*/ 43678 w 177754"/>
                <a:gd name="connsiteY13" fmla="*/ 2002 h 379109"/>
                <a:gd name="connsiteX14" fmla="*/ 125223 w 177754"/>
                <a:gd name="connsiteY14" fmla="*/ 44030 h 379109"/>
                <a:gd name="connsiteX15" fmla="*/ 177302 w 177754"/>
                <a:gd name="connsiteY15" fmla="*/ 130600 h 379109"/>
                <a:gd name="connsiteX16" fmla="*/ 177302 w 177754"/>
                <a:gd name="connsiteY16" fmla="*/ 312192 h 379109"/>
                <a:gd name="connsiteX17" fmla="*/ 110604 w 177754"/>
                <a:gd name="connsiteY17" fmla="*/ 378890 h 379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77754" h="379109">
                  <a:moveTo>
                    <a:pt x="110604" y="378890"/>
                  </a:moveTo>
                  <a:cubicBezTo>
                    <a:pt x="98978" y="378867"/>
                    <a:pt x="87557" y="375783"/>
                    <a:pt x="77484" y="369981"/>
                  </a:cubicBezTo>
                  <a:lnTo>
                    <a:pt x="16497" y="336632"/>
                  </a:lnTo>
                  <a:cubicBezTo>
                    <a:pt x="1924" y="329963"/>
                    <a:pt x="-4472" y="312762"/>
                    <a:pt x="2175" y="298189"/>
                  </a:cubicBezTo>
                  <a:cubicBezTo>
                    <a:pt x="8844" y="283616"/>
                    <a:pt x="26067" y="277198"/>
                    <a:pt x="40640" y="283868"/>
                  </a:cubicBezTo>
                  <a:cubicBezTo>
                    <a:pt x="41919" y="284462"/>
                    <a:pt x="43176" y="285147"/>
                    <a:pt x="44364" y="285924"/>
                  </a:cubicBezTo>
                  <a:lnTo>
                    <a:pt x="105807" y="319501"/>
                  </a:lnTo>
                  <a:cubicBezTo>
                    <a:pt x="109805" y="322151"/>
                    <a:pt x="115195" y="321054"/>
                    <a:pt x="117845" y="317057"/>
                  </a:cubicBezTo>
                  <a:cubicBezTo>
                    <a:pt x="118804" y="315618"/>
                    <a:pt x="119307" y="313927"/>
                    <a:pt x="119284" y="312192"/>
                  </a:cubicBezTo>
                  <a:lnTo>
                    <a:pt x="119284" y="130600"/>
                  </a:lnTo>
                  <a:cubicBezTo>
                    <a:pt x="119307" y="115844"/>
                    <a:pt x="111244" y="102253"/>
                    <a:pt x="98270" y="95195"/>
                  </a:cubicBezTo>
                  <a:lnTo>
                    <a:pt x="17182" y="53395"/>
                  </a:lnTo>
                  <a:cubicBezTo>
                    <a:pt x="3591" y="44898"/>
                    <a:pt x="-543" y="27013"/>
                    <a:pt x="7953" y="13422"/>
                  </a:cubicBezTo>
                  <a:cubicBezTo>
                    <a:pt x="15469" y="1385"/>
                    <a:pt x="30567" y="-3435"/>
                    <a:pt x="43678" y="2002"/>
                  </a:cubicBezTo>
                  <a:lnTo>
                    <a:pt x="125223" y="44030"/>
                  </a:lnTo>
                  <a:cubicBezTo>
                    <a:pt x="157224" y="61070"/>
                    <a:pt x="177257" y="94351"/>
                    <a:pt x="177302" y="130600"/>
                  </a:cubicBezTo>
                  <a:lnTo>
                    <a:pt x="177302" y="312192"/>
                  </a:lnTo>
                  <a:cubicBezTo>
                    <a:pt x="177165" y="348966"/>
                    <a:pt x="147379" y="378775"/>
                    <a:pt x="110604" y="378890"/>
                  </a:cubicBezTo>
                  <a:close/>
                </a:path>
              </a:pathLst>
            </a:custGeom>
            <a:solidFill>
              <a:srgbClr val="A2B7EB"/>
            </a:solidFill>
            <a:ln w="22838" cap="flat">
              <a:noFill/>
              <a:prstDash val="solid"/>
              <a:miter/>
            </a:ln>
          </p:spPr>
          <p:txBody>
            <a:bodyPr rtlCol="0" anchor="ctr"/>
            <a:lstStyle/>
            <a:p>
              <a:endParaRPr lang="zh-CN" altLang="en-US"/>
            </a:p>
          </p:txBody>
        </p:sp>
        <p:sp>
          <p:nvSpPr>
            <p:cNvPr id="386" name="任意多边形: 形状 385"/>
            <p:cNvSpPr/>
            <p:nvPr/>
          </p:nvSpPr>
          <p:spPr>
            <a:xfrm>
              <a:off x="5204420" y="5336870"/>
              <a:ext cx="984477" cy="278724"/>
            </a:xfrm>
            <a:custGeom>
              <a:avLst/>
              <a:gdLst>
                <a:gd name="connsiteX0" fmla="*/ 984024 w 984477"/>
                <a:gd name="connsiteY0" fmla="*/ 24449 h 278724"/>
                <a:gd name="connsiteX1" fmla="*/ 984024 w 984477"/>
                <a:gd name="connsiteY1" fmla="*/ -220 h 278724"/>
                <a:gd name="connsiteX2" fmla="*/ -453 w 984477"/>
                <a:gd name="connsiteY2" fmla="*/ -220 h 278724"/>
                <a:gd name="connsiteX3" fmla="*/ -453 w 984477"/>
                <a:gd name="connsiteY3" fmla="*/ 20109 h 278724"/>
                <a:gd name="connsiteX4" fmla="*/ 31297 w 984477"/>
                <a:gd name="connsiteY4" fmla="*/ 63051 h 278724"/>
                <a:gd name="connsiteX5" fmla="*/ 704442 w 984477"/>
                <a:gd name="connsiteY5" fmla="*/ 275479 h 278724"/>
                <a:gd name="connsiteX6" fmla="*/ 769769 w 984477"/>
                <a:gd name="connsiteY6" fmla="*/ 259490 h 278724"/>
                <a:gd name="connsiteX7" fmla="*/ 969634 w 984477"/>
                <a:gd name="connsiteY7" fmla="*/ 59853 h 278724"/>
                <a:gd name="connsiteX8" fmla="*/ 984024 w 984477"/>
                <a:gd name="connsiteY8" fmla="*/ 24449 h 278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84477" h="278724">
                  <a:moveTo>
                    <a:pt x="984024" y="24449"/>
                  </a:moveTo>
                  <a:lnTo>
                    <a:pt x="984024" y="-220"/>
                  </a:lnTo>
                  <a:lnTo>
                    <a:pt x="-453" y="-220"/>
                  </a:lnTo>
                  <a:lnTo>
                    <a:pt x="-453" y="20109"/>
                  </a:lnTo>
                  <a:cubicBezTo>
                    <a:pt x="-202" y="39753"/>
                    <a:pt x="12567" y="57067"/>
                    <a:pt x="31297" y="63051"/>
                  </a:cubicBezTo>
                  <a:lnTo>
                    <a:pt x="704442" y="275479"/>
                  </a:lnTo>
                  <a:cubicBezTo>
                    <a:pt x="727489" y="282788"/>
                    <a:pt x="752706" y="276621"/>
                    <a:pt x="769769" y="259490"/>
                  </a:cubicBezTo>
                  <a:lnTo>
                    <a:pt x="969634" y="59853"/>
                  </a:lnTo>
                  <a:cubicBezTo>
                    <a:pt x="978908" y="50397"/>
                    <a:pt x="984070" y="37674"/>
                    <a:pt x="984024" y="24449"/>
                  </a:cubicBezTo>
                  <a:close/>
                </a:path>
              </a:pathLst>
            </a:custGeom>
            <a:solidFill>
              <a:srgbClr val="5A43DB"/>
            </a:solidFill>
            <a:ln w="22838" cap="flat">
              <a:noFill/>
              <a:prstDash val="solid"/>
              <a:miter/>
            </a:ln>
          </p:spPr>
          <p:txBody>
            <a:bodyPr rtlCol="0" anchor="ctr"/>
            <a:lstStyle/>
            <a:p>
              <a:endParaRPr lang="zh-CN" altLang="en-US"/>
            </a:p>
          </p:txBody>
        </p:sp>
        <p:sp>
          <p:nvSpPr>
            <p:cNvPr id="387" name="任意多边形: 形状 386"/>
            <p:cNvSpPr/>
            <p:nvPr/>
          </p:nvSpPr>
          <p:spPr>
            <a:xfrm>
              <a:off x="5203293" y="5092504"/>
              <a:ext cx="985729" cy="489969"/>
            </a:xfrm>
            <a:custGeom>
              <a:avLst/>
              <a:gdLst>
                <a:gd name="connsiteX0" fmla="*/ 285282 w 985729"/>
                <a:gd name="connsiteY0" fmla="*/ 2708 h 489969"/>
                <a:gd name="connsiteX1" fmla="*/ 962310 w 985729"/>
                <a:gd name="connsiteY1" fmla="*/ 211481 h 489969"/>
                <a:gd name="connsiteX2" fmla="*/ 983918 w 985729"/>
                <a:gd name="connsiteY2" fmla="*/ 251568 h 489969"/>
                <a:gd name="connsiteX3" fmla="*/ 975787 w 985729"/>
                <a:gd name="connsiteY3" fmla="*/ 265159 h 489969"/>
                <a:gd name="connsiteX4" fmla="*/ 770212 w 985729"/>
                <a:gd name="connsiteY4" fmla="*/ 470735 h 489969"/>
                <a:gd name="connsiteX5" fmla="*/ 704883 w 985729"/>
                <a:gd name="connsiteY5" fmla="*/ 486724 h 489969"/>
                <a:gd name="connsiteX6" fmla="*/ 22145 w 985729"/>
                <a:gd name="connsiteY6" fmla="*/ 271784 h 489969"/>
                <a:gd name="connsiteX7" fmla="*/ 1085 w 985729"/>
                <a:gd name="connsiteY7" fmla="*/ 231034 h 489969"/>
                <a:gd name="connsiteX8" fmla="*/ 9583 w 985729"/>
                <a:gd name="connsiteY8" fmla="*/ 217420 h 489969"/>
                <a:gd name="connsiteX9" fmla="*/ 221097 w 985729"/>
                <a:gd name="connsiteY9" fmla="*/ 18241 h 489969"/>
                <a:gd name="connsiteX10" fmla="*/ 285282 w 985729"/>
                <a:gd name="connsiteY10" fmla="*/ 2708 h 489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85729" h="489969">
                  <a:moveTo>
                    <a:pt x="285282" y="2708"/>
                  </a:moveTo>
                  <a:lnTo>
                    <a:pt x="962310" y="211481"/>
                  </a:lnTo>
                  <a:cubicBezTo>
                    <a:pt x="979350" y="216598"/>
                    <a:pt x="989012" y="234528"/>
                    <a:pt x="983918" y="251568"/>
                  </a:cubicBezTo>
                  <a:cubicBezTo>
                    <a:pt x="982388" y="256708"/>
                    <a:pt x="979578" y="261368"/>
                    <a:pt x="975787" y="265159"/>
                  </a:cubicBezTo>
                  <a:lnTo>
                    <a:pt x="770212" y="470735"/>
                  </a:lnTo>
                  <a:cubicBezTo>
                    <a:pt x="753149" y="487866"/>
                    <a:pt x="727931" y="494033"/>
                    <a:pt x="704883" y="486724"/>
                  </a:cubicBezTo>
                  <a:lnTo>
                    <a:pt x="22145" y="271784"/>
                  </a:lnTo>
                  <a:cubicBezTo>
                    <a:pt x="5083" y="266347"/>
                    <a:pt x="-4351" y="248096"/>
                    <a:pt x="1085" y="231034"/>
                  </a:cubicBezTo>
                  <a:cubicBezTo>
                    <a:pt x="2730" y="225849"/>
                    <a:pt x="5654" y="221166"/>
                    <a:pt x="9583" y="217420"/>
                  </a:cubicBezTo>
                  <a:lnTo>
                    <a:pt x="221097" y="18241"/>
                  </a:lnTo>
                  <a:cubicBezTo>
                    <a:pt x="237977" y="1612"/>
                    <a:pt x="262668" y="-4373"/>
                    <a:pt x="285282" y="2708"/>
                  </a:cubicBezTo>
                  <a:close/>
                </a:path>
              </a:pathLst>
            </a:custGeom>
            <a:solidFill>
              <a:srgbClr val="D0DBF8"/>
            </a:solidFill>
            <a:ln w="22838" cap="flat">
              <a:noFill/>
              <a:prstDash val="solid"/>
              <a:miter/>
            </a:ln>
          </p:spPr>
          <p:txBody>
            <a:bodyPr rtlCol="0" anchor="ctr"/>
            <a:lstStyle/>
            <a:p>
              <a:endParaRPr lang="zh-CN" altLang="en-US"/>
            </a:p>
          </p:txBody>
        </p:sp>
        <p:sp>
          <p:nvSpPr>
            <p:cNvPr id="388" name="任意多边形: 形状 387"/>
            <p:cNvSpPr/>
            <p:nvPr/>
          </p:nvSpPr>
          <p:spPr>
            <a:xfrm>
              <a:off x="5230599" y="5115296"/>
              <a:ext cx="932150" cy="446107"/>
            </a:xfrm>
            <a:custGeom>
              <a:avLst/>
              <a:gdLst>
                <a:gd name="connsiteX0" fmla="*/ 697451 w 932150"/>
                <a:gd name="connsiteY0" fmla="*/ 445887 h 446107"/>
                <a:gd name="connsiteX1" fmla="*/ 684431 w 932150"/>
                <a:gd name="connsiteY1" fmla="*/ 443832 h 446107"/>
                <a:gd name="connsiteX2" fmla="*/ 10829 w 932150"/>
                <a:gd name="connsiteY2" fmla="*/ 231175 h 446107"/>
                <a:gd name="connsiteX3" fmla="*/ 207 w 932150"/>
                <a:gd name="connsiteY3" fmla="*/ 211577 h 446107"/>
                <a:gd name="connsiteX4" fmla="*/ 4662 w 932150"/>
                <a:gd name="connsiteY4" fmla="*/ 204450 h 446107"/>
                <a:gd name="connsiteX5" fmla="*/ 209095 w 932150"/>
                <a:gd name="connsiteY5" fmla="*/ 11438 h 446107"/>
                <a:gd name="connsiteX6" fmla="*/ 238789 w 932150"/>
                <a:gd name="connsiteY6" fmla="*/ -211 h 446107"/>
                <a:gd name="connsiteX7" fmla="*/ 251581 w 932150"/>
                <a:gd name="connsiteY7" fmla="*/ 1616 h 446107"/>
                <a:gd name="connsiteX8" fmla="*/ 920614 w 932150"/>
                <a:gd name="connsiteY8" fmla="*/ 208334 h 446107"/>
                <a:gd name="connsiteX9" fmla="*/ 930985 w 932150"/>
                <a:gd name="connsiteY9" fmla="*/ 228069 h 446107"/>
                <a:gd name="connsiteX10" fmla="*/ 927010 w 932150"/>
                <a:gd name="connsiteY10" fmla="*/ 234602 h 446107"/>
                <a:gd name="connsiteX11" fmla="*/ 728058 w 932150"/>
                <a:gd name="connsiteY11" fmla="*/ 433325 h 446107"/>
                <a:gd name="connsiteX12" fmla="*/ 697451 w 932150"/>
                <a:gd name="connsiteY12" fmla="*/ 445887 h 446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32150" h="446107">
                  <a:moveTo>
                    <a:pt x="697451" y="445887"/>
                  </a:moveTo>
                  <a:cubicBezTo>
                    <a:pt x="693041" y="445887"/>
                    <a:pt x="688633" y="445179"/>
                    <a:pt x="684431" y="443832"/>
                  </a:cubicBezTo>
                  <a:lnTo>
                    <a:pt x="10829" y="231175"/>
                  </a:lnTo>
                  <a:cubicBezTo>
                    <a:pt x="2492" y="228709"/>
                    <a:pt x="-2282" y="219914"/>
                    <a:pt x="207" y="211577"/>
                  </a:cubicBezTo>
                  <a:cubicBezTo>
                    <a:pt x="1007" y="208836"/>
                    <a:pt x="2560" y="206369"/>
                    <a:pt x="4662" y="204450"/>
                  </a:cubicBezTo>
                  <a:lnTo>
                    <a:pt x="209095" y="11438"/>
                  </a:lnTo>
                  <a:cubicBezTo>
                    <a:pt x="217135" y="3877"/>
                    <a:pt x="227757" y="-279"/>
                    <a:pt x="238789" y="-211"/>
                  </a:cubicBezTo>
                  <a:cubicBezTo>
                    <a:pt x="243129" y="-302"/>
                    <a:pt x="247446" y="315"/>
                    <a:pt x="251581" y="1616"/>
                  </a:cubicBezTo>
                  <a:lnTo>
                    <a:pt x="920614" y="208334"/>
                  </a:lnTo>
                  <a:cubicBezTo>
                    <a:pt x="928928" y="210915"/>
                    <a:pt x="933565" y="219755"/>
                    <a:pt x="930985" y="228069"/>
                  </a:cubicBezTo>
                  <a:cubicBezTo>
                    <a:pt x="930230" y="230536"/>
                    <a:pt x="928860" y="232775"/>
                    <a:pt x="927010" y="234602"/>
                  </a:cubicBezTo>
                  <a:lnTo>
                    <a:pt x="728058" y="433325"/>
                  </a:lnTo>
                  <a:cubicBezTo>
                    <a:pt x="719904" y="441365"/>
                    <a:pt x="708916" y="445887"/>
                    <a:pt x="697451" y="445887"/>
                  </a:cubicBezTo>
                  <a:close/>
                </a:path>
              </a:pathLst>
            </a:custGeom>
            <a:solidFill>
              <a:srgbClr val="F7F9FF"/>
            </a:solidFill>
            <a:ln w="22838" cap="flat">
              <a:noFill/>
              <a:prstDash val="solid"/>
              <a:miter/>
            </a:ln>
          </p:spPr>
          <p:txBody>
            <a:bodyPr rtlCol="0" anchor="ctr"/>
            <a:lstStyle/>
            <a:p>
              <a:endParaRPr lang="zh-CN" altLang="en-US"/>
            </a:p>
          </p:txBody>
        </p:sp>
        <p:sp>
          <p:nvSpPr>
            <p:cNvPr id="389" name="任意多边形: 形状 388"/>
            <p:cNvSpPr/>
            <p:nvPr/>
          </p:nvSpPr>
          <p:spPr>
            <a:xfrm>
              <a:off x="6424395" y="4869757"/>
              <a:ext cx="615583" cy="351990"/>
            </a:xfrm>
            <a:custGeom>
              <a:avLst/>
              <a:gdLst>
                <a:gd name="connsiteX0" fmla="*/ 386025 w 615583"/>
                <a:gd name="connsiteY0" fmla="*/ 0 h 351990"/>
                <a:gd name="connsiteX1" fmla="*/ 0 w 615583"/>
                <a:gd name="connsiteY1" fmla="*/ 103473 h 351990"/>
                <a:gd name="connsiteX2" fmla="*/ 229559 w 615583"/>
                <a:gd name="connsiteY2" fmla="*/ 351991 h 351990"/>
                <a:gd name="connsiteX3" fmla="*/ 615584 w 615583"/>
                <a:gd name="connsiteY3" fmla="*/ 248746 h 351990"/>
                <a:gd name="connsiteX4" fmla="*/ 386025 w 615583"/>
                <a:gd name="connsiteY4" fmla="*/ 0 h 3519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5583" h="351990">
                  <a:moveTo>
                    <a:pt x="386025" y="0"/>
                  </a:moveTo>
                  <a:lnTo>
                    <a:pt x="0" y="103473"/>
                  </a:lnTo>
                  <a:lnTo>
                    <a:pt x="229559" y="351991"/>
                  </a:lnTo>
                  <a:lnTo>
                    <a:pt x="615584" y="248746"/>
                  </a:lnTo>
                  <a:lnTo>
                    <a:pt x="386025" y="0"/>
                  </a:lnTo>
                  <a:close/>
                </a:path>
              </a:pathLst>
            </a:custGeom>
            <a:solidFill>
              <a:srgbClr val="FFBC3F"/>
            </a:solidFill>
            <a:ln w="22838" cap="flat">
              <a:noFill/>
              <a:prstDash val="solid"/>
              <a:miter/>
            </a:ln>
          </p:spPr>
          <p:txBody>
            <a:bodyPr rtlCol="0" anchor="ctr"/>
            <a:lstStyle/>
            <a:p>
              <a:endParaRPr lang="zh-CN" altLang="en-US"/>
            </a:p>
          </p:txBody>
        </p:sp>
        <p:sp>
          <p:nvSpPr>
            <p:cNvPr id="390" name="任意多边形: 形状 389"/>
            <p:cNvSpPr/>
            <p:nvPr/>
          </p:nvSpPr>
          <p:spPr>
            <a:xfrm>
              <a:off x="6244631" y="5068479"/>
              <a:ext cx="692332" cy="399729"/>
            </a:xfrm>
            <a:custGeom>
              <a:avLst/>
              <a:gdLst>
                <a:gd name="connsiteX0" fmla="*/ 0 w 692332"/>
                <a:gd name="connsiteY0" fmla="*/ 199865 h 399729"/>
                <a:gd name="connsiteX1" fmla="*/ 346280 w 692332"/>
                <a:gd name="connsiteY1" fmla="*/ 0 h 399729"/>
                <a:gd name="connsiteX2" fmla="*/ 692332 w 692332"/>
                <a:gd name="connsiteY2" fmla="*/ 199865 h 399729"/>
                <a:gd name="connsiteX3" fmla="*/ 346280 w 692332"/>
                <a:gd name="connsiteY3" fmla="*/ 399730 h 399729"/>
                <a:gd name="connsiteX4" fmla="*/ 0 w 692332"/>
                <a:gd name="connsiteY4" fmla="*/ 199865 h 3997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332" h="399729">
                  <a:moveTo>
                    <a:pt x="0" y="199865"/>
                  </a:moveTo>
                  <a:lnTo>
                    <a:pt x="346280" y="0"/>
                  </a:lnTo>
                  <a:lnTo>
                    <a:pt x="692332" y="199865"/>
                  </a:lnTo>
                  <a:lnTo>
                    <a:pt x="346280" y="399730"/>
                  </a:lnTo>
                  <a:lnTo>
                    <a:pt x="0" y="199865"/>
                  </a:lnTo>
                  <a:close/>
                </a:path>
              </a:pathLst>
            </a:custGeom>
            <a:solidFill>
              <a:srgbClr val="FF70E9"/>
            </a:solidFill>
            <a:ln w="22838" cap="flat">
              <a:noFill/>
              <a:prstDash val="solid"/>
              <a:miter/>
            </a:ln>
          </p:spPr>
          <p:txBody>
            <a:bodyPr rtlCol="0" anchor="ctr"/>
            <a:lstStyle/>
            <a:p>
              <a:endParaRPr lang="zh-CN" altLang="en-US"/>
            </a:p>
          </p:txBody>
        </p:sp>
        <p:sp>
          <p:nvSpPr>
            <p:cNvPr id="391" name="任意多边形: 形状 390"/>
            <p:cNvSpPr/>
            <p:nvPr/>
          </p:nvSpPr>
          <p:spPr>
            <a:xfrm>
              <a:off x="7346515" y="4485102"/>
              <a:ext cx="692560" cy="399729"/>
            </a:xfrm>
            <a:custGeom>
              <a:avLst/>
              <a:gdLst>
                <a:gd name="connsiteX0" fmla="*/ 0 w 692560"/>
                <a:gd name="connsiteY0" fmla="*/ 199865 h 399729"/>
                <a:gd name="connsiteX1" fmla="*/ 346280 w 692560"/>
                <a:gd name="connsiteY1" fmla="*/ 0 h 399729"/>
                <a:gd name="connsiteX2" fmla="*/ 692560 w 692560"/>
                <a:gd name="connsiteY2" fmla="*/ 199865 h 399729"/>
                <a:gd name="connsiteX3" fmla="*/ 346280 w 692560"/>
                <a:gd name="connsiteY3" fmla="*/ 399730 h 399729"/>
                <a:gd name="connsiteX4" fmla="*/ 0 w 692560"/>
                <a:gd name="connsiteY4" fmla="*/ 199865 h 3997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560" h="399729">
                  <a:moveTo>
                    <a:pt x="0" y="199865"/>
                  </a:moveTo>
                  <a:lnTo>
                    <a:pt x="346280" y="0"/>
                  </a:lnTo>
                  <a:lnTo>
                    <a:pt x="692560" y="199865"/>
                  </a:lnTo>
                  <a:lnTo>
                    <a:pt x="346280" y="399730"/>
                  </a:lnTo>
                  <a:lnTo>
                    <a:pt x="0" y="199865"/>
                  </a:lnTo>
                  <a:close/>
                </a:path>
              </a:pathLst>
            </a:custGeom>
            <a:solidFill>
              <a:srgbClr val="FFBC3F"/>
            </a:solidFill>
            <a:ln w="22838" cap="flat">
              <a:noFill/>
              <a:prstDash val="solid"/>
              <a:miter/>
            </a:ln>
          </p:spPr>
          <p:txBody>
            <a:bodyPr rtlCol="0" anchor="ctr"/>
            <a:lstStyle/>
            <a:p>
              <a:endParaRPr lang="zh-CN" altLang="en-US"/>
            </a:p>
          </p:txBody>
        </p:sp>
        <p:sp>
          <p:nvSpPr>
            <p:cNvPr id="392" name="任意多边形: 形状 391"/>
            <p:cNvSpPr/>
            <p:nvPr/>
          </p:nvSpPr>
          <p:spPr>
            <a:xfrm>
              <a:off x="6318027" y="3706735"/>
              <a:ext cx="160502" cy="229023"/>
            </a:xfrm>
            <a:custGeom>
              <a:avLst/>
              <a:gdLst>
                <a:gd name="connsiteX0" fmla="*/ 30995 w 160502"/>
                <a:gd name="connsiteY0" fmla="*/ 63430 h 229023"/>
                <a:gd name="connsiteX1" fmla="*/ 35107 w 160502"/>
                <a:gd name="connsiteY1" fmla="*/ 55892 h 229023"/>
                <a:gd name="connsiteX2" fmla="*/ 158 w 160502"/>
                <a:gd name="connsiteY2" fmla="*/ 3356 h 229023"/>
                <a:gd name="connsiteX3" fmla="*/ 89241 w 160502"/>
                <a:gd name="connsiteY3" fmla="*/ 64115 h 229023"/>
                <a:gd name="connsiteX4" fmla="*/ 78278 w 160502"/>
                <a:gd name="connsiteY4" fmla="*/ 34649 h 229023"/>
                <a:gd name="connsiteX5" fmla="*/ 82161 w 160502"/>
                <a:gd name="connsiteY5" fmla="*/ 14549 h 229023"/>
                <a:gd name="connsiteX6" fmla="*/ 102490 w 160502"/>
                <a:gd name="connsiteY6" fmla="*/ 25056 h 229023"/>
                <a:gd name="connsiteX7" fmla="*/ 129443 w 160502"/>
                <a:gd name="connsiteY7" fmla="*/ 73024 h 229023"/>
                <a:gd name="connsiteX8" fmla="*/ 136980 w 160502"/>
                <a:gd name="connsiteY8" fmla="*/ 93810 h 229023"/>
                <a:gd name="connsiteX9" fmla="*/ 139493 w 160502"/>
                <a:gd name="connsiteY9" fmla="*/ 108199 h 229023"/>
                <a:gd name="connsiteX10" fmla="*/ 160050 w 160502"/>
                <a:gd name="connsiteY10" fmla="*/ 163933 h 229023"/>
                <a:gd name="connsiteX11" fmla="*/ 142919 w 160502"/>
                <a:gd name="connsiteY11" fmla="*/ 228804 h 229023"/>
                <a:gd name="connsiteX12" fmla="*/ 86956 w 160502"/>
                <a:gd name="connsiteY12" fmla="*/ 158452 h 229023"/>
                <a:gd name="connsiteX13" fmla="*/ 53380 w 160502"/>
                <a:gd name="connsiteY13" fmla="*/ 128986 h 229023"/>
                <a:gd name="connsiteX14" fmla="*/ 27340 w 160502"/>
                <a:gd name="connsiteY14" fmla="*/ 90612 h 229023"/>
                <a:gd name="connsiteX15" fmla="*/ 30995 w 160502"/>
                <a:gd name="connsiteY15" fmla="*/ 63430 h 229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60502" h="229023">
                  <a:moveTo>
                    <a:pt x="30995" y="63430"/>
                  </a:moveTo>
                  <a:cubicBezTo>
                    <a:pt x="33050" y="59319"/>
                    <a:pt x="35107" y="55892"/>
                    <a:pt x="35107" y="55892"/>
                  </a:cubicBezTo>
                  <a:cubicBezTo>
                    <a:pt x="30538" y="43101"/>
                    <a:pt x="-5552" y="10209"/>
                    <a:pt x="158" y="3356"/>
                  </a:cubicBezTo>
                  <a:cubicBezTo>
                    <a:pt x="17061" y="-18115"/>
                    <a:pt x="89241" y="64115"/>
                    <a:pt x="89241" y="64115"/>
                  </a:cubicBezTo>
                  <a:cubicBezTo>
                    <a:pt x="89241" y="64115"/>
                    <a:pt x="81475" y="41273"/>
                    <a:pt x="78278" y="34649"/>
                  </a:cubicBezTo>
                  <a:cubicBezTo>
                    <a:pt x="75056" y="27820"/>
                    <a:pt x="76633" y="19688"/>
                    <a:pt x="82161" y="14549"/>
                  </a:cubicBezTo>
                  <a:cubicBezTo>
                    <a:pt x="90841" y="8381"/>
                    <a:pt x="100662" y="19117"/>
                    <a:pt x="102490" y="25056"/>
                  </a:cubicBezTo>
                  <a:lnTo>
                    <a:pt x="129443" y="73024"/>
                  </a:lnTo>
                  <a:cubicBezTo>
                    <a:pt x="133007" y="79534"/>
                    <a:pt x="135541" y="86546"/>
                    <a:pt x="136980" y="93810"/>
                  </a:cubicBezTo>
                  <a:lnTo>
                    <a:pt x="139493" y="108199"/>
                  </a:lnTo>
                  <a:cubicBezTo>
                    <a:pt x="145249" y="127158"/>
                    <a:pt x="152124" y="145775"/>
                    <a:pt x="160050" y="163933"/>
                  </a:cubicBezTo>
                  <a:lnTo>
                    <a:pt x="142919" y="228804"/>
                  </a:lnTo>
                  <a:cubicBezTo>
                    <a:pt x="126199" y="203861"/>
                    <a:pt x="107492" y="180334"/>
                    <a:pt x="86956" y="158452"/>
                  </a:cubicBezTo>
                  <a:cubicBezTo>
                    <a:pt x="75034" y="149498"/>
                    <a:pt x="63795" y="139653"/>
                    <a:pt x="53380" y="128986"/>
                  </a:cubicBezTo>
                  <a:cubicBezTo>
                    <a:pt x="42348" y="117953"/>
                    <a:pt x="33508" y="104934"/>
                    <a:pt x="27340" y="90612"/>
                  </a:cubicBezTo>
                  <a:cubicBezTo>
                    <a:pt x="25079" y="81407"/>
                    <a:pt x="26381" y="71699"/>
                    <a:pt x="30995" y="63430"/>
                  </a:cubicBezTo>
                  <a:close/>
                </a:path>
              </a:pathLst>
            </a:custGeom>
            <a:solidFill>
              <a:srgbClr val="FCBAC0"/>
            </a:solidFill>
            <a:ln w="22838" cap="flat">
              <a:noFill/>
              <a:prstDash val="solid"/>
              <a:miter/>
            </a:ln>
          </p:spPr>
          <p:txBody>
            <a:bodyPr rtlCol="0" anchor="ctr"/>
            <a:lstStyle/>
            <a:p>
              <a:endParaRPr lang="zh-CN" altLang="en-US"/>
            </a:p>
          </p:txBody>
        </p:sp>
        <p:sp>
          <p:nvSpPr>
            <p:cNvPr id="393" name="任意多边形: 形状 392"/>
            <p:cNvSpPr/>
            <p:nvPr/>
          </p:nvSpPr>
          <p:spPr>
            <a:xfrm>
              <a:off x="7051400" y="5718152"/>
              <a:ext cx="180912" cy="151734"/>
            </a:xfrm>
            <a:custGeom>
              <a:avLst/>
              <a:gdLst>
                <a:gd name="connsiteX0" fmla="*/ -453 w 180912"/>
                <a:gd name="connsiteY0" fmla="*/ 23253 h 151734"/>
                <a:gd name="connsiteX1" fmla="*/ 32897 w 180912"/>
                <a:gd name="connsiteY1" fmla="*/ 74875 h 151734"/>
                <a:gd name="connsiteX2" fmla="*/ 50713 w 180912"/>
                <a:gd name="connsiteY2" fmla="*/ 86981 h 151734"/>
                <a:gd name="connsiteX3" fmla="*/ 111472 w 180912"/>
                <a:gd name="connsiteY3" fmla="*/ 136319 h 151734"/>
                <a:gd name="connsiteX4" fmla="*/ 144364 w 180912"/>
                <a:gd name="connsiteY4" fmla="*/ 151394 h 151734"/>
                <a:gd name="connsiteX5" fmla="*/ 180225 w 180912"/>
                <a:gd name="connsiteY5" fmla="*/ 115305 h 151734"/>
                <a:gd name="connsiteX6" fmla="*/ 180225 w 180912"/>
                <a:gd name="connsiteY6" fmla="*/ 105711 h 151734"/>
                <a:gd name="connsiteX7" fmla="*/ 180225 w 180912"/>
                <a:gd name="connsiteY7" fmla="*/ 100914 h 151734"/>
                <a:gd name="connsiteX8" fmla="*/ 178398 w 180912"/>
                <a:gd name="connsiteY8" fmla="*/ 40612 h 151734"/>
                <a:gd name="connsiteX9" fmla="*/ 152816 w 180912"/>
                <a:gd name="connsiteY9" fmla="*/ 10233 h 151734"/>
                <a:gd name="connsiteX10" fmla="*/ 132258 w 180912"/>
                <a:gd name="connsiteY10" fmla="*/ 33075 h 151734"/>
                <a:gd name="connsiteX11" fmla="*/ 54139 w 180912"/>
                <a:gd name="connsiteY11" fmla="*/ 2010 h 151734"/>
                <a:gd name="connsiteX12" fmla="*/ 45459 w 180912"/>
                <a:gd name="connsiteY12" fmla="*/ 639 h 151734"/>
                <a:gd name="connsiteX13" fmla="*/ 2060 w 180912"/>
                <a:gd name="connsiteY13" fmla="*/ 18456 h 151734"/>
                <a:gd name="connsiteX14" fmla="*/ -453 w 180912"/>
                <a:gd name="connsiteY14" fmla="*/ 23253 h 151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80912" h="151734">
                  <a:moveTo>
                    <a:pt x="-453" y="23253"/>
                  </a:moveTo>
                  <a:cubicBezTo>
                    <a:pt x="2266" y="44632"/>
                    <a:pt x="14532" y="63614"/>
                    <a:pt x="32897" y="74875"/>
                  </a:cubicBezTo>
                  <a:cubicBezTo>
                    <a:pt x="37464" y="78301"/>
                    <a:pt x="43860" y="82641"/>
                    <a:pt x="50713" y="86981"/>
                  </a:cubicBezTo>
                  <a:cubicBezTo>
                    <a:pt x="72366" y="101623"/>
                    <a:pt x="92696" y="118137"/>
                    <a:pt x="111472" y="136319"/>
                  </a:cubicBezTo>
                  <a:cubicBezTo>
                    <a:pt x="120152" y="145296"/>
                    <a:pt x="131892" y="150663"/>
                    <a:pt x="144364" y="151394"/>
                  </a:cubicBezTo>
                  <a:cubicBezTo>
                    <a:pt x="164692" y="152536"/>
                    <a:pt x="182738" y="145913"/>
                    <a:pt x="180225" y="115305"/>
                  </a:cubicBezTo>
                  <a:cubicBezTo>
                    <a:pt x="180225" y="113249"/>
                    <a:pt x="180225" y="109594"/>
                    <a:pt x="180225" y="105711"/>
                  </a:cubicBezTo>
                  <a:lnTo>
                    <a:pt x="180225" y="100914"/>
                  </a:lnTo>
                  <a:cubicBezTo>
                    <a:pt x="180225" y="98630"/>
                    <a:pt x="178627" y="41755"/>
                    <a:pt x="178398" y="40612"/>
                  </a:cubicBezTo>
                  <a:cubicBezTo>
                    <a:pt x="175885" y="50891"/>
                    <a:pt x="161723" y="10689"/>
                    <a:pt x="152816" y="10233"/>
                  </a:cubicBezTo>
                  <a:cubicBezTo>
                    <a:pt x="139567" y="10233"/>
                    <a:pt x="141395" y="41526"/>
                    <a:pt x="132258" y="33075"/>
                  </a:cubicBezTo>
                  <a:cubicBezTo>
                    <a:pt x="116040" y="17542"/>
                    <a:pt x="98681" y="24623"/>
                    <a:pt x="54139" y="2010"/>
                  </a:cubicBezTo>
                  <a:lnTo>
                    <a:pt x="45459" y="639"/>
                  </a:lnTo>
                  <a:cubicBezTo>
                    <a:pt x="10968" y="-3472"/>
                    <a:pt x="5715" y="7949"/>
                    <a:pt x="2060" y="18456"/>
                  </a:cubicBezTo>
                  <a:cubicBezTo>
                    <a:pt x="-453" y="20055"/>
                    <a:pt x="-453" y="21654"/>
                    <a:pt x="-453" y="23253"/>
                  </a:cubicBezTo>
                  <a:close/>
                </a:path>
              </a:pathLst>
            </a:custGeom>
            <a:solidFill>
              <a:srgbClr val="0BC0CF"/>
            </a:solidFill>
            <a:ln w="22838" cap="flat">
              <a:noFill/>
              <a:prstDash val="solid"/>
              <a:miter/>
            </a:ln>
          </p:spPr>
          <p:txBody>
            <a:bodyPr rtlCol="0" anchor="ctr"/>
            <a:lstStyle/>
            <a:p>
              <a:endParaRPr lang="zh-CN" altLang="en-US"/>
            </a:p>
          </p:txBody>
        </p:sp>
        <p:sp>
          <p:nvSpPr>
            <p:cNvPr id="394" name="任意多边形: 形状 393"/>
            <p:cNvSpPr/>
            <p:nvPr/>
          </p:nvSpPr>
          <p:spPr>
            <a:xfrm>
              <a:off x="6770069" y="5861771"/>
              <a:ext cx="247267" cy="114544"/>
            </a:xfrm>
            <a:custGeom>
              <a:avLst/>
              <a:gdLst>
                <a:gd name="connsiteX0" fmla="*/ 19798 w 247267"/>
                <a:gd name="connsiteY0" fmla="*/ 19196 h 114544"/>
                <a:gd name="connsiteX1" fmla="*/ 61598 w 247267"/>
                <a:gd name="connsiteY1" fmla="*/ 15770 h 114544"/>
                <a:gd name="connsiteX2" fmla="*/ 157077 w 247267"/>
                <a:gd name="connsiteY2" fmla="*/ 11201 h 114544"/>
                <a:gd name="connsiteX3" fmla="*/ 219434 w 247267"/>
                <a:gd name="connsiteY3" fmla="*/ -220 h 114544"/>
                <a:gd name="connsiteX4" fmla="*/ 243875 w 247267"/>
                <a:gd name="connsiteY4" fmla="*/ 7546 h 114544"/>
                <a:gd name="connsiteX5" fmla="*/ 246616 w 247267"/>
                <a:gd name="connsiteY5" fmla="*/ 62138 h 114544"/>
                <a:gd name="connsiteX6" fmla="*/ 237707 w 247267"/>
                <a:gd name="connsiteY6" fmla="*/ 99827 h 114544"/>
                <a:gd name="connsiteX7" fmla="*/ 142686 w 247267"/>
                <a:gd name="connsiteY7" fmla="*/ 104623 h 114544"/>
                <a:gd name="connsiteX8" fmla="*/ 57030 w 247267"/>
                <a:gd name="connsiteY8" fmla="*/ 93203 h 114544"/>
                <a:gd name="connsiteX9" fmla="*/ -303 w 247267"/>
                <a:gd name="connsiteY9" fmla="*/ 46149 h 114544"/>
                <a:gd name="connsiteX10" fmla="*/ 19798 w 247267"/>
                <a:gd name="connsiteY10" fmla="*/ 19196 h 114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7267" h="114544">
                  <a:moveTo>
                    <a:pt x="19798" y="19196"/>
                  </a:moveTo>
                  <a:cubicBezTo>
                    <a:pt x="19798" y="19196"/>
                    <a:pt x="51091" y="16226"/>
                    <a:pt x="61598" y="15770"/>
                  </a:cubicBezTo>
                  <a:cubicBezTo>
                    <a:pt x="86266" y="15770"/>
                    <a:pt x="140174" y="-448"/>
                    <a:pt x="157077" y="11201"/>
                  </a:cubicBezTo>
                  <a:cubicBezTo>
                    <a:pt x="173979" y="22850"/>
                    <a:pt x="218749" y="35413"/>
                    <a:pt x="219434" y="-220"/>
                  </a:cubicBezTo>
                  <a:lnTo>
                    <a:pt x="243875" y="7546"/>
                  </a:lnTo>
                  <a:cubicBezTo>
                    <a:pt x="243875" y="15084"/>
                    <a:pt x="246387" y="59397"/>
                    <a:pt x="246616" y="62138"/>
                  </a:cubicBezTo>
                  <a:cubicBezTo>
                    <a:pt x="247667" y="75318"/>
                    <a:pt x="244537" y="88497"/>
                    <a:pt x="237707" y="99827"/>
                  </a:cubicBezTo>
                  <a:cubicBezTo>
                    <a:pt x="221490" y="125409"/>
                    <a:pt x="171467" y="110562"/>
                    <a:pt x="142686" y="104623"/>
                  </a:cubicBezTo>
                  <a:lnTo>
                    <a:pt x="57030" y="93203"/>
                  </a:lnTo>
                  <a:cubicBezTo>
                    <a:pt x="30899" y="88863"/>
                    <a:pt x="9039" y="70932"/>
                    <a:pt x="-303" y="46149"/>
                  </a:cubicBezTo>
                  <a:cubicBezTo>
                    <a:pt x="-1720" y="33289"/>
                    <a:pt x="7075" y="21525"/>
                    <a:pt x="19798" y="19196"/>
                  </a:cubicBezTo>
                  <a:close/>
                </a:path>
              </a:pathLst>
            </a:custGeom>
            <a:solidFill>
              <a:srgbClr val="0BC0CF"/>
            </a:solidFill>
            <a:ln w="22838" cap="flat">
              <a:noFill/>
              <a:prstDash val="solid"/>
              <a:miter/>
            </a:ln>
          </p:spPr>
          <p:txBody>
            <a:bodyPr rtlCol="0" anchor="ctr"/>
            <a:lstStyle/>
            <a:p>
              <a:endParaRPr lang="zh-CN" altLang="en-US"/>
            </a:p>
          </p:txBody>
        </p:sp>
        <p:sp>
          <p:nvSpPr>
            <p:cNvPr id="395" name="任意多边形: 形状 394"/>
            <p:cNvSpPr/>
            <p:nvPr/>
          </p:nvSpPr>
          <p:spPr>
            <a:xfrm>
              <a:off x="6872524" y="4599996"/>
              <a:ext cx="391058" cy="1291613"/>
            </a:xfrm>
            <a:custGeom>
              <a:avLst/>
              <a:gdLst>
                <a:gd name="connsiteX0" fmla="*/ 371664 w 391058"/>
                <a:gd name="connsiteY0" fmla="*/ 51630 h 1291613"/>
                <a:gd name="connsiteX1" fmla="*/ 381715 w 391058"/>
                <a:gd name="connsiteY1" fmla="*/ 88863 h 1291613"/>
                <a:gd name="connsiteX2" fmla="*/ 386968 w 391058"/>
                <a:gd name="connsiteY2" fmla="*/ 116958 h 1291613"/>
                <a:gd name="connsiteX3" fmla="*/ 388338 w 391058"/>
                <a:gd name="connsiteY3" fmla="*/ 250810 h 1291613"/>
                <a:gd name="connsiteX4" fmla="*/ 381257 w 391058"/>
                <a:gd name="connsiteY4" fmla="*/ 348116 h 1291613"/>
                <a:gd name="connsiteX5" fmla="*/ 358416 w 391058"/>
                <a:gd name="connsiteY5" fmla="*/ 1149631 h 1291613"/>
                <a:gd name="connsiteX6" fmla="*/ 253344 w 391058"/>
                <a:gd name="connsiteY6" fmla="*/ 1146433 h 1291613"/>
                <a:gd name="connsiteX7" fmla="*/ 231873 w 391058"/>
                <a:gd name="connsiteY7" fmla="*/ 315681 h 1291613"/>
                <a:gd name="connsiteX8" fmla="*/ 201493 w 391058"/>
                <a:gd name="connsiteY8" fmla="*/ 327559 h 1291613"/>
                <a:gd name="connsiteX9" fmla="*/ 143474 w 391058"/>
                <a:gd name="connsiteY9" fmla="*/ 1265896 h 1291613"/>
                <a:gd name="connsiteX10" fmla="*/ 35205 w 391058"/>
                <a:gd name="connsiteY10" fmla="*/ 1262241 h 1291613"/>
                <a:gd name="connsiteX11" fmla="*/ -428 w 391058"/>
                <a:gd name="connsiteY11" fmla="*/ 158987 h 1291613"/>
                <a:gd name="connsiteX12" fmla="*/ 188473 w 391058"/>
                <a:gd name="connsiteY12" fmla="*/ 77442 h 1291613"/>
                <a:gd name="connsiteX13" fmla="*/ 89112 w 391058"/>
                <a:gd name="connsiteY13" fmla="*/ -220 h 1291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91058" h="1291613">
                  <a:moveTo>
                    <a:pt x="371664" y="51630"/>
                  </a:moveTo>
                  <a:lnTo>
                    <a:pt x="381715" y="88863"/>
                  </a:lnTo>
                  <a:cubicBezTo>
                    <a:pt x="384273" y="98068"/>
                    <a:pt x="386031" y="107456"/>
                    <a:pt x="386968" y="116958"/>
                  </a:cubicBezTo>
                  <a:cubicBezTo>
                    <a:pt x="391308" y="161454"/>
                    <a:pt x="391765" y="206246"/>
                    <a:pt x="388338" y="250810"/>
                  </a:cubicBezTo>
                  <a:lnTo>
                    <a:pt x="381257" y="348116"/>
                  </a:lnTo>
                  <a:lnTo>
                    <a:pt x="358416" y="1149631"/>
                  </a:lnTo>
                  <a:cubicBezTo>
                    <a:pt x="360471" y="1181838"/>
                    <a:pt x="253116" y="1185264"/>
                    <a:pt x="253344" y="1146433"/>
                  </a:cubicBezTo>
                  <a:lnTo>
                    <a:pt x="231873" y="315681"/>
                  </a:lnTo>
                  <a:lnTo>
                    <a:pt x="201493" y="327559"/>
                  </a:lnTo>
                  <a:lnTo>
                    <a:pt x="143474" y="1265896"/>
                  </a:lnTo>
                  <a:cubicBezTo>
                    <a:pt x="143474" y="1299016"/>
                    <a:pt x="36119" y="1301986"/>
                    <a:pt x="35205" y="1262241"/>
                  </a:cubicBezTo>
                  <a:cubicBezTo>
                    <a:pt x="35205" y="1262241"/>
                    <a:pt x="3456" y="308600"/>
                    <a:pt x="-428" y="158987"/>
                  </a:cubicBezTo>
                  <a:cubicBezTo>
                    <a:pt x="-2940" y="53458"/>
                    <a:pt x="188473" y="81782"/>
                    <a:pt x="188473" y="77442"/>
                  </a:cubicBezTo>
                  <a:lnTo>
                    <a:pt x="89112" y="-220"/>
                  </a:lnTo>
                  <a:close/>
                </a:path>
              </a:pathLst>
            </a:custGeom>
            <a:solidFill>
              <a:srgbClr val="27145A"/>
            </a:solidFill>
            <a:ln w="22838" cap="flat">
              <a:noFill/>
              <a:prstDash val="solid"/>
              <a:miter/>
            </a:ln>
          </p:spPr>
          <p:txBody>
            <a:bodyPr rtlCol="0" anchor="ctr"/>
            <a:lstStyle/>
            <a:p>
              <a:endParaRPr lang="zh-CN" altLang="en-US"/>
            </a:p>
          </p:txBody>
        </p:sp>
        <p:sp>
          <p:nvSpPr>
            <p:cNvPr id="396" name="任意多边形: 形状 395"/>
            <p:cNvSpPr/>
            <p:nvPr/>
          </p:nvSpPr>
          <p:spPr>
            <a:xfrm>
              <a:off x="6972824" y="4050196"/>
              <a:ext cx="407431" cy="465472"/>
            </a:xfrm>
            <a:custGeom>
              <a:avLst/>
              <a:gdLst>
                <a:gd name="connsiteX0" fmla="*/ 3659 w 407431"/>
                <a:gd name="connsiteY0" fmla="*/ 441311 h 465472"/>
                <a:gd name="connsiteX1" fmla="*/ 404303 w 407431"/>
                <a:gd name="connsiteY1" fmla="*/ 426692 h 465472"/>
                <a:gd name="connsiteX2" fmla="*/ 296261 w 407431"/>
                <a:gd name="connsiteY2" fmla="*/ 38383 h 465472"/>
                <a:gd name="connsiteX3" fmla="*/ 264968 w 407431"/>
                <a:gd name="connsiteY3" fmla="*/ -220 h 465472"/>
                <a:gd name="connsiteX4" fmla="*/ 177028 w 407431"/>
                <a:gd name="connsiteY4" fmla="*/ 24906 h 465472"/>
                <a:gd name="connsiteX5" fmla="*/ 148247 w 407431"/>
                <a:gd name="connsiteY5" fmla="*/ 10516 h 465472"/>
                <a:gd name="connsiteX6" fmla="*/ 256288 w 407431"/>
                <a:gd name="connsiteY6" fmla="*/ 341720 h 465472"/>
                <a:gd name="connsiteX7" fmla="*/ -453 w 407431"/>
                <a:gd name="connsiteY7" fmla="*/ 367988 h 465472"/>
                <a:gd name="connsiteX8" fmla="*/ 3659 w 407431"/>
                <a:gd name="connsiteY8" fmla="*/ 441311 h 465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7431" h="465472">
                  <a:moveTo>
                    <a:pt x="3659" y="441311"/>
                  </a:moveTo>
                  <a:cubicBezTo>
                    <a:pt x="3659" y="441311"/>
                    <a:pt x="354964" y="503897"/>
                    <a:pt x="404303" y="426692"/>
                  </a:cubicBezTo>
                  <a:cubicBezTo>
                    <a:pt x="427145" y="392200"/>
                    <a:pt x="296261" y="38383"/>
                    <a:pt x="296261" y="38383"/>
                  </a:cubicBezTo>
                  <a:lnTo>
                    <a:pt x="264968" y="-220"/>
                  </a:lnTo>
                  <a:lnTo>
                    <a:pt x="177028" y="24906"/>
                  </a:lnTo>
                  <a:cubicBezTo>
                    <a:pt x="165150" y="28332"/>
                    <a:pt x="148247" y="10516"/>
                    <a:pt x="148247" y="10516"/>
                  </a:cubicBezTo>
                  <a:cubicBezTo>
                    <a:pt x="162866" y="57798"/>
                    <a:pt x="238472" y="287814"/>
                    <a:pt x="256288" y="341720"/>
                  </a:cubicBezTo>
                  <a:cubicBezTo>
                    <a:pt x="259257" y="350172"/>
                    <a:pt x="-453" y="367988"/>
                    <a:pt x="-453" y="367988"/>
                  </a:cubicBezTo>
                  <a:cubicBezTo>
                    <a:pt x="19420" y="374156"/>
                    <a:pt x="22389" y="433087"/>
                    <a:pt x="3659" y="441311"/>
                  </a:cubicBezTo>
                  <a:close/>
                </a:path>
              </a:pathLst>
            </a:custGeom>
            <a:solidFill>
              <a:srgbClr val="3C2DA1"/>
            </a:solidFill>
            <a:ln w="22838" cap="flat">
              <a:noFill/>
              <a:prstDash val="solid"/>
              <a:miter/>
            </a:ln>
          </p:spPr>
          <p:txBody>
            <a:bodyPr rtlCol="0" anchor="ctr"/>
            <a:lstStyle/>
            <a:p>
              <a:endParaRPr lang="zh-CN" altLang="en-US"/>
            </a:p>
          </p:txBody>
        </p:sp>
        <p:sp>
          <p:nvSpPr>
            <p:cNvPr id="397" name="任意多边形: 形状 396"/>
            <p:cNvSpPr/>
            <p:nvPr/>
          </p:nvSpPr>
          <p:spPr>
            <a:xfrm>
              <a:off x="6418311" y="3855351"/>
              <a:ext cx="860318" cy="903137"/>
            </a:xfrm>
            <a:custGeom>
              <a:avLst/>
              <a:gdLst>
                <a:gd name="connsiteX0" fmla="*/ 827704 w 860318"/>
                <a:gd name="connsiteY0" fmla="*/ 641409 h 903137"/>
                <a:gd name="connsiteX1" fmla="*/ 837983 w 860318"/>
                <a:gd name="connsiteY1" fmla="*/ 820260 h 903137"/>
                <a:gd name="connsiteX2" fmla="*/ 438711 w 860318"/>
                <a:gd name="connsiteY2" fmla="*/ 865944 h 903137"/>
                <a:gd name="connsiteX3" fmla="*/ 443051 w 860318"/>
                <a:gd name="connsiteY3" fmla="*/ 623593 h 903137"/>
                <a:gd name="connsiteX4" fmla="*/ 428431 w 860318"/>
                <a:gd name="connsiteY4" fmla="*/ 465071 h 903137"/>
                <a:gd name="connsiteX5" fmla="*/ 426604 w 860318"/>
                <a:gd name="connsiteY5" fmla="*/ 457534 h 903137"/>
                <a:gd name="connsiteX6" fmla="*/ 365160 w 860318"/>
                <a:gd name="connsiteY6" fmla="*/ 378502 h 903137"/>
                <a:gd name="connsiteX7" fmla="*/ 196360 w 860318"/>
                <a:gd name="connsiteY7" fmla="*/ 301982 h 903137"/>
                <a:gd name="connsiteX8" fmla="*/ 150677 w 860318"/>
                <a:gd name="connsiteY8" fmla="*/ 264065 h 903137"/>
                <a:gd name="connsiteX9" fmla="*/ 1977 w 860318"/>
                <a:gd name="connsiteY9" fmla="*/ 68540 h 903137"/>
                <a:gd name="connsiteX10" fmla="*/ 76669 w 860318"/>
                <a:gd name="connsiteY10" fmla="*/ 2070 h 903137"/>
                <a:gd name="connsiteX11" fmla="*/ 248896 w 860318"/>
                <a:gd name="connsiteY11" fmla="*/ 184804 h 903137"/>
                <a:gd name="connsiteX12" fmla="*/ 348714 w 860318"/>
                <a:gd name="connsiteY12" fmla="*/ 217924 h 903137"/>
                <a:gd name="connsiteX13" fmla="*/ 417239 w 860318"/>
                <a:gd name="connsiteY13" fmla="*/ 222721 h 903137"/>
                <a:gd name="connsiteX14" fmla="*/ 508606 w 860318"/>
                <a:gd name="connsiteY14" fmla="*/ 219523 h 903137"/>
                <a:gd name="connsiteX15" fmla="*/ 552462 w 860318"/>
                <a:gd name="connsiteY15" fmla="*/ 201021 h 903137"/>
                <a:gd name="connsiteX16" fmla="*/ 572563 w 860318"/>
                <a:gd name="connsiteY16" fmla="*/ 189600 h 903137"/>
                <a:gd name="connsiteX17" fmla="*/ 574390 w 860318"/>
                <a:gd name="connsiteY17" fmla="*/ 189600 h 903137"/>
                <a:gd name="connsiteX18" fmla="*/ 635606 w 860318"/>
                <a:gd name="connsiteY18" fmla="*/ 156937 h 903137"/>
                <a:gd name="connsiteX19" fmla="*/ 640403 w 860318"/>
                <a:gd name="connsiteY19" fmla="*/ 154424 h 903137"/>
                <a:gd name="connsiteX20" fmla="*/ 663245 w 860318"/>
                <a:gd name="connsiteY20" fmla="*/ 162419 h 903137"/>
                <a:gd name="connsiteX21" fmla="*/ 687684 w 860318"/>
                <a:gd name="connsiteY21" fmla="*/ 172698 h 903137"/>
                <a:gd name="connsiteX22" fmla="*/ 729256 w 860318"/>
                <a:gd name="connsiteY22" fmla="*/ 163561 h 903137"/>
                <a:gd name="connsiteX23" fmla="*/ 745474 w 860318"/>
                <a:gd name="connsiteY23" fmla="*/ 163561 h 903137"/>
                <a:gd name="connsiteX24" fmla="*/ 859866 w 860318"/>
                <a:gd name="connsiteY24" fmla="*/ 277586 h 903137"/>
                <a:gd name="connsiteX25" fmla="*/ 859683 w 860318"/>
                <a:gd name="connsiteY25" fmla="*/ 284165 h 903137"/>
                <a:gd name="connsiteX26" fmla="*/ 829303 w 860318"/>
                <a:gd name="connsiteY26" fmla="*/ 596868 h 903137"/>
                <a:gd name="connsiteX27" fmla="*/ 827704 w 860318"/>
                <a:gd name="connsiteY27" fmla="*/ 641409 h 903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60318" h="903137">
                  <a:moveTo>
                    <a:pt x="827704" y="641409"/>
                  </a:moveTo>
                  <a:lnTo>
                    <a:pt x="837983" y="820260"/>
                  </a:lnTo>
                  <a:cubicBezTo>
                    <a:pt x="833187" y="911627"/>
                    <a:pt x="467947" y="927844"/>
                    <a:pt x="438711" y="865944"/>
                  </a:cubicBezTo>
                  <a:cubicBezTo>
                    <a:pt x="433000" y="854065"/>
                    <a:pt x="438711" y="715188"/>
                    <a:pt x="443051" y="623593"/>
                  </a:cubicBezTo>
                  <a:cubicBezTo>
                    <a:pt x="445609" y="570326"/>
                    <a:pt x="440675" y="516968"/>
                    <a:pt x="428431" y="465071"/>
                  </a:cubicBezTo>
                  <a:cubicBezTo>
                    <a:pt x="428431" y="462559"/>
                    <a:pt x="428431" y="460275"/>
                    <a:pt x="426604" y="457534"/>
                  </a:cubicBezTo>
                  <a:cubicBezTo>
                    <a:pt x="418815" y="423386"/>
                    <a:pt x="396316" y="394467"/>
                    <a:pt x="365160" y="378502"/>
                  </a:cubicBezTo>
                  <a:cubicBezTo>
                    <a:pt x="319476" y="355660"/>
                    <a:pt x="226054" y="315687"/>
                    <a:pt x="196360" y="301982"/>
                  </a:cubicBezTo>
                  <a:cubicBezTo>
                    <a:pt x="178086" y="293531"/>
                    <a:pt x="162349" y="280465"/>
                    <a:pt x="150677" y="264065"/>
                  </a:cubicBezTo>
                  <a:lnTo>
                    <a:pt x="1977" y="68540"/>
                  </a:lnTo>
                  <a:cubicBezTo>
                    <a:pt x="-14469" y="48667"/>
                    <a:pt x="57254" y="-12777"/>
                    <a:pt x="76669" y="2070"/>
                  </a:cubicBezTo>
                  <a:lnTo>
                    <a:pt x="248896" y="184804"/>
                  </a:lnTo>
                  <a:lnTo>
                    <a:pt x="348714" y="217924"/>
                  </a:lnTo>
                  <a:cubicBezTo>
                    <a:pt x="370756" y="225462"/>
                    <a:pt x="394374" y="227106"/>
                    <a:pt x="417239" y="222721"/>
                  </a:cubicBezTo>
                  <a:cubicBezTo>
                    <a:pt x="447459" y="217970"/>
                    <a:pt x="478136" y="216896"/>
                    <a:pt x="508606" y="219523"/>
                  </a:cubicBezTo>
                  <a:cubicBezTo>
                    <a:pt x="523795" y="214841"/>
                    <a:pt x="538506" y="208628"/>
                    <a:pt x="552462" y="201021"/>
                  </a:cubicBezTo>
                  <a:lnTo>
                    <a:pt x="572563" y="189600"/>
                  </a:lnTo>
                  <a:lnTo>
                    <a:pt x="574390" y="189600"/>
                  </a:lnTo>
                  <a:lnTo>
                    <a:pt x="635606" y="156937"/>
                  </a:lnTo>
                  <a:lnTo>
                    <a:pt x="640403" y="154424"/>
                  </a:lnTo>
                  <a:cubicBezTo>
                    <a:pt x="642915" y="153053"/>
                    <a:pt x="652966" y="157622"/>
                    <a:pt x="663245" y="162419"/>
                  </a:cubicBezTo>
                  <a:cubicBezTo>
                    <a:pt x="670964" y="166805"/>
                    <a:pt x="679165" y="170254"/>
                    <a:pt x="687684" y="172698"/>
                  </a:cubicBezTo>
                  <a:cubicBezTo>
                    <a:pt x="701025" y="167650"/>
                    <a:pt x="715026" y="164566"/>
                    <a:pt x="729256" y="163561"/>
                  </a:cubicBezTo>
                  <a:cubicBezTo>
                    <a:pt x="734647" y="163218"/>
                    <a:pt x="740083" y="163218"/>
                    <a:pt x="745474" y="163561"/>
                  </a:cubicBezTo>
                  <a:cubicBezTo>
                    <a:pt x="808540" y="163470"/>
                    <a:pt x="859774" y="214521"/>
                    <a:pt x="859866" y="277586"/>
                  </a:cubicBezTo>
                  <a:cubicBezTo>
                    <a:pt x="859866" y="279779"/>
                    <a:pt x="859797" y="281972"/>
                    <a:pt x="859683" y="284165"/>
                  </a:cubicBezTo>
                  <a:lnTo>
                    <a:pt x="829303" y="596868"/>
                  </a:lnTo>
                  <a:cubicBezTo>
                    <a:pt x="827636" y="611646"/>
                    <a:pt x="827110" y="626539"/>
                    <a:pt x="827704" y="641409"/>
                  </a:cubicBezTo>
                  <a:close/>
                </a:path>
              </a:pathLst>
            </a:custGeom>
            <a:solidFill>
              <a:srgbClr val="5A43DB"/>
            </a:solidFill>
            <a:ln w="22838" cap="flat">
              <a:noFill/>
              <a:prstDash val="solid"/>
              <a:miter/>
            </a:ln>
          </p:spPr>
          <p:txBody>
            <a:bodyPr rtlCol="0" anchor="ctr"/>
            <a:lstStyle/>
            <a:p>
              <a:endParaRPr lang="zh-CN" altLang="en-US"/>
            </a:p>
          </p:txBody>
        </p:sp>
        <p:sp>
          <p:nvSpPr>
            <p:cNvPr id="398" name="任意多边形: 形状 397"/>
            <p:cNvSpPr/>
            <p:nvPr/>
          </p:nvSpPr>
          <p:spPr>
            <a:xfrm>
              <a:off x="6926456" y="4012964"/>
              <a:ext cx="205802" cy="101874"/>
            </a:xfrm>
            <a:custGeom>
              <a:avLst/>
              <a:gdLst>
                <a:gd name="connsiteX0" fmla="*/ 205350 w 205802"/>
                <a:gd name="connsiteY0" fmla="*/ 49347 h 101874"/>
                <a:gd name="connsiteX1" fmla="*/ 100507 w 205802"/>
                <a:gd name="connsiteY1" fmla="*/ 101655 h 101874"/>
                <a:gd name="connsiteX2" fmla="*/ -453 w 205802"/>
                <a:gd name="connsiteY2" fmla="*/ 62367 h 101874"/>
                <a:gd name="connsiteX3" fmla="*/ 43403 w 205802"/>
                <a:gd name="connsiteY3" fmla="*/ 43865 h 101874"/>
                <a:gd name="connsiteX4" fmla="*/ 63504 w 205802"/>
                <a:gd name="connsiteY4" fmla="*/ 32444 h 101874"/>
                <a:gd name="connsiteX5" fmla="*/ 65330 w 205802"/>
                <a:gd name="connsiteY5" fmla="*/ 32444 h 101874"/>
                <a:gd name="connsiteX6" fmla="*/ 126547 w 205802"/>
                <a:gd name="connsiteY6" fmla="*/ -220 h 101874"/>
                <a:gd name="connsiteX7" fmla="*/ 154185 w 205802"/>
                <a:gd name="connsiteY7" fmla="*/ 5263 h 101874"/>
                <a:gd name="connsiteX8" fmla="*/ 178626 w 205802"/>
                <a:gd name="connsiteY8" fmla="*/ 15541 h 101874"/>
                <a:gd name="connsiteX9" fmla="*/ 205350 w 205802"/>
                <a:gd name="connsiteY9" fmla="*/ 49347 h 10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5802" h="101874">
                  <a:moveTo>
                    <a:pt x="205350" y="49347"/>
                  </a:moveTo>
                  <a:cubicBezTo>
                    <a:pt x="205350" y="78128"/>
                    <a:pt x="159667" y="101655"/>
                    <a:pt x="100507" y="101655"/>
                  </a:cubicBezTo>
                  <a:cubicBezTo>
                    <a:pt x="51854" y="101655"/>
                    <a:pt x="10740" y="84751"/>
                    <a:pt x="-453" y="62367"/>
                  </a:cubicBezTo>
                  <a:cubicBezTo>
                    <a:pt x="14737" y="57684"/>
                    <a:pt x="29446" y="51471"/>
                    <a:pt x="43403" y="43865"/>
                  </a:cubicBezTo>
                  <a:lnTo>
                    <a:pt x="63504" y="32444"/>
                  </a:lnTo>
                  <a:lnTo>
                    <a:pt x="65330" y="32444"/>
                  </a:lnTo>
                  <a:lnTo>
                    <a:pt x="126547" y="-220"/>
                  </a:lnTo>
                  <a:cubicBezTo>
                    <a:pt x="135912" y="808"/>
                    <a:pt x="145140" y="2658"/>
                    <a:pt x="154185" y="5263"/>
                  </a:cubicBezTo>
                  <a:cubicBezTo>
                    <a:pt x="162704" y="7730"/>
                    <a:pt x="170905" y="11179"/>
                    <a:pt x="178626" y="15541"/>
                  </a:cubicBezTo>
                  <a:cubicBezTo>
                    <a:pt x="192948" y="21206"/>
                    <a:pt x="203157" y="34112"/>
                    <a:pt x="205350" y="49347"/>
                  </a:cubicBezTo>
                  <a:close/>
                </a:path>
              </a:pathLst>
            </a:custGeom>
            <a:solidFill>
              <a:srgbClr val="FCBAC0"/>
            </a:solidFill>
            <a:ln w="22838" cap="flat">
              <a:noFill/>
              <a:prstDash val="solid"/>
              <a:miter/>
            </a:ln>
          </p:spPr>
          <p:txBody>
            <a:bodyPr rtlCol="0" anchor="ctr"/>
            <a:lstStyle/>
            <a:p>
              <a:endParaRPr lang="zh-CN" altLang="en-US"/>
            </a:p>
          </p:txBody>
        </p:sp>
        <p:sp>
          <p:nvSpPr>
            <p:cNvPr id="399" name="任意多边形: 形状 398"/>
            <p:cNvSpPr/>
            <p:nvPr/>
          </p:nvSpPr>
          <p:spPr>
            <a:xfrm>
              <a:off x="6904541" y="3715409"/>
              <a:ext cx="235213" cy="300234"/>
            </a:xfrm>
            <a:custGeom>
              <a:avLst/>
              <a:gdLst>
                <a:gd name="connsiteX0" fmla="*/ 4332 w 235213"/>
                <a:gd name="connsiteY0" fmla="*/ 218303 h 300234"/>
                <a:gd name="connsiteX1" fmla="*/ 133615 w 235213"/>
                <a:gd name="connsiteY1" fmla="*/ 286829 h 300234"/>
                <a:gd name="connsiteX2" fmla="*/ 234347 w 235213"/>
                <a:gd name="connsiteY2" fmla="*/ 135159 h 300234"/>
                <a:gd name="connsiteX3" fmla="*/ 124707 w 235213"/>
                <a:gd name="connsiteY3" fmla="*/ 165 h 300234"/>
                <a:gd name="connsiteX4" fmla="*/ 4332 w 235213"/>
                <a:gd name="connsiteY4" fmla="*/ 218303 h 300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5213" h="300234">
                  <a:moveTo>
                    <a:pt x="4332" y="218303"/>
                  </a:moveTo>
                  <a:cubicBezTo>
                    <a:pt x="21919" y="304874"/>
                    <a:pt x="79481" y="313096"/>
                    <a:pt x="133615" y="286829"/>
                  </a:cubicBezTo>
                  <a:cubicBezTo>
                    <a:pt x="190148" y="255969"/>
                    <a:pt x="227837" y="199231"/>
                    <a:pt x="234347" y="135159"/>
                  </a:cubicBezTo>
                  <a:cubicBezTo>
                    <a:pt x="239830" y="56127"/>
                    <a:pt x="190262" y="4505"/>
                    <a:pt x="124707" y="165"/>
                  </a:cubicBezTo>
                  <a:cubicBezTo>
                    <a:pt x="-24220" y="-10114"/>
                    <a:pt x="-1607" y="188381"/>
                    <a:pt x="4332" y="218303"/>
                  </a:cubicBezTo>
                  <a:close/>
                </a:path>
              </a:pathLst>
            </a:custGeom>
            <a:solidFill>
              <a:srgbClr val="FCBAC0"/>
            </a:solidFill>
            <a:ln w="22838" cap="flat">
              <a:noFill/>
              <a:prstDash val="solid"/>
              <a:miter/>
            </a:ln>
          </p:spPr>
          <p:txBody>
            <a:bodyPr rtlCol="0" anchor="ctr"/>
            <a:lstStyle/>
            <a:p>
              <a:endParaRPr lang="zh-CN" altLang="en-US"/>
            </a:p>
          </p:txBody>
        </p:sp>
        <p:sp>
          <p:nvSpPr>
            <p:cNvPr id="400" name="任意多边形: 形状 399"/>
            <p:cNvSpPr/>
            <p:nvPr/>
          </p:nvSpPr>
          <p:spPr>
            <a:xfrm>
              <a:off x="6990184" y="3889162"/>
              <a:ext cx="112609" cy="200327"/>
            </a:xfrm>
            <a:custGeom>
              <a:avLst/>
              <a:gdLst>
                <a:gd name="connsiteX0" fmla="*/ 112157 w 112609"/>
                <a:gd name="connsiteY0" fmla="*/ 4577 h 200327"/>
                <a:gd name="connsiteX1" fmla="*/ 106446 w 112609"/>
                <a:gd name="connsiteY1" fmla="*/ 175889 h 200327"/>
                <a:gd name="connsiteX2" fmla="*/ 83605 w 112609"/>
                <a:gd name="connsiteY2" fmla="*/ 195762 h 200327"/>
                <a:gd name="connsiteX3" fmla="*/ 9369 w 112609"/>
                <a:gd name="connsiteY3" fmla="*/ 188224 h 200327"/>
                <a:gd name="connsiteX4" fmla="*/ -453 w 112609"/>
                <a:gd name="connsiteY4" fmla="*/ 172006 h 200327"/>
                <a:gd name="connsiteX5" fmla="*/ 5258 w 112609"/>
                <a:gd name="connsiteY5" fmla="*/ -220 h 200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609" h="200327">
                  <a:moveTo>
                    <a:pt x="112157" y="4577"/>
                  </a:moveTo>
                  <a:lnTo>
                    <a:pt x="106446" y="175889"/>
                  </a:lnTo>
                  <a:cubicBezTo>
                    <a:pt x="106446" y="183884"/>
                    <a:pt x="98452" y="191422"/>
                    <a:pt x="83605" y="195762"/>
                  </a:cubicBezTo>
                  <a:cubicBezTo>
                    <a:pt x="58867" y="203528"/>
                    <a:pt x="32028" y="200810"/>
                    <a:pt x="9369" y="188224"/>
                  </a:cubicBezTo>
                  <a:cubicBezTo>
                    <a:pt x="3498" y="184889"/>
                    <a:pt x="-224" y="178745"/>
                    <a:pt x="-453" y="172006"/>
                  </a:cubicBezTo>
                  <a:cubicBezTo>
                    <a:pt x="-453" y="172006"/>
                    <a:pt x="5258" y="-220"/>
                    <a:pt x="5258" y="-220"/>
                  </a:cubicBezTo>
                  <a:close/>
                </a:path>
              </a:pathLst>
            </a:custGeom>
            <a:solidFill>
              <a:srgbClr val="FCBAC0"/>
            </a:solidFill>
            <a:ln w="22838" cap="flat">
              <a:noFill/>
              <a:prstDash val="solid"/>
              <a:miter/>
            </a:ln>
          </p:spPr>
          <p:txBody>
            <a:bodyPr rtlCol="0" anchor="ctr"/>
            <a:lstStyle/>
            <a:p>
              <a:endParaRPr lang="zh-CN" altLang="en-US"/>
            </a:p>
          </p:txBody>
        </p:sp>
        <p:sp>
          <p:nvSpPr>
            <p:cNvPr id="401" name="任意多边形: 形状 400"/>
            <p:cNvSpPr/>
            <p:nvPr/>
          </p:nvSpPr>
          <p:spPr>
            <a:xfrm>
              <a:off x="6896349" y="3689837"/>
              <a:ext cx="157421" cy="172156"/>
            </a:xfrm>
            <a:custGeom>
              <a:avLst/>
              <a:gdLst>
                <a:gd name="connsiteX0" fmla="*/ 137238 w 157421"/>
                <a:gd name="connsiteY0" fmla="*/ 135377 h 172156"/>
                <a:gd name="connsiteX1" fmla="*/ 63459 w 157421"/>
                <a:gd name="connsiteY1" fmla="*/ 171924 h 172156"/>
                <a:gd name="connsiteX2" fmla="*/ 35592 w 157421"/>
                <a:gd name="connsiteY2" fmla="*/ 137889 h 172156"/>
                <a:gd name="connsiteX3" fmla="*/ 12750 w 157421"/>
                <a:gd name="connsiteY3" fmla="*/ 126241 h 172156"/>
                <a:gd name="connsiteX4" fmla="*/ 31207 w 157421"/>
                <a:gd name="connsiteY4" fmla="*/ 23544 h 172156"/>
                <a:gd name="connsiteX5" fmla="*/ 33766 w 157421"/>
                <a:gd name="connsiteY5" fmla="*/ 21854 h 172156"/>
                <a:gd name="connsiteX6" fmla="*/ 147974 w 157421"/>
                <a:gd name="connsiteY6" fmla="*/ 2667 h 172156"/>
                <a:gd name="connsiteX7" fmla="*/ 128329 w 157421"/>
                <a:gd name="connsiteY7" fmla="*/ 19570 h 172156"/>
                <a:gd name="connsiteX8" fmla="*/ 137238 w 157421"/>
                <a:gd name="connsiteY8" fmla="*/ 135377 h 172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7421" h="172156">
                  <a:moveTo>
                    <a:pt x="137238" y="135377"/>
                  </a:moveTo>
                  <a:cubicBezTo>
                    <a:pt x="120016" y="158790"/>
                    <a:pt x="92513" y="172404"/>
                    <a:pt x="63459" y="171924"/>
                  </a:cubicBezTo>
                  <a:cubicBezTo>
                    <a:pt x="54780" y="171924"/>
                    <a:pt x="46557" y="150224"/>
                    <a:pt x="35592" y="137889"/>
                  </a:cubicBezTo>
                  <a:cubicBezTo>
                    <a:pt x="28282" y="129667"/>
                    <a:pt x="17547" y="130123"/>
                    <a:pt x="12750" y="126241"/>
                  </a:cubicBezTo>
                  <a:cubicBezTo>
                    <a:pt x="-10503" y="92778"/>
                    <a:pt x="-2234" y="46797"/>
                    <a:pt x="31207" y="23544"/>
                  </a:cubicBezTo>
                  <a:cubicBezTo>
                    <a:pt x="32052" y="22973"/>
                    <a:pt x="32897" y="22402"/>
                    <a:pt x="33766" y="21854"/>
                  </a:cubicBezTo>
                  <a:cubicBezTo>
                    <a:pt x="68347" y="2118"/>
                    <a:pt x="108822" y="-4688"/>
                    <a:pt x="147974" y="2667"/>
                  </a:cubicBezTo>
                  <a:cubicBezTo>
                    <a:pt x="152541" y="2667"/>
                    <a:pt x="125132" y="16829"/>
                    <a:pt x="128329" y="19570"/>
                  </a:cubicBezTo>
                  <a:cubicBezTo>
                    <a:pt x="162706" y="49127"/>
                    <a:pt x="166704" y="100909"/>
                    <a:pt x="137238" y="135377"/>
                  </a:cubicBezTo>
                  <a:close/>
                </a:path>
              </a:pathLst>
            </a:custGeom>
            <a:solidFill>
              <a:srgbClr val="27145A"/>
            </a:solidFill>
            <a:ln w="22838" cap="flat">
              <a:noFill/>
              <a:prstDash val="solid"/>
              <a:miter/>
            </a:ln>
          </p:spPr>
          <p:txBody>
            <a:bodyPr rtlCol="0" anchor="ctr"/>
            <a:lstStyle/>
            <a:p>
              <a:endParaRPr lang="zh-CN" altLang="en-US"/>
            </a:p>
          </p:txBody>
        </p:sp>
        <p:sp>
          <p:nvSpPr>
            <p:cNvPr id="402" name="任意多边形: 形状 401"/>
            <p:cNvSpPr/>
            <p:nvPr/>
          </p:nvSpPr>
          <p:spPr>
            <a:xfrm>
              <a:off x="6932167" y="3828403"/>
              <a:ext cx="121374" cy="158292"/>
            </a:xfrm>
            <a:custGeom>
              <a:avLst/>
              <a:gdLst>
                <a:gd name="connsiteX0" fmla="*/ 118780 w 121374"/>
                <a:gd name="connsiteY0" fmla="*/ 126780 h 158292"/>
                <a:gd name="connsiteX1" fmla="*/ 105989 w 121374"/>
                <a:gd name="connsiteY1" fmla="*/ 75386 h 158292"/>
                <a:gd name="connsiteX2" fmla="*/ 86346 w 121374"/>
                <a:gd name="connsiteY2" fmla="*/ 39068 h 158292"/>
                <a:gd name="connsiteX3" fmla="*/ 50941 w 121374"/>
                <a:gd name="connsiteY3" fmla="*/ 16226 h 158292"/>
                <a:gd name="connsiteX4" fmla="*/ -453 w 121374"/>
                <a:gd name="connsiteY4" fmla="*/ -220 h 158292"/>
                <a:gd name="connsiteX5" fmla="*/ 60990 w 121374"/>
                <a:gd name="connsiteY5" fmla="*/ 121069 h 158292"/>
                <a:gd name="connsiteX6" fmla="*/ 120837 w 121374"/>
                <a:gd name="connsiteY6" fmla="*/ 158073 h 158292"/>
                <a:gd name="connsiteX7" fmla="*/ 120837 w 121374"/>
                <a:gd name="connsiteY7" fmla="*/ 149850 h 158292"/>
                <a:gd name="connsiteX8" fmla="*/ 118780 w 121374"/>
                <a:gd name="connsiteY8" fmla="*/ 126780 h 158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374" h="158292">
                  <a:moveTo>
                    <a:pt x="118780" y="126780"/>
                  </a:moveTo>
                  <a:lnTo>
                    <a:pt x="105989" y="75386"/>
                  </a:lnTo>
                  <a:cubicBezTo>
                    <a:pt x="102608" y="61818"/>
                    <a:pt x="95847" y="49324"/>
                    <a:pt x="86346" y="39068"/>
                  </a:cubicBezTo>
                  <a:cubicBezTo>
                    <a:pt x="76660" y="28606"/>
                    <a:pt x="64485" y="20749"/>
                    <a:pt x="50941" y="16226"/>
                  </a:cubicBezTo>
                  <a:lnTo>
                    <a:pt x="-453" y="-220"/>
                  </a:lnTo>
                  <a:cubicBezTo>
                    <a:pt x="4297" y="46423"/>
                    <a:pt x="26203" y="89639"/>
                    <a:pt x="60990" y="121069"/>
                  </a:cubicBezTo>
                  <a:cubicBezTo>
                    <a:pt x="76797" y="139092"/>
                    <a:pt x="97652" y="151997"/>
                    <a:pt x="120837" y="158073"/>
                  </a:cubicBezTo>
                  <a:lnTo>
                    <a:pt x="120837" y="149850"/>
                  </a:lnTo>
                  <a:cubicBezTo>
                    <a:pt x="121178" y="142106"/>
                    <a:pt x="120494" y="134340"/>
                    <a:pt x="118780" y="126780"/>
                  </a:cubicBezTo>
                  <a:close/>
                </a:path>
              </a:pathLst>
            </a:custGeom>
            <a:solidFill>
              <a:srgbClr val="27145A"/>
            </a:solidFill>
            <a:ln w="22838" cap="flat">
              <a:noFill/>
              <a:prstDash val="solid"/>
              <a:miter/>
            </a:ln>
          </p:spPr>
          <p:txBody>
            <a:bodyPr rtlCol="0" anchor="ctr"/>
            <a:lstStyle/>
            <a:p>
              <a:endParaRPr lang="zh-CN" altLang="en-US"/>
            </a:p>
          </p:txBody>
        </p:sp>
        <p:sp>
          <p:nvSpPr>
            <p:cNvPr id="403" name="任意多边形: 形状 402"/>
            <p:cNvSpPr/>
            <p:nvPr/>
          </p:nvSpPr>
          <p:spPr>
            <a:xfrm>
              <a:off x="6931252" y="3692748"/>
              <a:ext cx="238764" cy="295257"/>
            </a:xfrm>
            <a:custGeom>
              <a:avLst/>
              <a:gdLst>
                <a:gd name="connsiteX0" fmla="*/ 113756 w 238764"/>
                <a:gd name="connsiteY0" fmla="*/ 213 h 295257"/>
                <a:gd name="connsiteX1" fmla="*/ -453 w 238764"/>
                <a:gd name="connsiteY1" fmla="*/ 121731 h 295257"/>
                <a:gd name="connsiteX2" fmla="*/ -453 w 238764"/>
                <a:gd name="connsiteY2" fmla="*/ 135436 h 295257"/>
                <a:gd name="connsiteX3" fmla="*/ 50941 w 238764"/>
                <a:gd name="connsiteY3" fmla="*/ 151882 h 295257"/>
                <a:gd name="connsiteX4" fmla="*/ 86346 w 238764"/>
                <a:gd name="connsiteY4" fmla="*/ 174723 h 295257"/>
                <a:gd name="connsiteX5" fmla="*/ 105991 w 238764"/>
                <a:gd name="connsiteY5" fmla="*/ 211042 h 295257"/>
                <a:gd name="connsiteX6" fmla="*/ 118782 w 238764"/>
                <a:gd name="connsiteY6" fmla="*/ 262436 h 295257"/>
                <a:gd name="connsiteX7" fmla="*/ 121294 w 238764"/>
                <a:gd name="connsiteY7" fmla="*/ 285277 h 295257"/>
                <a:gd name="connsiteX8" fmla="*/ 121294 w 238764"/>
                <a:gd name="connsiteY8" fmla="*/ 293500 h 295257"/>
                <a:gd name="connsiteX9" fmla="*/ 218600 w 238764"/>
                <a:gd name="connsiteY9" fmla="*/ 219950 h 295257"/>
                <a:gd name="connsiteX10" fmla="*/ 113756 w 238764"/>
                <a:gd name="connsiteY10" fmla="*/ 213 h 295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8764" h="295257">
                  <a:moveTo>
                    <a:pt x="113756" y="213"/>
                  </a:moveTo>
                  <a:cubicBezTo>
                    <a:pt x="51399" y="-5498"/>
                    <a:pt x="-453" y="45896"/>
                    <a:pt x="-453" y="121731"/>
                  </a:cubicBezTo>
                  <a:cubicBezTo>
                    <a:pt x="-453" y="126299"/>
                    <a:pt x="-453" y="130867"/>
                    <a:pt x="-453" y="135436"/>
                  </a:cubicBezTo>
                  <a:lnTo>
                    <a:pt x="50941" y="151882"/>
                  </a:lnTo>
                  <a:cubicBezTo>
                    <a:pt x="64487" y="156404"/>
                    <a:pt x="76662" y="164262"/>
                    <a:pt x="86346" y="174723"/>
                  </a:cubicBezTo>
                  <a:cubicBezTo>
                    <a:pt x="95848" y="184980"/>
                    <a:pt x="102610" y="197474"/>
                    <a:pt x="105991" y="211042"/>
                  </a:cubicBezTo>
                  <a:lnTo>
                    <a:pt x="118782" y="262436"/>
                  </a:lnTo>
                  <a:cubicBezTo>
                    <a:pt x="120632" y="269905"/>
                    <a:pt x="121477" y="277579"/>
                    <a:pt x="121294" y="285277"/>
                  </a:cubicBezTo>
                  <a:lnTo>
                    <a:pt x="121294" y="293500"/>
                  </a:lnTo>
                  <a:cubicBezTo>
                    <a:pt x="159897" y="302180"/>
                    <a:pt x="203752" y="273628"/>
                    <a:pt x="218600" y="219950"/>
                  </a:cubicBezTo>
                  <a:cubicBezTo>
                    <a:pt x="227280" y="191855"/>
                    <a:pt x="295576" y="16659"/>
                    <a:pt x="113756" y="213"/>
                  </a:cubicBezTo>
                  <a:close/>
                </a:path>
              </a:pathLst>
            </a:custGeom>
            <a:solidFill>
              <a:srgbClr val="27145A"/>
            </a:solidFill>
            <a:ln w="22838" cap="flat">
              <a:noFill/>
              <a:prstDash val="solid"/>
              <a:miter/>
            </a:ln>
          </p:spPr>
          <p:txBody>
            <a:bodyPr rtlCol="0" anchor="ctr"/>
            <a:lstStyle/>
            <a:p>
              <a:endParaRPr lang="zh-CN" altLang="en-US"/>
            </a:p>
          </p:txBody>
        </p:sp>
        <p:sp>
          <p:nvSpPr>
            <p:cNvPr id="404" name="任意多边形: 形状 403"/>
            <p:cNvSpPr/>
            <p:nvPr/>
          </p:nvSpPr>
          <p:spPr>
            <a:xfrm>
              <a:off x="6939569" y="3897124"/>
              <a:ext cx="66738" cy="72935"/>
            </a:xfrm>
            <a:custGeom>
              <a:avLst/>
              <a:gdLst>
                <a:gd name="connsiteX0" fmla="*/ 12017 w 66738"/>
                <a:gd name="connsiteY0" fmla="*/ 19457 h 72935"/>
                <a:gd name="connsiteX1" fmla="*/ 6991 w 66738"/>
                <a:gd name="connsiteY1" fmla="*/ 68567 h 72935"/>
                <a:gd name="connsiteX2" fmla="*/ 53816 w 66738"/>
                <a:gd name="connsiteY2" fmla="*/ 53263 h 72935"/>
                <a:gd name="connsiteX3" fmla="*/ 58842 w 66738"/>
                <a:gd name="connsiteY3" fmla="*/ 4153 h 72935"/>
                <a:gd name="connsiteX4" fmla="*/ 12017 w 66738"/>
                <a:gd name="connsiteY4" fmla="*/ 19457 h 729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738" h="72935">
                  <a:moveTo>
                    <a:pt x="12017" y="19457"/>
                  </a:moveTo>
                  <a:cubicBezTo>
                    <a:pt x="-2373" y="37274"/>
                    <a:pt x="-4658" y="59201"/>
                    <a:pt x="6991" y="68567"/>
                  </a:cubicBezTo>
                  <a:cubicBezTo>
                    <a:pt x="18641" y="77932"/>
                    <a:pt x="39426" y="70851"/>
                    <a:pt x="53816" y="53263"/>
                  </a:cubicBezTo>
                  <a:cubicBezTo>
                    <a:pt x="68207" y="35674"/>
                    <a:pt x="70492" y="13518"/>
                    <a:pt x="58842" y="4153"/>
                  </a:cubicBezTo>
                  <a:cubicBezTo>
                    <a:pt x="47193" y="-5212"/>
                    <a:pt x="26408" y="727"/>
                    <a:pt x="12017" y="19457"/>
                  </a:cubicBezTo>
                  <a:close/>
                </a:path>
              </a:pathLst>
            </a:custGeom>
            <a:solidFill>
              <a:srgbClr val="FCBAC0"/>
            </a:solidFill>
            <a:ln w="22838" cap="flat">
              <a:noFill/>
              <a:prstDash val="solid"/>
              <a:miter/>
            </a:ln>
          </p:spPr>
          <p:txBody>
            <a:bodyPr rtlCol="0" anchor="ctr"/>
            <a:lstStyle/>
            <a:p>
              <a:endParaRPr lang="zh-CN" altLang="en-US"/>
            </a:p>
          </p:txBody>
        </p:sp>
        <p:sp>
          <p:nvSpPr>
            <p:cNvPr id="405" name="任意多边形: 形状 404"/>
            <p:cNvSpPr/>
            <p:nvPr/>
          </p:nvSpPr>
          <p:spPr>
            <a:xfrm>
              <a:off x="4304228" y="2601118"/>
              <a:ext cx="947702" cy="841331"/>
            </a:xfrm>
            <a:custGeom>
              <a:avLst/>
              <a:gdLst>
                <a:gd name="connsiteX0" fmla="*/ 947250 w 947702"/>
                <a:gd name="connsiteY0" fmla="*/ -220 h 841331"/>
                <a:gd name="connsiteX1" fmla="*/ 947250 w 947702"/>
                <a:gd name="connsiteY1" fmla="*/ 264744 h 841331"/>
                <a:gd name="connsiteX2" fmla="*/ 897683 w 947702"/>
                <a:gd name="connsiteY2" fmla="*/ 350857 h 841331"/>
                <a:gd name="connsiteX3" fmla="*/ 59164 w 947702"/>
                <a:gd name="connsiteY3" fmla="*/ 835787 h 841331"/>
                <a:gd name="connsiteX4" fmla="*/ 4870 w 947702"/>
                <a:gd name="connsiteY4" fmla="*/ 821237 h 841331"/>
                <a:gd name="connsiteX5" fmla="*/ -452 w 947702"/>
                <a:gd name="connsiteY5" fmla="*/ 801295 h 841331"/>
                <a:gd name="connsiteX6" fmla="*/ -452 w 947702"/>
                <a:gd name="connsiteY6" fmla="*/ 406363 h 841331"/>
                <a:gd name="connsiteX7" fmla="*/ 63504 w 947702"/>
                <a:gd name="connsiteY7" fmla="*/ 478771 h 841331"/>
                <a:gd name="connsiteX8" fmla="*/ 71499 w 947702"/>
                <a:gd name="connsiteY8" fmla="*/ 483796 h 841331"/>
                <a:gd name="connsiteX9" fmla="*/ 112614 w 947702"/>
                <a:gd name="connsiteY9" fmla="*/ 494303 h 841331"/>
                <a:gd name="connsiteX10" fmla="*/ 203980 w 947702"/>
                <a:gd name="connsiteY10" fmla="*/ 366846 h 841331"/>
                <a:gd name="connsiteX11" fmla="*/ 206265 w 947702"/>
                <a:gd name="connsiteY11" fmla="*/ 359537 h 841331"/>
                <a:gd name="connsiteX12" fmla="*/ 314534 w 947702"/>
                <a:gd name="connsiteY12" fmla="*/ 100512 h 841331"/>
                <a:gd name="connsiteX13" fmla="*/ 445646 w 947702"/>
                <a:gd name="connsiteY13" fmla="*/ 357481 h 841331"/>
                <a:gd name="connsiteX14" fmla="*/ 447930 w 947702"/>
                <a:gd name="connsiteY14" fmla="*/ 361365 h 841331"/>
                <a:gd name="connsiteX15" fmla="*/ 455696 w 947702"/>
                <a:gd name="connsiteY15" fmla="*/ 374156 h 841331"/>
                <a:gd name="connsiteX16" fmla="*/ 461635 w 947702"/>
                <a:gd name="connsiteY16" fmla="*/ 381922 h 841331"/>
                <a:gd name="connsiteX17" fmla="*/ 469401 w 947702"/>
                <a:gd name="connsiteY17" fmla="*/ 390145 h 841331"/>
                <a:gd name="connsiteX18" fmla="*/ 476254 w 947702"/>
                <a:gd name="connsiteY18" fmla="*/ 394942 h 841331"/>
                <a:gd name="connsiteX19" fmla="*/ 492243 w 947702"/>
                <a:gd name="connsiteY19" fmla="*/ 399967 h 841331"/>
                <a:gd name="connsiteX20" fmla="*/ 562595 w 947702"/>
                <a:gd name="connsiteY20" fmla="*/ 292840 h 841331"/>
                <a:gd name="connsiteX21" fmla="*/ 565565 w 947702"/>
                <a:gd name="connsiteY21" fmla="*/ 284388 h 841331"/>
                <a:gd name="connsiteX22" fmla="*/ 569448 w 947702"/>
                <a:gd name="connsiteY22" fmla="*/ 273881 h 841331"/>
                <a:gd name="connsiteX23" fmla="*/ 572189 w 947702"/>
                <a:gd name="connsiteY23" fmla="*/ 265658 h 841331"/>
                <a:gd name="connsiteX24" fmla="*/ 587721 w 947702"/>
                <a:gd name="connsiteY24" fmla="*/ 224771 h 841331"/>
                <a:gd name="connsiteX25" fmla="*/ 589320 w 947702"/>
                <a:gd name="connsiteY25" fmla="*/ 220660 h 841331"/>
                <a:gd name="connsiteX26" fmla="*/ 669723 w 947702"/>
                <a:gd name="connsiteY26" fmla="*/ 119699 h 841331"/>
                <a:gd name="connsiteX27" fmla="*/ 707868 w 947702"/>
                <a:gd name="connsiteY27" fmla="*/ 136602 h 841331"/>
                <a:gd name="connsiteX28" fmla="*/ 710381 w 947702"/>
                <a:gd name="connsiteY28" fmla="*/ 139115 h 841331"/>
                <a:gd name="connsiteX29" fmla="*/ 728426 w 947702"/>
                <a:gd name="connsiteY29" fmla="*/ 159672 h 841331"/>
                <a:gd name="connsiteX30" fmla="*/ 733223 w 947702"/>
                <a:gd name="connsiteY30" fmla="*/ 166296 h 841331"/>
                <a:gd name="connsiteX31" fmla="*/ 739161 w 947702"/>
                <a:gd name="connsiteY31" fmla="*/ 174291 h 841331"/>
                <a:gd name="connsiteX32" fmla="*/ 743959 w 947702"/>
                <a:gd name="connsiteY32" fmla="*/ 180687 h 841331"/>
                <a:gd name="connsiteX33" fmla="*/ 806545 w 947702"/>
                <a:gd name="connsiteY33" fmla="*/ 227969 h 841331"/>
                <a:gd name="connsiteX34" fmla="*/ 855198 w 947702"/>
                <a:gd name="connsiteY34" fmla="*/ 180001 h 841331"/>
                <a:gd name="connsiteX35" fmla="*/ 859080 w 947702"/>
                <a:gd name="connsiteY35" fmla="*/ 171778 h 841331"/>
                <a:gd name="connsiteX36" fmla="*/ 863649 w 947702"/>
                <a:gd name="connsiteY36" fmla="*/ 161271 h 841331"/>
                <a:gd name="connsiteX37" fmla="*/ 866847 w 947702"/>
                <a:gd name="connsiteY37" fmla="*/ 152591 h 841331"/>
                <a:gd name="connsiteX38" fmla="*/ 896084 w 947702"/>
                <a:gd name="connsiteY38" fmla="*/ 73559 h 841331"/>
                <a:gd name="connsiteX39" fmla="*/ 897911 w 947702"/>
                <a:gd name="connsiteY39" fmla="*/ 68762 h 841331"/>
                <a:gd name="connsiteX40" fmla="*/ 947250 w 947702"/>
                <a:gd name="connsiteY40" fmla="*/ -220 h 841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947702" h="841331">
                  <a:moveTo>
                    <a:pt x="947250" y="-220"/>
                  </a:moveTo>
                  <a:lnTo>
                    <a:pt x="947250" y="264744"/>
                  </a:lnTo>
                  <a:cubicBezTo>
                    <a:pt x="947295" y="300240"/>
                    <a:pt x="928405" y="333063"/>
                    <a:pt x="897683" y="350857"/>
                  </a:cubicBezTo>
                  <a:lnTo>
                    <a:pt x="59164" y="835787"/>
                  </a:lnTo>
                  <a:cubicBezTo>
                    <a:pt x="40160" y="846751"/>
                    <a:pt x="15856" y="840241"/>
                    <a:pt x="4870" y="821237"/>
                  </a:cubicBezTo>
                  <a:cubicBezTo>
                    <a:pt x="1375" y="815183"/>
                    <a:pt x="-475" y="808308"/>
                    <a:pt x="-452" y="801295"/>
                  </a:cubicBezTo>
                  <a:lnTo>
                    <a:pt x="-452" y="406363"/>
                  </a:lnTo>
                  <a:cubicBezTo>
                    <a:pt x="16588" y="433978"/>
                    <a:pt x="38218" y="458464"/>
                    <a:pt x="63504" y="478771"/>
                  </a:cubicBezTo>
                  <a:cubicBezTo>
                    <a:pt x="66017" y="480370"/>
                    <a:pt x="68758" y="482425"/>
                    <a:pt x="71499" y="483796"/>
                  </a:cubicBezTo>
                  <a:cubicBezTo>
                    <a:pt x="83559" y="491996"/>
                    <a:pt x="98110" y="495719"/>
                    <a:pt x="112614" y="494303"/>
                  </a:cubicBezTo>
                  <a:cubicBezTo>
                    <a:pt x="153500" y="489278"/>
                    <a:pt x="181139" y="434230"/>
                    <a:pt x="203980" y="366846"/>
                  </a:cubicBezTo>
                  <a:cubicBezTo>
                    <a:pt x="203980" y="364562"/>
                    <a:pt x="205580" y="362050"/>
                    <a:pt x="206265" y="359537"/>
                  </a:cubicBezTo>
                  <a:cubicBezTo>
                    <a:pt x="243953" y="245328"/>
                    <a:pt x="267938" y="101197"/>
                    <a:pt x="314534" y="100512"/>
                  </a:cubicBezTo>
                  <a:cubicBezTo>
                    <a:pt x="366157" y="100512"/>
                    <a:pt x="400648" y="274566"/>
                    <a:pt x="445646" y="357481"/>
                  </a:cubicBezTo>
                  <a:lnTo>
                    <a:pt x="447930" y="361365"/>
                  </a:lnTo>
                  <a:cubicBezTo>
                    <a:pt x="450443" y="365933"/>
                    <a:pt x="453183" y="370273"/>
                    <a:pt x="455696" y="374156"/>
                  </a:cubicBezTo>
                  <a:lnTo>
                    <a:pt x="461635" y="381922"/>
                  </a:lnTo>
                  <a:cubicBezTo>
                    <a:pt x="463987" y="384869"/>
                    <a:pt x="466592" y="387632"/>
                    <a:pt x="469401" y="390145"/>
                  </a:cubicBezTo>
                  <a:cubicBezTo>
                    <a:pt x="471434" y="392064"/>
                    <a:pt x="473741" y="393685"/>
                    <a:pt x="476254" y="394942"/>
                  </a:cubicBezTo>
                  <a:cubicBezTo>
                    <a:pt x="480868" y="398368"/>
                    <a:pt x="486510" y="400127"/>
                    <a:pt x="492243" y="399967"/>
                  </a:cubicBezTo>
                  <a:cubicBezTo>
                    <a:pt x="520567" y="399967"/>
                    <a:pt x="541581" y="349944"/>
                    <a:pt x="562595" y="292840"/>
                  </a:cubicBezTo>
                  <a:cubicBezTo>
                    <a:pt x="562595" y="290098"/>
                    <a:pt x="564651" y="287357"/>
                    <a:pt x="565565" y="284388"/>
                  </a:cubicBezTo>
                  <a:cubicBezTo>
                    <a:pt x="566478" y="281419"/>
                    <a:pt x="568077" y="277307"/>
                    <a:pt x="569448" y="273881"/>
                  </a:cubicBezTo>
                  <a:cubicBezTo>
                    <a:pt x="570818" y="270454"/>
                    <a:pt x="571503" y="268399"/>
                    <a:pt x="572189" y="265658"/>
                  </a:cubicBezTo>
                  <a:cubicBezTo>
                    <a:pt x="577442" y="251953"/>
                    <a:pt x="582468" y="238019"/>
                    <a:pt x="587721" y="224771"/>
                  </a:cubicBezTo>
                  <a:cubicBezTo>
                    <a:pt x="587721" y="223401"/>
                    <a:pt x="587721" y="222030"/>
                    <a:pt x="589320" y="220660"/>
                  </a:cubicBezTo>
                  <a:cubicBezTo>
                    <a:pt x="610791" y="166753"/>
                    <a:pt x="635003" y="121298"/>
                    <a:pt x="669723" y="119699"/>
                  </a:cubicBezTo>
                  <a:cubicBezTo>
                    <a:pt x="684227" y="119859"/>
                    <a:pt x="698024" y="125958"/>
                    <a:pt x="707868" y="136602"/>
                  </a:cubicBezTo>
                  <a:lnTo>
                    <a:pt x="710381" y="139115"/>
                  </a:lnTo>
                  <a:cubicBezTo>
                    <a:pt x="716754" y="145648"/>
                    <a:pt x="722761" y="152523"/>
                    <a:pt x="728426" y="159672"/>
                  </a:cubicBezTo>
                  <a:cubicBezTo>
                    <a:pt x="729819" y="162025"/>
                    <a:pt x="731418" y="164241"/>
                    <a:pt x="733223" y="166296"/>
                  </a:cubicBezTo>
                  <a:cubicBezTo>
                    <a:pt x="735050" y="169037"/>
                    <a:pt x="737106" y="171550"/>
                    <a:pt x="739161" y="174291"/>
                  </a:cubicBezTo>
                  <a:lnTo>
                    <a:pt x="743959" y="180687"/>
                  </a:lnTo>
                  <a:cubicBezTo>
                    <a:pt x="762917" y="206498"/>
                    <a:pt x="782333" y="230025"/>
                    <a:pt x="806545" y="227969"/>
                  </a:cubicBezTo>
                  <a:cubicBezTo>
                    <a:pt x="827102" y="226141"/>
                    <a:pt x="842406" y="206726"/>
                    <a:pt x="855198" y="180001"/>
                  </a:cubicBezTo>
                  <a:lnTo>
                    <a:pt x="859080" y="171778"/>
                  </a:lnTo>
                  <a:cubicBezTo>
                    <a:pt x="860679" y="168581"/>
                    <a:pt x="862278" y="164697"/>
                    <a:pt x="863649" y="161271"/>
                  </a:cubicBezTo>
                  <a:cubicBezTo>
                    <a:pt x="865019" y="157845"/>
                    <a:pt x="865933" y="155332"/>
                    <a:pt x="866847" y="152591"/>
                  </a:cubicBezTo>
                  <a:cubicBezTo>
                    <a:pt x="877125" y="127009"/>
                    <a:pt x="886034" y="98913"/>
                    <a:pt x="896084" y="73559"/>
                  </a:cubicBezTo>
                  <a:cubicBezTo>
                    <a:pt x="896084" y="72189"/>
                    <a:pt x="897226" y="70590"/>
                    <a:pt x="897911" y="68762"/>
                  </a:cubicBezTo>
                  <a:cubicBezTo>
                    <a:pt x="911388" y="36327"/>
                    <a:pt x="926464" y="9145"/>
                    <a:pt x="947250" y="-220"/>
                  </a:cubicBezTo>
                  <a:close/>
                </a:path>
              </a:pathLst>
            </a:custGeom>
            <a:solidFill>
              <a:srgbClr val="4E90F9"/>
            </a:solidFill>
            <a:ln w="22838" cap="flat">
              <a:noFill/>
              <a:prstDash val="solid"/>
              <a:miter/>
            </a:ln>
          </p:spPr>
          <p:txBody>
            <a:bodyPr rtlCol="0" anchor="ctr"/>
            <a:lstStyle/>
            <a:p>
              <a:endParaRPr lang="zh-CN" altLang="en-US"/>
            </a:p>
          </p:txBody>
        </p:sp>
        <p:sp>
          <p:nvSpPr>
            <p:cNvPr id="406" name="任意多边形: 形状 405"/>
            <p:cNvSpPr/>
            <p:nvPr/>
          </p:nvSpPr>
          <p:spPr>
            <a:xfrm>
              <a:off x="4301029" y="2691263"/>
              <a:ext cx="954110" cy="466964"/>
            </a:xfrm>
            <a:custGeom>
              <a:avLst/>
              <a:gdLst>
                <a:gd name="connsiteX0" fmla="*/ 84748 w 954110"/>
                <a:gd name="connsiteY0" fmla="*/ 466745 h 466964"/>
                <a:gd name="connsiteX1" fmla="*/ 68759 w 954110"/>
                <a:gd name="connsiteY1" fmla="*/ 464917 h 466964"/>
                <a:gd name="connsiteX2" fmla="*/ 234 w 954110"/>
                <a:gd name="connsiteY2" fmla="*/ 416493 h 466964"/>
                <a:gd name="connsiteX3" fmla="*/ 919 w 954110"/>
                <a:gd name="connsiteY3" fmla="*/ 411696 h 466964"/>
                <a:gd name="connsiteX4" fmla="*/ 5030 w 954110"/>
                <a:gd name="connsiteY4" fmla="*/ 411696 h 466964"/>
                <a:gd name="connsiteX5" fmla="*/ 70358 w 954110"/>
                <a:gd name="connsiteY5" fmla="*/ 457379 h 466964"/>
                <a:gd name="connsiteX6" fmla="*/ 165607 w 954110"/>
                <a:gd name="connsiteY6" fmla="*/ 388854 h 466964"/>
                <a:gd name="connsiteX7" fmla="*/ 217915 w 954110"/>
                <a:gd name="connsiteY7" fmla="*/ 327181 h 466964"/>
                <a:gd name="connsiteX8" fmla="*/ 312023 w 954110"/>
                <a:gd name="connsiteY8" fmla="*/ 338374 h 466964"/>
                <a:gd name="connsiteX9" fmla="*/ 334864 w 954110"/>
                <a:gd name="connsiteY9" fmla="*/ 361216 h 466964"/>
                <a:gd name="connsiteX10" fmla="*/ 394024 w 954110"/>
                <a:gd name="connsiteY10" fmla="*/ 402331 h 466964"/>
                <a:gd name="connsiteX11" fmla="*/ 429429 w 954110"/>
                <a:gd name="connsiteY11" fmla="*/ 361673 h 466964"/>
                <a:gd name="connsiteX12" fmla="*/ 454327 w 954110"/>
                <a:gd name="connsiteY12" fmla="*/ 288807 h 466964"/>
                <a:gd name="connsiteX13" fmla="*/ 454327 w 954110"/>
                <a:gd name="connsiteY13" fmla="*/ 286067 h 466964"/>
                <a:gd name="connsiteX14" fmla="*/ 455697 w 954110"/>
                <a:gd name="connsiteY14" fmla="*/ 281955 h 466964"/>
                <a:gd name="connsiteX15" fmla="*/ 533816 w 954110"/>
                <a:gd name="connsiteY15" fmla="*/ 154727 h 466964"/>
                <a:gd name="connsiteX16" fmla="*/ 577444 w 954110"/>
                <a:gd name="connsiteY16" fmla="*/ 173457 h 466964"/>
                <a:gd name="connsiteX17" fmla="*/ 599143 w 954110"/>
                <a:gd name="connsiteY17" fmla="*/ 201324 h 466964"/>
                <a:gd name="connsiteX18" fmla="*/ 640715 w 954110"/>
                <a:gd name="connsiteY18" fmla="*/ 241068 h 466964"/>
                <a:gd name="connsiteX19" fmla="*/ 679318 w 954110"/>
                <a:gd name="connsiteY19" fmla="*/ 176883 h 466964"/>
                <a:gd name="connsiteX20" fmla="*/ 682972 w 954110"/>
                <a:gd name="connsiteY20" fmla="*/ 165005 h 466964"/>
                <a:gd name="connsiteX21" fmla="*/ 686855 w 954110"/>
                <a:gd name="connsiteY21" fmla="*/ 152899 h 466964"/>
                <a:gd name="connsiteX22" fmla="*/ 727513 w 954110"/>
                <a:gd name="connsiteY22" fmla="*/ 68842 h 466964"/>
                <a:gd name="connsiteX23" fmla="*/ 728656 w 954110"/>
                <a:gd name="connsiteY23" fmla="*/ 67471 h 466964"/>
                <a:gd name="connsiteX24" fmla="*/ 795353 w 954110"/>
                <a:gd name="connsiteY24" fmla="*/ 44630 h 466964"/>
                <a:gd name="connsiteX25" fmla="*/ 818195 w 954110"/>
                <a:gd name="connsiteY25" fmla="*/ 52624 h 466964"/>
                <a:gd name="connsiteX26" fmla="*/ 856341 w 954110"/>
                <a:gd name="connsiteY26" fmla="*/ 61532 h 466964"/>
                <a:gd name="connsiteX27" fmla="*/ 869361 w 954110"/>
                <a:gd name="connsiteY27" fmla="*/ 59477 h 466964"/>
                <a:gd name="connsiteX28" fmla="*/ 941769 w 954110"/>
                <a:gd name="connsiteY28" fmla="*/ 8311 h 466964"/>
                <a:gd name="connsiteX29" fmla="*/ 947708 w 954110"/>
                <a:gd name="connsiteY29" fmla="*/ 774 h 466964"/>
                <a:gd name="connsiteX30" fmla="*/ 952733 w 954110"/>
                <a:gd name="connsiteY30" fmla="*/ 774 h 466964"/>
                <a:gd name="connsiteX31" fmla="*/ 952733 w 954110"/>
                <a:gd name="connsiteY31" fmla="*/ 5798 h 466964"/>
                <a:gd name="connsiteX32" fmla="*/ 946794 w 954110"/>
                <a:gd name="connsiteY32" fmla="*/ 13108 h 466964"/>
                <a:gd name="connsiteX33" fmla="*/ 870503 w 954110"/>
                <a:gd name="connsiteY33" fmla="*/ 66786 h 466964"/>
                <a:gd name="connsiteX34" fmla="*/ 856569 w 954110"/>
                <a:gd name="connsiteY34" fmla="*/ 69070 h 466964"/>
                <a:gd name="connsiteX35" fmla="*/ 814997 w 954110"/>
                <a:gd name="connsiteY35" fmla="*/ 59705 h 466964"/>
                <a:gd name="connsiteX36" fmla="*/ 793983 w 954110"/>
                <a:gd name="connsiteY36" fmla="*/ 51939 h 466964"/>
                <a:gd name="connsiteX37" fmla="*/ 733909 w 954110"/>
                <a:gd name="connsiteY37" fmla="*/ 72953 h 466964"/>
                <a:gd name="connsiteX38" fmla="*/ 732767 w 954110"/>
                <a:gd name="connsiteY38" fmla="*/ 74324 h 466964"/>
                <a:gd name="connsiteX39" fmla="*/ 693708 w 954110"/>
                <a:gd name="connsiteY39" fmla="*/ 156097 h 466964"/>
                <a:gd name="connsiteX40" fmla="*/ 689596 w 954110"/>
                <a:gd name="connsiteY40" fmla="*/ 167975 h 466964"/>
                <a:gd name="connsiteX41" fmla="*/ 685942 w 954110"/>
                <a:gd name="connsiteY41" fmla="*/ 179853 h 466964"/>
                <a:gd name="connsiteX42" fmla="*/ 640259 w 954110"/>
                <a:gd name="connsiteY42" fmla="*/ 248378 h 466964"/>
                <a:gd name="connsiteX43" fmla="*/ 592519 w 954110"/>
                <a:gd name="connsiteY43" fmla="*/ 205663 h 466964"/>
                <a:gd name="connsiteX44" fmla="*/ 571961 w 954110"/>
                <a:gd name="connsiteY44" fmla="*/ 178939 h 466964"/>
                <a:gd name="connsiteX45" fmla="*/ 533816 w 954110"/>
                <a:gd name="connsiteY45" fmla="*/ 162036 h 466964"/>
                <a:gd name="connsiteX46" fmla="*/ 461408 w 954110"/>
                <a:gd name="connsiteY46" fmla="*/ 284468 h 466964"/>
                <a:gd name="connsiteX47" fmla="*/ 460037 w 954110"/>
                <a:gd name="connsiteY47" fmla="*/ 288351 h 466964"/>
                <a:gd name="connsiteX48" fmla="*/ 460037 w 954110"/>
                <a:gd name="connsiteY48" fmla="*/ 291320 h 466964"/>
                <a:gd name="connsiteX49" fmla="*/ 433997 w 954110"/>
                <a:gd name="connsiteY49" fmla="*/ 366241 h 466964"/>
                <a:gd name="connsiteX50" fmla="*/ 393568 w 954110"/>
                <a:gd name="connsiteY50" fmla="*/ 411925 h 466964"/>
                <a:gd name="connsiteX51" fmla="*/ 328241 w 954110"/>
                <a:gd name="connsiteY51" fmla="*/ 368297 h 466964"/>
                <a:gd name="connsiteX52" fmla="*/ 307226 w 954110"/>
                <a:gd name="connsiteY52" fmla="*/ 345455 h 466964"/>
                <a:gd name="connsiteX53" fmla="*/ 220885 w 954110"/>
                <a:gd name="connsiteY53" fmla="*/ 334947 h 466964"/>
                <a:gd name="connsiteX54" fmla="*/ 170861 w 954110"/>
                <a:gd name="connsiteY54" fmla="*/ 394336 h 466964"/>
                <a:gd name="connsiteX55" fmla="*/ 84748 w 954110"/>
                <a:gd name="connsiteY55" fmla="*/ 466745 h 466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954110" h="466964">
                  <a:moveTo>
                    <a:pt x="84748" y="466745"/>
                  </a:moveTo>
                  <a:cubicBezTo>
                    <a:pt x="79380" y="466653"/>
                    <a:pt x="74013" y="466059"/>
                    <a:pt x="68759" y="464917"/>
                  </a:cubicBezTo>
                  <a:cubicBezTo>
                    <a:pt x="42126" y="454981"/>
                    <a:pt x="18507" y="438284"/>
                    <a:pt x="234" y="416493"/>
                  </a:cubicBezTo>
                  <a:cubicBezTo>
                    <a:pt x="-908" y="414985"/>
                    <a:pt x="-588" y="412838"/>
                    <a:pt x="919" y="411696"/>
                  </a:cubicBezTo>
                  <a:cubicBezTo>
                    <a:pt x="2130" y="410782"/>
                    <a:pt x="3820" y="410782"/>
                    <a:pt x="5030" y="411696"/>
                  </a:cubicBezTo>
                  <a:cubicBezTo>
                    <a:pt x="22664" y="432139"/>
                    <a:pt x="45118" y="447832"/>
                    <a:pt x="70358" y="457379"/>
                  </a:cubicBezTo>
                  <a:cubicBezTo>
                    <a:pt x="116041" y="467430"/>
                    <a:pt x="138883" y="429284"/>
                    <a:pt x="165607" y="388854"/>
                  </a:cubicBezTo>
                  <a:cubicBezTo>
                    <a:pt x="178376" y="364756"/>
                    <a:pt x="196216" y="343696"/>
                    <a:pt x="217915" y="327181"/>
                  </a:cubicBezTo>
                  <a:cubicBezTo>
                    <a:pt x="248249" y="309456"/>
                    <a:pt x="286692" y="314025"/>
                    <a:pt x="312023" y="338374"/>
                  </a:cubicBezTo>
                  <a:cubicBezTo>
                    <a:pt x="320360" y="345227"/>
                    <a:pt x="328012" y="352878"/>
                    <a:pt x="334864" y="361216"/>
                  </a:cubicBezTo>
                  <a:cubicBezTo>
                    <a:pt x="352681" y="381773"/>
                    <a:pt x="373467" y="404843"/>
                    <a:pt x="394024" y="402331"/>
                  </a:cubicBezTo>
                  <a:cubicBezTo>
                    <a:pt x="414582" y="399818"/>
                    <a:pt x="423490" y="374920"/>
                    <a:pt x="429429" y="361673"/>
                  </a:cubicBezTo>
                  <a:cubicBezTo>
                    <a:pt x="439708" y="338100"/>
                    <a:pt x="448022" y="313728"/>
                    <a:pt x="454327" y="288807"/>
                  </a:cubicBezTo>
                  <a:cubicBezTo>
                    <a:pt x="454235" y="287894"/>
                    <a:pt x="454235" y="286980"/>
                    <a:pt x="454327" y="286067"/>
                  </a:cubicBezTo>
                  <a:lnTo>
                    <a:pt x="455697" y="281955"/>
                  </a:lnTo>
                  <a:cubicBezTo>
                    <a:pt x="474199" y="218683"/>
                    <a:pt x="491788" y="158609"/>
                    <a:pt x="533816" y="154727"/>
                  </a:cubicBezTo>
                  <a:cubicBezTo>
                    <a:pt x="550490" y="153813"/>
                    <a:pt x="566616" y="160734"/>
                    <a:pt x="577444" y="173457"/>
                  </a:cubicBezTo>
                  <a:cubicBezTo>
                    <a:pt x="585964" y="181680"/>
                    <a:pt x="593250" y="191068"/>
                    <a:pt x="599143" y="201324"/>
                  </a:cubicBezTo>
                  <a:cubicBezTo>
                    <a:pt x="611249" y="220054"/>
                    <a:pt x="624954" y="241068"/>
                    <a:pt x="640715" y="241068"/>
                  </a:cubicBezTo>
                  <a:cubicBezTo>
                    <a:pt x="661273" y="238555"/>
                    <a:pt x="672465" y="199953"/>
                    <a:pt x="679318" y="176883"/>
                  </a:cubicBezTo>
                  <a:cubicBezTo>
                    <a:pt x="680688" y="172315"/>
                    <a:pt x="681830" y="168203"/>
                    <a:pt x="682972" y="165005"/>
                  </a:cubicBezTo>
                  <a:cubicBezTo>
                    <a:pt x="684114" y="161808"/>
                    <a:pt x="685485" y="157011"/>
                    <a:pt x="686855" y="152899"/>
                  </a:cubicBezTo>
                  <a:cubicBezTo>
                    <a:pt x="694713" y="122474"/>
                    <a:pt x="708532" y="93899"/>
                    <a:pt x="727513" y="68842"/>
                  </a:cubicBezTo>
                  <a:lnTo>
                    <a:pt x="728656" y="67471"/>
                  </a:lnTo>
                  <a:cubicBezTo>
                    <a:pt x="744576" y="47576"/>
                    <a:pt x="770570" y="38691"/>
                    <a:pt x="795353" y="44630"/>
                  </a:cubicBezTo>
                  <a:cubicBezTo>
                    <a:pt x="803188" y="46640"/>
                    <a:pt x="810817" y="49313"/>
                    <a:pt x="818195" y="52624"/>
                  </a:cubicBezTo>
                  <a:cubicBezTo>
                    <a:pt x="829776" y="59249"/>
                    <a:pt x="843024" y="62332"/>
                    <a:pt x="856341" y="61532"/>
                  </a:cubicBezTo>
                  <a:cubicBezTo>
                    <a:pt x="860749" y="61350"/>
                    <a:pt x="865112" y="60664"/>
                    <a:pt x="869361" y="59477"/>
                  </a:cubicBezTo>
                  <a:cubicBezTo>
                    <a:pt x="898735" y="51391"/>
                    <a:pt x="924340" y="33277"/>
                    <a:pt x="941769" y="8311"/>
                  </a:cubicBezTo>
                  <a:lnTo>
                    <a:pt x="947708" y="774"/>
                  </a:lnTo>
                  <a:cubicBezTo>
                    <a:pt x="949123" y="-551"/>
                    <a:pt x="951316" y="-551"/>
                    <a:pt x="952733" y="774"/>
                  </a:cubicBezTo>
                  <a:cubicBezTo>
                    <a:pt x="953966" y="2213"/>
                    <a:pt x="953966" y="4360"/>
                    <a:pt x="952733" y="5798"/>
                  </a:cubicBezTo>
                  <a:lnTo>
                    <a:pt x="946794" y="13108"/>
                  </a:lnTo>
                  <a:cubicBezTo>
                    <a:pt x="928429" y="39376"/>
                    <a:pt x="901430" y="58358"/>
                    <a:pt x="870503" y="66786"/>
                  </a:cubicBezTo>
                  <a:cubicBezTo>
                    <a:pt x="865957" y="68042"/>
                    <a:pt x="861275" y="68819"/>
                    <a:pt x="856569" y="69070"/>
                  </a:cubicBezTo>
                  <a:cubicBezTo>
                    <a:pt x="842088" y="70030"/>
                    <a:pt x="827651" y="66786"/>
                    <a:pt x="814997" y="59705"/>
                  </a:cubicBezTo>
                  <a:cubicBezTo>
                    <a:pt x="808236" y="56485"/>
                    <a:pt x="801201" y="53880"/>
                    <a:pt x="793983" y="51939"/>
                  </a:cubicBezTo>
                  <a:cubicBezTo>
                    <a:pt x="771575" y="46708"/>
                    <a:pt x="748163" y="54909"/>
                    <a:pt x="733909" y="72953"/>
                  </a:cubicBezTo>
                  <a:lnTo>
                    <a:pt x="732767" y="74324"/>
                  </a:lnTo>
                  <a:cubicBezTo>
                    <a:pt x="714585" y="98787"/>
                    <a:pt x="701314" y="126563"/>
                    <a:pt x="693708" y="156097"/>
                  </a:cubicBezTo>
                  <a:lnTo>
                    <a:pt x="689596" y="167975"/>
                  </a:lnTo>
                  <a:cubicBezTo>
                    <a:pt x="688454" y="171173"/>
                    <a:pt x="687312" y="175284"/>
                    <a:pt x="685942" y="179853"/>
                  </a:cubicBezTo>
                  <a:cubicBezTo>
                    <a:pt x="678404" y="206121"/>
                    <a:pt x="666754" y="245865"/>
                    <a:pt x="640259" y="248378"/>
                  </a:cubicBezTo>
                  <a:cubicBezTo>
                    <a:pt x="620386" y="248378"/>
                    <a:pt x="605539" y="225536"/>
                    <a:pt x="592519" y="205663"/>
                  </a:cubicBezTo>
                  <a:cubicBezTo>
                    <a:pt x="586877" y="195888"/>
                    <a:pt x="579956" y="186911"/>
                    <a:pt x="571961" y="178939"/>
                  </a:cubicBezTo>
                  <a:cubicBezTo>
                    <a:pt x="562528" y="167724"/>
                    <a:pt x="548458" y="161488"/>
                    <a:pt x="533816" y="162036"/>
                  </a:cubicBezTo>
                  <a:cubicBezTo>
                    <a:pt x="496127" y="165462"/>
                    <a:pt x="479224" y="223252"/>
                    <a:pt x="461408" y="284468"/>
                  </a:cubicBezTo>
                  <a:lnTo>
                    <a:pt x="460037" y="288351"/>
                  </a:lnTo>
                  <a:cubicBezTo>
                    <a:pt x="460037" y="288351"/>
                    <a:pt x="460037" y="290178"/>
                    <a:pt x="460037" y="291320"/>
                  </a:cubicBezTo>
                  <a:cubicBezTo>
                    <a:pt x="453504" y="316994"/>
                    <a:pt x="444802" y="342051"/>
                    <a:pt x="433997" y="366241"/>
                  </a:cubicBezTo>
                  <a:cubicBezTo>
                    <a:pt x="427602" y="380631"/>
                    <a:pt x="415268" y="407356"/>
                    <a:pt x="393568" y="411925"/>
                  </a:cubicBezTo>
                  <a:cubicBezTo>
                    <a:pt x="371869" y="416493"/>
                    <a:pt x="347884" y="390225"/>
                    <a:pt x="328241" y="368297"/>
                  </a:cubicBezTo>
                  <a:cubicBezTo>
                    <a:pt x="321822" y="360165"/>
                    <a:pt x="314810" y="352513"/>
                    <a:pt x="307226" y="345455"/>
                  </a:cubicBezTo>
                  <a:cubicBezTo>
                    <a:pt x="283996" y="323138"/>
                    <a:pt x="248797" y="318844"/>
                    <a:pt x="220885" y="334947"/>
                  </a:cubicBezTo>
                  <a:cubicBezTo>
                    <a:pt x="200122" y="350891"/>
                    <a:pt x="183036" y="371152"/>
                    <a:pt x="170861" y="394336"/>
                  </a:cubicBezTo>
                  <a:cubicBezTo>
                    <a:pt x="148248" y="429512"/>
                    <a:pt x="124493" y="466745"/>
                    <a:pt x="84748" y="466745"/>
                  </a:cubicBezTo>
                  <a:close/>
                </a:path>
              </a:pathLst>
            </a:custGeom>
            <a:solidFill>
              <a:srgbClr val="5A43DB"/>
            </a:solidFill>
            <a:ln w="22838" cap="flat">
              <a:noFill/>
              <a:prstDash val="solid"/>
              <a:miter/>
            </a:ln>
          </p:spPr>
          <p:txBody>
            <a:bodyPr rtlCol="0" anchor="ctr"/>
            <a:lstStyle/>
            <a:p>
              <a:endParaRPr lang="zh-CN" altLang="en-US"/>
            </a:p>
          </p:txBody>
        </p:sp>
        <p:sp>
          <p:nvSpPr>
            <p:cNvPr id="407" name="任意多边形: 形状 406"/>
            <p:cNvSpPr/>
            <p:nvPr/>
          </p:nvSpPr>
          <p:spPr>
            <a:xfrm>
              <a:off x="6643676" y="2714413"/>
              <a:ext cx="68525" cy="282323"/>
            </a:xfrm>
            <a:custGeom>
              <a:avLst/>
              <a:gdLst>
                <a:gd name="connsiteX0" fmla="*/ -453 w 68525"/>
                <a:gd name="connsiteY0" fmla="*/ 39753 h 282323"/>
                <a:gd name="connsiteX1" fmla="*/ -453 w 68525"/>
                <a:gd name="connsiteY1" fmla="*/ 282104 h 282323"/>
                <a:gd name="connsiteX2" fmla="*/ 68073 w 68525"/>
                <a:gd name="connsiteY2" fmla="*/ 241674 h 282323"/>
                <a:gd name="connsiteX3" fmla="*/ 68073 w 68525"/>
                <a:gd name="connsiteY3" fmla="*/ -220 h 282323"/>
              </a:gdLst>
              <a:ahLst/>
              <a:cxnLst>
                <a:cxn ang="0">
                  <a:pos x="connsiteX0" y="connsiteY0"/>
                </a:cxn>
                <a:cxn ang="0">
                  <a:pos x="connsiteX1" y="connsiteY1"/>
                </a:cxn>
                <a:cxn ang="0">
                  <a:pos x="connsiteX2" y="connsiteY2"/>
                </a:cxn>
                <a:cxn ang="0">
                  <a:pos x="connsiteX3" y="connsiteY3"/>
                </a:cxn>
              </a:cxnLst>
              <a:rect l="l" t="t" r="r" b="b"/>
              <a:pathLst>
                <a:path w="68525" h="282323">
                  <a:moveTo>
                    <a:pt x="-453" y="39753"/>
                  </a:moveTo>
                  <a:lnTo>
                    <a:pt x="-453" y="282104"/>
                  </a:lnTo>
                  <a:lnTo>
                    <a:pt x="68073" y="241674"/>
                  </a:lnTo>
                  <a:lnTo>
                    <a:pt x="68073" y="-220"/>
                  </a:lnTo>
                  <a:close/>
                </a:path>
              </a:pathLst>
            </a:custGeom>
            <a:solidFill>
              <a:srgbClr val="33E7D2"/>
            </a:solidFill>
            <a:ln w="22838" cap="flat">
              <a:noFill/>
              <a:prstDash val="solid"/>
              <a:miter/>
            </a:ln>
          </p:spPr>
          <p:txBody>
            <a:bodyPr rtlCol="0" anchor="ctr"/>
            <a:lstStyle/>
            <a:p>
              <a:endParaRPr lang="zh-CN" altLang="en-US"/>
            </a:p>
          </p:txBody>
        </p:sp>
        <p:sp>
          <p:nvSpPr>
            <p:cNvPr id="408" name="任意多边形: 形状 407"/>
            <p:cNvSpPr/>
            <p:nvPr/>
          </p:nvSpPr>
          <p:spPr>
            <a:xfrm>
              <a:off x="6419370" y="2977550"/>
              <a:ext cx="68525" cy="148927"/>
            </a:xfrm>
            <a:custGeom>
              <a:avLst/>
              <a:gdLst>
                <a:gd name="connsiteX0" fmla="*/ -453 w 68525"/>
                <a:gd name="connsiteY0" fmla="*/ 39753 h 148927"/>
                <a:gd name="connsiteX1" fmla="*/ -453 w 68525"/>
                <a:gd name="connsiteY1" fmla="*/ 148708 h 148927"/>
                <a:gd name="connsiteX2" fmla="*/ 68073 w 68525"/>
                <a:gd name="connsiteY2" fmla="*/ 108507 h 148927"/>
                <a:gd name="connsiteX3" fmla="*/ 68073 w 68525"/>
                <a:gd name="connsiteY3" fmla="*/ -220 h 148927"/>
              </a:gdLst>
              <a:ahLst/>
              <a:cxnLst>
                <a:cxn ang="0">
                  <a:pos x="connsiteX0" y="connsiteY0"/>
                </a:cxn>
                <a:cxn ang="0">
                  <a:pos x="connsiteX1" y="connsiteY1"/>
                </a:cxn>
                <a:cxn ang="0">
                  <a:pos x="connsiteX2" y="connsiteY2"/>
                </a:cxn>
                <a:cxn ang="0">
                  <a:pos x="connsiteX3" y="connsiteY3"/>
                </a:cxn>
              </a:cxnLst>
              <a:rect l="l" t="t" r="r" b="b"/>
              <a:pathLst>
                <a:path w="68525" h="148927">
                  <a:moveTo>
                    <a:pt x="-453" y="39753"/>
                  </a:moveTo>
                  <a:lnTo>
                    <a:pt x="-453" y="148708"/>
                  </a:lnTo>
                  <a:lnTo>
                    <a:pt x="68073" y="108507"/>
                  </a:lnTo>
                  <a:lnTo>
                    <a:pt x="68073" y="-220"/>
                  </a:lnTo>
                  <a:close/>
                </a:path>
              </a:pathLst>
            </a:custGeom>
            <a:solidFill>
              <a:srgbClr val="33E7D2"/>
            </a:solidFill>
            <a:ln w="22838" cap="flat">
              <a:noFill/>
              <a:prstDash val="solid"/>
              <a:miter/>
            </a:ln>
          </p:spPr>
          <p:txBody>
            <a:bodyPr rtlCol="0" anchor="ctr"/>
            <a:lstStyle/>
            <a:p>
              <a:endParaRPr lang="zh-CN" altLang="en-US"/>
            </a:p>
          </p:txBody>
        </p:sp>
        <p:sp>
          <p:nvSpPr>
            <p:cNvPr id="409" name="任意多边形: 形状 408"/>
            <p:cNvSpPr/>
            <p:nvPr/>
          </p:nvSpPr>
          <p:spPr>
            <a:xfrm>
              <a:off x="6302877" y="2834561"/>
              <a:ext cx="68525" cy="359756"/>
            </a:xfrm>
            <a:custGeom>
              <a:avLst/>
              <a:gdLst>
                <a:gd name="connsiteX0" fmla="*/ -453 w 68525"/>
                <a:gd name="connsiteY0" fmla="*/ 39753 h 359756"/>
                <a:gd name="connsiteX1" fmla="*/ -453 w 68525"/>
                <a:gd name="connsiteY1" fmla="*/ 359537 h 359756"/>
                <a:gd name="connsiteX2" fmla="*/ 68073 w 68525"/>
                <a:gd name="connsiteY2" fmla="*/ 319564 h 359756"/>
                <a:gd name="connsiteX3" fmla="*/ 68073 w 68525"/>
                <a:gd name="connsiteY3" fmla="*/ -220 h 359756"/>
              </a:gdLst>
              <a:ahLst/>
              <a:cxnLst>
                <a:cxn ang="0">
                  <a:pos x="connsiteX0" y="connsiteY0"/>
                </a:cxn>
                <a:cxn ang="0">
                  <a:pos x="connsiteX1" y="connsiteY1"/>
                </a:cxn>
                <a:cxn ang="0">
                  <a:pos x="connsiteX2" y="connsiteY2"/>
                </a:cxn>
                <a:cxn ang="0">
                  <a:pos x="connsiteX3" y="connsiteY3"/>
                </a:cxn>
              </a:cxnLst>
              <a:rect l="l" t="t" r="r" b="b"/>
              <a:pathLst>
                <a:path w="68525" h="359756">
                  <a:moveTo>
                    <a:pt x="-453" y="39753"/>
                  </a:moveTo>
                  <a:lnTo>
                    <a:pt x="-453" y="359537"/>
                  </a:lnTo>
                  <a:lnTo>
                    <a:pt x="68073" y="319564"/>
                  </a:lnTo>
                  <a:lnTo>
                    <a:pt x="68073" y="-220"/>
                  </a:lnTo>
                  <a:close/>
                </a:path>
              </a:pathLst>
            </a:custGeom>
            <a:solidFill>
              <a:srgbClr val="5A43DB"/>
            </a:solidFill>
            <a:ln w="22838" cap="flat">
              <a:noFill/>
              <a:prstDash val="solid"/>
              <a:miter/>
            </a:ln>
          </p:spPr>
          <p:txBody>
            <a:bodyPr rtlCol="0" anchor="ctr"/>
            <a:lstStyle/>
            <a:p>
              <a:endParaRPr lang="zh-CN" altLang="en-US"/>
            </a:p>
          </p:txBody>
        </p:sp>
        <p:sp>
          <p:nvSpPr>
            <p:cNvPr id="410" name="任意多边形: 形状 409"/>
            <p:cNvSpPr/>
            <p:nvPr/>
          </p:nvSpPr>
          <p:spPr>
            <a:xfrm>
              <a:off x="6186613" y="3011127"/>
              <a:ext cx="68525" cy="249888"/>
            </a:xfrm>
            <a:custGeom>
              <a:avLst/>
              <a:gdLst>
                <a:gd name="connsiteX0" fmla="*/ -453 w 68525"/>
                <a:gd name="connsiteY0" fmla="*/ 39753 h 249888"/>
                <a:gd name="connsiteX1" fmla="*/ -453 w 68525"/>
                <a:gd name="connsiteY1" fmla="*/ 249668 h 249888"/>
                <a:gd name="connsiteX2" fmla="*/ 68073 w 68525"/>
                <a:gd name="connsiteY2" fmla="*/ 209467 h 249888"/>
                <a:gd name="connsiteX3" fmla="*/ 68073 w 68525"/>
                <a:gd name="connsiteY3" fmla="*/ -220 h 249888"/>
              </a:gdLst>
              <a:ahLst/>
              <a:cxnLst>
                <a:cxn ang="0">
                  <a:pos x="connsiteX0" y="connsiteY0"/>
                </a:cxn>
                <a:cxn ang="0">
                  <a:pos x="connsiteX1" y="connsiteY1"/>
                </a:cxn>
                <a:cxn ang="0">
                  <a:pos x="connsiteX2" y="connsiteY2"/>
                </a:cxn>
                <a:cxn ang="0">
                  <a:pos x="connsiteX3" y="connsiteY3"/>
                </a:cxn>
              </a:cxnLst>
              <a:rect l="l" t="t" r="r" b="b"/>
              <a:pathLst>
                <a:path w="68525" h="249888">
                  <a:moveTo>
                    <a:pt x="-453" y="39753"/>
                  </a:moveTo>
                  <a:lnTo>
                    <a:pt x="-453" y="249668"/>
                  </a:lnTo>
                  <a:lnTo>
                    <a:pt x="68073" y="209467"/>
                  </a:lnTo>
                  <a:lnTo>
                    <a:pt x="68073" y="-220"/>
                  </a:lnTo>
                  <a:close/>
                </a:path>
              </a:pathLst>
            </a:custGeom>
            <a:solidFill>
              <a:srgbClr val="33E7D2"/>
            </a:solidFill>
            <a:ln w="22838" cap="flat">
              <a:noFill/>
              <a:prstDash val="solid"/>
              <a:miter/>
            </a:ln>
          </p:spPr>
          <p:txBody>
            <a:bodyPr rtlCol="0" anchor="ctr"/>
            <a:lstStyle/>
            <a:p>
              <a:endParaRPr lang="zh-CN" altLang="en-US"/>
            </a:p>
          </p:txBody>
        </p:sp>
        <p:sp>
          <p:nvSpPr>
            <p:cNvPr id="411" name="任意多边形: 形状 410"/>
            <p:cNvSpPr/>
            <p:nvPr/>
          </p:nvSpPr>
          <p:spPr>
            <a:xfrm>
              <a:off x="6069207" y="2859001"/>
              <a:ext cx="69666" cy="469625"/>
            </a:xfrm>
            <a:custGeom>
              <a:avLst/>
              <a:gdLst>
                <a:gd name="connsiteX0" fmla="*/ -453 w 69666"/>
                <a:gd name="connsiteY0" fmla="*/ 39753 h 469625"/>
                <a:gd name="connsiteX1" fmla="*/ -453 w 69666"/>
                <a:gd name="connsiteY1" fmla="*/ 469405 h 469625"/>
                <a:gd name="connsiteX2" fmla="*/ 69214 w 69666"/>
                <a:gd name="connsiteY2" fmla="*/ 429204 h 469625"/>
                <a:gd name="connsiteX3" fmla="*/ 69214 w 69666"/>
                <a:gd name="connsiteY3" fmla="*/ -220 h 469625"/>
              </a:gdLst>
              <a:ahLst/>
              <a:cxnLst>
                <a:cxn ang="0">
                  <a:pos x="connsiteX0" y="connsiteY0"/>
                </a:cxn>
                <a:cxn ang="0">
                  <a:pos x="connsiteX1" y="connsiteY1"/>
                </a:cxn>
                <a:cxn ang="0">
                  <a:pos x="connsiteX2" y="connsiteY2"/>
                </a:cxn>
                <a:cxn ang="0">
                  <a:pos x="connsiteX3" y="connsiteY3"/>
                </a:cxn>
              </a:cxnLst>
              <a:rect l="l" t="t" r="r" b="b"/>
              <a:pathLst>
                <a:path w="69666" h="469625">
                  <a:moveTo>
                    <a:pt x="-453" y="39753"/>
                  </a:moveTo>
                  <a:lnTo>
                    <a:pt x="-453" y="469405"/>
                  </a:lnTo>
                  <a:cubicBezTo>
                    <a:pt x="11654" y="462096"/>
                    <a:pt x="36322" y="447934"/>
                    <a:pt x="69214" y="429204"/>
                  </a:cubicBezTo>
                  <a:lnTo>
                    <a:pt x="69214" y="-220"/>
                  </a:lnTo>
                  <a:close/>
                </a:path>
              </a:pathLst>
            </a:custGeom>
            <a:solidFill>
              <a:srgbClr val="5A43DB"/>
            </a:solidFill>
            <a:ln w="22838" cap="flat">
              <a:noFill/>
              <a:prstDash val="solid"/>
              <a:miter/>
            </a:ln>
          </p:spPr>
          <p:txBody>
            <a:bodyPr rtlCol="0" anchor="ctr"/>
            <a:lstStyle/>
            <a:p>
              <a:endParaRPr lang="zh-CN" altLang="en-US"/>
            </a:p>
          </p:txBody>
        </p:sp>
        <p:sp>
          <p:nvSpPr>
            <p:cNvPr id="412" name="任意多边形: 形状 411"/>
            <p:cNvSpPr/>
            <p:nvPr/>
          </p:nvSpPr>
          <p:spPr>
            <a:xfrm>
              <a:off x="6535634" y="2457444"/>
              <a:ext cx="69666" cy="601878"/>
            </a:xfrm>
            <a:custGeom>
              <a:avLst/>
              <a:gdLst>
                <a:gd name="connsiteX0" fmla="*/ -453 w 69666"/>
                <a:gd name="connsiteY0" fmla="*/ 39982 h 601878"/>
                <a:gd name="connsiteX1" fmla="*/ -453 w 69666"/>
                <a:gd name="connsiteY1" fmla="*/ 601659 h 601878"/>
                <a:gd name="connsiteX2" fmla="*/ 69214 w 69666"/>
                <a:gd name="connsiteY2" fmla="*/ 561458 h 601878"/>
                <a:gd name="connsiteX3" fmla="*/ 69214 w 69666"/>
                <a:gd name="connsiteY3" fmla="*/ -220 h 601878"/>
              </a:gdLst>
              <a:ahLst/>
              <a:cxnLst>
                <a:cxn ang="0">
                  <a:pos x="connsiteX0" y="connsiteY0"/>
                </a:cxn>
                <a:cxn ang="0">
                  <a:pos x="connsiteX1" y="connsiteY1"/>
                </a:cxn>
                <a:cxn ang="0">
                  <a:pos x="connsiteX2" y="connsiteY2"/>
                </a:cxn>
                <a:cxn ang="0">
                  <a:pos x="connsiteX3" y="connsiteY3"/>
                </a:cxn>
              </a:cxnLst>
              <a:rect l="l" t="t" r="r" b="b"/>
              <a:pathLst>
                <a:path w="69666" h="601878">
                  <a:moveTo>
                    <a:pt x="-453" y="39982"/>
                  </a:moveTo>
                  <a:lnTo>
                    <a:pt x="-453" y="601659"/>
                  </a:lnTo>
                  <a:cubicBezTo>
                    <a:pt x="24445" y="587269"/>
                    <a:pt x="47744" y="573564"/>
                    <a:pt x="69214" y="561458"/>
                  </a:cubicBezTo>
                  <a:lnTo>
                    <a:pt x="69214" y="-220"/>
                  </a:lnTo>
                  <a:close/>
                </a:path>
              </a:pathLst>
            </a:custGeom>
            <a:solidFill>
              <a:srgbClr val="5A43DB"/>
            </a:solidFill>
            <a:ln w="22838" cap="flat">
              <a:noFill/>
              <a:prstDash val="solid"/>
              <a:miter/>
            </a:ln>
          </p:spPr>
          <p:txBody>
            <a:bodyPr rtlCol="0" anchor="ctr"/>
            <a:lstStyle/>
            <a:p>
              <a:endParaRPr lang="zh-CN" altLang="en-US"/>
            </a:p>
          </p:txBody>
        </p:sp>
        <p:sp>
          <p:nvSpPr>
            <p:cNvPr id="413" name="任意多边形: 形状 412"/>
            <p:cNvSpPr/>
            <p:nvPr/>
          </p:nvSpPr>
          <p:spPr>
            <a:xfrm>
              <a:off x="5401490" y="5208727"/>
              <a:ext cx="83197" cy="141618"/>
            </a:xfrm>
            <a:custGeom>
              <a:avLst/>
              <a:gdLst>
                <a:gd name="connsiteX0" fmla="*/ 34321 w 83197"/>
                <a:gd name="connsiteY0" fmla="*/ 141399 h 141618"/>
                <a:gd name="connsiteX1" fmla="*/ -170 w 83197"/>
                <a:gd name="connsiteY1" fmla="*/ 71503 h 141618"/>
                <a:gd name="connsiteX2" fmla="*/ 64700 w 83197"/>
                <a:gd name="connsiteY2" fmla="*/ -220 h 141618"/>
                <a:gd name="connsiteX3" fmla="*/ 82745 w 83197"/>
                <a:gd name="connsiteY3" fmla="*/ 41809 h 141618"/>
                <a:gd name="connsiteX4" fmla="*/ 45284 w 83197"/>
                <a:gd name="connsiteY4" fmla="*/ 76985 h 141618"/>
                <a:gd name="connsiteX5" fmla="*/ 61959 w 83197"/>
                <a:gd name="connsiteY5" fmla="*/ 104852 h 141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197" h="141618">
                  <a:moveTo>
                    <a:pt x="34321" y="141399"/>
                  </a:moveTo>
                  <a:cubicBezTo>
                    <a:pt x="10703" y="126346"/>
                    <a:pt x="-2591" y="99416"/>
                    <a:pt x="-170" y="71503"/>
                  </a:cubicBezTo>
                  <a:cubicBezTo>
                    <a:pt x="6888" y="37629"/>
                    <a:pt x="31694" y="10196"/>
                    <a:pt x="64700" y="-220"/>
                  </a:cubicBezTo>
                  <a:lnTo>
                    <a:pt x="82745" y="41809"/>
                  </a:lnTo>
                  <a:cubicBezTo>
                    <a:pt x="59903" y="51174"/>
                    <a:pt x="46883" y="64650"/>
                    <a:pt x="45284" y="76985"/>
                  </a:cubicBezTo>
                  <a:cubicBezTo>
                    <a:pt x="43686" y="89320"/>
                    <a:pt x="55107" y="99827"/>
                    <a:pt x="61959" y="104852"/>
                  </a:cubicBezTo>
                  <a:close/>
                </a:path>
              </a:pathLst>
            </a:custGeom>
            <a:solidFill>
              <a:srgbClr val="3C2DA1"/>
            </a:solidFill>
            <a:ln w="22838" cap="flat">
              <a:noFill/>
              <a:prstDash val="solid"/>
              <a:miter/>
            </a:ln>
          </p:spPr>
          <p:txBody>
            <a:bodyPr rtlCol="0" anchor="ctr"/>
            <a:lstStyle/>
            <a:p>
              <a:endParaRPr lang="zh-CN" altLang="en-US"/>
            </a:p>
          </p:txBody>
        </p:sp>
        <p:sp>
          <p:nvSpPr>
            <p:cNvPr id="414" name="任意多边形: 形状 413"/>
            <p:cNvSpPr/>
            <p:nvPr/>
          </p:nvSpPr>
          <p:spPr>
            <a:xfrm>
              <a:off x="5436263" y="5313799"/>
              <a:ext cx="203748" cy="70655"/>
            </a:xfrm>
            <a:custGeom>
              <a:avLst/>
              <a:gdLst>
                <a:gd name="connsiteX0" fmla="*/ 116725 w 203748"/>
                <a:gd name="connsiteY0" fmla="*/ 70361 h 70655"/>
                <a:gd name="connsiteX1" fmla="*/ -453 w 203748"/>
                <a:gd name="connsiteY1" fmla="*/ 36327 h 70655"/>
                <a:gd name="connsiteX2" fmla="*/ 27186 w 203748"/>
                <a:gd name="connsiteY2" fmla="*/ -220 h 70655"/>
                <a:gd name="connsiteX3" fmla="*/ 185479 w 203748"/>
                <a:gd name="connsiteY3" fmla="*/ 11430 h 70655"/>
                <a:gd name="connsiteX4" fmla="*/ 203296 w 203748"/>
                <a:gd name="connsiteY4" fmla="*/ 53686 h 70655"/>
                <a:gd name="connsiteX5" fmla="*/ 116725 w 203748"/>
                <a:gd name="connsiteY5" fmla="*/ 70361 h 70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3748" h="70655">
                  <a:moveTo>
                    <a:pt x="116725" y="70361"/>
                  </a:moveTo>
                  <a:cubicBezTo>
                    <a:pt x="75084" y="71503"/>
                    <a:pt x="34107" y="59602"/>
                    <a:pt x="-453" y="36327"/>
                  </a:cubicBezTo>
                  <a:lnTo>
                    <a:pt x="27186" y="-220"/>
                  </a:lnTo>
                  <a:cubicBezTo>
                    <a:pt x="63505" y="27190"/>
                    <a:pt x="135912" y="32444"/>
                    <a:pt x="185479" y="11430"/>
                  </a:cubicBezTo>
                  <a:lnTo>
                    <a:pt x="203296" y="53686"/>
                  </a:lnTo>
                  <a:cubicBezTo>
                    <a:pt x="175839" y="64947"/>
                    <a:pt x="146396" y="70612"/>
                    <a:pt x="116725" y="70361"/>
                  </a:cubicBezTo>
                  <a:close/>
                </a:path>
              </a:pathLst>
            </a:custGeom>
            <a:solidFill>
              <a:srgbClr val="D0DBF8"/>
            </a:solidFill>
            <a:ln w="22838" cap="flat">
              <a:noFill/>
              <a:prstDash val="solid"/>
              <a:miter/>
            </a:ln>
          </p:spPr>
          <p:txBody>
            <a:bodyPr rtlCol="0" anchor="ctr"/>
            <a:lstStyle/>
            <a:p>
              <a:endParaRPr lang="zh-CN" altLang="en-US"/>
            </a:p>
          </p:txBody>
        </p:sp>
        <p:sp>
          <p:nvSpPr>
            <p:cNvPr id="415" name="任意多边形: 形状 414"/>
            <p:cNvSpPr/>
            <p:nvPr/>
          </p:nvSpPr>
          <p:spPr>
            <a:xfrm>
              <a:off x="5466642" y="5192092"/>
              <a:ext cx="238724" cy="175613"/>
            </a:xfrm>
            <a:custGeom>
              <a:avLst/>
              <a:gdLst>
                <a:gd name="connsiteX0" fmla="*/ 172917 w 238724"/>
                <a:gd name="connsiteY0" fmla="*/ 175394 h 175613"/>
                <a:gd name="connsiteX1" fmla="*/ 155099 w 238724"/>
                <a:gd name="connsiteY1" fmla="*/ 133137 h 175613"/>
                <a:gd name="connsiteX2" fmla="*/ 192560 w 238724"/>
                <a:gd name="connsiteY2" fmla="*/ 98189 h 175613"/>
                <a:gd name="connsiteX3" fmla="*/ 175886 w 238724"/>
                <a:gd name="connsiteY3" fmla="*/ 70322 h 175613"/>
                <a:gd name="connsiteX4" fmla="*/ 17593 w 238724"/>
                <a:gd name="connsiteY4" fmla="*/ 58444 h 175613"/>
                <a:gd name="connsiteX5" fmla="*/ -453 w 238724"/>
                <a:gd name="connsiteY5" fmla="*/ 16416 h 175613"/>
                <a:gd name="connsiteX6" fmla="*/ 203295 w 238724"/>
                <a:gd name="connsiteY6" fmla="*/ 33547 h 175613"/>
                <a:gd name="connsiteX7" fmla="*/ 238015 w 238724"/>
                <a:gd name="connsiteY7" fmla="*/ 103671 h 175613"/>
                <a:gd name="connsiteX8" fmla="*/ 172917 w 238724"/>
                <a:gd name="connsiteY8" fmla="*/ 175394 h 175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8724" h="175613">
                  <a:moveTo>
                    <a:pt x="172917" y="175394"/>
                  </a:moveTo>
                  <a:lnTo>
                    <a:pt x="155099" y="133137"/>
                  </a:lnTo>
                  <a:cubicBezTo>
                    <a:pt x="177941" y="123772"/>
                    <a:pt x="190961" y="110295"/>
                    <a:pt x="192560" y="98189"/>
                  </a:cubicBezTo>
                  <a:cubicBezTo>
                    <a:pt x="191988" y="86699"/>
                    <a:pt x="185752" y="76261"/>
                    <a:pt x="175886" y="70322"/>
                  </a:cubicBezTo>
                  <a:cubicBezTo>
                    <a:pt x="139339" y="42912"/>
                    <a:pt x="66931" y="37430"/>
                    <a:pt x="17593" y="58444"/>
                  </a:cubicBezTo>
                  <a:lnTo>
                    <a:pt x="-453" y="16416"/>
                  </a:lnTo>
                  <a:cubicBezTo>
                    <a:pt x="64418" y="-11223"/>
                    <a:pt x="153958" y="-3685"/>
                    <a:pt x="203295" y="33547"/>
                  </a:cubicBezTo>
                  <a:cubicBezTo>
                    <a:pt x="226959" y="48691"/>
                    <a:pt x="240322" y="75667"/>
                    <a:pt x="238015" y="103671"/>
                  </a:cubicBezTo>
                  <a:cubicBezTo>
                    <a:pt x="230683" y="137499"/>
                    <a:pt x="205877" y="164841"/>
                    <a:pt x="172917" y="175394"/>
                  </a:cubicBezTo>
                  <a:close/>
                </a:path>
              </a:pathLst>
            </a:custGeom>
            <a:solidFill>
              <a:srgbClr val="33E7D2"/>
            </a:solidFill>
            <a:ln w="22838" cap="flat">
              <a:noFill/>
              <a:prstDash val="solid"/>
              <a:miter/>
            </a:ln>
          </p:spPr>
          <p:txBody>
            <a:bodyPr rtlCol="0" anchor="ctr"/>
            <a:lstStyle/>
            <a:p>
              <a:endParaRPr lang="zh-CN" altLang="en-US"/>
            </a:p>
          </p:txBody>
        </p:sp>
        <p:sp>
          <p:nvSpPr>
            <p:cNvPr id="416" name="任意多边形: 形状 415"/>
            <p:cNvSpPr/>
            <p:nvPr/>
          </p:nvSpPr>
          <p:spPr>
            <a:xfrm>
              <a:off x="4939244" y="3686242"/>
              <a:ext cx="497416" cy="291318"/>
            </a:xfrm>
            <a:custGeom>
              <a:avLst/>
              <a:gdLst>
                <a:gd name="connsiteX0" fmla="*/ 2957 w 497416"/>
                <a:gd name="connsiteY0" fmla="*/ 291098 h 291318"/>
                <a:gd name="connsiteX1" fmla="*/ -13 w 497416"/>
                <a:gd name="connsiteY1" fmla="*/ 289270 h 291318"/>
                <a:gd name="connsiteX2" fmla="*/ 1130 w 497416"/>
                <a:gd name="connsiteY2" fmla="*/ 284702 h 291318"/>
                <a:gd name="connsiteX3" fmla="*/ 491769 w 497416"/>
                <a:gd name="connsiteY3" fmla="*/ 323 h 291318"/>
                <a:gd name="connsiteX4" fmla="*/ 496497 w 497416"/>
                <a:gd name="connsiteY4" fmla="*/ 1351 h 291318"/>
                <a:gd name="connsiteX5" fmla="*/ 496566 w 497416"/>
                <a:gd name="connsiteY5" fmla="*/ 1465 h 291318"/>
                <a:gd name="connsiteX6" fmla="*/ 495196 w 497416"/>
                <a:gd name="connsiteY6" fmla="*/ 6262 h 291318"/>
                <a:gd name="connsiteX7" fmla="*/ 4785 w 497416"/>
                <a:gd name="connsiteY7" fmla="*/ 290642 h 291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7416" h="291318">
                  <a:moveTo>
                    <a:pt x="2957" y="291098"/>
                  </a:moveTo>
                  <a:cubicBezTo>
                    <a:pt x="1724" y="291030"/>
                    <a:pt x="604" y="290345"/>
                    <a:pt x="-13" y="289270"/>
                  </a:cubicBezTo>
                  <a:cubicBezTo>
                    <a:pt x="-904" y="287694"/>
                    <a:pt x="-401" y="285685"/>
                    <a:pt x="1130" y="284702"/>
                  </a:cubicBezTo>
                  <a:lnTo>
                    <a:pt x="491769" y="323"/>
                  </a:lnTo>
                  <a:cubicBezTo>
                    <a:pt x="493368" y="-705"/>
                    <a:pt x="495493" y="-225"/>
                    <a:pt x="496497" y="1351"/>
                  </a:cubicBezTo>
                  <a:cubicBezTo>
                    <a:pt x="496520" y="1396"/>
                    <a:pt x="496543" y="1419"/>
                    <a:pt x="496566" y="1465"/>
                  </a:cubicBezTo>
                  <a:cubicBezTo>
                    <a:pt x="497434" y="3178"/>
                    <a:pt x="496840" y="5280"/>
                    <a:pt x="495196" y="6262"/>
                  </a:cubicBezTo>
                  <a:lnTo>
                    <a:pt x="4785" y="290642"/>
                  </a:lnTo>
                  <a:close/>
                </a:path>
              </a:pathLst>
            </a:custGeom>
            <a:solidFill>
              <a:srgbClr val="5A43DB"/>
            </a:solidFill>
            <a:ln w="22838" cap="flat">
              <a:noFill/>
              <a:prstDash val="solid"/>
              <a:miter/>
            </a:ln>
          </p:spPr>
          <p:txBody>
            <a:bodyPr rtlCol="0" anchor="ctr"/>
            <a:lstStyle/>
            <a:p>
              <a:endParaRPr lang="zh-CN" altLang="en-US"/>
            </a:p>
          </p:txBody>
        </p:sp>
        <p:sp>
          <p:nvSpPr>
            <p:cNvPr id="417" name="任意多边形: 形状 416"/>
            <p:cNvSpPr/>
            <p:nvPr/>
          </p:nvSpPr>
          <p:spPr>
            <a:xfrm>
              <a:off x="4939224" y="2963156"/>
              <a:ext cx="497437" cy="291235"/>
            </a:xfrm>
            <a:custGeom>
              <a:avLst/>
              <a:gdLst>
                <a:gd name="connsiteX0" fmla="*/ 2977 w 497437"/>
                <a:gd name="connsiteY0" fmla="*/ 291015 h 291235"/>
                <a:gd name="connsiteX1" fmla="*/ 7 w 497437"/>
                <a:gd name="connsiteY1" fmla="*/ 289416 h 291235"/>
                <a:gd name="connsiteX2" fmla="*/ 1150 w 497437"/>
                <a:gd name="connsiteY2" fmla="*/ 284620 h 291235"/>
                <a:gd name="connsiteX3" fmla="*/ 491789 w 497437"/>
                <a:gd name="connsiteY3" fmla="*/ 240 h 291235"/>
                <a:gd name="connsiteX4" fmla="*/ 496587 w 497437"/>
                <a:gd name="connsiteY4" fmla="*/ 1383 h 291235"/>
                <a:gd name="connsiteX5" fmla="*/ 495216 w 497437"/>
                <a:gd name="connsiteY5" fmla="*/ 6179 h 291235"/>
                <a:gd name="connsiteX6" fmla="*/ 4805 w 497437"/>
                <a:gd name="connsiteY6" fmla="*/ 291015 h 291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7437" h="291235">
                  <a:moveTo>
                    <a:pt x="2977" y="291015"/>
                  </a:moveTo>
                  <a:cubicBezTo>
                    <a:pt x="1789" y="290969"/>
                    <a:pt x="693" y="290375"/>
                    <a:pt x="7" y="289416"/>
                  </a:cubicBezTo>
                  <a:cubicBezTo>
                    <a:pt x="-906" y="287772"/>
                    <a:pt x="-426" y="285693"/>
                    <a:pt x="1150" y="284620"/>
                  </a:cubicBezTo>
                  <a:lnTo>
                    <a:pt x="491789" y="240"/>
                  </a:lnTo>
                  <a:cubicBezTo>
                    <a:pt x="493434" y="-673"/>
                    <a:pt x="495513" y="-193"/>
                    <a:pt x="496587" y="1383"/>
                  </a:cubicBezTo>
                  <a:cubicBezTo>
                    <a:pt x="497454" y="3095"/>
                    <a:pt x="496861" y="5197"/>
                    <a:pt x="495216" y="6179"/>
                  </a:cubicBezTo>
                  <a:lnTo>
                    <a:pt x="4805" y="291015"/>
                  </a:lnTo>
                  <a:close/>
                </a:path>
              </a:pathLst>
            </a:custGeom>
            <a:solidFill>
              <a:srgbClr val="5A43DB"/>
            </a:solidFill>
            <a:ln w="22838" cap="flat">
              <a:noFill/>
              <a:prstDash val="solid"/>
              <a:miter/>
            </a:ln>
          </p:spPr>
          <p:txBody>
            <a:bodyPr rtlCol="0" anchor="ctr"/>
            <a:lstStyle/>
            <a:p>
              <a:endParaRPr lang="zh-CN" altLang="en-US"/>
            </a:p>
          </p:txBody>
        </p:sp>
        <p:sp>
          <p:nvSpPr>
            <p:cNvPr id="418" name="任意多边形: 形状 417"/>
            <p:cNvSpPr/>
            <p:nvPr/>
          </p:nvSpPr>
          <p:spPr>
            <a:xfrm>
              <a:off x="4939244" y="3534032"/>
              <a:ext cx="830748" cy="484642"/>
            </a:xfrm>
            <a:custGeom>
              <a:avLst/>
              <a:gdLst>
                <a:gd name="connsiteX0" fmla="*/ 2957 w 830748"/>
                <a:gd name="connsiteY0" fmla="*/ 484422 h 484642"/>
                <a:gd name="connsiteX1" fmla="*/ -13 w 830748"/>
                <a:gd name="connsiteY1" fmla="*/ 482595 h 484642"/>
                <a:gd name="connsiteX2" fmla="*/ 1130 w 830748"/>
                <a:gd name="connsiteY2" fmla="*/ 478027 h 484642"/>
                <a:gd name="connsiteX3" fmla="*/ 825030 w 830748"/>
                <a:gd name="connsiteY3" fmla="*/ 178 h 484642"/>
                <a:gd name="connsiteX4" fmla="*/ 829827 w 830748"/>
                <a:gd name="connsiteY4" fmla="*/ 1549 h 484642"/>
                <a:gd name="connsiteX5" fmla="*/ 828776 w 830748"/>
                <a:gd name="connsiteY5" fmla="*/ 5957 h 484642"/>
                <a:gd name="connsiteX6" fmla="*/ 828456 w 830748"/>
                <a:gd name="connsiteY6" fmla="*/ 6117 h 484642"/>
                <a:gd name="connsiteX7" fmla="*/ 4785 w 830748"/>
                <a:gd name="connsiteY7" fmla="*/ 483966 h 484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30748" h="484642">
                  <a:moveTo>
                    <a:pt x="2957" y="484422"/>
                  </a:moveTo>
                  <a:cubicBezTo>
                    <a:pt x="1724" y="484354"/>
                    <a:pt x="604" y="483669"/>
                    <a:pt x="-13" y="482595"/>
                  </a:cubicBezTo>
                  <a:cubicBezTo>
                    <a:pt x="-904" y="481019"/>
                    <a:pt x="-401" y="479009"/>
                    <a:pt x="1130" y="478027"/>
                  </a:cubicBezTo>
                  <a:lnTo>
                    <a:pt x="825030" y="178"/>
                  </a:lnTo>
                  <a:cubicBezTo>
                    <a:pt x="826743" y="-690"/>
                    <a:pt x="828844" y="-96"/>
                    <a:pt x="829827" y="1549"/>
                  </a:cubicBezTo>
                  <a:cubicBezTo>
                    <a:pt x="830740" y="3056"/>
                    <a:pt x="830284" y="5020"/>
                    <a:pt x="828776" y="5957"/>
                  </a:cubicBezTo>
                  <a:cubicBezTo>
                    <a:pt x="828661" y="6003"/>
                    <a:pt x="828571" y="6072"/>
                    <a:pt x="828456" y="6117"/>
                  </a:cubicBezTo>
                  <a:lnTo>
                    <a:pt x="4785" y="483966"/>
                  </a:lnTo>
                  <a:close/>
                </a:path>
              </a:pathLst>
            </a:custGeom>
            <a:solidFill>
              <a:srgbClr val="5A43DB"/>
            </a:solidFill>
            <a:ln w="22838" cap="flat">
              <a:noFill/>
              <a:prstDash val="solid"/>
              <a:miter/>
            </a:ln>
          </p:spPr>
          <p:txBody>
            <a:bodyPr rtlCol="0" anchor="ctr"/>
            <a:lstStyle/>
            <a:p>
              <a:endParaRPr lang="zh-CN" altLang="en-US"/>
            </a:p>
          </p:txBody>
        </p:sp>
        <p:sp>
          <p:nvSpPr>
            <p:cNvPr id="419" name="任意多边形: 形状 418"/>
            <p:cNvSpPr/>
            <p:nvPr/>
          </p:nvSpPr>
          <p:spPr>
            <a:xfrm>
              <a:off x="4140225" y="3761020"/>
              <a:ext cx="111924" cy="111696"/>
            </a:xfrm>
            <a:custGeom>
              <a:avLst/>
              <a:gdLst>
                <a:gd name="connsiteX0" fmla="*/ 55510 w 111924"/>
                <a:gd name="connsiteY0" fmla="*/ 111476 h 111696"/>
                <a:gd name="connsiteX1" fmla="*/ -453 w 111924"/>
                <a:gd name="connsiteY1" fmla="*/ 55743 h 111696"/>
                <a:gd name="connsiteX2" fmla="*/ 55510 w 111924"/>
                <a:gd name="connsiteY2" fmla="*/ -220 h 111696"/>
                <a:gd name="connsiteX3" fmla="*/ 111472 w 111924"/>
                <a:gd name="connsiteY3" fmla="*/ 55743 h 111696"/>
                <a:gd name="connsiteX4" fmla="*/ 9826 w 111924"/>
                <a:gd name="connsiteY4" fmla="*/ 55743 h 111696"/>
                <a:gd name="connsiteX5" fmla="*/ 55510 w 111924"/>
                <a:gd name="connsiteY5" fmla="*/ 101426 h 111696"/>
                <a:gd name="connsiteX6" fmla="*/ 101193 w 111924"/>
                <a:gd name="connsiteY6" fmla="*/ 55743 h 111696"/>
                <a:gd name="connsiteX7" fmla="*/ 55510 w 111924"/>
                <a:gd name="connsiteY7" fmla="*/ 10059 h 111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924" h="111696">
                  <a:moveTo>
                    <a:pt x="55510" y="111476"/>
                  </a:moveTo>
                  <a:lnTo>
                    <a:pt x="-453" y="55743"/>
                  </a:lnTo>
                  <a:lnTo>
                    <a:pt x="55510" y="-220"/>
                  </a:lnTo>
                  <a:lnTo>
                    <a:pt x="111472" y="55743"/>
                  </a:lnTo>
                  <a:close/>
                  <a:moveTo>
                    <a:pt x="9826" y="55743"/>
                  </a:moveTo>
                  <a:lnTo>
                    <a:pt x="55510" y="101426"/>
                  </a:lnTo>
                  <a:lnTo>
                    <a:pt x="101193" y="55743"/>
                  </a:lnTo>
                  <a:lnTo>
                    <a:pt x="55510" y="10059"/>
                  </a:lnTo>
                  <a:close/>
                </a:path>
              </a:pathLst>
            </a:custGeom>
            <a:solidFill>
              <a:srgbClr val="A2B7E8"/>
            </a:solidFill>
            <a:ln w="22838" cap="flat">
              <a:noFill/>
              <a:prstDash val="solid"/>
              <a:miter/>
            </a:ln>
          </p:spPr>
          <p:txBody>
            <a:bodyPr rtlCol="0" anchor="ctr"/>
            <a:lstStyle/>
            <a:p>
              <a:endParaRPr lang="zh-CN" altLang="en-US"/>
            </a:p>
          </p:txBody>
        </p:sp>
        <p:sp>
          <p:nvSpPr>
            <p:cNvPr id="420" name="任意多边形: 形状 419"/>
            <p:cNvSpPr/>
            <p:nvPr/>
          </p:nvSpPr>
          <p:spPr>
            <a:xfrm>
              <a:off x="7479453" y="1938938"/>
              <a:ext cx="111696" cy="111695"/>
            </a:xfrm>
            <a:custGeom>
              <a:avLst/>
              <a:gdLst>
                <a:gd name="connsiteX0" fmla="*/ 55510 w 111696"/>
                <a:gd name="connsiteY0" fmla="*/ 111476 h 111695"/>
                <a:gd name="connsiteX1" fmla="*/ -453 w 111696"/>
                <a:gd name="connsiteY1" fmla="*/ 55742 h 111695"/>
                <a:gd name="connsiteX2" fmla="*/ 55510 w 111696"/>
                <a:gd name="connsiteY2" fmla="*/ -220 h 111695"/>
                <a:gd name="connsiteX3" fmla="*/ 111244 w 111696"/>
                <a:gd name="connsiteY3" fmla="*/ 55742 h 111695"/>
                <a:gd name="connsiteX4" fmla="*/ 9826 w 111696"/>
                <a:gd name="connsiteY4" fmla="*/ 55742 h 111695"/>
                <a:gd name="connsiteX5" fmla="*/ 55510 w 111696"/>
                <a:gd name="connsiteY5" fmla="*/ 101426 h 111695"/>
                <a:gd name="connsiteX6" fmla="*/ 101193 w 111696"/>
                <a:gd name="connsiteY6" fmla="*/ 55742 h 111695"/>
                <a:gd name="connsiteX7" fmla="*/ 55510 w 111696"/>
                <a:gd name="connsiteY7" fmla="*/ 10059 h 111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696" h="111695">
                  <a:moveTo>
                    <a:pt x="55510" y="111476"/>
                  </a:moveTo>
                  <a:lnTo>
                    <a:pt x="-453" y="55742"/>
                  </a:lnTo>
                  <a:lnTo>
                    <a:pt x="55510" y="-220"/>
                  </a:lnTo>
                  <a:lnTo>
                    <a:pt x="111244" y="55742"/>
                  </a:lnTo>
                  <a:close/>
                  <a:moveTo>
                    <a:pt x="9826" y="55742"/>
                  </a:moveTo>
                  <a:lnTo>
                    <a:pt x="55510" y="101426"/>
                  </a:lnTo>
                  <a:lnTo>
                    <a:pt x="101193" y="55742"/>
                  </a:lnTo>
                  <a:lnTo>
                    <a:pt x="55510" y="10059"/>
                  </a:lnTo>
                  <a:close/>
                </a:path>
              </a:pathLst>
            </a:custGeom>
            <a:solidFill>
              <a:srgbClr val="A2B7E8"/>
            </a:solidFill>
            <a:ln w="22838" cap="flat">
              <a:noFill/>
              <a:prstDash val="solid"/>
              <a:miter/>
            </a:ln>
          </p:spPr>
          <p:txBody>
            <a:bodyPr rtlCol="0" anchor="ctr"/>
            <a:lstStyle/>
            <a:p>
              <a:endParaRPr lang="zh-CN" altLang="en-US"/>
            </a:p>
          </p:txBody>
        </p:sp>
        <p:sp>
          <p:nvSpPr>
            <p:cNvPr id="421" name="任意多边形: 形状 420"/>
            <p:cNvSpPr/>
            <p:nvPr/>
          </p:nvSpPr>
          <p:spPr>
            <a:xfrm rot="20720999">
              <a:off x="5417308" y="1881744"/>
              <a:ext cx="81773" cy="81773"/>
            </a:xfrm>
            <a:custGeom>
              <a:avLst/>
              <a:gdLst>
                <a:gd name="connsiteX0" fmla="*/ 81320 w 81773"/>
                <a:gd name="connsiteY0" fmla="*/ 40667 h 81773"/>
                <a:gd name="connsiteX1" fmla="*/ 40434 w 81773"/>
                <a:gd name="connsiteY1" fmla="*/ 81553 h 81773"/>
                <a:gd name="connsiteX2" fmla="*/ -453 w 81773"/>
                <a:gd name="connsiteY2" fmla="*/ 40667 h 81773"/>
                <a:gd name="connsiteX3" fmla="*/ 40434 w 81773"/>
                <a:gd name="connsiteY3" fmla="*/ -220 h 81773"/>
                <a:gd name="connsiteX4" fmla="*/ 81320 w 81773"/>
                <a:gd name="connsiteY4" fmla="*/ 40667 h 817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773" h="81773">
                  <a:moveTo>
                    <a:pt x="81320" y="40667"/>
                  </a:moveTo>
                  <a:cubicBezTo>
                    <a:pt x="81320" y="63248"/>
                    <a:pt x="63015" y="81553"/>
                    <a:pt x="40434" y="81553"/>
                  </a:cubicBezTo>
                  <a:cubicBezTo>
                    <a:pt x="17853" y="81553"/>
                    <a:pt x="-453" y="63248"/>
                    <a:pt x="-453" y="40667"/>
                  </a:cubicBezTo>
                  <a:cubicBezTo>
                    <a:pt x="-453" y="18086"/>
                    <a:pt x="17853" y="-220"/>
                    <a:pt x="40434" y="-220"/>
                  </a:cubicBezTo>
                  <a:cubicBezTo>
                    <a:pt x="63015" y="-220"/>
                    <a:pt x="81320" y="18086"/>
                    <a:pt x="81320" y="40667"/>
                  </a:cubicBezTo>
                  <a:close/>
                </a:path>
              </a:pathLst>
            </a:custGeom>
            <a:solidFill>
              <a:srgbClr val="33E7D2"/>
            </a:solidFill>
            <a:ln w="22838" cap="flat">
              <a:noFill/>
              <a:prstDash val="solid"/>
              <a:miter/>
            </a:ln>
          </p:spPr>
          <p:txBody>
            <a:bodyPr rtlCol="0" anchor="ctr"/>
            <a:lstStyle/>
            <a:p>
              <a:endParaRPr lang="zh-CN" altLang="en-US"/>
            </a:p>
          </p:txBody>
        </p:sp>
        <p:sp>
          <p:nvSpPr>
            <p:cNvPr id="422" name="任意多边形: 形状 421"/>
            <p:cNvSpPr/>
            <p:nvPr/>
          </p:nvSpPr>
          <p:spPr>
            <a:xfrm>
              <a:off x="5062839" y="4546978"/>
              <a:ext cx="81766" cy="81783"/>
            </a:xfrm>
            <a:custGeom>
              <a:avLst/>
              <a:gdLst>
                <a:gd name="connsiteX0" fmla="*/ 81283 w 81766"/>
                <a:gd name="connsiteY0" fmla="*/ 39093 h 81783"/>
                <a:gd name="connsiteX1" fmla="*/ 41995 w 81766"/>
                <a:gd name="connsiteY1" fmla="*/ 81533 h 81783"/>
                <a:gd name="connsiteX2" fmla="*/ -422 w 81766"/>
                <a:gd name="connsiteY2" fmla="*/ 42245 h 81783"/>
                <a:gd name="connsiteX3" fmla="*/ 38843 w 81766"/>
                <a:gd name="connsiteY3" fmla="*/ -195 h 81783"/>
                <a:gd name="connsiteX4" fmla="*/ 39026 w 81766"/>
                <a:gd name="connsiteY4" fmla="*/ -195 h 81783"/>
                <a:gd name="connsiteX5" fmla="*/ 81283 w 81766"/>
                <a:gd name="connsiteY5" fmla="*/ 39093 h 81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766" h="81783">
                  <a:moveTo>
                    <a:pt x="81283" y="39093"/>
                  </a:moveTo>
                  <a:cubicBezTo>
                    <a:pt x="82151" y="61660"/>
                    <a:pt x="64563" y="80665"/>
                    <a:pt x="41995" y="81533"/>
                  </a:cubicBezTo>
                  <a:cubicBezTo>
                    <a:pt x="19428" y="82400"/>
                    <a:pt x="446" y="64813"/>
                    <a:pt x="-422" y="42245"/>
                  </a:cubicBezTo>
                  <a:cubicBezTo>
                    <a:pt x="-1290" y="19677"/>
                    <a:pt x="16276" y="673"/>
                    <a:pt x="38843" y="-195"/>
                  </a:cubicBezTo>
                  <a:cubicBezTo>
                    <a:pt x="38912" y="-195"/>
                    <a:pt x="38957" y="-195"/>
                    <a:pt x="39026" y="-195"/>
                  </a:cubicBezTo>
                  <a:cubicBezTo>
                    <a:pt x="61525" y="-972"/>
                    <a:pt x="80415" y="16594"/>
                    <a:pt x="81283" y="39093"/>
                  </a:cubicBezTo>
                  <a:close/>
                </a:path>
              </a:pathLst>
            </a:custGeom>
            <a:solidFill>
              <a:srgbClr val="FF70E9"/>
            </a:solidFill>
            <a:ln w="22838" cap="flat">
              <a:noFill/>
              <a:prstDash val="solid"/>
              <a:miter/>
            </a:ln>
          </p:spPr>
          <p:txBody>
            <a:bodyPr rtlCol="0" anchor="ctr"/>
            <a:lstStyle/>
            <a:p>
              <a:endParaRPr lang="zh-CN" altLang="en-US"/>
            </a:p>
          </p:txBody>
        </p:sp>
        <p:sp>
          <p:nvSpPr>
            <p:cNvPr id="423" name="任意多边形: 形状 422"/>
            <p:cNvSpPr/>
            <p:nvPr/>
          </p:nvSpPr>
          <p:spPr>
            <a:xfrm>
              <a:off x="6161487" y="2966358"/>
              <a:ext cx="6853" cy="307449"/>
            </a:xfrm>
            <a:custGeom>
              <a:avLst/>
              <a:gdLst>
                <a:gd name="connsiteX0" fmla="*/ 2974 w 6853"/>
                <a:gd name="connsiteY0" fmla="*/ 307229 h 307449"/>
                <a:gd name="connsiteX1" fmla="*/ -453 w 6853"/>
                <a:gd name="connsiteY1" fmla="*/ 303803 h 307449"/>
                <a:gd name="connsiteX2" fmla="*/ -453 w 6853"/>
                <a:gd name="connsiteY2" fmla="*/ 3206 h 307449"/>
                <a:gd name="connsiteX3" fmla="*/ 2974 w 6853"/>
                <a:gd name="connsiteY3" fmla="*/ -220 h 307449"/>
                <a:gd name="connsiteX4" fmla="*/ 6401 w 6853"/>
                <a:gd name="connsiteY4" fmla="*/ 3206 h 307449"/>
                <a:gd name="connsiteX5" fmla="*/ 6401 w 6853"/>
                <a:gd name="connsiteY5" fmla="*/ 303803 h 307449"/>
                <a:gd name="connsiteX6" fmla="*/ 2974 w 6853"/>
                <a:gd name="connsiteY6" fmla="*/ 307229 h 307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53" h="307449">
                  <a:moveTo>
                    <a:pt x="2974" y="307229"/>
                  </a:moveTo>
                  <a:cubicBezTo>
                    <a:pt x="1078" y="307229"/>
                    <a:pt x="-453" y="305698"/>
                    <a:pt x="-453" y="303803"/>
                  </a:cubicBezTo>
                  <a:lnTo>
                    <a:pt x="-453" y="3206"/>
                  </a:lnTo>
                  <a:cubicBezTo>
                    <a:pt x="-453" y="1310"/>
                    <a:pt x="1078" y="-220"/>
                    <a:pt x="2974" y="-220"/>
                  </a:cubicBezTo>
                  <a:cubicBezTo>
                    <a:pt x="4870" y="-220"/>
                    <a:pt x="6401" y="1310"/>
                    <a:pt x="6401" y="3206"/>
                  </a:cubicBezTo>
                  <a:lnTo>
                    <a:pt x="6401" y="303803"/>
                  </a:lnTo>
                  <a:cubicBezTo>
                    <a:pt x="6401" y="305698"/>
                    <a:pt x="4870" y="307229"/>
                    <a:pt x="2974" y="307229"/>
                  </a:cubicBezTo>
                  <a:close/>
                </a:path>
              </a:pathLst>
            </a:custGeom>
            <a:solidFill>
              <a:srgbClr val="211155"/>
            </a:solidFill>
            <a:ln w="22838" cap="flat">
              <a:noFill/>
              <a:prstDash val="solid"/>
              <a:miter/>
            </a:ln>
          </p:spPr>
          <p:txBody>
            <a:bodyPr rtlCol="0" anchor="ctr"/>
            <a:lstStyle/>
            <a:p>
              <a:endParaRPr lang="zh-CN" altLang="en-US"/>
            </a:p>
          </p:txBody>
        </p:sp>
        <p:sp>
          <p:nvSpPr>
            <p:cNvPr id="424" name="任意多边形: 形状 423"/>
            <p:cNvSpPr/>
            <p:nvPr/>
          </p:nvSpPr>
          <p:spPr>
            <a:xfrm>
              <a:off x="6276838" y="3060693"/>
              <a:ext cx="6975" cy="152360"/>
            </a:xfrm>
            <a:custGeom>
              <a:avLst/>
              <a:gdLst>
                <a:gd name="connsiteX0" fmla="*/ 2973 w 6975"/>
                <a:gd name="connsiteY0" fmla="*/ 152135 h 152360"/>
                <a:gd name="connsiteX1" fmla="*/ -453 w 6975"/>
                <a:gd name="connsiteY1" fmla="*/ 148708 h 152360"/>
                <a:gd name="connsiteX2" fmla="*/ -453 w 6975"/>
                <a:gd name="connsiteY2" fmla="*/ 3207 h 152360"/>
                <a:gd name="connsiteX3" fmla="*/ 2973 w 6975"/>
                <a:gd name="connsiteY3" fmla="*/ -220 h 152360"/>
                <a:gd name="connsiteX4" fmla="*/ 6400 w 6975"/>
                <a:gd name="connsiteY4" fmla="*/ 3207 h 152360"/>
                <a:gd name="connsiteX5" fmla="*/ 6400 w 6975"/>
                <a:gd name="connsiteY5" fmla="*/ 147795 h 152360"/>
                <a:gd name="connsiteX6" fmla="*/ 4024 w 6975"/>
                <a:gd name="connsiteY6" fmla="*/ 152020 h 152360"/>
                <a:gd name="connsiteX7" fmla="*/ 2973 w 6975"/>
                <a:gd name="connsiteY7" fmla="*/ 152135 h 152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75" h="152360">
                  <a:moveTo>
                    <a:pt x="2973" y="152135"/>
                  </a:moveTo>
                  <a:cubicBezTo>
                    <a:pt x="1077" y="152135"/>
                    <a:pt x="-453" y="150604"/>
                    <a:pt x="-453" y="148708"/>
                  </a:cubicBezTo>
                  <a:lnTo>
                    <a:pt x="-453" y="3207"/>
                  </a:lnTo>
                  <a:cubicBezTo>
                    <a:pt x="-453" y="1311"/>
                    <a:pt x="1077" y="-220"/>
                    <a:pt x="2973" y="-220"/>
                  </a:cubicBezTo>
                  <a:cubicBezTo>
                    <a:pt x="4869" y="-220"/>
                    <a:pt x="6400" y="1311"/>
                    <a:pt x="6400" y="3207"/>
                  </a:cubicBezTo>
                  <a:lnTo>
                    <a:pt x="6400" y="147795"/>
                  </a:lnTo>
                  <a:cubicBezTo>
                    <a:pt x="6902" y="149622"/>
                    <a:pt x="5828" y="151518"/>
                    <a:pt x="4024" y="152020"/>
                  </a:cubicBezTo>
                  <a:cubicBezTo>
                    <a:pt x="3681" y="152112"/>
                    <a:pt x="3316" y="152158"/>
                    <a:pt x="2973" y="152135"/>
                  </a:cubicBezTo>
                  <a:close/>
                </a:path>
              </a:pathLst>
            </a:custGeom>
            <a:solidFill>
              <a:srgbClr val="211155"/>
            </a:solidFill>
            <a:ln w="22838" cap="flat">
              <a:noFill/>
              <a:prstDash val="solid"/>
              <a:miter/>
            </a:ln>
          </p:spPr>
          <p:txBody>
            <a:bodyPr rtlCol="0" anchor="ctr"/>
            <a:lstStyle/>
            <a:p>
              <a:endParaRPr lang="zh-CN" altLang="en-US"/>
            </a:p>
          </p:txBody>
        </p:sp>
        <p:sp>
          <p:nvSpPr>
            <p:cNvPr id="425" name="任意多边形: 形状 424"/>
            <p:cNvSpPr/>
            <p:nvPr/>
          </p:nvSpPr>
          <p:spPr>
            <a:xfrm>
              <a:off x="6391960" y="2797329"/>
              <a:ext cx="6852" cy="348335"/>
            </a:xfrm>
            <a:custGeom>
              <a:avLst/>
              <a:gdLst>
                <a:gd name="connsiteX0" fmla="*/ 2974 w 6852"/>
                <a:gd name="connsiteY0" fmla="*/ 348116 h 348335"/>
                <a:gd name="connsiteX1" fmla="*/ -453 w 6852"/>
                <a:gd name="connsiteY1" fmla="*/ 344690 h 348335"/>
                <a:gd name="connsiteX2" fmla="*/ -453 w 6852"/>
                <a:gd name="connsiteY2" fmla="*/ 3207 h 348335"/>
                <a:gd name="connsiteX3" fmla="*/ 2974 w 6852"/>
                <a:gd name="connsiteY3" fmla="*/ -220 h 348335"/>
                <a:gd name="connsiteX4" fmla="*/ 6400 w 6852"/>
                <a:gd name="connsiteY4" fmla="*/ 3207 h 348335"/>
                <a:gd name="connsiteX5" fmla="*/ 6400 w 6852"/>
                <a:gd name="connsiteY5" fmla="*/ 344690 h 348335"/>
                <a:gd name="connsiteX6" fmla="*/ 2974 w 6852"/>
                <a:gd name="connsiteY6" fmla="*/ 348116 h 348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52" h="348335">
                  <a:moveTo>
                    <a:pt x="2974" y="348116"/>
                  </a:moveTo>
                  <a:cubicBezTo>
                    <a:pt x="1078" y="348116"/>
                    <a:pt x="-453" y="346586"/>
                    <a:pt x="-453" y="344690"/>
                  </a:cubicBezTo>
                  <a:lnTo>
                    <a:pt x="-453" y="3207"/>
                  </a:lnTo>
                  <a:cubicBezTo>
                    <a:pt x="-453" y="1311"/>
                    <a:pt x="1078" y="-220"/>
                    <a:pt x="2974" y="-220"/>
                  </a:cubicBezTo>
                  <a:cubicBezTo>
                    <a:pt x="4869" y="-220"/>
                    <a:pt x="6400" y="1311"/>
                    <a:pt x="6400" y="3207"/>
                  </a:cubicBezTo>
                  <a:lnTo>
                    <a:pt x="6400" y="344690"/>
                  </a:lnTo>
                  <a:cubicBezTo>
                    <a:pt x="6400" y="346586"/>
                    <a:pt x="4869" y="348116"/>
                    <a:pt x="2974" y="348116"/>
                  </a:cubicBezTo>
                  <a:close/>
                </a:path>
              </a:pathLst>
            </a:custGeom>
            <a:solidFill>
              <a:srgbClr val="211155"/>
            </a:solidFill>
            <a:ln w="22838" cap="flat">
              <a:noFill/>
              <a:prstDash val="solid"/>
              <a:miter/>
            </a:ln>
          </p:spPr>
          <p:txBody>
            <a:bodyPr rtlCol="0" anchor="ctr"/>
            <a:lstStyle/>
            <a:p>
              <a:endParaRPr lang="zh-CN" altLang="en-US"/>
            </a:p>
          </p:txBody>
        </p:sp>
        <p:sp>
          <p:nvSpPr>
            <p:cNvPr id="426" name="任意多边形: 形状 425"/>
            <p:cNvSpPr/>
            <p:nvPr/>
          </p:nvSpPr>
          <p:spPr>
            <a:xfrm>
              <a:off x="6507310" y="2887782"/>
              <a:ext cx="6852" cy="189585"/>
            </a:xfrm>
            <a:custGeom>
              <a:avLst/>
              <a:gdLst>
                <a:gd name="connsiteX0" fmla="*/ 2974 w 6852"/>
                <a:gd name="connsiteY0" fmla="*/ 189366 h 189585"/>
                <a:gd name="connsiteX1" fmla="*/ -453 w 6852"/>
                <a:gd name="connsiteY1" fmla="*/ 185940 h 189585"/>
                <a:gd name="connsiteX2" fmla="*/ -453 w 6852"/>
                <a:gd name="connsiteY2" fmla="*/ 3206 h 189585"/>
                <a:gd name="connsiteX3" fmla="*/ 2974 w 6852"/>
                <a:gd name="connsiteY3" fmla="*/ -220 h 189585"/>
                <a:gd name="connsiteX4" fmla="*/ 6400 w 6852"/>
                <a:gd name="connsiteY4" fmla="*/ 3206 h 189585"/>
                <a:gd name="connsiteX5" fmla="*/ 6400 w 6852"/>
                <a:gd name="connsiteY5" fmla="*/ 185940 h 189585"/>
                <a:gd name="connsiteX6" fmla="*/ 2974 w 6852"/>
                <a:gd name="connsiteY6" fmla="*/ 189366 h 189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52" h="189585">
                  <a:moveTo>
                    <a:pt x="2974" y="189366"/>
                  </a:moveTo>
                  <a:cubicBezTo>
                    <a:pt x="1078" y="189366"/>
                    <a:pt x="-453" y="187836"/>
                    <a:pt x="-453" y="185940"/>
                  </a:cubicBezTo>
                  <a:lnTo>
                    <a:pt x="-453" y="3206"/>
                  </a:lnTo>
                  <a:cubicBezTo>
                    <a:pt x="-453" y="1310"/>
                    <a:pt x="1078" y="-220"/>
                    <a:pt x="2974" y="-220"/>
                  </a:cubicBezTo>
                  <a:cubicBezTo>
                    <a:pt x="4870" y="-220"/>
                    <a:pt x="6400" y="1310"/>
                    <a:pt x="6400" y="3206"/>
                  </a:cubicBezTo>
                  <a:lnTo>
                    <a:pt x="6400" y="185940"/>
                  </a:lnTo>
                  <a:cubicBezTo>
                    <a:pt x="6400" y="187836"/>
                    <a:pt x="4870" y="189366"/>
                    <a:pt x="2974" y="189366"/>
                  </a:cubicBezTo>
                  <a:close/>
                </a:path>
              </a:pathLst>
            </a:custGeom>
            <a:solidFill>
              <a:srgbClr val="211155"/>
            </a:solidFill>
            <a:ln w="22838" cap="flat">
              <a:noFill/>
              <a:prstDash val="solid"/>
              <a:miter/>
            </a:ln>
          </p:spPr>
          <p:txBody>
            <a:bodyPr rtlCol="0" anchor="ctr"/>
            <a:lstStyle/>
            <a:p>
              <a:endParaRPr lang="zh-CN" altLang="en-US"/>
            </a:p>
          </p:txBody>
        </p:sp>
        <p:sp>
          <p:nvSpPr>
            <p:cNvPr id="427" name="任意多边形: 形状 426"/>
            <p:cNvSpPr/>
            <p:nvPr/>
          </p:nvSpPr>
          <p:spPr>
            <a:xfrm>
              <a:off x="6622644" y="2574851"/>
              <a:ext cx="6870" cy="436286"/>
            </a:xfrm>
            <a:custGeom>
              <a:avLst/>
              <a:gdLst>
                <a:gd name="connsiteX0" fmla="*/ 2991 w 6870"/>
                <a:gd name="connsiteY0" fmla="*/ 436057 h 436286"/>
                <a:gd name="connsiteX1" fmla="*/ -436 w 6870"/>
                <a:gd name="connsiteY1" fmla="*/ 433110 h 436286"/>
                <a:gd name="connsiteX2" fmla="*/ -436 w 6870"/>
                <a:gd name="connsiteY2" fmla="*/ 432631 h 436286"/>
                <a:gd name="connsiteX3" fmla="*/ -436 w 6870"/>
                <a:gd name="connsiteY3" fmla="*/ 3206 h 436286"/>
                <a:gd name="connsiteX4" fmla="*/ 2991 w 6870"/>
                <a:gd name="connsiteY4" fmla="*/ -220 h 436286"/>
                <a:gd name="connsiteX5" fmla="*/ 6418 w 6870"/>
                <a:gd name="connsiteY5" fmla="*/ 3206 h 436286"/>
                <a:gd name="connsiteX6" fmla="*/ 6418 w 6870"/>
                <a:gd name="connsiteY6" fmla="*/ 432631 h 436286"/>
                <a:gd name="connsiteX7" fmla="*/ 2991 w 6870"/>
                <a:gd name="connsiteY7" fmla="*/ 436057 h 436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70" h="436286">
                  <a:moveTo>
                    <a:pt x="2991" y="436057"/>
                  </a:moveTo>
                  <a:cubicBezTo>
                    <a:pt x="1232" y="436193"/>
                    <a:pt x="-298" y="434869"/>
                    <a:pt x="-436" y="433110"/>
                  </a:cubicBezTo>
                  <a:cubicBezTo>
                    <a:pt x="-458" y="432950"/>
                    <a:pt x="-458" y="432790"/>
                    <a:pt x="-436" y="432631"/>
                  </a:cubicBezTo>
                  <a:lnTo>
                    <a:pt x="-436" y="3206"/>
                  </a:lnTo>
                  <a:cubicBezTo>
                    <a:pt x="-436" y="1310"/>
                    <a:pt x="1095" y="-220"/>
                    <a:pt x="2991" y="-220"/>
                  </a:cubicBezTo>
                  <a:cubicBezTo>
                    <a:pt x="4887" y="-220"/>
                    <a:pt x="6418" y="1310"/>
                    <a:pt x="6418" y="3206"/>
                  </a:cubicBezTo>
                  <a:lnTo>
                    <a:pt x="6418" y="432631"/>
                  </a:lnTo>
                  <a:cubicBezTo>
                    <a:pt x="6418" y="434526"/>
                    <a:pt x="4887" y="436057"/>
                    <a:pt x="2991" y="436057"/>
                  </a:cubicBezTo>
                  <a:close/>
                </a:path>
              </a:pathLst>
            </a:custGeom>
            <a:solidFill>
              <a:srgbClr val="211155"/>
            </a:solidFill>
            <a:ln w="22838" cap="flat">
              <a:noFill/>
              <a:prstDash val="solid"/>
              <a:miter/>
            </a:ln>
          </p:spPr>
          <p:txBody>
            <a:bodyPr rtlCol="0" anchor="ctr"/>
            <a:lstStyle/>
            <a:p>
              <a:endParaRPr lang="zh-CN" altLang="en-US"/>
            </a:p>
          </p:txBody>
        </p:sp>
        <p:sp>
          <p:nvSpPr>
            <p:cNvPr id="428" name="任意多边形: 形状 427"/>
            <p:cNvSpPr/>
            <p:nvPr/>
          </p:nvSpPr>
          <p:spPr>
            <a:xfrm>
              <a:off x="5675581" y="5263041"/>
              <a:ext cx="189584" cy="179424"/>
            </a:xfrm>
            <a:custGeom>
              <a:avLst/>
              <a:gdLst>
                <a:gd name="connsiteX0" fmla="*/ 3036 w 189584"/>
                <a:gd name="connsiteY0" fmla="*/ 178908 h 179424"/>
                <a:gd name="connsiteX1" fmla="*/ 524 w 189584"/>
                <a:gd name="connsiteY1" fmla="*/ 178908 h 179424"/>
                <a:gd name="connsiteX2" fmla="*/ 524 w 189584"/>
                <a:gd name="connsiteY2" fmla="*/ 174112 h 179424"/>
                <a:gd name="connsiteX3" fmla="*/ 183258 w 189584"/>
                <a:gd name="connsiteY3" fmla="*/ 743 h 179424"/>
                <a:gd name="connsiteX4" fmla="*/ 188169 w 189584"/>
                <a:gd name="connsiteY4" fmla="*/ 857 h 179424"/>
                <a:gd name="connsiteX5" fmla="*/ 188055 w 189584"/>
                <a:gd name="connsiteY5" fmla="*/ 5769 h 179424"/>
                <a:gd name="connsiteX6" fmla="*/ 5321 w 189584"/>
                <a:gd name="connsiteY6" fmla="*/ 179137 h 179424"/>
                <a:gd name="connsiteX7" fmla="*/ 3036 w 189584"/>
                <a:gd name="connsiteY7" fmla="*/ 178908 h 179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9584" h="179424">
                  <a:moveTo>
                    <a:pt x="3036" y="178908"/>
                  </a:moveTo>
                  <a:cubicBezTo>
                    <a:pt x="2214" y="179205"/>
                    <a:pt x="1347" y="179205"/>
                    <a:pt x="524" y="178908"/>
                  </a:cubicBezTo>
                  <a:cubicBezTo>
                    <a:pt x="-778" y="177583"/>
                    <a:pt x="-778" y="175436"/>
                    <a:pt x="524" y="174112"/>
                  </a:cubicBezTo>
                  <a:lnTo>
                    <a:pt x="183258" y="743"/>
                  </a:lnTo>
                  <a:cubicBezTo>
                    <a:pt x="184650" y="-582"/>
                    <a:pt x="186843" y="-536"/>
                    <a:pt x="188169" y="857"/>
                  </a:cubicBezTo>
                  <a:cubicBezTo>
                    <a:pt x="189494" y="2250"/>
                    <a:pt x="189448" y="4443"/>
                    <a:pt x="188055" y="5769"/>
                  </a:cubicBezTo>
                  <a:lnTo>
                    <a:pt x="5321" y="179137"/>
                  </a:lnTo>
                  <a:cubicBezTo>
                    <a:pt x="4545" y="179274"/>
                    <a:pt x="3768" y="179205"/>
                    <a:pt x="3036" y="178908"/>
                  </a:cubicBezTo>
                  <a:close/>
                </a:path>
              </a:pathLst>
            </a:custGeom>
            <a:solidFill>
              <a:srgbClr val="5A43DB"/>
            </a:solidFill>
            <a:ln w="22838" cap="flat">
              <a:noFill/>
              <a:prstDash val="solid"/>
              <a:miter/>
            </a:ln>
          </p:spPr>
          <p:txBody>
            <a:bodyPr rtlCol="0" anchor="ctr"/>
            <a:lstStyle/>
            <a:p>
              <a:endParaRPr lang="zh-CN" altLang="en-US"/>
            </a:p>
          </p:txBody>
        </p:sp>
        <p:sp>
          <p:nvSpPr>
            <p:cNvPr id="429" name="任意多边形: 形状 428"/>
            <p:cNvSpPr/>
            <p:nvPr/>
          </p:nvSpPr>
          <p:spPr>
            <a:xfrm>
              <a:off x="5717044" y="5368785"/>
              <a:ext cx="90020" cy="85947"/>
            </a:xfrm>
            <a:custGeom>
              <a:avLst/>
              <a:gdLst>
                <a:gd name="connsiteX0" fmla="*/ 3145 w 90020"/>
                <a:gd name="connsiteY0" fmla="*/ 85727 h 85947"/>
                <a:gd name="connsiteX1" fmla="*/ 633 w 90020"/>
                <a:gd name="connsiteY1" fmla="*/ 84586 h 85947"/>
                <a:gd name="connsiteX2" fmla="*/ 359 w 90020"/>
                <a:gd name="connsiteY2" fmla="*/ 80063 h 85947"/>
                <a:gd name="connsiteX3" fmla="*/ 633 w 90020"/>
                <a:gd name="connsiteY3" fmla="*/ 79789 h 85947"/>
                <a:gd name="connsiteX4" fmla="*/ 83777 w 90020"/>
                <a:gd name="connsiteY4" fmla="*/ 756 h 85947"/>
                <a:gd name="connsiteX5" fmla="*/ 88573 w 90020"/>
                <a:gd name="connsiteY5" fmla="*/ 756 h 85947"/>
                <a:gd name="connsiteX6" fmla="*/ 88573 w 90020"/>
                <a:gd name="connsiteY6" fmla="*/ 5781 h 85947"/>
                <a:gd name="connsiteX7" fmla="*/ 5430 w 90020"/>
                <a:gd name="connsiteY7" fmla="*/ 84586 h 85947"/>
                <a:gd name="connsiteX8" fmla="*/ 3145 w 90020"/>
                <a:gd name="connsiteY8" fmla="*/ 85727 h 85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0020" h="85947">
                  <a:moveTo>
                    <a:pt x="3145" y="85727"/>
                  </a:moveTo>
                  <a:cubicBezTo>
                    <a:pt x="2186" y="85682"/>
                    <a:pt x="1295" y="85271"/>
                    <a:pt x="633" y="84586"/>
                  </a:cubicBezTo>
                  <a:cubicBezTo>
                    <a:pt x="-691" y="83421"/>
                    <a:pt x="-829" y="81388"/>
                    <a:pt x="359" y="80063"/>
                  </a:cubicBezTo>
                  <a:cubicBezTo>
                    <a:pt x="427" y="79972"/>
                    <a:pt x="541" y="79880"/>
                    <a:pt x="633" y="79789"/>
                  </a:cubicBezTo>
                  <a:lnTo>
                    <a:pt x="83777" y="756"/>
                  </a:lnTo>
                  <a:cubicBezTo>
                    <a:pt x="85102" y="-545"/>
                    <a:pt x="87249" y="-545"/>
                    <a:pt x="88573" y="756"/>
                  </a:cubicBezTo>
                  <a:cubicBezTo>
                    <a:pt x="89899" y="2173"/>
                    <a:pt x="89899" y="4366"/>
                    <a:pt x="88573" y="5781"/>
                  </a:cubicBezTo>
                  <a:lnTo>
                    <a:pt x="5430" y="84586"/>
                  </a:lnTo>
                  <a:cubicBezTo>
                    <a:pt x="4859" y="85271"/>
                    <a:pt x="4036" y="85682"/>
                    <a:pt x="3145" y="85727"/>
                  </a:cubicBezTo>
                  <a:close/>
                </a:path>
              </a:pathLst>
            </a:custGeom>
            <a:solidFill>
              <a:srgbClr val="5A43DB"/>
            </a:solidFill>
            <a:ln w="22838" cap="flat">
              <a:noFill/>
              <a:prstDash val="solid"/>
              <a:miter/>
            </a:ln>
          </p:spPr>
          <p:txBody>
            <a:bodyPr rtlCol="0" anchor="ctr"/>
            <a:lstStyle/>
            <a:p>
              <a:endParaRPr lang="zh-CN" altLang="en-US"/>
            </a:p>
          </p:txBody>
        </p:sp>
        <p:sp>
          <p:nvSpPr>
            <p:cNvPr id="430" name="任意多边形: 形状 429"/>
            <p:cNvSpPr/>
            <p:nvPr/>
          </p:nvSpPr>
          <p:spPr>
            <a:xfrm>
              <a:off x="5857857" y="5286616"/>
              <a:ext cx="90289" cy="86342"/>
            </a:xfrm>
            <a:custGeom>
              <a:avLst/>
              <a:gdLst>
                <a:gd name="connsiteX0" fmla="*/ 3038 w 90289"/>
                <a:gd name="connsiteY0" fmla="*/ 86123 h 86342"/>
                <a:gd name="connsiteX1" fmla="*/ 524 w 90289"/>
                <a:gd name="connsiteY1" fmla="*/ 84981 h 86342"/>
                <a:gd name="connsiteX2" fmla="*/ 524 w 90289"/>
                <a:gd name="connsiteY2" fmla="*/ 80184 h 86342"/>
                <a:gd name="connsiteX3" fmla="*/ 83668 w 90289"/>
                <a:gd name="connsiteY3" fmla="*/ 1152 h 86342"/>
                <a:gd name="connsiteX4" fmla="*/ 88465 w 90289"/>
                <a:gd name="connsiteY4" fmla="*/ 467 h 86342"/>
                <a:gd name="connsiteX5" fmla="*/ 89150 w 90289"/>
                <a:gd name="connsiteY5" fmla="*/ 5263 h 86342"/>
                <a:gd name="connsiteX6" fmla="*/ 88465 w 90289"/>
                <a:gd name="connsiteY6" fmla="*/ 5948 h 86342"/>
                <a:gd name="connsiteX7" fmla="*/ 5321 w 90289"/>
                <a:gd name="connsiteY7" fmla="*/ 84981 h 86342"/>
                <a:gd name="connsiteX8" fmla="*/ 3038 w 90289"/>
                <a:gd name="connsiteY8" fmla="*/ 86123 h 86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0289" h="86342">
                  <a:moveTo>
                    <a:pt x="3038" y="86123"/>
                  </a:moveTo>
                  <a:cubicBezTo>
                    <a:pt x="2077" y="86077"/>
                    <a:pt x="1186" y="85666"/>
                    <a:pt x="524" y="84981"/>
                  </a:cubicBezTo>
                  <a:cubicBezTo>
                    <a:pt x="-778" y="83656"/>
                    <a:pt x="-778" y="81509"/>
                    <a:pt x="524" y="80184"/>
                  </a:cubicBezTo>
                  <a:lnTo>
                    <a:pt x="83668" y="1152"/>
                  </a:lnTo>
                  <a:cubicBezTo>
                    <a:pt x="84810" y="-356"/>
                    <a:pt x="86957" y="-675"/>
                    <a:pt x="88465" y="467"/>
                  </a:cubicBezTo>
                  <a:cubicBezTo>
                    <a:pt x="89972" y="1608"/>
                    <a:pt x="90292" y="3756"/>
                    <a:pt x="89150" y="5263"/>
                  </a:cubicBezTo>
                  <a:cubicBezTo>
                    <a:pt x="88945" y="5515"/>
                    <a:pt x="88716" y="5743"/>
                    <a:pt x="88465" y="5948"/>
                  </a:cubicBezTo>
                  <a:lnTo>
                    <a:pt x="5321" y="84981"/>
                  </a:lnTo>
                  <a:cubicBezTo>
                    <a:pt x="4727" y="85620"/>
                    <a:pt x="3905" y="86032"/>
                    <a:pt x="3038" y="86123"/>
                  </a:cubicBezTo>
                  <a:close/>
                </a:path>
              </a:pathLst>
            </a:custGeom>
            <a:solidFill>
              <a:srgbClr val="5A43DB"/>
            </a:solidFill>
            <a:ln w="22838" cap="flat">
              <a:noFill/>
              <a:prstDash val="solid"/>
              <a:miter/>
            </a:ln>
          </p:spPr>
          <p:txBody>
            <a:bodyPr rtlCol="0" anchor="ctr"/>
            <a:lstStyle/>
            <a:p>
              <a:endParaRPr lang="zh-CN" altLang="en-US"/>
            </a:p>
          </p:txBody>
        </p:sp>
        <p:sp>
          <p:nvSpPr>
            <p:cNvPr id="431" name="任意多边形: 形状 430"/>
            <p:cNvSpPr/>
            <p:nvPr/>
          </p:nvSpPr>
          <p:spPr>
            <a:xfrm>
              <a:off x="5800279" y="5300778"/>
              <a:ext cx="189209" cy="179091"/>
            </a:xfrm>
            <a:custGeom>
              <a:avLst/>
              <a:gdLst>
                <a:gd name="connsiteX0" fmla="*/ 3054 w 189209"/>
                <a:gd name="connsiteY0" fmla="*/ 178632 h 179091"/>
                <a:gd name="connsiteX1" fmla="*/ 542 w 189209"/>
                <a:gd name="connsiteY1" fmla="*/ 178632 h 179091"/>
                <a:gd name="connsiteX2" fmla="*/ 542 w 189209"/>
                <a:gd name="connsiteY2" fmla="*/ 173607 h 179091"/>
                <a:gd name="connsiteX3" fmla="*/ 183275 w 189209"/>
                <a:gd name="connsiteY3" fmla="*/ 466 h 179091"/>
                <a:gd name="connsiteX4" fmla="*/ 188071 w 189209"/>
                <a:gd name="connsiteY4" fmla="*/ 1152 h 179091"/>
                <a:gd name="connsiteX5" fmla="*/ 188071 w 189209"/>
                <a:gd name="connsiteY5" fmla="*/ 5263 h 179091"/>
                <a:gd name="connsiteX6" fmla="*/ 5338 w 189209"/>
                <a:gd name="connsiteY6" fmla="*/ 178632 h 179091"/>
                <a:gd name="connsiteX7" fmla="*/ 3054 w 189209"/>
                <a:gd name="connsiteY7" fmla="*/ 178632 h 179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9209" h="179091">
                  <a:moveTo>
                    <a:pt x="3054" y="178632"/>
                  </a:moveTo>
                  <a:cubicBezTo>
                    <a:pt x="2254" y="178951"/>
                    <a:pt x="1341" y="178951"/>
                    <a:pt x="542" y="178632"/>
                  </a:cubicBezTo>
                  <a:cubicBezTo>
                    <a:pt x="-784" y="177216"/>
                    <a:pt x="-784" y="175023"/>
                    <a:pt x="542" y="173607"/>
                  </a:cubicBezTo>
                  <a:lnTo>
                    <a:pt x="183275" y="466"/>
                  </a:lnTo>
                  <a:cubicBezTo>
                    <a:pt x="184782" y="-675"/>
                    <a:pt x="186929" y="-356"/>
                    <a:pt x="188071" y="1152"/>
                  </a:cubicBezTo>
                  <a:cubicBezTo>
                    <a:pt x="188986" y="2362"/>
                    <a:pt x="188986" y="4053"/>
                    <a:pt x="188071" y="5263"/>
                  </a:cubicBezTo>
                  <a:lnTo>
                    <a:pt x="5338" y="178632"/>
                  </a:lnTo>
                  <a:cubicBezTo>
                    <a:pt x="4607" y="178929"/>
                    <a:pt x="3785" y="178929"/>
                    <a:pt x="3054" y="178632"/>
                  </a:cubicBezTo>
                  <a:close/>
                </a:path>
              </a:pathLst>
            </a:custGeom>
            <a:solidFill>
              <a:srgbClr val="5A43DB"/>
            </a:solidFill>
            <a:ln w="22838" cap="flat">
              <a:noFill/>
              <a:prstDash val="solid"/>
              <a:miter/>
            </a:ln>
          </p:spPr>
          <p:txBody>
            <a:bodyPr rtlCol="0" anchor="ctr"/>
            <a:lstStyle/>
            <a:p>
              <a:endParaRPr lang="zh-CN" altLang="en-US"/>
            </a:p>
          </p:txBody>
        </p:sp>
      </p:gr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660400" y="1130302"/>
            <a:ext cx="10858505" cy="4816631"/>
            <a:chOff x="660398" y="1130300"/>
            <a:chExt cx="10858505" cy="4816631"/>
          </a:xfrm>
        </p:grpSpPr>
        <p:sp>
          <p:nvSpPr>
            <p:cNvPr id="79" name="矩形 78"/>
            <p:cNvSpPr/>
            <p:nvPr/>
          </p:nvSpPr>
          <p:spPr>
            <a:xfrm>
              <a:off x="660400" y="1130300"/>
              <a:ext cx="10858499" cy="5232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normAutofit/>
            </a:bodyPr>
            <a:lstStyle/>
            <a:p>
              <a:pPr algn="ctr">
                <a:buSzPct val="25000"/>
              </a:pPr>
              <a:r>
                <a:rPr lang="en-US" altLang="zh-CN" sz="2400" b="1">
                  <a:solidFill>
                    <a:schemeClr val="tx1"/>
                  </a:solidFill>
                  <a:latin typeface="Calibri" pitchFamily="34" charset="0"/>
                  <a:ea typeface="宋体" pitchFamily="2" charset="-122"/>
                </a:rPr>
                <a:t>Unified fonts make reading more fluent</a:t>
              </a:r>
              <a:endParaRPr lang="en-US" altLang="zh-CN" sz="2400" b="1" dirty="0">
                <a:solidFill>
                  <a:schemeClr val="tx1"/>
                </a:solidFill>
                <a:latin typeface="Calibri" pitchFamily="34" charset="0"/>
                <a:ea typeface="宋体" pitchFamily="2" charset="-122"/>
              </a:endParaRPr>
            </a:p>
          </p:txBody>
        </p:sp>
        <p:grpSp>
          <p:nvGrpSpPr>
            <p:cNvPr id="6" name="组合 5"/>
            <p:cNvGrpSpPr/>
            <p:nvPr/>
          </p:nvGrpSpPr>
          <p:grpSpPr>
            <a:xfrm>
              <a:off x="4389135" y="2134814"/>
              <a:ext cx="3401030" cy="3812117"/>
              <a:chOff x="4389135" y="2134814"/>
              <a:chExt cx="3401030" cy="3812117"/>
            </a:xfrm>
          </p:grpSpPr>
          <p:sp>
            <p:nvSpPr>
              <p:cNvPr id="68" name="任意多边形: 形状 67"/>
              <p:cNvSpPr/>
              <p:nvPr/>
            </p:nvSpPr>
            <p:spPr>
              <a:xfrm rot="5400000">
                <a:off x="5697790" y="5329822"/>
                <a:ext cx="770367" cy="463851"/>
              </a:xfrm>
              <a:custGeom>
                <a:avLst/>
                <a:gdLst/>
                <a:ahLst/>
                <a:cxnLst>
                  <a:cxn ang="0">
                    <a:pos x="wd2" y="hd2"/>
                  </a:cxn>
                  <a:cxn ang="5400000">
                    <a:pos x="wd2" y="hd2"/>
                  </a:cxn>
                  <a:cxn ang="10800000">
                    <a:pos x="wd2" y="hd2"/>
                  </a:cxn>
                  <a:cxn ang="16200000">
                    <a:pos x="wd2" y="hd2"/>
                  </a:cxn>
                </a:cxnLst>
                <a:rect l="0" t="0" r="r" b="b"/>
                <a:pathLst>
                  <a:path w="21600" h="21600" extrusionOk="0">
                    <a:moveTo>
                      <a:pt x="14879" y="21600"/>
                    </a:moveTo>
                    <a:lnTo>
                      <a:pt x="14879" y="21600"/>
                    </a:lnTo>
                    <a:lnTo>
                      <a:pt x="21600" y="10800"/>
                    </a:lnTo>
                    <a:lnTo>
                      <a:pt x="14879" y="0"/>
                    </a:lnTo>
                    <a:lnTo>
                      <a:pt x="14879" y="0"/>
                    </a:lnTo>
                    <a:lnTo>
                      <a:pt x="0" y="0"/>
                    </a:lnTo>
                    <a:lnTo>
                      <a:pt x="0" y="21600"/>
                    </a:lnTo>
                    <a:lnTo>
                      <a:pt x="14879" y="21600"/>
                    </a:lnTo>
                    <a:close/>
                  </a:path>
                </a:pathLst>
              </a:custGeom>
              <a:gradFill>
                <a:gsLst>
                  <a:gs pos="38000">
                    <a:schemeClr val="tx2">
                      <a:alpha val="0"/>
                    </a:schemeClr>
                  </a:gs>
                  <a:gs pos="100000">
                    <a:schemeClr val="tx2">
                      <a:alpha val="32000"/>
                    </a:schemeClr>
                  </a:gs>
                </a:gsLst>
              </a:gradFill>
              <a:ln w="12700">
                <a:miter lim="400000"/>
              </a:ln>
            </p:spPr>
            <p:txBody>
              <a:bodyPr lIns="0" tIns="0" rIns="0" bIns="0" anchor="ctr"/>
              <a:lstStyle/>
              <a:p/>
            </p:txBody>
          </p:sp>
          <p:sp>
            <p:nvSpPr>
              <p:cNvPr id="69" name="任意多边形: 形状 68"/>
              <p:cNvSpPr/>
              <p:nvPr/>
            </p:nvSpPr>
            <p:spPr>
              <a:xfrm flipH="1">
                <a:off x="4389135" y="2491323"/>
                <a:ext cx="3401030" cy="2733396"/>
              </a:xfrm>
              <a:custGeom>
                <a:avLst/>
                <a:gdLst>
                  <a:gd name="connsiteX0" fmla="*/ 3401030 w 3401030"/>
                  <a:gd name="connsiteY0" fmla="*/ 0 h 2733396"/>
                  <a:gd name="connsiteX1" fmla="*/ 1704480 w 3401030"/>
                  <a:gd name="connsiteY1" fmla="*/ 0 h 2733396"/>
                  <a:gd name="connsiteX2" fmla="*/ 1704480 w 3401030"/>
                  <a:gd name="connsiteY2" fmla="*/ 2857 h 2733396"/>
                  <a:gd name="connsiteX3" fmla="*/ 0 w 3401030"/>
                  <a:gd name="connsiteY3" fmla="*/ 2857 h 2733396"/>
                  <a:gd name="connsiteX4" fmla="*/ 839121 w 3401030"/>
                  <a:gd name="connsiteY4" fmla="*/ 1352704 h 2733396"/>
                  <a:gd name="connsiteX5" fmla="*/ 1267424 w 3401030"/>
                  <a:gd name="connsiteY5" fmla="*/ 2733396 h 2733396"/>
                  <a:gd name="connsiteX6" fmla="*/ 1716709 w 3401030"/>
                  <a:gd name="connsiteY6" fmla="*/ 2733396 h 2733396"/>
                  <a:gd name="connsiteX7" fmla="*/ 1716709 w 3401030"/>
                  <a:gd name="connsiteY7" fmla="*/ 2730538 h 2733396"/>
                  <a:gd name="connsiteX8" fmla="*/ 2133566 w 3401030"/>
                  <a:gd name="connsiteY8" fmla="*/ 2730538 h 2733396"/>
                  <a:gd name="connsiteX9" fmla="*/ 2561945 w 3401030"/>
                  <a:gd name="connsiteY9" fmla="*/ 1349847 h 2733396"/>
                  <a:gd name="connsiteX10" fmla="*/ 3401030 w 3401030"/>
                  <a:gd name="connsiteY10" fmla="*/ 0 h 2733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01030" h="2733396">
                    <a:moveTo>
                      <a:pt x="3401030" y="0"/>
                    </a:moveTo>
                    <a:lnTo>
                      <a:pt x="1704480" y="0"/>
                    </a:lnTo>
                    <a:lnTo>
                      <a:pt x="1704480" y="2857"/>
                    </a:lnTo>
                    <a:lnTo>
                      <a:pt x="0" y="2857"/>
                    </a:lnTo>
                    <a:cubicBezTo>
                      <a:pt x="338812" y="413702"/>
                      <a:pt x="620956" y="867654"/>
                      <a:pt x="839121" y="1352704"/>
                    </a:cubicBezTo>
                    <a:cubicBezTo>
                      <a:pt x="1037496" y="1794015"/>
                      <a:pt x="1181350" y="2257574"/>
                      <a:pt x="1267424" y="2733396"/>
                    </a:cubicBezTo>
                    <a:lnTo>
                      <a:pt x="1716709" y="2733396"/>
                    </a:lnTo>
                    <a:lnTo>
                      <a:pt x="1716709" y="2730538"/>
                    </a:lnTo>
                    <a:lnTo>
                      <a:pt x="2133566" y="2730538"/>
                    </a:lnTo>
                    <a:cubicBezTo>
                      <a:pt x="2219650" y="2254717"/>
                      <a:pt x="2363543" y="1791157"/>
                      <a:pt x="2561945" y="1349847"/>
                    </a:cubicBezTo>
                    <a:cubicBezTo>
                      <a:pt x="2780062" y="864797"/>
                      <a:pt x="3062270" y="410845"/>
                      <a:pt x="3401030" y="0"/>
                    </a:cubicBezTo>
                    <a:close/>
                  </a:path>
                </a:pathLst>
              </a:custGeom>
              <a:solidFill>
                <a:schemeClr val="tx2">
                  <a:alpha val="10000"/>
                </a:schemeClr>
              </a:solidFill>
              <a:ln w="12700" cap="flat">
                <a:noFill/>
                <a:miter lim="400000"/>
              </a:ln>
              <a:effectLst/>
            </p:spPr>
            <p:txBody>
              <a:bodyPr wrap="square" lIns="45719" tIns="45719" rIns="45719" bIns="45719" numCol="1" anchor="t">
                <a:noAutofit/>
              </a:bodyPr>
              <a:lstStyle/>
              <a:p/>
            </p:txBody>
          </p:sp>
          <p:sp>
            <p:nvSpPr>
              <p:cNvPr id="70" name="椭圆 69"/>
              <p:cNvSpPr/>
              <p:nvPr/>
            </p:nvSpPr>
            <p:spPr>
              <a:xfrm flipV="1">
                <a:off x="4389188" y="2134814"/>
                <a:ext cx="3397452" cy="671936"/>
              </a:xfrm>
              <a:prstGeom prst="ellipse">
                <a:avLst/>
              </a:prstGeom>
              <a:solidFill>
                <a:schemeClr val="accent1"/>
              </a:solidFill>
              <a:ln w="12700" cap="flat">
                <a:noFill/>
                <a:miter lim="400000"/>
              </a:ln>
              <a:effectLst/>
            </p:spPr>
            <p:txBody>
              <a:bodyPr wrap="square" lIns="0" tIns="0" rIns="0" bIns="0" numCol="1" anchor="ctr">
                <a:noAutofit/>
              </a:bodyPr>
              <a:lstStyle/>
              <a:p/>
            </p:txBody>
          </p:sp>
          <p:sp>
            <p:nvSpPr>
              <p:cNvPr id="71" name="椭圆 70"/>
              <p:cNvSpPr/>
              <p:nvPr/>
            </p:nvSpPr>
            <p:spPr>
              <a:xfrm flipV="1">
                <a:off x="5658253" y="5135240"/>
                <a:ext cx="869671" cy="172001"/>
              </a:xfrm>
              <a:prstGeom prst="ellipse">
                <a:avLst/>
              </a:prstGeom>
              <a:solidFill>
                <a:schemeClr val="accent1">
                  <a:lumMod val="60000"/>
                  <a:lumOff val="40000"/>
                </a:schemeClr>
              </a:solidFill>
              <a:ln w="12700" cap="flat">
                <a:noFill/>
                <a:miter lim="400000"/>
              </a:ln>
              <a:effectLst/>
            </p:spPr>
            <p:txBody>
              <a:bodyPr wrap="square" lIns="0" tIns="0" rIns="0" bIns="0" numCol="1" anchor="ctr">
                <a:noAutofit/>
              </a:bodyPr>
              <a:lstStyle/>
              <a:p/>
            </p:txBody>
          </p:sp>
          <p:sp>
            <p:nvSpPr>
              <p:cNvPr id="72" name="椭圆 71"/>
              <p:cNvSpPr/>
              <p:nvPr/>
            </p:nvSpPr>
            <p:spPr>
              <a:xfrm flipV="1">
                <a:off x="5026551" y="3239708"/>
                <a:ext cx="2133076" cy="333286"/>
              </a:xfrm>
              <a:prstGeom prst="ellipse">
                <a:avLst/>
              </a:prstGeom>
              <a:solidFill>
                <a:schemeClr val="accent1">
                  <a:lumMod val="60000"/>
                  <a:lumOff val="40000"/>
                </a:schemeClr>
              </a:solidFill>
              <a:ln w="12700" cap="flat">
                <a:noFill/>
                <a:miter lim="400000"/>
              </a:ln>
              <a:effectLst/>
            </p:spPr>
            <p:txBody>
              <a:bodyPr wrap="square" lIns="0" tIns="0" rIns="0" bIns="0" numCol="1" anchor="ctr">
                <a:noAutofit/>
              </a:bodyPr>
              <a:lstStyle/>
              <a:p/>
            </p:txBody>
          </p:sp>
          <p:sp>
            <p:nvSpPr>
              <p:cNvPr id="73" name="椭圆 72"/>
              <p:cNvSpPr/>
              <p:nvPr/>
            </p:nvSpPr>
            <p:spPr>
              <a:xfrm flipV="1">
                <a:off x="5430162" y="4187297"/>
                <a:ext cx="1325854" cy="262223"/>
              </a:xfrm>
              <a:prstGeom prst="ellipse">
                <a:avLst/>
              </a:prstGeom>
              <a:solidFill>
                <a:schemeClr val="accent1">
                  <a:lumMod val="60000"/>
                  <a:lumOff val="40000"/>
                </a:schemeClr>
              </a:solidFill>
              <a:ln w="12700" cap="flat">
                <a:noFill/>
                <a:miter lim="400000"/>
              </a:ln>
              <a:effectLst/>
            </p:spPr>
            <p:txBody>
              <a:bodyPr wrap="square" lIns="0" tIns="0" rIns="0" bIns="0" numCol="1" anchor="ctr">
                <a:noAutofit/>
              </a:bodyPr>
              <a:lstStyle/>
              <a:p/>
            </p:txBody>
          </p:sp>
          <p:sp>
            <p:nvSpPr>
              <p:cNvPr id="74" name="任意多边形: 形状 73"/>
              <p:cNvSpPr/>
              <p:nvPr/>
            </p:nvSpPr>
            <p:spPr>
              <a:xfrm>
                <a:off x="4886858" y="2709604"/>
                <a:ext cx="909901" cy="2573479"/>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1949" y="135"/>
                      <a:pt x="3908" y="251"/>
                      <a:pt x="5875" y="348"/>
                    </a:cubicBezTo>
                    <a:cubicBezTo>
                      <a:pt x="7871" y="446"/>
                      <a:pt x="9874" y="524"/>
                      <a:pt x="11882" y="582"/>
                    </a:cubicBezTo>
                    <a:cubicBezTo>
                      <a:pt x="14750" y="4026"/>
                      <a:pt x="17005" y="7529"/>
                      <a:pt x="18632" y="11072"/>
                    </a:cubicBezTo>
                    <a:cubicBezTo>
                      <a:pt x="20233" y="14557"/>
                      <a:pt x="21224" y="18073"/>
                      <a:pt x="21600" y="21600"/>
                    </a:cubicBezTo>
                    <a:lnTo>
                      <a:pt x="20199" y="21495"/>
                    </a:lnTo>
                    <a:cubicBezTo>
                      <a:pt x="18655" y="17933"/>
                      <a:pt x="16306" y="14420"/>
                      <a:pt x="13174" y="10990"/>
                    </a:cubicBezTo>
                    <a:cubicBezTo>
                      <a:pt x="9710" y="7196"/>
                      <a:pt x="5301" y="3518"/>
                      <a:pt x="0" y="0"/>
                    </a:cubicBezTo>
                    <a:close/>
                  </a:path>
                </a:pathLst>
              </a:custGeom>
              <a:solidFill>
                <a:srgbClr val="F7F5F6">
                  <a:alpha val="37013"/>
                </a:srgbClr>
              </a:solidFill>
              <a:ln w="12700" cap="flat">
                <a:noFill/>
                <a:miter lim="400000"/>
              </a:ln>
              <a:effectLst/>
            </p:spPr>
            <p:txBody>
              <a:bodyPr wrap="square" lIns="45719" tIns="45719" rIns="45719" bIns="45719" numCol="1" anchor="t">
                <a:noAutofit/>
              </a:bodyPr>
              <a:lstStyle/>
              <a:p/>
            </p:txBody>
          </p:sp>
          <p:sp>
            <p:nvSpPr>
              <p:cNvPr id="75" name="任意多边形: 形状 74"/>
              <p:cNvSpPr/>
              <p:nvPr/>
            </p:nvSpPr>
            <p:spPr>
              <a:xfrm>
                <a:off x="6325974" y="2744565"/>
                <a:ext cx="751172" cy="2548346"/>
              </a:xfrm>
              <a:custGeom>
                <a:avLst/>
                <a:gdLst/>
                <a:ahLst/>
                <a:cxnLst>
                  <a:cxn ang="0">
                    <a:pos x="wd2" y="hd2"/>
                  </a:cxn>
                  <a:cxn ang="5400000">
                    <a:pos x="wd2" y="hd2"/>
                  </a:cxn>
                  <a:cxn ang="10800000">
                    <a:pos x="wd2" y="hd2"/>
                  </a:cxn>
                  <a:cxn ang="16200000">
                    <a:pos x="wd2" y="hd2"/>
                  </a:cxn>
                </a:cxnLst>
                <a:rect l="0" t="0" r="r" b="b"/>
                <a:pathLst>
                  <a:path w="21600" h="21600" extrusionOk="0">
                    <a:moveTo>
                      <a:pt x="9299" y="373"/>
                    </a:moveTo>
                    <a:cubicBezTo>
                      <a:pt x="11409" y="331"/>
                      <a:pt x="13516" y="278"/>
                      <a:pt x="15620" y="213"/>
                    </a:cubicBezTo>
                    <a:cubicBezTo>
                      <a:pt x="17617" y="152"/>
                      <a:pt x="19611" y="81"/>
                      <a:pt x="21600" y="0"/>
                    </a:cubicBezTo>
                    <a:cubicBezTo>
                      <a:pt x="16155" y="3377"/>
                      <a:pt x="11691" y="6884"/>
                      <a:pt x="8256" y="10483"/>
                    </a:cubicBezTo>
                    <a:cubicBezTo>
                      <a:pt x="4796" y="14110"/>
                      <a:pt x="2393" y="17817"/>
                      <a:pt x="1073" y="21564"/>
                    </a:cubicBezTo>
                    <a:lnTo>
                      <a:pt x="0" y="21600"/>
                    </a:lnTo>
                    <a:cubicBezTo>
                      <a:pt x="262" y="18015"/>
                      <a:pt x="1177" y="14436"/>
                      <a:pt x="2739" y="10879"/>
                    </a:cubicBezTo>
                    <a:cubicBezTo>
                      <a:pt x="4291" y="7345"/>
                      <a:pt x="6481" y="3838"/>
                      <a:pt x="9299" y="373"/>
                    </a:cubicBezTo>
                    <a:close/>
                  </a:path>
                </a:pathLst>
              </a:custGeom>
              <a:solidFill>
                <a:schemeClr val="bg1">
                  <a:alpha val="5462"/>
                </a:schemeClr>
              </a:solidFill>
              <a:ln w="12700" cap="flat">
                <a:noFill/>
                <a:miter lim="400000"/>
              </a:ln>
              <a:effectLst/>
            </p:spPr>
            <p:txBody>
              <a:bodyPr wrap="square" lIns="45719" tIns="45719" rIns="45719" bIns="45719" numCol="1" anchor="t">
                <a:noAutofit/>
              </a:bodyPr>
              <a:lstStyle/>
              <a:p/>
            </p:txBody>
          </p:sp>
          <p:sp>
            <p:nvSpPr>
              <p:cNvPr id="76" name="任意多边形: 形状 75"/>
              <p:cNvSpPr/>
              <p:nvPr/>
            </p:nvSpPr>
            <p:spPr>
              <a:xfrm>
                <a:off x="6423505" y="2681429"/>
                <a:ext cx="992456" cy="2594417"/>
              </a:xfrm>
              <a:custGeom>
                <a:avLst/>
                <a:gdLst/>
                <a:ahLst/>
                <a:cxnLst>
                  <a:cxn ang="0">
                    <a:pos x="wd2" y="hd2"/>
                  </a:cxn>
                  <a:cxn ang="5400000">
                    <a:pos x="wd2" y="hd2"/>
                  </a:cxn>
                  <a:cxn ang="10800000">
                    <a:pos x="wd2" y="hd2"/>
                  </a:cxn>
                  <a:cxn ang="16200000">
                    <a:pos x="wd2" y="hd2"/>
                  </a:cxn>
                </a:cxnLst>
                <a:rect l="0" t="0" r="r" b="b"/>
                <a:pathLst>
                  <a:path w="21600" h="21600" extrusionOk="0">
                    <a:moveTo>
                      <a:pt x="17417" y="327"/>
                    </a:moveTo>
                    <a:cubicBezTo>
                      <a:pt x="18098" y="282"/>
                      <a:pt x="18779" y="233"/>
                      <a:pt x="19457" y="180"/>
                    </a:cubicBezTo>
                    <a:cubicBezTo>
                      <a:pt x="20173" y="124"/>
                      <a:pt x="20888" y="64"/>
                      <a:pt x="21600" y="0"/>
                    </a:cubicBezTo>
                    <a:cubicBezTo>
                      <a:pt x="16110" y="3224"/>
                      <a:pt x="11547" y="6666"/>
                      <a:pt x="7989" y="10265"/>
                    </a:cubicBezTo>
                    <a:cubicBezTo>
                      <a:pt x="4382" y="13913"/>
                      <a:pt x="1831" y="17701"/>
                      <a:pt x="379" y="21561"/>
                    </a:cubicBezTo>
                    <a:lnTo>
                      <a:pt x="0" y="21600"/>
                    </a:lnTo>
                    <a:cubicBezTo>
                      <a:pt x="1100" y="17872"/>
                      <a:pt x="3131" y="14194"/>
                      <a:pt x="6067" y="10614"/>
                    </a:cubicBezTo>
                    <a:cubicBezTo>
                      <a:pt x="8987" y="7055"/>
                      <a:pt x="12787" y="3610"/>
                      <a:pt x="17417" y="327"/>
                    </a:cubicBezTo>
                    <a:close/>
                  </a:path>
                </a:pathLst>
              </a:custGeom>
              <a:solidFill>
                <a:schemeClr val="bg1">
                  <a:alpha val="3527"/>
                </a:schemeClr>
              </a:solidFill>
              <a:ln w="12700" cap="flat">
                <a:noFill/>
                <a:miter lim="400000"/>
              </a:ln>
              <a:effectLst/>
            </p:spPr>
            <p:txBody>
              <a:bodyPr wrap="square" lIns="45719" tIns="45719" rIns="45719" bIns="45719" numCol="1" anchor="t">
                <a:noAutofit/>
              </a:bodyPr>
              <a:lstStyle/>
              <a:p/>
            </p:txBody>
          </p:sp>
          <p:sp>
            <p:nvSpPr>
              <p:cNvPr id="77" name="任意多边形: 形状 76"/>
              <p:cNvSpPr/>
              <p:nvPr/>
            </p:nvSpPr>
            <p:spPr>
              <a:xfrm>
                <a:off x="4741017" y="2359780"/>
                <a:ext cx="2690791" cy="446970"/>
              </a:xfrm>
              <a:custGeom>
                <a:avLst/>
                <a:gdLst/>
                <a:ahLst/>
                <a:cxnLst>
                  <a:cxn ang="0">
                    <a:pos x="wd2" y="hd2"/>
                  </a:cxn>
                  <a:cxn ang="5400000">
                    <a:pos x="wd2" y="hd2"/>
                  </a:cxn>
                  <a:cxn ang="10800000">
                    <a:pos x="wd2" y="hd2"/>
                  </a:cxn>
                  <a:cxn ang="16200000">
                    <a:pos x="wd2" y="hd2"/>
                  </a:cxn>
                </a:cxnLst>
                <a:rect l="0" t="0" r="r" b="b"/>
                <a:pathLst>
                  <a:path w="20620" h="20123" extrusionOk="0">
                    <a:moveTo>
                      <a:pt x="10311" y="0"/>
                    </a:moveTo>
                    <a:cubicBezTo>
                      <a:pt x="7670" y="0"/>
                      <a:pt x="5030" y="1176"/>
                      <a:pt x="3015" y="3517"/>
                    </a:cubicBezTo>
                    <a:cubicBezTo>
                      <a:pt x="433" y="6517"/>
                      <a:pt x="-486" y="10710"/>
                      <a:pt x="241" y="14568"/>
                    </a:cubicBezTo>
                    <a:cubicBezTo>
                      <a:pt x="514" y="14957"/>
                      <a:pt x="806" y="15330"/>
                      <a:pt x="1118" y="15693"/>
                    </a:cubicBezTo>
                    <a:cubicBezTo>
                      <a:pt x="6201" y="21600"/>
                      <a:pt x="14444" y="21600"/>
                      <a:pt x="19528" y="15693"/>
                    </a:cubicBezTo>
                    <a:cubicBezTo>
                      <a:pt x="19828" y="15344"/>
                      <a:pt x="20106" y="14988"/>
                      <a:pt x="20371" y="14615"/>
                    </a:cubicBezTo>
                    <a:cubicBezTo>
                      <a:pt x="21114" y="10744"/>
                      <a:pt x="20199" y="6529"/>
                      <a:pt x="17606" y="3517"/>
                    </a:cubicBezTo>
                    <a:cubicBezTo>
                      <a:pt x="15592" y="1176"/>
                      <a:pt x="12951" y="0"/>
                      <a:pt x="10311" y="0"/>
                    </a:cubicBezTo>
                    <a:close/>
                  </a:path>
                </a:pathLst>
              </a:custGeom>
              <a:solidFill>
                <a:srgbClr val="000000">
                  <a:alpha val="4497"/>
                </a:srgbClr>
              </a:solidFill>
              <a:ln w="12700" cap="flat">
                <a:noFill/>
                <a:miter lim="400000"/>
              </a:ln>
              <a:effectLst/>
            </p:spPr>
            <p:txBody>
              <a:bodyPr wrap="square" lIns="0" tIns="0" rIns="0" bIns="0" numCol="1" anchor="ctr">
                <a:noAutofit/>
              </a:bodyPr>
              <a:lstStyle/>
              <a:p/>
            </p:txBody>
          </p:sp>
          <p:sp>
            <p:nvSpPr>
              <p:cNvPr id="78" name="任意多边形: 形状 77"/>
              <p:cNvSpPr/>
              <p:nvPr/>
            </p:nvSpPr>
            <p:spPr>
              <a:xfrm>
                <a:off x="5236201" y="2582117"/>
                <a:ext cx="1713777" cy="224633"/>
              </a:xfrm>
              <a:custGeom>
                <a:avLst/>
                <a:gdLst/>
                <a:ahLst/>
                <a:cxnLst>
                  <a:cxn ang="0">
                    <a:pos x="wd2" y="hd2"/>
                  </a:cxn>
                  <a:cxn ang="5400000">
                    <a:pos x="wd2" y="hd2"/>
                  </a:cxn>
                  <a:cxn ang="10800000">
                    <a:pos x="wd2" y="hd2"/>
                  </a:cxn>
                  <a:cxn ang="16200000">
                    <a:pos x="wd2" y="hd2"/>
                  </a:cxn>
                </a:cxnLst>
                <a:rect l="0" t="0" r="r" b="b"/>
                <a:pathLst>
                  <a:path w="21323" h="20220" extrusionOk="0">
                    <a:moveTo>
                      <a:pt x="10661" y="0"/>
                    </a:moveTo>
                    <a:cubicBezTo>
                      <a:pt x="7926" y="0"/>
                      <a:pt x="5192" y="1512"/>
                      <a:pt x="3106" y="4498"/>
                    </a:cubicBezTo>
                    <a:cubicBezTo>
                      <a:pt x="880" y="7683"/>
                      <a:pt x="-135" y="11916"/>
                      <a:pt x="15" y="16085"/>
                    </a:cubicBezTo>
                    <a:cubicBezTo>
                      <a:pt x="6574" y="21584"/>
                      <a:pt x="14742" y="21600"/>
                      <a:pt x="21307" y="16123"/>
                    </a:cubicBezTo>
                    <a:cubicBezTo>
                      <a:pt x="21465" y="11941"/>
                      <a:pt x="20451" y="7692"/>
                      <a:pt x="18219" y="4498"/>
                    </a:cubicBezTo>
                    <a:cubicBezTo>
                      <a:pt x="16132" y="1512"/>
                      <a:pt x="13396" y="0"/>
                      <a:pt x="10661" y="0"/>
                    </a:cubicBezTo>
                    <a:close/>
                  </a:path>
                </a:pathLst>
              </a:custGeom>
              <a:solidFill>
                <a:srgbClr val="000000">
                  <a:alpha val="6169"/>
                </a:srgbClr>
              </a:solidFill>
              <a:ln w="12700" cap="flat">
                <a:noFill/>
                <a:miter lim="400000"/>
              </a:ln>
              <a:effectLst/>
            </p:spPr>
            <p:txBody>
              <a:bodyPr wrap="square" lIns="0" tIns="0" rIns="0" bIns="0" numCol="1" anchor="ctr">
                <a:noAutofit/>
              </a:bodyPr>
              <a:lstStyle/>
              <a:p/>
            </p:txBody>
          </p:sp>
        </p:grpSp>
        <p:grpSp>
          <p:nvGrpSpPr>
            <p:cNvPr id="2" name="组合 1"/>
            <p:cNvGrpSpPr/>
            <p:nvPr/>
          </p:nvGrpSpPr>
          <p:grpSpPr>
            <a:xfrm>
              <a:off x="5470520" y="2043019"/>
              <a:ext cx="6048378" cy="1109399"/>
              <a:chOff x="5470520" y="2043019"/>
              <a:chExt cx="6048378" cy="1109399"/>
            </a:xfrm>
          </p:grpSpPr>
          <p:sp>
            <p:nvSpPr>
              <p:cNvPr id="64" name="文本框 63"/>
              <p:cNvSpPr txBox="1"/>
              <p:nvPr/>
            </p:nvSpPr>
            <p:spPr>
              <a:xfrm>
                <a:off x="5470520" y="2365035"/>
                <a:ext cx="1224774" cy="302064"/>
              </a:xfrm>
              <a:prstGeom prst="rect">
                <a:avLst/>
              </a:prstGeom>
              <a:noFill/>
            </p:spPr>
            <p:txBody>
              <a:bodyPr wrap="square" rtlCol="0" anchor="b" anchorCtr="0">
                <a:noAutofit/>
              </a:bodyPr>
              <a:lstStyle/>
              <a:p>
                <a:pPr algn="ctr"/>
                <a:r>
                  <a:rPr lang="en-US" altLang="zh-CN" sz="1600" b="1" dirty="0">
                    <a:solidFill>
                      <a:srgbClr val="FFFFFF"/>
                    </a:solidFill>
                    <a:latin typeface="Calibri" pitchFamily="34" charset="0"/>
                    <a:ea typeface="宋体" pitchFamily="2" charset="-122"/>
                  </a:rPr>
                  <a:t>01</a:t>
                </a:r>
                <a:endParaRPr lang="en-US" altLang="zh-CN" sz="1600" b="1" dirty="0">
                  <a:solidFill>
                    <a:srgbClr val="FFFFFF"/>
                  </a:solidFill>
                  <a:latin typeface="Calibri" pitchFamily="34" charset="0"/>
                  <a:ea typeface="宋体" pitchFamily="2" charset="-122"/>
                </a:endParaRPr>
              </a:p>
            </p:txBody>
          </p:sp>
          <p:cxnSp>
            <p:nvCxnSpPr>
              <p:cNvPr id="59" name="直接连接符 58"/>
              <p:cNvCxnSpPr/>
              <p:nvPr/>
            </p:nvCxnSpPr>
            <p:spPr>
              <a:xfrm>
                <a:off x="7720599" y="2725725"/>
                <a:ext cx="524868" cy="0"/>
              </a:xfrm>
              <a:prstGeom prst="line">
                <a:avLst/>
              </a:prstGeom>
              <a:ln w="25400">
                <a:gradFill>
                  <a:gsLst>
                    <a:gs pos="0">
                      <a:schemeClr val="accent1">
                        <a:alpha val="0"/>
                      </a:schemeClr>
                    </a:gs>
                    <a:gs pos="100000">
                      <a:schemeClr val="accent1"/>
                    </a:gs>
                  </a:gsLst>
                  <a:lin ang="0" scaled="0"/>
                </a:gradFill>
                <a:tailEnd type="oval"/>
              </a:ln>
            </p:spPr>
            <p:style>
              <a:lnRef idx="1">
                <a:schemeClr val="accent1"/>
              </a:lnRef>
              <a:fillRef idx="0">
                <a:schemeClr val="accent1"/>
              </a:fillRef>
              <a:effectRef idx="0">
                <a:schemeClr val="accent1"/>
              </a:effectRef>
              <a:fontRef idx="minor">
                <a:schemeClr val="tx1"/>
              </a:fontRef>
            </p:style>
          </p:cxnSp>
          <p:sp>
            <p:nvSpPr>
              <p:cNvPr id="61" name="文本框 60"/>
              <p:cNvSpPr txBox="1"/>
              <p:nvPr/>
            </p:nvSpPr>
            <p:spPr>
              <a:xfrm>
                <a:off x="8464829" y="2539045"/>
                <a:ext cx="3054069" cy="613373"/>
              </a:xfrm>
              <a:prstGeom prst="rect">
                <a:avLst/>
              </a:prstGeom>
              <a:noFill/>
            </p:spPr>
            <p:txBody>
              <a:bodyPr wrap="square" lIns="91440" tIns="45720" rIns="91440" bIns="45720" anchor="t">
                <a:normAutofit/>
              </a:bodyPr>
              <a:lstStyle/>
              <a:p>
                <a:pPr defTabSz="914400">
                  <a:lnSpc>
                    <a:spcPct val="120000"/>
                  </a:lnSpc>
                  <a:defRPr/>
                </a:pPr>
                <a:r>
                  <a:rPr lang="en-US" altLang="zh-CN" sz="1200">
                    <a:latin typeface="Calibri" pitchFamily="34" charset="0"/>
                    <a:ea typeface="宋体" pitchFamily="2" charset="-122"/>
                  </a:rPr>
                  <a:t>Dolor aliquam suscipit dolore in exerci diam placerat elitr.</a:t>
                </a:r>
                <a:endParaRPr lang="en-US" altLang="zh-CN" sz="1200" dirty="0">
                  <a:latin typeface="Calibri" pitchFamily="34" charset="0"/>
                  <a:ea typeface="宋体" pitchFamily="2" charset="-122"/>
                </a:endParaRPr>
              </a:p>
            </p:txBody>
          </p:sp>
          <p:sp>
            <p:nvSpPr>
              <p:cNvPr id="62" name="文本框 61"/>
              <p:cNvSpPr txBox="1"/>
              <p:nvPr/>
            </p:nvSpPr>
            <p:spPr>
              <a:xfrm>
                <a:off x="8464829" y="2043019"/>
                <a:ext cx="3054069" cy="523220"/>
              </a:xfrm>
              <a:prstGeom prst="rect">
                <a:avLst/>
              </a:prstGeom>
              <a:noFill/>
            </p:spPr>
            <p:txBody>
              <a:bodyPr wrap="square" rtlCol="0" anchor="b" anchorCtr="0">
                <a:normAutofit/>
              </a:bodyPr>
              <a:lstStyle/>
              <a:p>
                <a:r>
                  <a:rPr lang="en-US" altLang="zh-CN" b="1">
                    <a:solidFill>
                      <a:schemeClr val="accent1"/>
                    </a:solidFill>
                    <a:latin typeface="Calibri" pitchFamily="34" charset="0"/>
                    <a:ea typeface="宋体" pitchFamily="2" charset="-122"/>
                  </a:rPr>
                  <a:t>Click to add text</a:t>
                </a:r>
                <a:endParaRPr lang="en-US" altLang="zh-CN" b="1" dirty="0">
                  <a:solidFill>
                    <a:schemeClr val="accent1"/>
                  </a:solidFill>
                  <a:latin typeface="Calibri" pitchFamily="34" charset="0"/>
                  <a:ea typeface="宋体" pitchFamily="2" charset="-122"/>
                </a:endParaRPr>
              </a:p>
            </p:txBody>
          </p:sp>
        </p:grpSp>
        <p:grpSp>
          <p:nvGrpSpPr>
            <p:cNvPr id="3" name="组合 2"/>
            <p:cNvGrpSpPr/>
            <p:nvPr/>
          </p:nvGrpSpPr>
          <p:grpSpPr>
            <a:xfrm>
              <a:off x="660400" y="3174999"/>
              <a:ext cx="6056103" cy="1072989"/>
              <a:chOff x="660400" y="3174999"/>
              <a:chExt cx="6056103" cy="1072989"/>
            </a:xfrm>
          </p:grpSpPr>
          <p:sp>
            <p:nvSpPr>
              <p:cNvPr id="65" name="文本框 64"/>
              <p:cNvSpPr txBox="1"/>
              <p:nvPr/>
            </p:nvSpPr>
            <p:spPr>
              <a:xfrm>
                <a:off x="5491729" y="3261950"/>
                <a:ext cx="1224774" cy="302064"/>
              </a:xfrm>
              <a:prstGeom prst="rect">
                <a:avLst/>
              </a:prstGeom>
              <a:noFill/>
            </p:spPr>
            <p:txBody>
              <a:bodyPr wrap="square" rtlCol="0" anchor="b" anchorCtr="0">
                <a:noAutofit/>
              </a:bodyPr>
              <a:lstStyle/>
              <a:p>
                <a:pPr algn="ctr"/>
                <a:r>
                  <a:rPr lang="en-US" altLang="zh-CN" sz="1600" b="1">
                    <a:solidFill>
                      <a:srgbClr val="FFFFFF"/>
                    </a:solidFill>
                    <a:latin typeface="Calibri" pitchFamily="34" charset="0"/>
                    <a:ea typeface="宋体" pitchFamily="2" charset="-122"/>
                  </a:rPr>
                  <a:t>02</a:t>
                </a:r>
                <a:endParaRPr lang="en-US" altLang="zh-CN" sz="1600" b="1" dirty="0">
                  <a:solidFill>
                    <a:srgbClr val="FFFFFF"/>
                  </a:solidFill>
                  <a:latin typeface="Calibri" pitchFamily="34" charset="0"/>
                  <a:ea typeface="宋体" pitchFamily="2" charset="-122"/>
                </a:endParaRPr>
              </a:p>
            </p:txBody>
          </p:sp>
          <p:cxnSp>
            <p:nvCxnSpPr>
              <p:cNvPr id="87" name="直接连接符 86"/>
              <p:cNvCxnSpPr/>
              <p:nvPr/>
            </p:nvCxnSpPr>
            <p:spPr>
              <a:xfrm flipH="1">
                <a:off x="4457573" y="3822513"/>
                <a:ext cx="476016" cy="0"/>
              </a:xfrm>
              <a:prstGeom prst="line">
                <a:avLst/>
              </a:prstGeom>
              <a:ln w="25400">
                <a:gradFill>
                  <a:gsLst>
                    <a:gs pos="0">
                      <a:schemeClr val="accent1">
                        <a:alpha val="0"/>
                      </a:schemeClr>
                    </a:gs>
                    <a:gs pos="100000">
                      <a:schemeClr val="accent1"/>
                    </a:gs>
                  </a:gsLst>
                  <a:lin ang="0" scaled="0"/>
                </a:gradFill>
                <a:tailEnd type="oval"/>
              </a:ln>
            </p:spPr>
            <p:style>
              <a:lnRef idx="1">
                <a:schemeClr val="accent1"/>
              </a:lnRef>
              <a:fillRef idx="0">
                <a:schemeClr val="accent1"/>
              </a:fillRef>
              <a:effectRef idx="0">
                <a:schemeClr val="accent1"/>
              </a:effectRef>
              <a:fontRef idx="minor">
                <a:schemeClr val="tx1"/>
              </a:fontRef>
            </p:style>
          </p:cxnSp>
          <p:sp>
            <p:nvSpPr>
              <p:cNvPr id="89" name="文本框 88"/>
              <p:cNvSpPr txBox="1"/>
              <p:nvPr/>
            </p:nvSpPr>
            <p:spPr>
              <a:xfrm flipH="1">
                <a:off x="660400" y="3635833"/>
                <a:ext cx="3598227" cy="612155"/>
              </a:xfrm>
              <a:prstGeom prst="rect">
                <a:avLst/>
              </a:prstGeom>
              <a:noFill/>
            </p:spPr>
            <p:txBody>
              <a:bodyPr wrap="square" lIns="91440" tIns="45720" rIns="91440" bIns="45720" anchor="t">
                <a:normAutofit/>
              </a:bodyPr>
              <a:lstStyle/>
              <a:p>
                <a:pPr algn="r" defTabSz="914400">
                  <a:lnSpc>
                    <a:spcPct val="120000"/>
                  </a:lnSpc>
                  <a:defRPr/>
                </a:pPr>
                <a:r>
                  <a:rPr lang="en-US" altLang="zh-CN" sz="1200">
                    <a:latin typeface="Calibri" pitchFamily="34" charset="0"/>
                    <a:ea typeface="宋体" pitchFamily="2" charset="-122"/>
                  </a:rPr>
                  <a:t>Eros erat sit no dolores delenit aliquyam facer sadipscing.</a:t>
                </a:r>
                <a:endParaRPr lang="en-US" altLang="zh-CN" sz="1200" dirty="0">
                  <a:latin typeface="Calibri" pitchFamily="34" charset="0"/>
                  <a:ea typeface="宋体" pitchFamily="2" charset="-122"/>
                </a:endParaRPr>
              </a:p>
            </p:txBody>
          </p:sp>
          <p:sp>
            <p:nvSpPr>
              <p:cNvPr id="90" name="文本框 89"/>
              <p:cNvSpPr txBox="1"/>
              <p:nvPr/>
            </p:nvSpPr>
            <p:spPr>
              <a:xfrm flipH="1">
                <a:off x="660400" y="3174999"/>
                <a:ext cx="3598227" cy="488028"/>
              </a:xfrm>
              <a:prstGeom prst="rect">
                <a:avLst/>
              </a:prstGeom>
              <a:noFill/>
            </p:spPr>
            <p:txBody>
              <a:bodyPr wrap="square" rtlCol="0" anchor="b" anchorCtr="0">
                <a:normAutofit/>
              </a:bodyPr>
              <a:lstStyle/>
              <a:p>
                <a:pPr algn="r"/>
                <a:r>
                  <a:rPr lang="en-US" altLang="zh-CN" b="1">
                    <a:latin typeface="Calibri" pitchFamily="34" charset="0"/>
                    <a:ea typeface="宋体" pitchFamily="2" charset="-122"/>
                  </a:rPr>
                  <a:t>Click to add text</a:t>
                </a:r>
                <a:endParaRPr lang="en-US" altLang="zh-CN" b="1" dirty="0">
                  <a:latin typeface="Calibri" pitchFamily="34" charset="0"/>
                  <a:ea typeface="宋体" pitchFamily="2" charset="-122"/>
                </a:endParaRPr>
              </a:p>
            </p:txBody>
          </p:sp>
        </p:grpSp>
        <p:grpSp>
          <p:nvGrpSpPr>
            <p:cNvPr id="4" name="组合 3"/>
            <p:cNvGrpSpPr/>
            <p:nvPr/>
          </p:nvGrpSpPr>
          <p:grpSpPr>
            <a:xfrm>
              <a:off x="5491729" y="3839466"/>
              <a:ext cx="6027174" cy="1072989"/>
              <a:chOff x="5491729" y="3839466"/>
              <a:chExt cx="6027174" cy="1072989"/>
            </a:xfrm>
          </p:grpSpPr>
          <p:sp>
            <p:nvSpPr>
              <p:cNvPr id="66" name="文本框 65"/>
              <p:cNvSpPr txBox="1"/>
              <p:nvPr/>
            </p:nvSpPr>
            <p:spPr>
              <a:xfrm>
                <a:off x="5491729" y="4117041"/>
                <a:ext cx="1224774" cy="302064"/>
              </a:xfrm>
              <a:prstGeom prst="rect">
                <a:avLst/>
              </a:prstGeom>
              <a:noFill/>
            </p:spPr>
            <p:txBody>
              <a:bodyPr wrap="square" rtlCol="0" anchor="b" anchorCtr="0">
                <a:noAutofit/>
              </a:bodyPr>
              <a:lstStyle/>
              <a:p>
                <a:pPr algn="ctr"/>
                <a:r>
                  <a:rPr lang="en-US" altLang="zh-CN" sz="1600" b="1">
                    <a:solidFill>
                      <a:srgbClr val="FFFFFF"/>
                    </a:solidFill>
                    <a:latin typeface="Calibri" pitchFamily="34" charset="0"/>
                    <a:ea typeface="宋体" pitchFamily="2" charset="-122"/>
                  </a:rPr>
                  <a:t>03</a:t>
                </a:r>
                <a:endParaRPr lang="en-US" altLang="zh-CN" sz="1600" b="1" dirty="0">
                  <a:solidFill>
                    <a:srgbClr val="FFFFFF"/>
                  </a:solidFill>
                  <a:latin typeface="Calibri" pitchFamily="34" charset="0"/>
                  <a:ea typeface="宋体" pitchFamily="2" charset="-122"/>
                </a:endParaRPr>
              </a:p>
            </p:txBody>
          </p:sp>
          <p:cxnSp>
            <p:nvCxnSpPr>
              <p:cNvPr id="82" name="直接连接符 81"/>
              <p:cNvCxnSpPr/>
              <p:nvPr/>
            </p:nvCxnSpPr>
            <p:spPr>
              <a:xfrm>
                <a:off x="6765872" y="4394014"/>
                <a:ext cx="476016" cy="0"/>
              </a:xfrm>
              <a:prstGeom prst="line">
                <a:avLst/>
              </a:prstGeom>
              <a:ln w="25400">
                <a:gradFill>
                  <a:gsLst>
                    <a:gs pos="0">
                      <a:schemeClr val="accent1">
                        <a:alpha val="0"/>
                      </a:schemeClr>
                    </a:gs>
                    <a:gs pos="100000">
                      <a:schemeClr val="accent1"/>
                    </a:gs>
                  </a:gsLst>
                  <a:lin ang="0" scaled="0"/>
                </a:gradFill>
                <a:tailEnd type="oval"/>
              </a:ln>
            </p:spPr>
            <p:style>
              <a:lnRef idx="1">
                <a:schemeClr val="accent1"/>
              </a:lnRef>
              <a:fillRef idx="0">
                <a:schemeClr val="accent1"/>
              </a:fillRef>
              <a:effectRef idx="0">
                <a:schemeClr val="accent1"/>
              </a:effectRef>
              <a:fontRef idx="minor">
                <a:schemeClr val="tx1"/>
              </a:fontRef>
            </p:style>
          </p:cxnSp>
          <p:sp>
            <p:nvSpPr>
              <p:cNvPr id="84" name="文本框 83"/>
              <p:cNvSpPr txBox="1"/>
              <p:nvPr/>
            </p:nvSpPr>
            <p:spPr>
              <a:xfrm>
                <a:off x="7440834" y="4300300"/>
                <a:ext cx="4078069" cy="612155"/>
              </a:xfrm>
              <a:prstGeom prst="rect">
                <a:avLst/>
              </a:prstGeom>
              <a:noFill/>
            </p:spPr>
            <p:txBody>
              <a:bodyPr wrap="square" lIns="91440" tIns="45720" rIns="91440" bIns="45720" anchor="t">
                <a:normAutofit/>
              </a:bodyPr>
              <a:lstStyle/>
              <a:p>
                <a:pPr defTabSz="914400">
                  <a:lnSpc>
                    <a:spcPct val="120000"/>
                  </a:lnSpc>
                  <a:defRPr/>
                </a:pPr>
                <a:r>
                  <a:rPr lang="pt-BR" altLang="zh-CN" sz="1200">
                    <a:latin typeface="Calibri" pitchFamily="34" charset="0"/>
                    <a:ea typeface="宋体" pitchFamily="2" charset="-122"/>
                  </a:rPr>
                  <a:t>Iusto no aliquam rebum ullamcorper no rebum accusam magna.</a:t>
                </a:r>
                <a:endParaRPr lang="en-US" altLang="zh-CN" sz="1200" dirty="0">
                  <a:latin typeface="Calibri" pitchFamily="34" charset="0"/>
                  <a:ea typeface="宋体" pitchFamily="2" charset="-122"/>
                </a:endParaRPr>
              </a:p>
            </p:txBody>
          </p:sp>
          <p:sp>
            <p:nvSpPr>
              <p:cNvPr id="85" name="文本框 84"/>
              <p:cNvSpPr txBox="1"/>
              <p:nvPr/>
            </p:nvSpPr>
            <p:spPr>
              <a:xfrm>
                <a:off x="7440832" y="3839466"/>
                <a:ext cx="4078070" cy="488028"/>
              </a:xfrm>
              <a:prstGeom prst="rect">
                <a:avLst/>
              </a:prstGeom>
              <a:noFill/>
            </p:spPr>
            <p:txBody>
              <a:bodyPr wrap="square" rtlCol="0" anchor="b" anchorCtr="0">
                <a:normAutofit/>
              </a:bodyPr>
              <a:lstStyle/>
              <a:p>
                <a:r>
                  <a:rPr lang="en-US" altLang="zh-CN" b="1">
                    <a:latin typeface="Calibri" pitchFamily="34" charset="0"/>
                    <a:ea typeface="宋体" pitchFamily="2" charset="-122"/>
                  </a:rPr>
                  <a:t>Click to add text</a:t>
                </a:r>
                <a:endParaRPr lang="en-US" altLang="zh-CN" b="1" dirty="0">
                  <a:latin typeface="Calibri" pitchFamily="34" charset="0"/>
                  <a:ea typeface="宋体" pitchFamily="2" charset="-122"/>
                </a:endParaRPr>
              </a:p>
            </p:txBody>
          </p:sp>
        </p:grpSp>
        <p:grpSp>
          <p:nvGrpSpPr>
            <p:cNvPr id="5" name="组合 4"/>
            <p:cNvGrpSpPr/>
            <p:nvPr/>
          </p:nvGrpSpPr>
          <p:grpSpPr>
            <a:xfrm>
              <a:off x="660398" y="4810367"/>
              <a:ext cx="5711476" cy="1072989"/>
              <a:chOff x="660398" y="4810367"/>
              <a:chExt cx="5711476" cy="1072989"/>
            </a:xfrm>
          </p:grpSpPr>
          <p:sp>
            <p:nvSpPr>
              <p:cNvPr id="67" name="文本框 66"/>
              <p:cNvSpPr txBox="1"/>
              <p:nvPr/>
            </p:nvSpPr>
            <p:spPr>
              <a:xfrm>
                <a:off x="5814302" y="5061103"/>
                <a:ext cx="557572" cy="302064"/>
              </a:xfrm>
              <a:prstGeom prst="rect">
                <a:avLst/>
              </a:prstGeom>
              <a:noFill/>
            </p:spPr>
            <p:txBody>
              <a:bodyPr wrap="square" rtlCol="0" anchor="b" anchorCtr="0">
                <a:noAutofit/>
              </a:bodyPr>
              <a:lstStyle/>
              <a:p>
                <a:pPr algn="ctr"/>
                <a:r>
                  <a:rPr lang="en-US" altLang="zh-CN" sz="1600" b="1">
                    <a:solidFill>
                      <a:srgbClr val="FFFFFF"/>
                    </a:solidFill>
                    <a:latin typeface="Calibri" pitchFamily="34" charset="0"/>
                    <a:ea typeface="宋体" pitchFamily="2" charset="-122"/>
                  </a:rPr>
                  <a:t>04</a:t>
                </a:r>
                <a:endParaRPr lang="en-US" altLang="zh-CN" sz="1600" b="1" dirty="0">
                  <a:solidFill>
                    <a:srgbClr val="FFFFFF"/>
                  </a:solidFill>
                  <a:latin typeface="Calibri" pitchFamily="34" charset="0"/>
                  <a:ea typeface="宋体" pitchFamily="2" charset="-122"/>
                </a:endParaRPr>
              </a:p>
            </p:txBody>
          </p:sp>
          <p:cxnSp>
            <p:nvCxnSpPr>
              <p:cNvPr id="51" name="直接连接符 50"/>
              <p:cNvCxnSpPr/>
              <p:nvPr/>
            </p:nvCxnSpPr>
            <p:spPr>
              <a:xfrm flipH="1">
                <a:off x="5118258" y="5364915"/>
                <a:ext cx="476016" cy="0"/>
              </a:xfrm>
              <a:prstGeom prst="line">
                <a:avLst/>
              </a:prstGeom>
              <a:ln w="25400">
                <a:gradFill>
                  <a:gsLst>
                    <a:gs pos="0">
                      <a:schemeClr val="accent1">
                        <a:alpha val="0"/>
                      </a:schemeClr>
                    </a:gs>
                    <a:gs pos="100000">
                      <a:schemeClr val="accent1"/>
                    </a:gs>
                  </a:gsLst>
                  <a:lin ang="0" scaled="0"/>
                </a:gradFill>
                <a:tailEnd type="oval"/>
              </a:ln>
            </p:spPr>
            <p:style>
              <a:lnRef idx="1">
                <a:schemeClr val="accent1"/>
              </a:lnRef>
              <a:fillRef idx="0">
                <a:schemeClr val="accent1"/>
              </a:fillRef>
              <a:effectRef idx="0">
                <a:schemeClr val="accent1"/>
              </a:effectRef>
              <a:fontRef idx="minor">
                <a:schemeClr val="tx1"/>
              </a:fontRef>
            </p:style>
          </p:cxnSp>
          <p:sp>
            <p:nvSpPr>
              <p:cNvPr id="53" name="文本框 52"/>
              <p:cNvSpPr txBox="1"/>
              <p:nvPr/>
            </p:nvSpPr>
            <p:spPr>
              <a:xfrm flipH="1">
                <a:off x="660398" y="5271201"/>
                <a:ext cx="4258914" cy="612155"/>
              </a:xfrm>
              <a:prstGeom prst="rect">
                <a:avLst/>
              </a:prstGeom>
              <a:noFill/>
            </p:spPr>
            <p:txBody>
              <a:bodyPr wrap="square" lIns="91440" tIns="45720" rIns="91440" bIns="45720" anchor="t">
                <a:normAutofit/>
              </a:bodyPr>
              <a:lstStyle/>
              <a:p>
                <a:pPr algn="r" defTabSz="914400">
                  <a:lnSpc>
                    <a:spcPct val="120000"/>
                  </a:lnSpc>
                  <a:defRPr/>
                </a:pPr>
                <a:r>
                  <a:rPr lang="en-US" altLang="zh-CN" sz="1200">
                    <a:latin typeface="Calibri" pitchFamily="34" charset="0"/>
                    <a:ea typeface="宋体" pitchFamily="2" charset="-122"/>
                  </a:rPr>
                  <a:t>Et et aliquyam invidunt et lorem ipsum eu invidunt.</a:t>
                </a:r>
                <a:endParaRPr lang="en-US" altLang="zh-CN" sz="1200" dirty="0">
                  <a:latin typeface="Calibri" pitchFamily="34" charset="0"/>
                  <a:ea typeface="宋体" pitchFamily="2" charset="-122"/>
                </a:endParaRPr>
              </a:p>
            </p:txBody>
          </p:sp>
          <p:sp>
            <p:nvSpPr>
              <p:cNvPr id="54" name="文本框 53"/>
              <p:cNvSpPr txBox="1"/>
              <p:nvPr/>
            </p:nvSpPr>
            <p:spPr>
              <a:xfrm flipH="1">
                <a:off x="660398" y="4810367"/>
                <a:ext cx="4258914" cy="488028"/>
              </a:xfrm>
              <a:prstGeom prst="rect">
                <a:avLst/>
              </a:prstGeom>
              <a:noFill/>
            </p:spPr>
            <p:txBody>
              <a:bodyPr wrap="square" rtlCol="0" anchor="b" anchorCtr="0">
                <a:normAutofit/>
              </a:bodyPr>
              <a:lstStyle/>
              <a:p>
                <a:pPr algn="r"/>
                <a:r>
                  <a:rPr lang="en-US" altLang="zh-CN" b="1">
                    <a:latin typeface="Calibri" pitchFamily="34" charset="0"/>
                    <a:ea typeface="宋体" pitchFamily="2" charset="-122"/>
                  </a:rPr>
                  <a:t>Click to add text</a:t>
                </a:r>
                <a:endParaRPr lang="en-US" altLang="zh-CN" b="1" dirty="0">
                  <a:latin typeface="Calibri" pitchFamily="34" charset="0"/>
                  <a:ea typeface="宋体" pitchFamily="2" charset="-122"/>
                </a:endParaRPr>
              </a:p>
            </p:txBody>
          </p:sp>
        </p:grpSp>
      </p:gr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组合 20"/>
          <p:cNvGrpSpPr/>
          <p:nvPr/>
        </p:nvGrpSpPr>
        <p:grpSpPr>
          <a:xfrm>
            <a:off x="0" y="1028701"/>
            <a:ext cx="12192000" cy="5829299"/>
            <a:chOff x="0" y="1028700"/>
            <a:chExt cx="12192000" cy="5829299"/>
          </a:xfrm>
        </p:grpSpPr>
        <p:sp>
          <p:nvSpPr>
            <p:cNvPr id="8" name="文本框 7"/>
            <p:cNvSpPr txBox="1"/>
            <p:nvPr/>
          </p:nvSpPr>
          <p:spPr>
            <a:xfrm>
              <a:off x="2260600" y="1028700"/>
              <a:ext cx="7670800" cy="581057"/>
            </a:xfrm>
            <a:prstGeom prst="rect">
              <a:avLst/>
            </a:prstGeom>
            <a:noFill/>
          </p:spPr>
          <p:txBody>
            <a:bodyPr wrap="square" anchor="b">
              <a:normAutofit/>
            </a:bodyPr>
            <a:lstStyle/>
            <a:p>
              <a:pPr algn="ctr"/>
              <a:r>
                <a:rPr lang="en-US" altLang="zh-CN" sz="2400" b="1" dirty="0">
                  <a:latin typeface="Calibri" pitchFamily="34" charset="0"/>
                  <a:ea typeface="宋体" pitchFamily="2" charset="-122"/>
                </a:rPr>
                <a:t>Unified fonts make reading more fluent</a:t>
              </a:r>
              <a:endParaRPr lang="en-US" altLang="zh-CN" sz="2400" b="1" dirty="0">
                <a:latin typeface="Calibri" pitchFamily="34" charset="0"/>
                <a:ea typeface="宋体" pitchFamily="2" charset="-122"/>
              </a:endParaRPr>
            </a:p>
          </p:txBody>
        </p:sp>
        <p:sp>
          <p:nvSpPr>
            <p:cNvPr id="5" name="任意多边形: 形状 4"/>
            <p:cNvSpPr/>
            <p:nvPr/>
          </p:nvSpPr>
          <p:spPr>
            <a:xfrm>
              <a:off x="0" y="4997777"/>
              <a:ext cx="12192000" cy="1758622"/>
            </a:xfrm>
            <a:custGeom>
              <a:avLst/>
              <a:gdLst>
                <a:gd name="connsiteX0" fmla="*/ 6096000 w 12192000"/>
                <a:gd name="connsiteY0" fmla="*/ 0 h 2374900"/>
                <a:gd name="connsiteX1" fmla="*/ 12046687 w 12192000"/>
                <a:gd name="connsiteY1" fmla="*/ 840483 h 2374900"/>
                <a:gd name="connsiteX2" fmla="*/ 12192000 w 12192000"/>
                <a:gd name="connsiteY2" fmla="*/ 894016 h 2374900"/>
                <a:gd name="connsiteX3" fmla="*/ 12192000 w 12192000"/>
                <a:gd name="connsiteY3" fmla="*/ 2374900 h 2374900"/>
                <a:gd name="connsiteX4" fmla="*/ 0 w 12192000"/>
                <a:gd name="connsiteY4" fmla="*/ 2374900 h 2374900"/>
                <a:gd name="connsiteX5" fmla="*/ 0 w 12192000"/>
                <a:gd name="connsiteY5" fmla="*/ 894016 h 2374900"/>
                <a:gd name="connsiteX6" fmla="*/ 145313 w 12192000"/>
                <a:gd name="connsiteY6" fmla="*/ 840483 h 2374900"/>
                <a:gd name="connsiteX7" fmla="*/ 6096000 w 12192000"/>
                <a:gd name="connsiteY7" fmla="*/ 0 h 237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374900">
                  <a:moveTo>
                    <a:pt x="6096000" y="0"/>
                  </a:moveTo>
                  <a:cubicBezTo>
                    <a:pt x="8454682" y="0"/>
                    <a:pt x="10576112" y="324157"/>
                    <a:pt x="12046687" y="840483"/>
                  </a:cubicBezTo>
                  <a:lnTo>
                    <a:pt x="12192000" y="894016"/>
                  </a:lnTo>
                  <a:lnTo>
                    <a:pt x="12192000" y="2374900"/>
                  </a:lnTo>
                  <a:lnTo>
                    <a:pt x="0" y="2374900"/>
                  </a:lnTo>
                  <a:lnTo>
                    <a:pt x="0" y="894016"/>
                  </a:lnTo>
                  <a:lnTo>
                    <a:pt x="145313" y="840483"/>
                  </a:lnTo>
                  <a:cubicBezTo>
                    <a:pt x="1615888" y="324157"/>
                    <a:pt x="3737318" y="0"/>
                    <a:pt x="6096000" y="0"/>
                  </a:cubicBezTo>
                  <a:close/>
                </a:path>
              </a:pathLst>
            </a:custGeom>
            <a:solidFill>
              <a:schemeClr val="accent1">
                <a:alpha val="27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2" name="任意多边形: 形状 1"/>
            <p:cNvSpPr/>
            <p:nvPr/>
          </p:nvSpPr>
          <p:spPr>
            <a:xfrm>
              <a:off x="0" y="4694261"/>
              <a:ext cx="12192000" cy="987435"/>
            </a:xfrm>
            <a:custGeom>
              <a:avLst/>
              <a:gdLst>
                <a:gd name="connsiteX0" fmla="*/ 6096000 w 12192000"/>
                <a:gd name="connsiteY0" fmla="*/ 0 h 2374900"/>
                <a:gd name="connsiteX1" fmla="*/ 12046687 w 12192000"/>
                <a:gd name="connsiteY1" fmla="*/ 840483 h 2374900"/>
                <a:gd name="connsiteX2" fmla="*/ 12192000 w 12192000"/>
                <a:gd name="connsiteY2" fmla="*/ 894016 h 2374900"/>
                <a:gd name="connsiteX3" fmla="*/ 12192000 w 12192000"/>
                <a:gd name="connsiteY3" fmla="*/ 2374900 h 2374900"/>
                <a:gd name="connsiteX4" fmla="*/ 0 w 12192000"/>
                <a:gd name="connsiteY4" fmla="*/ 2374900 h 2374900"/>
                <a:gd name="connsiteX5" fmla="*/ 0 w 12192000"/>
                <a:gd name="connsiteY5" fmla="*/ 894016 h 2374900"/>
                <a:gd name="connsiteX6" fmla="*/ 145313 w 12192000"/>
                <a:gd name="connsiteY6" fmla="*/ 840483 h 2374900"/>
                <a:gd name="connsiteX7" fmla="*/ 6096000 w 12192000"/>
                <a:gd name="connsiteY7" fmla="*/ 0 h 2374900"/>
                <a:gd name="connsiteX0-1" fmla="*/ 0 w 12192000"/>
                <a:gd name="connsiteY0-2" fmla="*/ 894016 h 2374900"/>
                <a:gd name="connsiteX1-3" fmla="*/ 145313 w 12192000"/>
                <a:gd name="connsiteY1-4" fmla="*/ 840483 h 2374900"/>
                <a:gd name="connsiteX2-5" fmla="*/ 6096000 w 12192000"/>
                <a:gd name="connsiteY2-6" fmla="*/ 0 h 2374900"/>
                <a:gd name="connsiteX3-7" fmla="*/ 12046687 w 12192000"/>
                <a:gd name="connsiteY3-8" fmla="*/ 840483 h 2374900"/>
                <a:gd name="connsiteX4-9" fmla="*/ 12192000 w 12192000"/>
                <a:gd name="connsiteY4-10" fmla="*/ 894016 h 2374900"/>
                <a:gd name="connsiteX5-11" fmla="*/ 12192000 w 12192000"/>
                <a:gd name="connsiteY5-12" fmla="*/ 2374900 h 2374900"/>
                <a:gd name="connsiteX6-13" fmla="*/ 0 w 12192000"/>
                <a:gd name="connsiteY6-14" fmla="*/ 2374900 h 2374900"/>
                <a:gd name="connsiteX7-15" fmla="*/ 91440 w 12192000"/>
                <a:gd name="connsiteY7-16" fmla="*/ 976805 h 2374900"/>
                <a:gd name="connsiteX0-17" fmla="*/ 0 w 12192000"/>
                <a:gd name="connsiteY0-18" fmla="*/ 894016 h 2374900"/>
                <a:gd name="connsiteX1-19" fmla="*/ 145313 w 12192000"/>
                <a:gd name="connsiteY1-20" fmla="*/ 840483 h 2374900"/>
                <a:gd name="connsiteX2-21" fmla="*/ 6096000 w 12192000"/>
                <a:gd name="connsiteY2-22" fmla="*/ 0 h 2374900"/>
                <a:gd name="connsiteX3-23" fmla="*/ 12046687 w 12192000"/>
                <a:gd name="connsiteY3-24" fmla="*/ 840483 h 2374900"/>
                <a:gd name="connsiteX4-25" fmla="*/ 12192000 w 12192000"/>
                <a:gd name="connsiteY4-26" fmla="*/ 894016 h 2374900"/>
                <a:gd name="connsiteX5-27" fmla="*/ 12192000 w 12192000"/>
                <a:gd name="connsiteY5-28" fmla="*/ 2374900 h 2374900"/>
                <a:gd name="connsiteX6-29" fmla="*/ 91440 w 12192000"/>
                <a:gd name="connsiteY6-30" fmla="*/ 976805 h 2374900"/>
                <a:gd name="connsiteX0-31" fmla="*/ 0 w 12192000"/>
                <a:gd name="connsiteY0-32" fmla="*/ 894016 h 2374900"/>
                <a:gd name="connsiteX1-33" fmla="*/ 145313 w 12192000"/>
                <a:gd name="connsiteY1-34" fmla="*/ 840483 h 2374900"/>
                <a:gd name="connsiteX2-35" fmla="*/ 6096000 w 12192000"/>
                <a:gd name="connsiteY2-36" fmla="*/ 0 h 2374900"/>
                <a:gd name="connsiteX3-37" fmla="*/ 12046687 w 12192000"/>
                <a:gd name="connsiteY3-38" fmla="*/ 840483 h 2374900"/>
                <a:gd name="connsiteX4-39" fmla="*/ 12192000 w 12192000"/>
                <a:gd name="connsiteY4-40" fmla="*/ 894016 h 2374900"/>
                <a:gd name="connsiteX5-41" fmla="*/ 12192000 w 12192000"/>
                <a:gd name="connsiteY5-42" fmla="*/ 2374900 h 2374900"/>
                <a:gd name="connsiteX0-43" fmla="*/ 0 w 12192000"/>
                <a:gd name="connsiteY0-44" fmla="*/ 894016 h 894016"/>
                <a:gd name="connsiteX1-45" fmla="*/ 145313 w 12192000"/>
                <a:gd name="connsiteY1-46" fmla="*/ 840483 h 894016"/>
                <a:gd name="connsiteX2-47" fmla="*/ 6096000 w 12192000"/>
                <a:gd name="connsiteY2-48" fmla="*/ 0 h 894016"/>
                <a:gd name="connsiteX3-49" fmla="*/ 12046687 w 12192000"/>
                <a:gd name="connsiteY3-50" fmla="*/ 840483 h 894016"/>
                <a:gd name="connsiteX4-51" fmla="*/ 12192000 w 12192000"/>
                <a:gd name="connsiteY4-52" fmla="*/ 894016 h 894016"/>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12192000" h="894016">
                  <a:moveTo>
                    <a:pt x="0" y="894016"/>
                  </a:moveTo>
                  <a:lnTo>
                    <a:pt x="145313" y="840483"/>
                  </a:lnTo>
                  <a:cubicBezTo>
                    <a:pt x="1615888" y="324157"/>
                    <a:pt x="3737318" y="0"/>
                    <a:pt x="6096000" y="0"/>
                  </a:cubicBezTo>
                  <a:cubicBezTo>
                    <a:pt x="8454682" y="0"/>
                    <a:pt x="10576112" y="324157"/>
                    <a:pt x="12046687" y="840483"/>
                  </a:cubicBezTo>
                  <a:lnTo>
                    <a:pt x="12192000" y="894016"/>
                  </a:lnTo>
                </a:path>
              </a:pathLst>
            </a:cu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6" name="任意多边形: 形状 5"/>
            <p:cNvSpPr/>
            <p:nvPr/>
          </p:nvSpPr>
          <p:spPr>
            <a:xfrm>
              <a:off x="0" y="5099377"/>
              <a:ext cx="12192000" cy="1758622"/>
            </a:xfrm>
            <a:custGeom>
              <a:avLst/>
              <a:gdLst>
                <a:gd name="connsiteX0" fmla="*/ 6096000 w 12192000"/>
                <a:gd name="connsiteY0" fmla="*/ 0 h 2374900"/>
                <a:gd name="connsiteX1" fmla="*/ 12046687 w 12192000"/>
                <a:gd name="connsiteY1" fmla="*/ 840483 h 2374900"/>
                <a:gd name="connsiteX2" fmla="*/ 12192000 w 12192000"/>
                <a:gd name="connsiteY2" fmla="*/ 894016 h 2374900"/>
                <a:gd name="connsiteX3" fmla="*/ 12192000 w 12192000"/>
                <a:gd name="connsiteY3" fmla="*/ 2374900 h 2374900"/>
                <a:gd name="connsiteX4" fmla="*/ 0 w 12192000"/>
                <a:gd name="connsiteY4" fmla="*/ 2374900 h 2374900"/>
                <a:gd name="connsiteX5" fmla="*/ 0 w 12192000"/>
                <a:gd name="connsiteY5" fmla="*/ 894016 h 2374900"/>
                <a:gd name="connsiteX6" fmla="*/ 145313 w 12192000"/>
                <a:gd name="connsiteY6" fmla="*/ 840483 h 2374900"/>
                <a:gd name="connsiteX7" fmla="*/ 6096000 w 12192000"/>
                <a:gd name="connsiteY7" fmla="*/ 0 h 237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374900">
                  <a:moveTo>
                    <a:pt x="6096000" y="0"/>
                  </a:moveTo>
                  <a:cubicBezTo>
                    <a:pt x="8454682" y="0"/>
                    <a:pt x="10576112" y="324157"/>
                    <a:pt x="12046687" y="840483"/>
                  </a:cubicBezTo>
                  <a:lnTo>
                    <a:pt x="12192000" y="894016"/>
                  </a:lnTo>
                  <a:lnTo>
                    <a:pt x="12192000" y="2374900"/>
                  </a:lnTo>
                  <a:lnTo>
                    <a:pt x="0" y="2374900"/>
                  </a:lnTo>
                  <a:lnTo>
                    <a:pt x="0" y="894016"/>
                  </a:lnTo>
                  <a:lnTo>
                    <a:pt x="145313" y="840483"/>
                  </a:lnTo>
                  <a:cubicBezTo>
                    <a:pt x="1615888" y="324157"/>
                    <a:pt x="3737318" y="0"/>
                    <a:pt x="6096000" y="0"/>
                  </a:cubicBezTo>
                  <a:close/>
                </a:path>
              </a:pathLst>
            </a:custGeom>
            <a:blipFill>
              <a:blip r:embed="rId1"/>
              <a:srcRect/>
              <a:stretch>
                <a:fillRect t="-173409" b="-175081"/>
              </a:stretch>
            </a:blipFill>
            <a:ln w="12700" cap="flat" cmpd="sng" algn="ctr">
              <a:noFill/>
              <a:prstDash val="solid"/>
              <a:miter lim="800000"/>
            </a:ln>
            <a:effectLst/>
            <a:extLst>
              <a:ext uri="{91240B29-F687-4F45-9708-019B960494DF}">
                <a14:hiddenLine xmlns:a14="http://schemas.microsoft.com/office/drawing/2010/main" w="12700">
                  <a:solidFill>
                    <a:schemeClr val="accent1">
                      <a:shade val="50000"/>
                    </a:schemeClr>
                  </a:solidFill>
                  <a:prstDash val="solid"/>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grpSp>
          <p:nvGrpSpPr>
            <p:cNvPr id="19" name="组合 18"/>
            <p:cNvGrpSpPr/>
            <p:nvPr/>
          </p:nvGrpSpPr>
          <p:grpSpPr>
            <a:xfrm>
              <a:off x="660400" y="2405722"/>
              <a:ext cx="1872027" cy="2766353"/>
              <a:chOff x="660400" y="2405722"/>
              <a:chExt cx="1872027" cy="2766353"/>
            </a:xfrm>
          </p:grpSpPr>
          <p:sp>
            <p:nvSpPr>
              <p:cNvPr id="17" name="文本框 16"/>
              <p:cNvSpPr txBox="1"/>
              <p:nvPr/>
            </p:nvSpPr>
            <p:spPr>
              <a:xfrm>
                <a:off x="660400" y="3270374"/>
                <a:ext cx="1872027" cy="338554"/>
              </a:xfrm>
              <a:prstGeom prst="rect">
                <a:avLst/>
              </a:prstGeom>
              <a:noFill/>
            </p:spPr>
            <p:txBody>
              <a:bodyPr wrap="square" anchor="b">
                <a:normAutofit fontScale="92500" lnSpcReduction="10000"/>
              </a:bodyPr>
              <a:lstStyle/>
              <a:p>
                <a:pPr algn="ctr"/>
                <a:r>
                  <a:rPr kumimoji="1" lang="en-US" altLang="zh-CN" b="1">
                    <a:latin typeface="Calibri" pitchFamily="34" charset="0"/>
                    <a:ea typeface="宋体" pitchFamily="2" charset="-122"/>
                  </a:rPr>
                  <a:t>Click to add text</a:t>
                </a:r>
                <a:endParaRPr kumimoji="1" lang="en-US" altLang="zh-CN" b="1" dirty="0">
                  <a:latin typeface="Calibri" pitchFamily="34" charset="0"/>
                  <a:ea typeface="宋体" pitchFamily="2" charset="-122"/>
                </a:endParaRPr>
              </a:p>
            </p:txBody>
          </p:sp>
          <p:sp>
            <p:nvSpPr>
              <p:cNvPr id="18" name="文本框 17"/>
              <p:cNvSpPr txBox="1"/>
              <p:nvPr/>
            </p:nvSpPr>
            <p:spPr>
              <a:xfrm>
                <a:off x="660400" y="3635406"/>
                <a:ext cx="1872027" cy="736805"/>
              </a:xfrm>
              <a:prstGeom prst="rect">
                <a:avLst/>
              </a:prstGeom>
              <a:noFill/>
            </p:spPr>
            <p:txBody>
              <a:bodyPr wrap="square">
                <a:normAutofit/>
              </a:bodyPr>
              <a:lstStyle/>
              <a:p>
                <a:pPr algn="ctr">
                  <a:lnSpc>
                    <a:spcPct val="120000"/>
                  </a:lnSpc>
                </a:pPr>
                <a:r>
                  <a:rPr kumimoji="1" lang="da-DK" altLang="zh-CN" sz="1200">
                    <a:latin typeface="Calibri" pitchFamily="34" charset="0"/>
                    <a:ea typeface="宋体" pitchFamily="2" charset="-122"/>
                  </a:rPr>
                  <a:t>Suscipit ad sed et sed velit dolor sea et at dolores eros.</a:t>
                </a:r>
                <a:endParaRPr kumimoji="1" lang="en-US" altLang="zh-CN" sz="1200" dirty="0">
                  <a:latin typeface="Calibri" pitchFamily="34" charset="0"/>
                  <a:ea typeface="宋体" pitchFamily="2" charset="-122"/>
                </a:endParaRPr>
              </a:p>
            </p:txBody>
          </p:sp>
          <p:sp>
            <p:nvSpPr>
              <p:cNvPr id="68" name="椭圆 67"/>
              <p:cNvSpPr/>
              <p:nvPr/>
            </p:nvSpPr>
            <p:spPr>
              <a:xfrm>
                <a:off x="1170750" y="2405722"/>
                <a:ext cx="851326" cy="826312"/>
              </a:xfrm>
              <a:prstGeom prst="ellipse">
                <a:avLst/>
              </a:prstGeom>
              <a:solidFill>
                <a:schemeClr val="accent1">
                  <a:alpha val="15000"/>
                </a:schemeClr>
              </a:solidFill>
              <a:ln>
                <a:no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2800" b="1" dirty="0">
                  <a:solidFill>
                    <a:schemeClr val="tx1"/>
                  </a:solidFill>
                </a:endParaRPr>
              </a:p>
            </p:txBody>
          </p:sp>
          <p:sp>
            <p:nvSpPr>
              <p:cNvPr id="69" name="椭圆 68"/>
              <p:cNvSpPr/>
              <p:nvPr/>
            </p:nvSpPr>
            <p:spPr>
              <a:xfrm>
                <a:off x="1269212" y="2501292"/>
                <a:ext cx="654403" cy="635173"/>
              </a:xfrm>
              <a:prstGeom prst="ellipse">
                <a:avLst/>
              </a:prstGeom>
              <a:gradFill flip="none" rotWithShape="1">
                <a:gsLst>
                  <a:gs pos="0">
                    <a:schemeClr val="accent1">
                      <a:lumMod val="60000"/>
                      <a:lumOff val="40000"/>
                    </a:schemeClr>
                  </a:gs>
                  <a:gs pos="72000">
                    <a:schemeClr val="accent1"/>
                  </a:gs>
                </a:gsLst>
                <a:lin ang="2700000" scaled="1"/>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kumimoji="1" lang="en-US" altLang="zh-CN" sz="1400" b="1" dirty="0">
                    <a:solidFill>
                      <a:srgbClr val="FFFFFF"/>
                    </a:solidFill>
                    <a:latin typeface="Calibri" pitchFamily="34" charset="0"/>
                    <a:ea typeface="宋体" pitchFamily="2" charset="-122"/>
                  </a:rPr>
                  <a:t>20XX</a:t>
                </a:r>
                <a:endParaRPr kumimoji="1" lang="zh-CN" altLang="en-US" sz="1400" b="1" dirty="0">
                  <a:solidFill>
                    <a:srgbClr val="FFFFFF"/>
                  </a:solidFill>
                  <a:latin typeface="Calibri" pitchFamily="34" charset="0"/>
                  <a:ea typeface="宋体" pitchFamily="2" charset="-122"/>
                </a:endParaRPr>
              </a:p>
            </p:txBody>
          </p:sp>
          <p:cxnSp>
            <p:nvCxnSpPr>
              <p:cNvPr id="35" name="直接连接符 34"/>
              <p:cNvCxnSpPr/>
              <p:nvPr/>
            </p:nvCxnSpPr>
            <p:spPr>
              <a:xfrm>
                <a:off x="1596413" y="4456465"/>
                <a:ext cx="0" cy="715610"/>
              </a:xfrm>
              <a:prstGeom prst="line">
                <a:avLst/>
              </a:prstGeom>
              <a:ln>
                <a:solidFill>
                  <a:schemeClr val="accent1">
                    <a:alpha val="80000"/>
                  </a:schemeClr>
                </a:solidFill>
                <a:prstDash val="lgDashDotDot"/>
                <a:tailEnd type="oval"/>
              </a:ln>
            </p:spPr>
            <p:style>
              <a:lnRef idx="1">
                <a:schemeClr val="accent1"/>
              </a:lnRef>
              <a:fillRef idx="0">
                <a:schemeClr val="accent1"/>
              </a:fillRef>
              <a:effectRef idx="0">
                <a:schemeClr val="accent1"/>
              </a:effectRef>
              <a:fontRef idx="minor">
                <a:schemeClr val="tx1"/>
              </a:fontRef>
            </p:style>
          </p:cxnSp>
        </p:grpSp>
        <p:grpSp>
          <p:nvGrpSpPr>
            <p:cNvPr id="14" name="组合 13"/>
            <p:cNvGrpSpPr/>
            <p:nvPr/>
          </p:nvGrpSpPr>
          <p:grpSpPr>
            <a:xfrm>
              <a:off x="2907018" y="2052483"/>
              <a:ext cx="1872027" cy="2755205"/>
              <a:chOff x="2907018" y="2052483"/>
              <a:chExt cx="1872027" cy="2755205"/>
            </a:xfrm>
          </p:grpSpPr>
          <p:sp>
            <p:nvSpPr>
              <p:cNvPr id="94" name="文本框 93"/>
              <p:cNvSpPr txBox="1"/>
              <p:nvPr/>
            </p:nvSpPr>
            <p:spPr>
              <a:xfrm>
                <a:off x="2907018" y="2917135"/>
                <a:ext cx="1872027" cy="338554"/>
              </a:xfrm>
              <a:prstGeom prst="rect">
                <a:avLst/>
              </a:prstGeom>
              <a:noFill/>
            </p:spPr>
            <p:txBody>
              <a:bodyPr wrap="square" anchor="b">
                <a:normAutofit fontScale="92500" lnSpcReduction="10000"/>
              </a:bodyPr>
              <a:lstStyle/>
              <a:p>
                <a:pPr algn="ctr"/>
                <a:r>
                  <a:rPr kumimoji="1" lang="en-US" altLang="zh-CN" b="1">
                    <a:latin typeface="Calibri" pitchFamily="34" charset="0"/>
                    <a:ea typeface="宋体" pitchFamily="2" charset="-122"/>
                  </a:rPr>
                  <a:t>Click to add text</a:t>
                </a:r>
                <a:endParaRPr kumimoji="1" lang="en-US" altLang="zh-CN" b="1" dirty="0">
                  <a:latin typeface="Calibri" pitchFamily="34" charset="0"/>
                  <a:ea typeface="宋体" pitchFamily="2" charset="-122"/>
                </a:endParaRPr>
              </a:p>
            </p:txBody>
          </p:sp>
          <p:sp>
            <p:nvSpPr>
              <p:cNvPr id="95" name="文本框 94"/>
              <p:cNvSpPr txBox="1"/>
              <p:nvPr/>
            </p:nvSpPr>
            <p:spPr>
              <a:xfrm>
                <a:off x="2907018" y="3282167"/>
                <a:ext cx="1872027" cy="736805"/>
              </a:xfrm>
              <a:prstGeom prst="rect">
                <a:avLst/>
              </a:prstGeom>
              <a:noFill/>
            </p:spPr>
            <p:txBody>
              <a:bodyPr wrap="square">
                <a:normAutofit/>
              </a:bodyPr>
              <a:lstStyle/>
              <a:p>
                <a:pPr algn="ctr">
                  <a:lnSpc>
                    <a:spcPct val="120000"/>
                  </a:lnSpc>
                </a:pPr>
                <a:r>
                  <a:rPr kumimoji="1" lang="pt-BR" altLang="zh-CN" sz="1200">
                    <a:latin typeface="Calibri" pitchFamily="34" charset="0"/>
                    <a:ea typeface="宋体" pitchFamily="2" charset="-122"/>
                  </a:rPr>
                  <a:t>Luptatum justo lorem nonumy diam sadipscing no tempor amet.</a:t>
                </a:r>
                <a:endParaRPr kumimoji="1" lang="en-US" altLang="zh-CN" sz="1200" dirty="0">
                  <a:latin typeface="Calibri" pitchFamily="34" charset="0"/>
                  <a:ea typeface="宋体" pitchFamily="2" charset="-122"/>
                </a:endParaRPr>
              </a:p>
            </p:txBody>
          </p:sp>
          <p:sp>
            <p:nvSpPr>
              <p:cNvPr id="92" name="椭圆 91"/>
              <p:cNvSpPr/>
              <p:nvPr/>
            </p:nvSpPr>
            <p:spPr>
              <a:xfrm>
                <a:off x="3417368" y="2052483"/>
                <a:ext cx="851326" cy="826312"/>
              </a:xfrm>
              <a:prstGeom prst="ellipse">
                <a:avLst/>
              </a:prstGeom>
              <a:solidFill>
                <a:schemeClr val="accent2">
                  <a:alpha val="15000"/>
                </a:schemeClr>
              </a:solidFill>
              <a:ln>
                <a:no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2800" b="1" dirty="0">
                  <a:solidFill>
                    <a:schemeClr val="tx1"/>
                  </a:solidFill>
                </a:endParaRPr>
              </a:p>
            </p:txBody>
          </p:sp>
          <p:sp>
            <p:nvSpPr>
              <p:cNvPr id="93" name="椭圆 92"/>
              <p:cNvSpPr/>
              <p:nvPr/>
            </p:nvSpPr>
            <p:spPr>
              <a:xfrm>
                <a:off x="3515830" y="2148053"/>
                <a:ext cx="654403" cy="635173"/>
              </a:xfrm>
              <a:prstGeom prst="ellipse">
                <a:avLst/>
              </a:prstGeom>
              <a:gradFill flip="none" rotWithShape="1">
                <a:gsLst>
                  <a:gs pos="0">
                    <a:schemeClr val="accent2">
                      <a:lumMod val="60000"/>
                      <a:lumOff val="40000"/>
                    </a:schemeClr>
                  </a:gs>
                  <a:gs pos="50000">
                    <a:schemeClr val="accent2"/>
                  </a:gs>
                </a:gsLst>
                <a:lin ang="2700000" scaled="1"/>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kumimoji="1" lang="en-US" altLang="zh-CN" sz="1400" b="1" dirty="0">
                    <a:solidFill>
                      <a:srgbClr val="FFFFFF"/>
                    </a:solidFill>
                    <a:latin typeface="Calibri" pitchFamily="34" charset="0"/>
                    <a:ea typeface="宋体" pitchFamily="2" charset="-122"/>
                  </a:rPr>
                  <a:t>20XX</a:t>
                </a:r>
                <a:endParaRPr kumimoji="1" lang="zh-CN" altLang="en-US" sz="1400" b="1" dirty="0">
                  <a:solidFill>
                    <a:srgbClr val="FFFFFF"/>
                  </a:solidFill>
                  <a:latin typeface="Calibri" pitchFamily="34" charset="0"/>
                  <a:ea typeface="宋体" pitchFamily="2" charset="-122"/>
                </a:endParaRPr>
              </a:p>
            </p:txBody>
          </p:sp>
          <p:cxnSp>
            <p:nvCxnSpPr>
              <p:cNvPr id="97" name="直接连接符 96"/>
              <p:cNvCxnSpPr/>
              <p:nvPr/>
            </p:nvCxnSpPr>
            <p:spPr>
              <a:xfrm>
                <a:off x="3843031" y="3994608"/>
                <a:ext cx="0" cy="813080"/>
              </a:xfrm>
              <a:prstGeom prst="line">
                <a:avLst/>
              </a:prstGeom>
              <a:ln>
                <a:solidFill>
                  <a:schemeClr val="accent1">
                    <a:alpha val="80000"/>
                  </a:schemeClr>
                </a:solidFill>
                <a:prstDash val="lgDashDotDot"/>
                <a:tailEnd type="oval"/>
              </a:ln>
            </p:spPr>
            <p:style>
              <a:lnRef idx="1">
                <a:schemeClr val="accent1"/>
              </a:lnRef>
              <a:fillRef idx="0">
                <a:schemeClr val="accent1"/>
              </a:fillRef>
              <a:effectRef idx="0">
                <a:schemeClr val="accent1"/>
              </a:effectRef>
              <a:fontRef idx="minor">
                <a:schemeClr val="tx1"/>
              </a:fontRef>
            </p:style>
          </p:cxnSp>
        </p:grpSp>
        <p:grpSp>
          <p:nvGrpSpPr>
            <p:cNvPr id="15" name="组合 14"/>
            <p:cNvGrpSpPr/>
            <p:nvPr/>
          </p:nvGrpSpPr>
          <p:grpSpPr>
            <a:xfrm>
              <a:off x="5153636" y="1930848"/>
              <a:ext cx="1872027" cy="2763413"/>
              <a:chOff x="5153636" y="1930848"/>
              <a:chExt cx="1872027" cy="2763413"/>
            </a:xfrm>
          </p:grpSpPr>
          <p:sp>
            <p:nvSpPr>
              <p:cNvPr id="106" name="文本框 105"/>
              <p:cNvSpPr txBox="1"/>
              <p:nvPr/>
            </p:nvSpPr>
            <p:spPr>
              <a:xfrm>
                <a:off x="5153636" y="2795500"/>
                <a:ext cx="1872027" cy="338554"/>
              </a:xfrm>
              <a:prstGeom prst="rect">
                <a:avLst/>
              </a:prstGeom>
              <a:noFill/>
            </p:spPr>
            <p:txBody>
              <a:bodyPr wrap="square" anchor="b">
                <a:normAutofit fontScale="92500" lnSpcReduction="10000"/>
              </a:bodyPr>
              <a:lstStyle/>
              <a:p>
                <a:pPr algn="ctr"/>
                <a:r>
                  <a:rPr kumimoji="1" lang="en-US" altLang="zh-CN" b="1">
                    <a:latin typeface="Calibri" pitchFamily="34" charset="0"/>
                    <a:ea typeface="宋体" pitchFamily="2" charset="-122"/>
                  </a:rPr>
                  <a:t>Click to add text</a:t>
                </a:r>
                <a:endParaRPr kumimoji="1" lang="en-US" altLang="zh-CN" b="1" dirty="0">
                  <a:latin typeface="Calibri" pitchFamily="34" charset="0"/>
                  <a:ea typeface="宋体" pitchFamily="2" charset="-122"/>
                </a:endParaRPr>
              </a:p>
            </p:txBody>
          </p:sp>
          <p:sp>
            <p:nvSpPr>
              <p:cNvPr id="107" name="文本框 106"/>
              <p:cNvSpPr txBox="1"/>
              <p:nvPr/>
            </p:nvSpPr>
            <p:spPr>
              <a:xfrm>
                <a:off x="5153636" y="3160532"/>
                <a:ext cx="1872027" cy="736805"/>
              </a:xfrm>
              <a:prstGeom prst="rect">
                <a:avLst/>
              </a:prstGeom>
              <a:noFill/>
            </p:spPr>
            <p:txBody>
              <a:bodyPr wrap="square">
                <a:normAutofit/>
              </a:bodyPr>
              <a:lstStyle/>
              <a:p>
                <a:pPr algn="ctr">
                  <a:lnSpc>
                    <a:spcPct val="120000"/>
                  </a:lnSpc>
                </a:pPr>
                <a:r>
                  <a:rPr kumimoji="1" lang="en-US" altLang="zh-CN" sz="1200">
                    <a:latin typeface="Calibri" pitchFamily="34" charset="0"/>
                    <a:ea typeface="宋体" pitchFamily="2" charset="-122"/>
                  </a:rPr>
                  <a:t>Rebum option diam accusam dolore invidunt consetetur at.</a:t>
                </a:r>
                <a:endParaRPr kumimoji="1" lang="en-US" altLang="zh-CN" sz="1200" dirty="0">
                  <a:latin typeface="Calibri" pitchFamily="34" charset="0"/>
                  <a:ea typeface="宋体" pitchFamily="2" charset="-122"/>
                </a:endParaRPr>
              </a:p>
            </p:txBody>
          </p:sp>
          <p:sp>
            <p:nvSpPr>
              <p:cNvPr id="104" name="椭圆 103"/>
              <p:cNvSpPr/>
              <p:nvPr/>
            </p:nvSpPr>
            <p:spPr>
              <a:xfrm>
                <a:off x="5663986" y="1930848"/>
                <a:ext cx="851326" cy="826312"/>
              </a:xfrm>
              <a:prstGeom prst="ellipse">
                <a:avLst/>
              </a:prstGeom>
              <a:solidFill>
                <a:schemeClr val="accent1">
                  <a:alpha val="15000"/>
                </a:schemeClr>
              </a:solidFill>
              <a:ln>
                <a:no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2800" b="1" dirty="0">
                  <a:solidFill>
                    <a:schemeClr val="tx1"/>
                  </a:solidFill>
                </a:endParaRPr>
              </a:p>
            </p:txBody>
          </p:sp>
          <p:sp>
            <p:nvSpPr>
              <p:cNvPr id="105" name="椭圆 104"/>
              <p:cNvSpPr/>
              <p:nvPr/>
            </p:nvSpPr>
            <p:spPr>
              <a:xfrm>
                <a:off x="5762448" y="2026418"/>
                <a:ext cx="654403" cy="635173"/>
              </a:xfrm>
              <a:prstGeom prst="ellipse">
                <a:avLst/>
              </a:prstGeom>
              <a:gradFill flip="none" rotWithShape="1">
                <a:gsLst>
                  <a:gs pos="0">
                    <a:schemeClr val="accent1">
                      <a:lumMod val="60000"/>
                      <a:lumOff val="40000"/>
                    </a:schemeClr>
                  </a:gs>
                  <a:gs pos="72000">
                    <a:schemeClr val="accent1"/>
                  </a:gs>
                </a:gsLst>
                <a:lin ang="2700000" scaled="1"/>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kumimoji="1" lang="en-US" altLang="zh-CN" sz="1400" b="1" dirty="0">
                    <a:solidFill>
                      <a:srgbClr val="FFFFFF"/>
                    </a:solidFill>
                    <a:latin typeface="Calibri" pitchFamily="34" charset="0"/>
                    <a:ea typeface="宋体" pitchFamily="2" charset="-122"/>
                  </a:rPr>
                  <a:t>20XX</a:t>
                </a:r>
                <a:endParaRPr kumimoji="1" lang="zh-CN" altLang="en-US" sz="1400" b="1" dirty="0">
                  <a:solidFill>
                    <a:srgbClr val="FFFFFF"/>
                  </a:solidFill>
                  <a:latin typeface="Calibri" pitchFamily="34" charset="0"/>
                  <a:ea typeface="宋体" pitchFamily="2" charset="-122"/>
                </a:endParaRPr>
              </a:p>
            </p:txBody>
          </p:sp>
          <p:cxnSp>
            <p:nvCxnSpPr>
              <p:cNvPr id="109" name="直接连接符 108"/>
              <p:cNvCxnSpPr>
                <a:endCxn id="2" idx="2"/>
              </p:cNvCxnSpPr>
              <p:nvPr/>
            </p:nvCxnSpPr>
            <p:spPr>
              <a:xfrm>
                <a:off x="6089649" y="3835571"/>
                <a:ext cx="6351" cy="858690"/>
              </a:xfrm>
              <a:prstGeom prst="line">
                <a:avLst/>
              </a:prstGeom>
              <a:ln>
                <a:solidFill>
                  <a:schemeClr val="accent1">
                    <a:alpha val="80000"/>
                  </a:schemeClr>
                </a:solidFill>
                <a:prstDash val="lgDashDotDot"/>
                <a:tailEnd type="oval"/>
              </a:ln>
            </p:spPr>
            <p:style>
              <a:lnRef idx="1">
                <a:schemeClr val="accent1"/>
              </a:lnRef>
              <a:fillRef idx="0">
                <a:schemeClr val="accent1"/>
              </a:fillRef>
              <a:effectRef idx="0">
                <a:schemeClr val="accent1"/>
              </a:effectRef>
              <a:fontRef idx="minor">
                <a:schemeClr val="tx1"/>
              </a:fontRef>
            </p:style>
          </p:cxnSp>
        </p:grpSp>
        <p:grpSp>
          <p:nvGrpSpPr>
            <p:cNvPr id="16" name="组合 15"/>
            <p:cNvGrpSpPr/>
            <p:nvPr/>
          </p:nvGrpSpPr>
          <p:grpSpPr>
            <a:xfrm>
              <a:off x="7400254" y="2052483"/>
              <a:ext cx="1872027" cy="2755205"/>
              <a:chOff x="7400254" y="2052483"/>
              <a:chExt cx="1872027" cy="2755205"/>
            </a:xfrm>
          </p:grpSpPr>
          <p:cxnSp>
            <p:nvCxnSpPr>
              <p:cNvPr id="121" name="直接连接符 120"/>
              <p:cNvCxnSpPr/>
              <p:nvPr/>
            </p:nvCxnSpPr>
            <p:spPr>
              <a:xfrm>
                <a:off x="8336267" y="3994608"/>
                <a:ext cx="0" cy="813080"/>
              </a:xfrm>
              <a:prstGeom prst="line">
                <a:avLst/>
              </a:prstGeom>
              <a:ln>
                <a:solidFill>
                  <a:schemeClr val="accent1">
                    <a:alpha val="80000"/>
                  </a:schemeClr>
                </a:solidFill>
                <a:prstDash val="lgDashDotDot"/>
                <a:tailEnd type="oval"/>
              </a:ln>
            </p:spPr>
            <p:style>
              <a:lnRef idx="1">
                <a:schemeClr val="accent1"/>
              </a:lnRef>
              <a:fillRef idx="0">
                <a:schemeClr val="accent1"/>
              </a:fillRef>
              <a:effectRef idx="0">
                <a:schemeClr val="accent1"/>
              </a:effectRef>
              <a:fontRef idx="minor">
                <a:schemeClr val="tx1"/>
              </a:fontRef>
            </p:style>
          </p:cxnSp>
          <p:sp>
            <p:nvSpPr>
              <p:cNvPr id="118" name="文本框 117"/>
              <p:cNvSpPr txBox="1"/>
              <p:nvPr/>
            </p:nvSpPr>
            <p:spPr>
              <a:xfrm>
                <a:off x="7400254" y="2917135"/>
                <a:ext cx="1872027" cy="338554"/>
              </a:xfrm>
              <a:prstGeom prst="rect">
                <a:avLst/>
              </a:prstGeom>
              <a:noFill/>
            </p:spPr>
            <p:txBody>
              <a:bodyPr wrap="square" anchor="b">
                <a:normAutofit fontScale="92500" lnSpcReduction="10000"/>
              </a:bodyPr>
              <a:lstStyle/>
              <a:p>
                <a:pPr algn="ctr"/>
                <a:r>
                  <a:rPr kumimoji="1" lang="en-US" altLang="zh-CN" b="1">
                    <a:latin typeface="Calibri" pitchFamily="34" charset="0"/>
                    <a:ea typeface="宋体" pitchFamily="2" charset="-122"/>
                  </a:rPr>
                  <a:t>Click to add text</a:t>
                </a:r>
                <a:endParaRPr kumimoji="1" lang="en-US" altLang="zh-CN" b="1" dirty="0">
                  <a:latin typeface="Calibri" pitchFamily="34" charset="0"/>
                  <a:ea typeface="宋体" pitchFamily="2" charset="-122"/>
                </a:endParaRPr>
              </a:p>
            </p:txBody>
          </p:sp>
          <p:sp>
            <p:nvSpPr>
              <p:cNvPr id="119" name="文本框 118"/>
              <p:cNvSpPr txBox="1"/>
              <p:nvPr/>
            </p:nvSpPr>
            <p:spPr>
              <a:xfrm>
                <a:off x="7400254" y="3282167"/>
                <a:ext cx="1872027" cy="736805"/>
              </a:xfrm>
              <a:prstGeom prst="rect">
                <a:avLst/>
              </a:prstGeom>
              <a:noFill/>
            </p:spPr>
            <p:txBody>
              <a:bodyPr wrap="square">
                <a:normAutofit/>
              </a:bodyPr>
              <a:lstStyle/>
              <a:p>
                <a:pPr algn="ctr">
                  <a:lnSpc>
                    <a:spcPct val="120000"/>
                  </a:lnSpc>
                </a:pPr>
                <a:r>
                  <a:rPr kumimoji="1" lang="it-IT" altLang="zh-CN" sz="1200">
                    <a:latin typeface="Calibri" pitchFamily="34" charset="0"/>
                    <a:ea typeface="宋体" pitchFamily="2" charset="-122"/>
                  </a:rPr>
                  <a:t>Invidunt stet nonumy erat lorem clita no erat eos magna.</a:t>
                </a:r>
                <a:endParaRPr kumimoji="1" lang="en-US" altLang="zh-CN" sz="1200" dirty="0">
                  <a:latin typeface="Calibri" pitchFamily="34" charset="0"/>
                  <a:ea typeface="宋体" pitchFamily="2" charset="-122"/>
                </a:endParaRPr>
              </a:p>
            </p:txBody>
          </p:sp>
          <p:sp>
            <p:nvSpPr>
              <p:cNvPr id="116" name="椭圆 115"/>
              <p:cNvSpPr/>
              <p:nvPr/>
            </p:nvSpPr>
            <p:spPr>
              <a:xfrm>
                <a:off x="7910604" y="2052483"/>
                <a:ext cx="851326" cy="826312"/>
              </a:xfrm>
              <a:prstGeom prst="ellipse">
                <a:avLst/>
              </a:prstGeom>
              <a:solidFill>
                <a:schemeClr val="accent2">
                  <a:alpha val="15000"/>
                </a:schemeClr>
              </a:solidFill>
              <a:ln>
                <a:no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2800" b="1" dirty="0">
                  <a:solidFill>
                    <a:schemeClr val="tx1"/>
                  </a:solidFill>
                </a:endParaRPr>
              </a:p>
            </p:txBody>
          </p:sp>
          <p:sp>
            <p:nvSpPr>
              <p:cNvPr id="117" name="椭圆 116"/>
              <p:cNvSpPr/>
              <p:nvPr/>
            </p:nvSpPr>
            <p:spPr>
              <a:xfrm>
                <a:off x="8009066" y="2148053"/>
                <a:ext cx="654403" cy="635173"/>
              </a:xfrm>
              <a:prstGeom prst="ellipse">
                <a:avLst/>
              </a:prstGeom>
              <a:gradFill flip="none" rotWithShape="1">
                <a:gsLst>
                  <a:gs pos="0">
                    <a:schemeClr val="accent2">
                      <a:lumMod val="60000"/>
                      <a:lumOff val="40000"/>
                    </a:schemeClr>
                  </a:gs>
                  <a:gs pos="50000">
                    <a:schemeClr val="accent2"/>
                  </a:gs>
                </a:gsLst>
                <a:lin ang="2700000" scaled="1"/>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kumimoji="1" lang="en-US" altLang="zh-CN" sz="1400" b="1" dirty="0">
                    <a:solidFill>
                      <a:srgbClr val="FFFFFF"/>
                    </a:solidFill>
                    <a:latin typeface="Calibri" pitchFamily="34" charset="0"/>
                    <a:ea typeface="宋体" pitchFamily="2" charset="-122"/>
                  </a:rPr>
                  <a:t>20XX</a:t>
                </a:r>
                <a:endParaRPr kumimoji="1" lang="zh-CN" altLang="en-US" sz="1400" b="1" dirty="0">
                  <a:solidFill>
                    <a:srgbClr val="FFFFFF"/>
                  </a:solidFill>
                  <a:latin typeface="Calibri" pitchFamily="34" charset="0"/>
                  <a:ea typeface="宋体" pitchFamily="2" charset="-122"/>
                </a:endParaRPr>
              </a:p>
            </p:txBody>
          </p:sp>
        </p:grpSp>
        <p:grpSp>
          <p:nvGrpSpPr>
            <p:cNvPr id="13" name="组合 12"/>
            <p:cNvGrpSpPr/>
            <p:nvPr/>
          </p:nvGrpSpPr>
          <p:grpSpPr>
            <a:xfrm>
              <a:off x="9646873" y="2405722"/>
              <a:ext cx="1872027" cy="2766353"/>
              <a:chOff x="9646873" y="2405722"/>
              <a:chExt cx="1872027" cy="2766353"/>
            </a:xfrm>
          </p:grpSpPr>
          <p:sp>
            <p:nvSpPr>
              <p:cNvPr id="82" name="文本框 81"/>
              <p:cNvSpPr txBox="1"/>
              <p:nvPr/>
            </p:nvSpPr>
            <p:spPr>
              <a:xfrm>
                <a:off x="9646873" y="3270374"/>
                <a:ext cx="1872027" cy="338554"/>
              </a:xfrm>
              <a:prstGeom prst="rect">
                <a:avLst/>
              </a:prstGeom>
              <a:noFill/>
            </p:spPr>
            <p:txBody>
              <a:bodyPr wrap="square" anchor="b">
                <a:normAutofit fontScale="92500" lnSpcReduction="10000"/>
              </a:bodyPr>
              <a:lstStyle/>
              <a:p>
                <a:pPr algn="ctr"/>
                <a:r>
                  <a:rPr kumimoji="1" lang="en-US" altLang="zh-CN" b="1">
                    <a:latin typeface="Calibri" pitchFamily="34" charset="0"/>
                    <a:ea typeface="宋体" pitchFamily="2" charset="-122"/>
                  </a:rPr>
                  <a:t>Click to add text</a:t>
                </a:r>
                <a:endParaRPr kumimoji="1" lang="en-US" altLang="zh-CN" b="1" dirty="0">
                  <a:latin typeface="Calibri" pitchFamily="34" charset="0"/>
                  <a:ea typeface="宋体" pitchFamily="2" charset="-122"/>
                </a:endParaRPr>
              </a:p>
            </p:txBody>
          </p:sp>
          <p:sp>
            <p:nvSpPr>
              <p:cNvPr id="83" name="文本框 82"/>
              <p:cNvSpPr txBox="1"/>
              <p:nvPr/>
            </p:nvSpPr>
            <p:spPr>
              <a:xfrm>
                <a:off x="9646873" y="3635406"/>
                <a:ext cx="1872027" cy="736805"/>
              </a:xfrm>
              <a:prstGeom prst="rect">
                <a:avLst/>
              </a:prstGeom>
              <a:noFill/>
            </p:spPr>
            <p:txBody>
              <a:bodyPr wrap="square">
                <a:normAutofit/>
              </a:bodyPr>
              <a:lstStyle/>
              <a:p>
                <a:pPr algn="ctr">
                  <a:lnSpc>
                    <a:spcPct val="120000"/>
                  </a:lnSpc>
                </a:pPr>
                <a:r>
                  <a:rPr kumimoji="1" lang="it-IT" altLang="zh-CN" sz="1200">
                    <a:latin typeface="Calibri" pitchFamily="34" charset="0"/>
                    <a:ea typeface="宋体" pitchFamily="2" charset="-122"/>
                  </a:rPr>
                  <a:t>In dolor molestie clita duo ipsum consetetur vero et nonumy.</a:t>
                </a:r>
                <a:endParaRPr kumimoji="1" lang="en-US" altLang="zh-CN" sz="1200" dirty="0">
                  <a:latin typeface="Calibri" pitchFamily="34" charset="0"/>
                  <a:ea typeface="宋体" pitchFamily="2" charset="-122"/>
                </a:endParaRPr>
              </a:p>
            </p:txBody>
          </p:sp>
          <p:sp>
            <p:nvSpPr>
              <p:cNvPr id="80" name="椭圆 79"/>
              <p:cNvSpPr/>
              <p:nvPr/>
            </p:nvSpPr>
            <p:spPr>
              <a:xfrm>
                <a:off x="10157223" y="2405722"/>
                <a:ext cx="851326" cy="826312"/>
              </a:xfrm>
              <a:prstGeom prst="ellipse">
                <a:avLst/>
              </a:prstGeom>
              <a:solidFill>
                <a:schemeClr val="accent1">
                  <a:alpha val="15000"/>
                </a:schemeClr>
              </a:solidFill>
              <a:ln>
                <a:no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2800" b="1" dirty="0">
                  <a:solidFill>
                    <a:schemeClr val="tx1"/>
                  </a:solidFill>
                </a:endParaRPr>
              </a:p>
            </p:txBody>
          </p:sp>
          <p:sp>
            <p:nvSpPr>
              <p:cNvPr id="81" name="椭圆 80"/>
              <p:cNvSpPr/>
              <p:nvPr/>
            </p:nvSpPr>
            <p:spPr>
              <a:xfrm>
                <a:off x="10255685" y="2501292"/>
                <a:ext cx="654403" cy="635173"/>
              </a:xfrm>
              <a:prstGeom prst="ellipse">
                <a:avLst/>
              </a:prstGeom>
              <a:gradFill flip="none" rotWithShape="1">
                <a:gsLst>
                  <a:gs pos="0">
                    <a:schemeClr val="accent1">
                      <a:lumMod val="60000"/>
                      <a:lumOff val="40000"/>
                    </a:schemeClr>
                  </a:gs>
                  <a:gs pos="72000">
                    <a:schemeClr val="accent1"/>
                  </a:gs>
                </a:gsLst>
                <a:lin ang="2700000" scaled="1"/>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kumimoji="1" lang="en-US" altLang="zh-CN" sz="1400" b="1" dirty="0">
                    <a:solidFill>
                      <a:srgbClr val="FFFFFF"/>
                    </a:solidFill>
                    <a:latin typeface="Calibri" pitchFamily="34" charset="0"/>
                    <a:ea typeface="宋体" pitchFamily="2" charset="-122"/>
                  </a:rPr>
                  <a:t>20XX</a:t>
                </a:r>
                <a:endParaRPr kumimoji="1" lang="zh-CN" altLang="en-US" sz="1400" b="1" dirty="0">
                  <a:solidFill>
                    <a:srgbClr val="FFFFFF"/>
                  </a:solidFill>
                  <a:latin typeface="Calibri" pitchFamily="34" charset="0"/>
                  <a:ea typeface="宋体" pitchFamily="2" charset="-122"/>
                </a:endParaRPr>
              </a:p>
            </p:txBody>
          </p:sp>
          <p:cxnSp>
            <p:nvCxnSpPr>
              <p:cNvPr id="85" name="直接连接符 84"/>
              <p:cNvCxnSpPr/>
              <p:nvPr/>
            </p:nvCxnSpPr>
            <p:spPr>
              <a:xfrm>
                <a:off x="10582886" y="4456465"/>
                <a:ext cx="0" cy="715610"/>
              </a:xfrm>
              <a:prstGeom prst="line">
                <a:avLst/>
              </a:prstGeom>
              <a:ln>
                <a:solidFill>
                  <a:schemeClr val="accent1">
                    <a:alpha val="80000"/>
                  </a:schemeClr>
                </a:solidFill>
                <a:prstDash val="lgDashDotDot"/>
                <a:tailEnd type="oval"/>
              </a:ln>
            </p:spPr>
            <p:style>
              <a:lnRef idx="1">
                <a:schemeClr val="accent1"/>
              </a:lnRef>
              <a:fillRef idx="0">
                <a:schemeClr val="accent1"/>
              </a:fillRef>
              <a:effectRef idx="0">
                <a:schemeClr val="accent1"/>
              </a:effectRef>
              <a:fontRef idx="minor">
                <a:schemeClr val="tx1"/>
              </a:fontRef>
            </p:style>
          </p:cxnSp>
        </p:grpSp>
      </p:grp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组合 28"/>
          <p:cNvGrpSpPr/>
          <p:nvPr/>
        </p:nvGrpSpPr>
        <p:grpSpPr>
          <a:xfrm>
            <a:off x="2" y="2"/>
            <a:ext cx="12191999" cy="6857999"/>
            <a:chOff x="1" y="1"/>
            <a:chExt cx="12191999" cy="6857999"/>
          </a:xfrm>
        </p:grpSpPr>
        <p:sp>
          <p:nvSpPr>
            <p:cNvPr id="8" name="矩形 7"/>
            <p:cNvSpPr/>
            <p:nvPr/>
          </p:nvSpPr>
          <p:spPr>
            <a:xfrm>
              <a:off x="1955800" y="1130301"/>
              <a:ext cx="8280400" cy="584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normAutofit/>
            </a:bodyPr>
            <a:lstStyle/>
            <a:p>
              <a:pPr algn="ctr">
                <a:buSzPct val="25000"/>
              </a:pPr>
              <a:r>
                <a:rPr lang="en-US" altLang="zh-CN" sz="2400" b="1">
                  <a:solidFill>
                    <a:schemeClr val="tx1"/>
                  </a:solidFill>
                  <a:latin typeface="Calibri" pitchFamily="34" charset="0"/>
                  <a:ea typeface="宋体" pitchFamily="2" charset="-122"/>
                </a:rPr>
                <a:t>Unified fonts make reading more fluent</a:t>
              </a:r>
              <a:endParaRPr lang="en-US" altLang="zh-CN" sz="2400" b="1" dirty="0">
                <a:solidFill>
                  <a:schemeClr val="tx1"/>
                </a:solidFill>
                <a:latin typeface="Calibri" pitchFamily="34" charset="0"/>
                <a:ea typeface="宋体" pitchFamily="2" charset="-122"/>
              </a:endParaRPr>
            </a:p>
          </p:txBody>
        </p:sp>
        <p:sp>
          <p:nvSpPr>
            <p:cNvPr id="30" name="任意多边形: 形状 29"/>
            <p:cNvSpPr/>
            <p:nvPr/>
          </p:nvSpPr>
          <p:spPr>
            <a:xfrm>
              <a:off x="10438850" y="1"/>
              <a:ext cx="1753150" cy="1662979"/>
            </a:xfrm>
            <a:custGeom>
              <a:avLst/>
              <a:gdLst>
                <a:gd name="connsiteX0" fmla="*/ 439941 w 1753150"/>
                <a:gd name="connsiteY0" fmla="*/ 0 h 1662979"/>
                <a:gd name="connsiteX1" fmla="*/ 1753150 w 1753150"/>
                <a:gd name="connsiteY1" fmla="*/ 0 h 1662979"/>
                <a:gd name="connsiteX2" fmla="*/ 1753150 w 1753150"/>
                <a:gd name="connsiteY2" fmla="*/ 1132867 h 1662979"/>
                <a:gd name="connsiteX3" fmla="*/ 1223038 w 1753150"/>
                <a:gd name="connsiteY3" fmla="*/ 1662979 h 1662979"/>
                <a:gd name="connsiteX4" fmla="*/ 0 w 1753150"/>
                <a:gd name="connsiteY4" fmla="*/ 439941 h 1662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3150" h="1662979">
                  <a:moveTo>
                    <a:pt x="439941" y="0"/>
                  </a:moveTo>
                  <a:lnTo>
                    <a:pt x="1753150" y="0"/>
                  </a:lnTo>
                  <a:lnTo>
                    <a:pt x="1753150" y="1132867"/>
                  </a:lnTo>
                  <a:lnTo>
                    <a:pt x="1223038" y="1662979"/>
                  </a:lnTo>
                  <a:lnTo>
                    <a:pt x="0" y="439941"/>
                  </a:lnTo>
                  <a:close/>
                </a:path>
              </a:pathLst>
            </a:custGeom>
            <a:solidFill>
              <a:schemeClr val="accent1">
                <a:alpha val="15000"/>
              </a:schemeClr>
            </a:solidFill>
            <a:ln w="6055" cap="flat">
              <a:noFill/>
              <a:prstDash val="solid"/>
              <a:miter/>
            </a:ln>
          </p:spPr>
          <p:txBody>
            <a:bodyPr wrap="square" rtlCol="0" anchor="ctr">
              <a:noAutofit/>
            </a:bodyPr>
            <a:lstStyle/>
            <a:p>
              <a:endParaRPr lang="zh-CN" altLang="en-US"/>
            </a:p>
          </p:txBody>
        </p:sp>
        <p:sp>
          <p:nvSpPr>
            <p:cNvPr id="31" name="菱形 30"/>
            <p:cNvSpPr/>
            <p:nvPr/>
          </p:nvSpPr>
          <p:spPr>
            <a:xfrm>
              <a:off x="10558724" y="1274213"/>
              <a:ext cx="960176" cy="960176"/>
            </a:xfrm>
            <a:prstGeom prst="diamond">
              <a:avLst/>
            </a:prstGeom>
            <a:solidFill>
              <a:schemeClr val="accent1">
                <a:alpha val="15000"/>
              </a:schemeClr>
            </a:solidFill>
            <a:ln w="6055" cap="flat">
              <a:noFill/>
              <a:prstDash val="solid"/>
              <a:miter/>
            </a:ln>
          </p:spPr>
          <p:txBody>
            <a:bodyPr rtlCol="0" anchor="ctr"/>
            <a:lstStyle/>
            <a:p>
              <a:endParaRPr lang="zh-CN" altLang="en-US"/>
            </a:p>
          </p:txBody>
        </p:sp>
        <p:sp>
          <p:nvSpPr>
            <p:cNvPr id="34" name="任意多边形: 形状 33"/>
            <p:cNvSpPr/>
            <p:nvPr/>
          </p:nvSpPr>
          <p:spPr>
            <a:xfrm flipH="1" flipV="1">
              <a:off x="1" y="5787310"/>
              <a:ext cx="1128746" cy="1070690"/>
            </a:xfrm>
            <a:custGeom>
              <a:avLst/>
              <a:gdLst>
                <a:gd name="connsiteX0" fmla="*/ 439941 w 1753150"/>
                <a:gd name="connsiteY0" fmla="*/ 0 h 1662979"/>
                <a:gd name="connsiteX1" fmla="*/ 1753150 w 1753150"/>
                <a:gd name="connsiteY1" fmla="*/ 0 h 1662979"/>
                <a:gd name="connsiteX2" fmla="*/ 1753150 w 1753150"/>
                <a:gd name="connsiteY2" fmla="*/ 1132867 h 1662979"/>
                <a:gd name="connsiteX3" fmla="*/ 1223038 w 1753150"/>
                <a:gd name="connsiteY3" fmla="*/ 1662979 h 1662979"/>
                <a:gd name="connsiteX4" fmla="*/ 0 w 1753150"/>
                <a:gd name="connsiteY4" fmla="*/ 439941 h 1662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3150" h="1662979">
                  <a:moveTo>
                    <a:pt x="439941" y="0"/>
                  </a:moveTo>
                  <a:lnTo>
                    <a:pt x="1753150" y="0"/>
                  </a:lnTo>
                  <a:lnTo>
                    <a:pt x="1753150" y="1132867"/>
                  </a:lnTo>
                  <a:lnTo>
                    <a:pt x="1223038" y="1662979"/>
                  </a:lnTo>
                  <a:lnTo>
                    <a:pt x="0" y="439941"/>
                  </a:lnTo>
                  <a:close/>
                </a:path>
              </a:pathLst>
            </a:custGeom>
            <a:solidFill>
              <a:schemeClr val="accent1">
                <a:alpha val="15000"/>
              </a:schemeClr>
            </a:solidFill>
            <a:ln w="6055" cap="flat">
              <a:noFill/>
              <a:prstDash val="solid"/>
              <a:miter/>
            </a:ln>
          </p:spPr>
          <p:txBody>
            <a:bodyPr wrap="square" rtlCol="0" anchor="ctr">
              <a:noAutofit/>
            </a:bodyPr>
            <a:lstStyle/>
            <a:p>
              <a:endParaRPr lang="zh-CN" altLang="en-US"/>
            </a:p>
          </p:txBody>
        </p:sp>
        <p:sp>
          <p:nvSpPr>
            <p:cNvPr id="35" name="菱形 34"/>
            <p:cNvSpPr/>
            <p:nvPr/>
          </p:nvSpPr>
          <p:spPr>
            <a:xfrm flipH="1" flipV="1">
              <a:off x="433371" y="5419414"/>
              <a:ext cx="618199" cy="618199"/>
            </a:xfrm>
            <a:prstGeom prst="diamond">
              <a:avLst/>
            </a:prstGeom>
            <a:solidFill>
              <a:schemeClr val="accent1">
                <a:alpha val="15000"/>
              </a:schemeClr>
            </a:solidFill>
            <a:ln w="6055" cap="flat">
              <a:noFill/>
              <a:prstDash val="solid"/>
              <a:miter/>
            </a:ln>
          </p:spPr>
          <p:txBody>
            <a:bodyPr rtlCol="0" anchor="ctr"/>
            <a:lstStyle/>
            <a:p>
              <a:endParaRPr lang="zh-CN" altLang="en-US"/>
            </a:p>
          </p:txBody>
        </p:sp>
        <p:grpSp>
          <p:nvGrpSpPr>
            <p:cNvPr id="7" name="组合 6"/>
            <p:cNvGrpSpPr/>
            <p:nvPr/>
          </p:nvGrpSpPr>
          <p:grpSpPr>
            <a:xfrm>
              <a:off x="812801" y="2567799"/>
              <a:ext cx="2324100" cy="3386959"/>
              <a:chOff x="812801" y="2567799"/>
              <a:chExt cx="2324100" cy="3386959"/>
            </a:xfrm>
          </p:grpSpPr>
          <p:sp>
            <p:nvSpPr>
              <p:cNvPr id="3" name="矩形 2"/>
              <p:cNvSpPr/>
              <p:nvPr/>
            </p:nvSpPr>
            <p:spPr>
              <a:xfrm>
                <a:off x="812801" y="4884069"/>
                <a:ext cx="2324100" cy="1070689"/>
              </a:xfrm>
              <a:prstGeom prst="rect">
                <a:avLst/>
              </a:prstGeom>
              <a:ln>
                <a:noFill/>
              </a:ln>
            </p:spPr>
            <p:txBody>
              <a:bodyPr wrap="square" lIns="91440" tIns="45720" rIns="91440" bIns="45720" anchor="t" anchorCtr="0">
                <a:normAutofit/>
              </a:bodyPr>
              <a:lstStyle/>
              <a:p>
                <a:pPr>
                  <a:lnSpc>
                    <a:spcPct val="120000"/>
                  </a:lnSpc>
                </a:pPr>
                <a:r>
                  <a:rPr kumimoji="1" lang="fr-FR" altLang="zh-CN" sz="1200">
                    <a:latin typeface="Calibri" pitchFamily="34" charset="0"/>
                    <a:ea typeface="宋体" pitchFamily="2" charset="-122"/>
                  </a:rPr>
                  <a:t>Vel et ut invidunt aliquip aliquyam dolore qui et sit et.</a:t>
                </a:r>
                <a:endParaRPr kumimoji="1" lang="en-US" altLang="zh-CN" sz="1200" dirty="0">
                  <a:latin typeface="Calibri" pitchFamily="34" charset="0"/>
                  <a:ea typeface="宋体" pitchFamily="2" charset="-122"/>
                </a:endParaRPr>
              </a:p>
            </p:txBody>
          </p:sp>
          <p:sp>
            <p:nvSpPr>
              <p:cNvPr id="4" name="文本框 3"/>
              <p:cNvSpPr txBox="1"/>
              <p:nvPr/>
            </p:nvSpPr>
            <p:spPr>
              <a:xfrm>
                <a:off x="812801" y="4338995"/>
                <a:ext cx="2324099" cy="545073"/>
              </a:xfrm>
              <a:prstGeom prst="rect">
                <a:avLst/>
              </a:prstGeom>
              <a:noFill/>
            </p:spPr>
            <p:txBody>
              <a:bodyPr wrap="square" anchor="b" anchorCtr="0">
                <a:normAutofit/>
              </a:bodyPr>
              <a:lstStyle/>
              <a:p>
                <a:r>
                  <a:rPr lang="en-US" altLang="zh-CN" b="1">
                    <a:latin typeface="Calibri" pitchFamily="34" charset="0"/>
                    <a:ea typeface="宋体" pitchFamily="2" charset="-122"/>
                  </a:rPr>
                  <a:t>Click to add text</a:t>
                </a:r>
                <a:endParaRPr lang="en-US" altLang="zh-CN" b="1" dirty="0">
                  <a:latin typeface="Calibri" pitchFamily="34" charset="0"/>
                  <a:ea typeface="宋体" pitchFamily="2" charset="-122"/>
                </a:endParaRPr>
              </a:p>
            </p:txBody>
          </p:sp>
          <p:sp>
            <p:nvSpPr>
              <p:cNvPr id="5" name="箭头: 五边形 4"/>
              <p:cNvSpPr/>
              <p:nvPr/>
            </p:nvSpPr>
            <p:spPr>
              <a:xfrm>
                <a:off x="903318" y="2567799"/>
                <a:ext cx="1017876" cy="1235851"/>
              </a:xfrm>
              <a:prstGeom prst="homePlate">
                <a:avLst>
                  <a:gd name="adj" fmla="val 100001"/>
                </a:avLst>
              </a:prstGeom>
              <a:solidFill>
                <a:schemeClr val="accent1"/>
              </a:solidFill>
              <a:ln>
                <a:noFill/>
              </a:ln>
              <a:effectLst/>
            </p:spPr>
            <p:txBody>
              <a:bodyPr wrap="none" lIns="108000" tIns="108000" rIns="108000" bIns="108000" rtlCol="0" anchor="ctr" anchorCtr="0">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kumimoji="1" lang="en-US" altLang="zh-CN" sz="2000" b="1" dirty="0">
                    <a:solidFill>
                      <a:srgbClr val="FFFFFF"/>
                    </a:solidFill>
                    <a:latin typeface="Calibri" pitchFamily="34" charset="0"/>
                    <a:ea typeface="宋体" pitchFamily="2" charset="-122"/>
                  </a:rPr>
                  <a:t>01</a:t>
                </a:r>
                <a:endParaRPr kumimoji="1" lang="zh-CN" altLang="en-US" sz="2000" b="1" dirty="0">
                  <a:solidFill>
                    <a:srgbClr val="FFFFFF"/>
                  </a:solidFill>
                  <a:latin typeface="Calibri" pitchFamily="34" charset="0"/>
                  <a:ea typeface="宋体" pitchFamily="2" charset="-122"/>
                </a:endParaRPr>
              </a:p>
            </p:txBody>
          </p:sp>
          <p:sp>
            <p:nvSpPr>
              <p:cNvPr id="6" name="矩形 5"/>
              <p:cNvSpPr/>
              <p:nvPr/>
            </p:nvSpPr>
            <p:spPr>
              <a:xfrm>
                <a:off x="903318" y="4114391"/>
                <a:ext cx="186400" cy="186400"/>
              </a:xfrm>
              <a:prstGeom prst="rect">
                <a:avLst/>
              </a:prstGeom>
              <a:solidFill>
                <a:schemeClr val="accent1"/>
              </a:solidFill>
              <a:ln>
                <a:noFill/>
              </a:ln>
              <a:effectLst/>
            </p:spPr>
            <p:txBody>
              <a:bodyPr wrap="none" lIns="108000" tIns="108000" rIns="108000" bIns="108000" rtlCol="0" anchor="ctr" anchorCtr="0">
                <a:noAutofit/>
              </a:bodyPr>
              <a:lstStyle/>
              <a:p>
                <a:pPr algn="ctr"/>
                <a:endParaRPr kumimoji="1" lang="zh-CN" altLang="en-US" sz="2000" b="1" dirty="0">
                  <a:noFill/>
                </a:endParaRPr>
              </a:p>
            </p:txBody>
          </p:sp>
        </p:grpSp>
        <p:grpSp>
          <p:nvGrpSpPr>
            <p:cNvPr id="14" name="组合 13"/>
            <p:cNvGrpSpPr/>
            <p:nvPr/>
          </p:nvGrpSpPr>
          <p:grpSpPr>
            <a:xfrm>
              <a:off x="3606801" y="2567799"/>
              <a:ext cx="2324100" cy="3386959"/>
              <a:chOff x="3606801" y="2567799"/>
              <a:chExt cx="2324100" cy="3386959"/>
            </a:xfrm>
          </p:grpSpPr>
          <p:sp>
            <p:nvSpPr>
              <p:cNvPr id="10" name="矩形 9"/>
              <p:cNvSpPr/>
              <p:nvPr/>
            </p:nvSpPr>
            <p:spPr>
              <a:xfrm>
                <a:off x="3606801" y="4884069"/>
                <a:ext cx="2324100" cy="1070689"/>
              </a:xfrm>
              <a:prstGeom prst="rect">
                <a:avLst/>
              </a:prstGeom>
              <a:ln>
                <a:noFill/>
              </a:ln>
            </p:spPr>
            <p:txBody>
              <a:bodyPr wrap="square" lIns="91440" tIns="45720" rIns="91440" bIns="45720" anchor="t" anchorCtr="0">
                <a:normAutofit/>
              </a:bodyPr>
              <a:lstStyle/>
              <a:p>
                <a:pPr>
                  <a:lnSpc>
                    <a:spcPct val="120000"/>
                  </a:lnSpc>
                </a:pPr>
                <a:r>
                  <a:rPr kumimoji="1" lang="it-IT" altLang="zh-CN" sz="1200">
                    <a:latin typeface="Calibri" pitchFamily="34" charset="0"/>
                    <a:ea typeface="宋体" pitchFamily="2" charset="-122"/>
                  </a:rPr>
                  <a:t>Duo suscipit luptatum no feugiat blandit ut diam at ipsum.</a:t>
                </a:r>
                <a:endParaRPr kumimoji="1" lang="en-US" altLang="zh-CN" sz="1200" dirty="0">
                  <a:latin typeface="Calibri" pitchFamily="34" charset="0"/>
                  <a:ea typeface="宋体" pitchFamily="2" charset="-122"/>
                </a:endParaRPr>
              </a:p>
            </p:txBody>
          </p:sp>
          <p:sp>
            <p:nvSpPr>
              <p:cNvPr id="11" name="文本框 10"/>
              <p:cNvSpPr txBox="1"/>
              <p:nvPr/>
            </p:nvSpPr>
            <p:spPr>
              <a:xfrm>
                <a:off x="3606801" y="4338995"/>
                <a:ext cx="2324099" cy="545073"/>
              </a:xfrm>
              <a:prstGeom prst="rect">
                <a:avLst/>
              </a:prstGeom>
              <a:noFill/>
            </p:spPr>
            <p:txBody>
              <a:bodyPr wrap="square" anchor="b" anchorCtr="0">
                <a:normAutofit/>
              </a:bodyPr>
              <a:lstStyle/>
              <a:p>
                <a:r>
                  <a:rPr lang="en-US" altLang="zh-CN" b="1">
                    <a:latin typeface="Calibri" pitchFamily="34" charset="0"/>
                    <a:ea typeface="宋体" pitchFamily="2" charset="-122"/>
                  </a:rPr>
                  <a:t>Click to add text</a:t>
                </a:r>
                <a:endParaRPr lang="en-US" altLang="zh-CN" b="1" dirty="0">
                  <a:latin typeface="Calibri" pitchFamily="34" charset="0"/>
                  <a:ea typeface="宋体" pitchFamily="2" charset="-122"/>
                </a:endParaRPr>
              </a:p>
            </p:txBody>
          </p:sp>
          <p:sp>
            <p:nvSpPr>
              <p:cNvPr id="12" name="箭头: 五边形 11"/>
              <p:cNvSpPr/>
              <p:nvPr/>
            </p:nvSpPr>
            <p:spPr>
              <a:xfrm>
                <a:off x="3697318" y="2567799"/>
                <a:ext cx="1017876" cy="1235851"/>
              </a:xfrm>
              <a:prstGeom prst="homePlate">
                <a:avLst>
                  <a:gd name="adj" fmla="val 100001"/>
                </a:avLst>
              </a:prstGeom>
              <a:solidFill>
                <a:schemeClr val="accent2"/>
              </a:solidFill>
              <a:ln>
                <a:noFill/>
              </a:ln>
              <a:effectLst/>
            </p:spPr>
            <p:txBody>
              <a:bodyPr wrap="none" lIns="108000" tIns="108000" rIns="108000" bIns="108000" rtlCol="0" anchor="ctr" anchorCtr="0">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kumimoji="1" lang="en-US" altLang="zh-CN" sz="2000" b="1" dirty="0">
                    <a:solidFill>
                      <a:srgbClr val="FFFFFF"/>
                    </a:solidFill>
                    <a:latin typeface="Calibri" pitchFamily="34" charset="0"/>
                    <a:ea typeface="宋体" pitchFamily="2" charset="-122"/>
                  </a:rPr>
                  <a:t>02</a:t>
                </a:r>
                <a:endParaRPr kumimoji="1" lang="zh-CN" altLang="en-US" sz="2000" b="1" dirty="0">
                  <a:solidFill>
                    <a:srgbClr val="FFFFFF"/>
                  </a:solidFill>
                  <a:latin typeface="Calibri" pitchFamily="34" charset="0"/>
                  <a:ea typeface="宋体" pitchFamily="2" charset="-122"/>
                </a:endParaRPr>
              </a:p>
            </p:txBody>
          </p:sp>
          <p:sp>
            <p:nvSpPr>
              <p:cNvPr id="13" name="矩形 12"/>
              <p:cNvSpPr/>
              <p:nvPr/>
            </p:nvSpPr>
            <p:spPr>
              <a:xfrm>
                <a:off x="3697318" y="4114391"/>
                <a:ext cx="186400" cy="186400"/>
              </a:xfrm>
              <a:prstGeom prst="rect">
                <a:avLst/>
              </a:prstGeom>
              <a:solidFill>
                <a:schemeClr val="accent2"/>
              </a:solidFill>
              <a:ln>
                <a:noFill/>
              </a:ln>
              <a:effectLst/>
            </p:spPr>
            <p:txBody>
              <a:bodyPr wrap="none" lIns="108000" tIns="108000" rIns="108000" bIns="108000" rtlCol="0" anchor="ctr" anchorCtr="0">
                <a:noAutofit/>
              </a:bodyPr>
              <a:lstStyle/>
              <a:p>
                <a:pPr algn="ctr"/>
                <a:endParaRPr kumimoji="1" lang="zh-CN" altLang="en-US" sz="2000" b="1" dirty="0">
                  <a:noFill/>
                </a:endParaRPr>
              </a:p>
            </p:txBody>
          </p:sp>
        </p:grpSp>
        <p:grpSp>
          <p:nvGrpSpPr>
            <p:cNvPr id="20" name="组合 19"/>
            <p:cNvGrpSpPr/>
            <p:nvPr/>
          </p:nvGrpSpPr>
          <p:grpSpPr>
            <a:xfrm>
              <a:off x="6400801" y="2567799"/>
              <a:ext cx="2324100" cy="3386959"/>
              <a:chOff x="6400801" y="2567799"/>
              <a:chExt cx="2324100" cy="3386959"/>
            </a:xfrm>
          </p:grpSpPr>
          <p:sp>
            <p:nvSpPr>
              <p:cNvPr id="16" name="矩形 15"/>
              <p:cNvSpPr/>
              <p:nvPr/>
            </p:nvSpPr>
            <p:spPr>
              <a:xfrm>
                <a:off x="6400801" y="4884069"/>
                <a:ext cx="2324100" cy="1070689"/>
              </a:xfrm>
              <a:prstGeom prst="rect">
                <a:avLst/>
              </a:prstGeom>
              <a:ln>
                <a:noFill/>
              </a:ln>
            </p:spPr>
            <p:txBody>
              <a:bodyPr wrap="square" lIns="91440" tIns="45720" rIns="91440" bIns="45720" anchor="t" anchorCtr="0">
                <a:normAutofit/>
              </a:bodyPr>
              <a:lstStyle/>
              <a:p>
                <a:pPr>
                  <a:lnSpc>
                    <a:spcPct val="120000"/>
                  </a:lnSpc>
                </a:pPr>
                <a:r>
                  <a:rPr kumimoji="1" lang="it-IT" altLang="zh-CN" sz="1200">
                    <a:latin typeface="Calibri" pitchFamily="34" charset="0"/>
                    <a:ea typeface="宋体" pitchFamily="2" charset="-122"/>
                  </a:rPr>
                  <a:t>Molestie voluptua vero sit vulputate sit vero duo lorem.</a:t>
                </a:r>
                <a:endParaRPr kumimoji="1" lang="en-US" altLang="zh-CN" sz="1200" dirty="0">
                  <a:latin typeface="Calibri" pitchFamily="34" charset="0"/>
                  <a:ea typeface="宋体" pitchFamily="2" charset="-122"/>
                </a:endParaRPr>
              </a:p>
            </p:txBody>
          </p:sp>
          <p:sp>
            <p:nvSpPr>
              <p:cNvPr id="17" name="文本框 16"/>
              <p:cNvSpPr txBox="1"/>
              <p:nvPr/>
            </p:nvSpPr>
            <p:spPr>
              <a:xfrm>
                <a:off x="6400801" y="4338995"/>
                <a:ext cx="2324099" cy="545073"/>
              </a:xfrm>
              <a:prstGeom prst="rect">
                <a:avLst/>
              </a:prstGeom>
              <a:noFill/>
            </p:spPr>
            <p:txBody>
              <a:bodyPr wrap="square" anchor="b" anchorCtr="0">
                <a:normAutofit/>
              </a:bodyPr>
              <a:lstStyle/>
              <a:p>
                <a:r>
                  <a:rPr lang="en-US" altLang="zh-CN" b="1">
                    <a:latin typeface="Calibri" pitchFamily="34" charset="0"/>
                    <a:ea typeface="宋体" pitchFamily="2" charset="-122"/>
                  </a:rPr>
                  <a:t>Click to add text</a:t>
                </a:r>
                <a:endParaRPr lang="en-US" altLang="zh-CN" b="1" dirty="0">
                  <a:latin typeface="Calibri" pitchFamily="34" charset="0"/>
                  <a:ea typeface="宋体" pitchFamily="2" charset="-122"/>
                </a:endParaRPr>
              </a:p>
            </p:txBody>
          </p:sp>
          <p:sp>
            <p:nvSpPr>
              <p:cNvPr id="18" name="箭头: 五边形 17"/>
              <p:cNvSpPr/>
              <p:nvPr/>
            </p:nvSpPr>
            <p:spPr>
              <a:xfrm>
                <a:off x="6491318" y="2567799"/>
                <a:ext cx="1017876" cy="1235851"/>
              </a:xfrm>
              <a:prstGeom prst="homePlate">
                <a:avLst>
                  <a:gd name="adj" fmla="val 100001"/>
                </a:avLst>
              </a:prstGeom>
              <a:solidFill>
                <a:schemeClr val="accent1"/>
              </a:solidFill>
              <a:ln>
                <a:noFill/>
              </a:ln>
              <a:effectLst/>
            </p:spPr>
            <p:txBody>
              <a:bodyPr wrap="none" lIns="108000" tIns="108000" rIns="108000" bIns="108000" rtlCol="0" anchor="ctr" anchorCtr="0">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kumimoji="1" lang="en-US" altLang="zh-CN" sz="2000" b="1" dirty="0">
                    <a:solidFill>
                      <a:srgbClr val="FFFFFF"/>
                    </a:solidFill>
                    <a:latin typeface="Calibri" pitchFamily="34" charset="0"/>
                    <a:ea typeface="宋体" pitchFamily="2" charset="-122"/>
                  </a:rPr>
                  <a:t>03</a:t>
                </a:r>
                <a:endParaRPr kumimoji="1" lang="zh-CN" altLang="en-US" sz="2000" b="1" dirty="0">
                  <a:solidFill>
                    <a:srgbClr val="FFFFFF"/>
                  </a:solidFill>
                  <a:latin typeface="Calibri" pitchFamily="34" charset="0"/>
                  <a:ea typeface="宋体" pitchFamily="2" charset="-122"/>
                </a:endParaRPr>
              </a:p>
            </p:txBody>
          </p:sp>
          <p:sp>
            <p:nvSpPr>
              <p:cNvPr id="19" name="矩形 18"/>
              <p:cNvSpPr/>
              <p:nvPr/>
            </p:nvSpPr>
            <p:spPr>
              <a:xfrm>
                <a:off x="6491318" y="4114391"/>
                <a:ext cx="186400" cy="186400"/>
              </a:xfrm>
              <a:prstGeom prst="rect">
                <a:avLst/>
              </a:prstGeom>
              <a:solidFill>
                <a:schemeClr val="accent1"/>
              </a:solidFill>
              <a:ln>
                <a:noFill/>
              </a:ln>
              <a:effectLst/>
            </p:spPr>
            <p:txBody>
              <a:bodyPr wrap="none" lIns="108000" tIns="108000" rIns="108000" bIns="108000" rtlCol="0" anchor="ctr" anchorCtr="0">
                <a:noAutofit/>
              </a:bodyPr>
              <a:lstStyle/>
              <a:p>
                <a:pPr algn="ctr"/>
                <a:endParaRPr kumimoji="1" lang="zh-CN" altLang="en-US" sz="2000" b="1" dirty="0">
                  <a:noFill/>
                </a:endParaRPr>
              </a:p>
            </p:txBody>
          </p:sp>
        </p:grpSp>
        <p:grpSp>
          <p:nvGrpSpPr>
            <p:cNvPr id="26" name="组合 25"/>
            <p:cNvGrpSpPr/>
            <p:nvPr/>
          </p:nvGrpSpPr>
          <p:grpSpPr>
            <a:xfrm>
              <a:off x="9194801" y="2567799"/>
              <a:ext cx="2324100" cy="3386959"/>
              <a:chOff x="9194801" y="2567799"/>
              <a:chExt cx="2324100" cy="3386959"/>
            </a:xfrm>
          </p:grpSpPr>
          <p:sp>
            <p:nvSpPr>
              <p:cNvPr id="22" name="矩形 21"/>
              <p:cNvSpPr/>
              <p:nvPr/>
            </p:nvSpPr>
            <p:spPr>
              <a:xfrm>
                <a:off x="9194801" y="4884069"/>
                <a:ext cx="2324100" cy="1070689"/>
              </a:xfrm>
              <a:prstGeom prst="rect">
                <a:avLst/>
              </a:prstGeom>
              <a:ln>
                <a:noFill/>
              </a:ln>
            </p:spPr>
            <p:txBody>
              <a:bodyPr wrap="square" lIns="91440" tIns="45720" rIns="91440" bIns="45720" anchor="t" anchorCtr="0">
                <a:normAutofit/>
              </a:bodyPr>
              <a:lstStyle/>
              <a:p>
                <a:pPr>
                  <a:lnSpc>
                    <a:spcPct val="120000"/>
                  </a:lnSpc>
                </a:pPr>
                <a:r>
                  <a:rPr kumimoji="1" lang="fr-FR" altLang="zh-CN" sz="1200">
                    <a:latin typeface="Calibri" pitchFamily="34" charset="0"/>
                    <a:ea typeface="宋体" pitchFamily="2" charset="-122"/>
                  </a:rPr>
                  <a:t>Erat clita aliquam ea ut sit lorem labore dolore sadipscing.</a:t>
                </a:r>
                <a:endParaRPr kumimoji="1" lang="en-US" altLang="zh-CN" sz="1200" dirty="0">
                  <a:latin typeface="Calibri" pitchFamily="34" charset="0"/>
                  <a:ea typeface="宋体" pitchFamily="2" charset="-122"/>
                </a:endParaRPr>
              </a:p>
            </p:txBody>
          </p:sp>
          <p:sp>
            <p:nvSpPr>
              <p:cNvPr id="23" name="文本框 22"/>
              <p:cNvSpPr txBox="1"/>
              <p:nvPr/>
            </p:nvSpPr>
            <p:spPr>
              <a:xfrm>
                <a:off x="9194801" y="4338995"/>
                <a:ext cx="2324099" cy="545073"/>
              </a:xfrm>
              <a:prstGeom prst="rect">
                <a:avLst/>
              </a:prstGeom>
              <a:noFill/>
            </p:spPr>
            <p:txBody>
              <a:bodyPr wrap="square" anchor="b" anchorCtr="0">
                <a:normAutofit/>
              </a:bodyPr>
              <a:lstStyle/>
              <a:p>
                <a:r>
                  <a:rPr lang="en-US" altLang="zh-CN" b="1">
                    <a:latin typeface="Calibri" pitchFamily="34" charset="0"/>
                    <a:ea typeface="宋体" pitchFamily="2" charset="-122"/>
                  </a:rPr>
                  <a:t>Click to add text</a:t>
                </a:r>
                <a:endParaRPr lang="en-US" altLang="zh-CN" b="1" dirty="0">
                  <a:latin typeface="Calibri" pitchFamily="34" charset="0"/>
                  <a:ea typeface="宋体" pitchFamily="2" charset="-122"/>
                </a:endParaRPr>
              </a:p>
            </p:txBody>
          </p:sp>
          <p:sp>
            <p:nvSpPr>
              <p:cNvPr id="24" name="箭头: 五边形 23"/>
              <p:cNvSpPr/>
              <p:nvPr/>
            </p:nvSpPr>
            <p:spPr>
              <a:xfrm>
                <a:off x="9285318" y="2567799"/>
                <a:ext cx="1017876" cy="1235851"/>
              </a:xfrm>
              <a:prstGeom prst="homePlate">
                <a:avLst>
                  <a:gd name="adj" fmla="val 100001"/>
                </a:avLst>
              </a:prstGeom>
              <a:solidFill>
                <a:schemeClr val="accent2"/>
              </a:solidFill>
              <a:ln>
                <a:noFill/>
              </a:ln>
              <a:effectLst/>
            </p:spPr>
            <p:txBody>
              <a:bodyPr wrap="none" lIns="108000" tIns="108000" rIns="108000" bIns="108000" rtlCol="0" anchor="ctr" anchorCtr="0">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kumimoji="1" lang="en-US" altLang="zh-CN" sz="2000" b="1" dirty="0">
                    <a:solidFill>
                      <a:srgbClr val="FFFFFF"/>
                    </a:solidFill>
                    <a:latin typeface="Calibri" pitchFamily="34" charset="0"/>
                    <a:ea typeface="宋体" pitchFamily="2" charset="-122"/>
                  </a:rPr>
                  <a:t>04</a:t>
                </a:r>
                <a:endParaRPr kumimoji="1" lang="zh-CN" altLang="en-US" sz="2000" b="1" dirty="0">
                  <a:solidFill>
                    <a:srgbClr val="FFFFFF"/>
                  </a:solidFill>
                  <a:latin typeface="Calibri" pitchFamily="34" charset="0"/>
                  <a:ea typeface="宋体" pitchFamily="2" charset="-122"/>
                </a:endParaRPr>
              </a:p>
            </p:txBody>
          </p:sp>
          <p:sp>
            <p:nvSpPr>
              <p:cNvPr id="25" name="矩形 24"/>
              <p:cNvSpPr/>
              <p:nvPr/>
            </p:nvSpPr>
            <p:spPr>
              <a:xfrm>
                <a:off x="9285318" y="4114391"/>
                <a:ext cx="186400" cy="186400"/>
              </a:xfrm>
              <a:prstGeom prst="rect">
                <a:avLst/>
              </a:prstGeom>
              <a:solidFill>
                <a:schemeClr val="accent2"/>
              </a:solidFill>
              <a:ln>
                <a:noFill/>
              </a:ln>
              <a:effectLst/>
            </p:spPr>
            <p:txBody>
              <a:bodyPr wrap="none" lIns="108000" tIns="108000" rIns="108000" bIns="108000" rtlCol="0" anchor="ctr" anchorCtr="0">
                <a:noAutofit/>
              </a:bodyPr>
              <a:lstStyle/>
              <a:p>
                <a:pPr algn="ctr"/>
                <a:endParaRPr kumimoji="1" lang="zh-CN" altLang="en-US" sz="2000" b="1" dirty="0">
                  <a:noFill/>
                </a:endParaRPr>
              </a:p>
            </p:txBody>
          </p:sp>
        </p:grpSp>
      </p:grpSp>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组合 14"/>
          <p:cNvGrpSpPr/>
          <p:nvPr/>
        </p:nvGrpSpPr>
        <p:grpSpPr>
          <a:xfrm>
            <a:off x="0" y="1130300"/>
            <a:ext cx="12192000" cy="5105400"/>
            <a:chOff x="0" y="1130300"/>
            <a:chExt cx="12192000" cy="5105400"/>
          </a:xfrm>
        </p:grpSpPr>
        <p:sp>
          <p:nvSpPr>
            <p:cNvPr id="45" name="矩形: 圆角 44"/>
            <p:cNvSpPr/>
            <p:nvPr/>
          </p:nvSpPr>
          <p:spPr>
            <a:xfrm>
              <a:off x="0" y="1909320"/>
              <a:ext cx="12192000" cy="1490821"/>
            </a:xfrm>
            <a:prstGeom prst="roundRect">
              <a:avLst>
                <a:gd name="adj" fmla="val 0"/>
              </a:avLst>
            </a:prstGeom>
            <a:blipFill>
              <a:blip r:embed="rId1"/>
              <a:srcRect/>
              <a:stretch>
                <a:fillRect t="-215264" b="-213790"/>
              </a:stretch>
            </a:blipFill>
            <a:ln w="12700" cap="flat" cmpd="sng" algn="ctr">
              <a:noFill/>
              <a:prstDash val="solid"/>
              <a:miter lim="800000"/>
            </a:ln>
            <a:effectLst/>
            <a:extLst>
              <a:ext uri="{91240B29-F687-4F45-9708-019B960494DF}">
                <a14:hiddenLine xmlns:a14="http://schemas.microsoft.com/office/drawing/2010/main" w="12700">
                  <a:solidFill>
                    <a:schemeClr val="accent1">
                      <a:shade val="50000"/>
                    </a:schemeClr>
                  </a:solidFill>
                  <a:prstDash val="solid"/>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p>
          </p:txBody>
        </p:sp>
        <p:sp>
          <p:nvSpPr>
            <p:cNvPr id="44" name="文本框 43"/>
            <p:cNvSpPr txBox="1"/>
            <p:nvPr/>
          </p:nvSpPr>
          <p:spPr>
            <a:xfrm>
              <a:off x="1587027" y="1130300"/>
              <a:ext cx="9017946" cy="618464"/>
            </a:xfrm>
            <a:prstGeom prst="rect">
              <a:avLst/>
            </a:prstGeom>
            <a:noFill/>
            <a:ln>
              <a:noFill/>
            </a:ln>
          </p:spPr>
          <p:txBody>
            <a:bodyPr wrap="square" lIns="91440" tIns="45720" rIns="91440" bIns="45720" anchor="b" anchorCtr="0">
              <a:normAutofit/>
            </a:bodyPr>
            <a:lstStyle/>
            <a:p>
              <a:pPr algn="ctr" defTabSz="913765">
                <a:buSzPct val="25000"/>
                <a:defRPr/>
              </a:pPr>
              <a:r>
                <a:rPr lang="en-US" altLang="zh-CN" sz="2400" b="1">
                  <a:latin typeface="Calibri" pitchFamily="34" charset="0"/>
                  <a:ea typeface="宋体" pitchFamily="2" charset="-122"/>
                </a:rPr>
                <a:t>Unified fonts make reading more fluent</a:t>
              </a:r>
              <a:endParaRPr lang="en-US" altLang="zh-CN" sz="2400" b="1" dirty="0">
                <a:latin typeface="Calibri" pitchFamily="34" charset="0"/>
                <a:ea typeface="宋体" pitchFamily="2" charset="-122"/>
              </a:endParaRPr>
            </a:p>
          </p:txBody>
        </p:sp>
        <p:grpSp>
          <p:nvGrpSpPr>
            <p:cNvPr id="13" name="组合 12"/>
            <p:cNvGrpSpPr/>
            <p:nvPr/>
          </p:nvGrpSpPr>
          <p:grpSpPr>
            <a:xfrm>
              <a:off x="802782" y="2730914"/>
              <a:ext cx="2132543" cy="3504786"/>
              <a:chOff x="802782" y="2730914"/>
              <a:chExt cx="2132543" cy="3504786"/>
            </a:xfrm>
          </p:grpSpPr>
          <p:sp>
            <p:nvSpPr>
              <p:cNvPr id="21" name="椭圆 20"/>
              <p:cNvSpPr/>
              <p:nvPr/>
            </p:nvSpPr>
            <p:spPr>
              <a:xfrm>
                <a:off x="1258723" y="2730914"/>
                <a:ext cx="1220660" cy="1186077"/>
              </a:xfrm>
              <a:prstGeom prst="ellipse">
                <a:avLst/>
              </a:prstGeom>
              <a:gradFill>
                <a:gsLst>
                  <a:gs pos="0">
                    <a:schemeClr val="accent1">
                      <a:lumMod val="60000"/>
                      <a:lumOff val="40000"/>
                    </a:schemeClr>
                  </a:gs>
                  <a:gs pos="60000">
                    <a:schemeClr val="accent1"/>
                  </a:gs>
                </a:gsLst>
                <a:lin ang="2700000" scaled="0"/>
              </a:gradFill>
              <a:ln w="57150" cap="rnd">
                <a:noFill/>
                <a:prstDash val="solid"/>
                <a:round/>
              </a:ln>
              <a:effectLst>
                <a:outerShdw blurRad="50800" dist="50800" dir="5400000" algn="ctr" rotWithShape="0">
                  <a:schemeClr val="accent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normAutofit/>
              </a:bodyPr>
              <a:lstStyle/>
              <a:p>
                <a:pPr algn="ctr" defTabSz="913765"/>
                <a:r>
                  <a:rPr lang="nb-NO" altLang="zh-CN" sz="2400" b="1" dirty="0">
                    <a:solidFill>
                      <a:srgbClr val="FFFFFF"/>
                    </a:solidFill>
                    <a:latin typeface="Calibri" pitchFamily="34" charset="0"/>
                    <a:ea typeface="宋体" pitchFamily="2" charset="-122"/>
                  </a:rPr>
                  <a:t>Step1</a:t>
                </a:r>
                <a:endParaRPr lang="nb-NO" altLang="zh-CN" sz="2400" b="1" dirty="0">
                  <a:solidFill>
                    <a:srgbClr val="FFFFFF"/>
                  </a:solidFill>
                  <a:latin typeface="Calibri" pitchFamily="34" charset="0"/>
                  <a:ea typeface="宋体" pitchFamily="2" charset="-122"/>
                </a:endParaRPr>
              </a:p>
            </p:txBody>
          </p:sp>
          <p:sp>
            <p:nvSpPr>
              <p:cNvPr id="22" name="任意多边形: 形状 21"/>
              <p:cNvSpPr/>
              <p:nvPr/>
            </p:nvSpPr>
            <p:spPr bwMode="auto">
              <a:xfrm>
                <a:off x="1384099" y="3492305"/>
                <a:ext cx="969909" cy="942430"/>
              </a:xfrm>
              <a:custGeom>
                <a:avLst/>
                <a:gdLst>
                  <a:gd name="T0" fmla="*/ 988 w 988"/>
                  <a:gd name="T1" fmla="*/ 0 h 988"/>
                  <a:gd name="T2" fmla="*/ 0 w 988"/>
                  <a:gd name="T3" fmla="*/ 0 h 988"/>
                  <a:gd name="T4" fmla="*/ 343 w 988"/>
                  <a:gd name="T5" fmla="*/ 668 h 988"/>
                  <a:gd name="T6" fmla="*/ 241 w 988"/>
                  <a:gd name="T7" fmla="*/ 668 h 988"/>
                  <a:gd name="T8" fmla="*/ 520 w 988"/>
                  <a:gd name="T9" fmla="*/ 988 h 988"/>
                  <a:gd name="T10" fmla="*/ 804 w 988"/>
                  <a:gd name="T11" fmla="*/ 668 h 988"/>
                  <a:gd name="T12" fmla="*/ 696 w 988"/>
                  <a:gd name="T13" fmla="*/ 668 h 988"/>
                  <a:gd name="T14" fmla="*/ 988 w 988"/>
                  <a:gd name="T15" fmla="*/ 0 h 9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8" h="988">
                    <a:moveTo>
                      <a:pt x="988" y="0"/>
                    </a:moveTo>
                    <a:lnTo>
                      <a:pt x="0" y="0"/>
                    </a:lnTo>
                    <a:lnTo>
                      <a:pt x="343" y="668"/>
                    </a:lnTo>
                    <a:lnTo>
                      <a:pt x="241" y="668"/>
                    </a:lnTo>
                    <a:lnTo>
                      <a:pt x="520" y="988"/>
                    </a:lnTo>
                    <a:lnTo>
                      <a:pt x="804" y="668"/>
                    </a:lnTo>
                    <a:lnTo>
                      <a:pt x="696" y="668"/>
                    </a:lnTo>
                    <a:lnTo>
                      <a:pt x="988" y="0"/>
                    </a:lnTo>
                    <a:close/>
                  </a:path>
                </a:pathLst>
              </a:custGeom>
              <a:gradFill>
                <a:gsLst>
                  <a:gs pos="0">
                    <a:schemeClr val="accent1">
                      <a:alpha val="0"/>
                    </a:schemeClr>
                  </a:gs>
                  <a:gs pos="100000">
                    <a:schemeClr val="accent1">
                      <a:alpha val="40000"/>
                    </a:schemeClr>
                  </a:gs>
                </a:gsLst>
                <a:lin ang="5400000" scaled="1"/>
              </a:gradFill>
              <a:ln w="9525">
                <a:noFill/>
                <a:round/>
              </a:ln>
            </p:spPr>
            <p:txBody>
              <a:bodyPr vert="horz" wrap="square" lIns="91440" tIns="45720" rIns="91440" bIns="45720" numCol="1" anchor="t" anchorCtr="0" compatLnSpc="1"/>
              <a:lstStyle/>
              <a:p>
                <a:pPr algn="ctr"/>
                <a:endParaRPr lang="zh-CN" altLang="en-US" dirty="0"/>
              </a:p>
            </p:txBody>
          </p:sp>
          <p:sp>
            <p:nvSpPr>
              <p:cNvPr id="20" name="矩形: 圆角 19"/>
              <p:cNvSpPr/>
              <p:nvPr/>
            </p:nvSpPr>
            <p:spPr>
              <a:xfrm>
                <a:off x="802782" y="4595291"/>
                <a:ext cx="2132542" cy="579694"/>
              </a:xfrm>
              <a:prstGeom prst="roundRect">
                <a:avLst>
                  <a:gd name="adj" fmla="val 50000"/>
                </a:avLst>
              </a:prstGeom>
              <a:solidFill>
                <a:schemeClr val="accent1">
                  <a:alpha val="15000"/>
                </a:schemeClr>
              </a:solid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3765"/>
                <a:r>
                  <a:rPr lang="en-US" altLang="zh-CN" b="1">
                    <a:solidFill>
                      <a:schemeClr val="accent1"/>
                    </a:solidFill>
                    <a:latin typeface="Calibri" pitchFamily="34" charset="0"/>
                    <a:ea typeface="宋体" pitchFamily="2" charset="-122"/>
                  </a:rPr>
                  <a:t>Click to add text</a:t>
                </a:r>
                <a:endParaRPr lang="en-US" altLang="zh-CN" b="1" dirty="0">
                  <a:solidFill>
                    <a:schemeClr val="accent1"/>
                  </a:solidFill>
                  <a:latin typeface="Calibri" pitchFamily="34" charset="0"/>
                  <a:ea typeface="宋体" pitchFamily="2" charset="-122"/>
                </a:endParaRPr>
              </a:p>
            </p:txBody>
          </p:sp>
          <p:sp>
            <p:nvSpPr>
              <p:cNvPr id="18" name="矩形 17"/>
              <p:cNvSpPr/>
              <p:nvPr/>
            </p:nvSpPr>
            <p:spPr bwMode="auto">
              <a:xfrm>
                <a:off x="802782" y="5174985"/>
                <a:ext cx="2132543" cy="10607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1">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20000"/>
                  </a:lnSpc>
                </a:pPr>
                <a:r>
                  <a:rPr kumimoji="1" lang="fr-FR" altLang="zh-CN" sz="1200">
                    <a:latin typeface="Calibri" pitchFamily="34" charset="0"/>
                    <a:ea typeface="宋体" pitchFamily="2" charset="-122"/>
                  </a:rPr>
                  <a:t>Est quis magna hendrerit est exerci dolore eirmod odio.</a:t>
                </a:r>
                <a:endParaRPr kumimoji="1" lang="en-US" altLang="zh-CN" sz="1200" dirty="0">
                  <a:latin typeface="Calibri" pitchFamily="34" charset="0"/>
                  <a:ea typeface="宋体" pitchFamily="2" charset="-122"/>
                </a:endParaRPr>
              </a:p>
            </p:txBody>
          </p:sp>
        </p:grpSp>
        <p:grpSp>
          <p:nvGrpSpPr>
            <p:cNvPr id="10" name="组合 9"/>
            <p:cNvGrpSpPr/>
            <p:nvPr/>
          </p:nvGrpSpPr>
          <p:grpSpPr>
            <a:xfrm>
              <a:off x="3663974" y="2730914"/>
              <a:ext cx="2132543" cy="3504786"/>
              <a:chOff x="3663974" y="2730914"/>
              <a:chExt cx="2132543" cy="3504786"/>
            </a:xfrm>
          </p:grpSpPr>
          <p:sp>
            <p:nvSpPr>
              <p:cNvPr id="7" name="椭圆 6"/>
              <p:cNvSpPr/>
              <p:nvPr/>
            </p:nvSpPr>
            <p:spPr>
              <a:xfrm>
                <a:off x="4119915" y="2730914"/>
                <a:ext cx="1220660" cy="1186077"/>
              </a:xfrm>
              <a:prstGeom prst="ellipse">
                <a:avLst/>
              </a:prstGeom>
              <a:gradFill>
                <a:gsLst>
                  <a:gs pos="0">
                    <a:schemeClr val="accent1">
                      <a:lumMod val="60000"/>
                      <a:lumOff val="40000"/>
                    </a:schemeClr>
                  </a:gs>
                  <a:gs pos="60000">
                    <a:schemeClr val="accent1"/>
                  </a:gs>
                </a:gsLst>
                <a:lin ang="2700000" scaled="0"/>
              </a:gradFill>
              <a:ln w="57150" cap="rnd">
                <a:noFill/>
                <a:prstDash val="solid"/>
                <a:round/>
              </a:ln>
              <a:effectLst>
                <a:outerShdw blurRad="50800" dist="50800" dir="5400000" algn="ctr" rotWithShape="0">
                  <a:schemeClr val="accent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normAutofit/>
              </a:bodyPr>
              <a:lstStyle/>
              <a:p>
                <a:pPr algn="ctr" defTabSz="913765"/>
                <a:r>
                  <a:rPr lang="nb-NO" altLang="zh-CN" sz="2400" b="1">
                    <a:solidFill>
                      <a:srgbClr val="FFFFFF"/>
                    </a:solidFill>
                    <a:latin typeface="Calibri" pitchFamily="34" charset="0"/>
                    <a:ea typeface="宋体" pitchFamily="2" charset="-122"/>
                  </a:rPr>
                  <a:t>Step2</a:t>
                </a:r>
                <a:endParaRPr lang="nb-NO" altLang="zh-CN" sz="2400" b="1" dirty="0">
                  <a:solidFill>
                    <a:srgbClr val="FFFFFF"/>
                  </a:solidFill>
                  <a:latin typeface="Calibri" pitchFamily="34" charset="0"/>
                  <a:ea typeface="宋体" pitchFamily="2" charset="-122"/>
                </a:endParaRPr>
              </a:p>
            </p:txBody>
          </p:sp>
          <p:sp>
            <p:nvSpPr>
              <p:cNvPr id="8" name="任意多边形: 形状 7"/>
              <p:cNvSpPr/>
              <p:nvPr/>
            </p:nvSpPr>
            <p:spPr bwMode="auto">
              <a:xfrm>
                <a:off x="4245291" y="3492305"/>
                <a:ext cx="969909" cy="942430"/>
              </a:xfrm>
              <a:custGeom>
                <a:avLst/>
                <a:gdLst>
                  <a:gd name="T0" fmla="*/ 988 w 988"/>
                  <a:gd name="T1" fmla="*/ 0 h 988"/>
                  <a:gd name="T2" fmla="*/ 0 w 988"/>
                  <a:gd name="T3" fmla="*/ 0 h 988"/>
                  <a:gd name="T4" fmla="*/ 343 w 988"/>
                  <a:gd name="T5" fmla="*/ 668 h 988"/>
                  <a:gd name="T6" fmla="*/ 241 w 988"/>
                  <a:gd name="T7" fmla="*/ 668 h 988"/>
                  <a:gd name="T8" fmla="*/ 520 w 988"/>
                  <a:gd name="T9" fmla="*/ 988 h 988"/>
                  <a:gd name="T10" fmla="*/ 804 w 988"/>
                  <a:gd name="T11" fmla="*/ 668 h 988"/>
                  <a:gd name="T12" fmla="*/ 696 w 988"/>
                  <a:gd name="T13" fmla="*/ 668 h 988"/>
                  <a:gd name="T14" fmla="*/ 988 w 988"/>
                  <a:gd name="T15" fmla="*/ 0 h 9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8" h="988">
                    <a:moveTo>
                      <a:pt x="988" y="0"/>
                    </a:moveTo>
                    <a:lnTo>
                      <a:pt x="0" y="0"/>
                    </a:lnTo>
                    <a:lnTo>
                      <a:pt x="343" y="668"/>
                    </a:lnTo>
                    <a:lnTo>
                      <a:pt x="241" y="668"/>
                    </a:lnTo>
                    <a:lnTo>
                      <a:pt x="520" y="988"/>
                    </a:lnTo>
                    <a:lnTo>
                      <a:pt x="804" y="668"/>
                    </a:lnTo>
                    <a:lnTo>
                      <a:pt x="696" y="668"/>
                    </a:lnTo>
                    <a:lnTo>
                      <a:pt x="988" y="0"/>
                    </a:lnTo>
                    <a:close/>
                  </a:path>
                </a:pathLst>
              </a:custGeom>
              <a:gradFill>
                <a:gsLst>
                  <a:gs pos="0">
                    <a:schemeClr val="accent1">
                      <a:alpha val="0"/>
                    </a:schemeClr>
                  </a:gs>
                  <a:gs pos="100000">
                    <a:schemeClr val="accent1">
                      <a:alpha val="40000"/>
                    </a:schemeClr>
                  </a:gs>
                </a:gsLst>
                <a:lin ang="5400000" scaled="1"/>
              </a:gradFill>
              <a:ln w="9525">
                <a:noFill/>
                <a:round/>
              </a:ln>
            </p:spPr>
            <p:txBody>
              <a:bodyPr vert="horz" wrap="square" lIns="91440" tIns="45720" rIns="91440" bIns="45720" numCol="1" anchor="t" anchorCtr="0" compatLnSpc="1"/>
              <a:lstStyle/>
              <a:p>
                <a:pPr algn="ctr"/>
                <a:endParaRPr lang="zh-CN" altLang="en-US" dirty="0"/>
              </a:p>
            </p:txBody>
          </p:sp>
          <p:sp>
            <p:nvSpPr>
              <p:cNvPr id="6" name="矩形: 圆角 5"/>
              <p:cNvSpPr/>
              <p:nvPr/>
            </p:nvSpPr>
            <p:spPr>
              <a:xfrm>
                <a:off x="3663974" y="4595291"/>
                <a:ext cx="2132542" cy="579694"/>
              </a:xfrm>
              <a:prstGeom prst="roundRect">
                <a:avLst>
                  <a:gd name="adj" fmla="val 50000"/>
                </a:avLst>
              </a:prstGeom>
              <a:gradFill>
                <a:gsLst>
                  <a:gs pos="0">
                    <a:schemeClr val="accent1">
                      <a:lumMod val="60000"/>
                      <a:lumOff val="40000"/>
                    </a:schemeClr>
                  </a:gs>
                  <a:gs pos="60000">
                    <a:schemeClr val="accent1"/>
                  </a:gs>
                </a:gsLst>
                <a:lin ang="2700000" scaled="0"/>
              </a:gradFill>
              <a:ln w="57150" cap="rnd">
                <a:noFill/>
                <a:prstDash val="solid"/>
                <a:round/>
              </a:ln>
              <a:effectLst>
                <a:outerShdw blurRad="50800" dist="50800" dir="5400000" algn="ctr" rotWithShape="0">
                  <a:schemeClr val="accent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3765"/>
                <a:r>
                  <a:rPr lang="en-US" altLang="zh-CN" b="1">
                    <a:solidFill>
                      <a:srgbClr val="FFFFFF"/>
                    </a:solidFill>
                    <a:latin typeface="Calibri" pitchFamily="34" charset="0"/>
                    <a:ea typeface="宋体" pitchFamily="2" charset="-122"/>
                  </a:rPr>
                  <a:t>Click to add text</a:t>
                </a:r>
                <a:endParaRPr lang="en-US" altLang="zh-CN" b="1" dirty="0">
                  <a:solidFill>
                    <a:srgbClr val="FFFFFF"/>
                  </a:solidFill>
                  <a:latin typeface="Calibri" pitchFamily="34" charset="0"/>
                  <a:ea typeface="宋体" pitchFamily="2" charset="-122"/>
                </a:endParaRPr>
              </a:p>
            </p:txBody>
          </p:sp>
          <p:sp>
            <p:nvSpPr>
              <p:cNvPr id="4" name="矩形 3"/>
              <p:cNvSpPr/>
              <p:nvPr/>
            </p:nvSpPr>
            <p:spPr bwMode="auto">
              <a:xfrm>
                <a:off x="3663974" y="5174985"/>
                <a:ext cx="2132543" cy="10607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1">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20000"/>
                  </a:lnSpc>
                </a:pPr>
                <a:r>
                  <a:rPr kumimoji="1" lang="en-US" altLang="zh-CN" sz="1200">
                    <a:latin typeface="Calibri" pitchFamily="34" charset="0"/>
                    <a:ea typeface="宋体" pitchFamily="2" charset="-122"/>
                  </a:rPr>
                  <a:t>Clita justo tincidunt consetetur invidunt sanctus.</a:t>
                </a:r>
                <a:endParaRPr kumimoji="1" lang="en-US" altLang="zh-CN" sz="1200" dirty="0">
                  <a:latin typeface="Calibri" pitchFamily="34" charset="0"/>
                  <a:ea typeface="宋体" pitchFamily="2" charset="-122"/>
                </a:endParaRPr>
              </a:p>
            </p:txBody>
          </p:sp>
        </p:grpSp>
        <p:grpSp>
          <p:nvGrpSpPr>
            <p:cNvPr id="11" name="组合 10"/>
            <p:cNvGrpSpPr/>
            <p:nvPr/>
          </p:nvGrpSpPr>
          <p:grpSpPr>
            <a:xfrm>
              <a:off x="6525166" y="2730914"/>
              <a:ext cx="2132543" cy="3504786"/>
              <a:chOff x="6525166" y="2730914"/>
              <a:chExt cx="2132543" cy="3504786"/>
            </a:xfrm>
          </p:grpSpPr>
          <p:sp>
            <p:nvSpPr>
              <p:cNvPr id="35" name="椭圆 34"/>
              <p:cNvSpPr/>
              <p:nvPr/>
            </p:nvSpPr>
            <p:spPr>
              <a:xfrm>
                <a:off x="6981107" y="2730914"/>
                <a:ext cx="1220660" cy="1186077"/>
              </a:xfrm>
              <a:prstGeom prst="ellipse">
                <a:avLst/>
              </a:prstGeom>
              <a:gradFill>
                <a:gsLst>
                  <a:gs pos="0">
                    <a:schemeClr val="accent1">
                      <a:lumMod val="60000"/>
                      <a:lumOff val="40000"/>
                    </a:schemeClr>
                  </a:gs>
                  <a:gs pos="60000">
                    <a:schemeClr val="accent1"/>
                  </a:gs>
                </a:gsLst>
                <a:lin ang="2700000" scaled="0"/>
              </a:gradFill>
              <a:ln w="57150" cap="rnd">
                <a:noFill/>
                <a:prstDash val="solid"/>
                <a:round/>
              </a:ln>
              <a:effectLst>
                <a:outerShdw blurRad="50800" dist="50800" dir="5400000" algn="ctr" rotWithShape="0">
                  <a:schemeClr val="accent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normAutofit/>
              </a:bodyPr>
              <a:lstStyle/>
              <a:p>
                <a:pPr algn="ctr" defTabSz="913765"/>
                <a:r>
                  <a:rPr lang="nb-NO" altLang="zh-CN" sz="2400" b="1">
                    <a:solidFill>
                      <a:srgbClr val="FFFFFF"/>
                    </a:solidFill>
                    <a:latin typeface="Calibri" pitchFamily="34" charset="0"/>
                    <a:ea typeface="宋体" pitchFamily="2" charset="-122"/>
                  </a:rPr>
                  <a:t>Step3</a:t>
                </a:r>
                <a:endParaRPr lang="nb-NO" altLang="zh-CN" sz="2400" b="1" dirty="0">
                  <a:solidFill>
                    <a:srgbClr val="FFFFFF"/>
                  </a:solidFill>
                  <a:latin typeface="Calibri" pitchFamily="34" charset="0"/>
                  <a:ea typeface="宋体" pitchFamily="2" charset="-122"/>
                </a:endParaRPr>
              </a:p>
            </p:txBody>
          </p:sp>
          <p:sp>
            <p:nvSpPr>
              <p:cNvPr id="36" name="任意多边形: 形状 35"/>
              <p:cNvSpPr/>
              <p:nvPr/>
            </p:nvSpPr>
            <p:spPr bwMode="auto">
              <a:xfrm>
                <a:off x="7106483" y="3492305"/>
                <a:ext cx="969909" cy="942430"/>
              </a:xfrm>
              <a:custGeom>
                <a:avLst/>
                <a:gdLst>
                  <a:gd name="T0" fmla="*/ 988 w 988"/>
                  <a:gd name="T1" fmla="*/ 0 h 988"/>
                  <a:gd name="T2" fmla="*/ 0 w 988"/>
                  <a:gd name="T3" fmla="*/ 0 h 988"/>
                  <a:gd name="T4" fmla="*/ 343 w 988"/>
                  <a:gd name="T5" fmla="*/ 668 h 988"/>
                  <a:gd name="T6" fmla="*/ 241 w 988"/>
                  <a:gd name="T7" fmla="*/ 668 h 988"/>
                  <a:gd name="T8" fmla="*/ 520 w 988"/>
                  <a:gd name="T9" fmla="*/ 988 h 988"/>
                  <a:gd name="T10" fmla="*/ 804 w 988"/>
                  <a:gd name="T11" fmla="*/ 668 h 988"/>
                  <a:gd name="T12" fmla="*/ 696 w 988"/>
                  <a:gd name="T13" fmla="*/ 668 h 988"/>
                  <a:gd name="T14" fmla="*/ 988 w 988"/>
                  <a:gd name="T15" fmla="*/ 0 h 9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8" h="988">
                    <a:moveTo>
                      <a:pt x="988" y="0"/>
                    </a:moveTo>
                    <a:lnTo>
                      <a:pt x="0" y="0"/>
                    </a:lnTo>
                    <a:lnTo>
                      <a:pt x="343" y="668"/>
                    </a:lnTo>
                    <a:lnTo>
                      <a:pt x="241" y="668"/>
                    </a:lnTo>
                    <a:lnTo>
                      <a:pt x="520" y="988"/>
                    </a:lnTo>
                    <a:lnTo>
                      <a:pt x="804" y="668"/>
                    </a:lnTo>
                    <a:lnTo>
                      <a:pt x="696" y="668"/>
                    </a:lnTo>
                    <a:lnTo>
                      <a:pt x="988" y="0"/>
                    </a:lnTo>
                    <a:close/>
                  </a:path>
                </a:pathLst>
              </a:custGeom>
              <a:gradFill>
                <a:gsLst>
                  <a:gs pos="0">
                    <a:schemeClr val="accent1">
                      <a:alpha val="0"/>
                    </a:schemeClr>
                  </a:gs>
                  <a:gs pos="100000">
                    <a:schemeClr val="accent1">
                      <a:alpha val="40000"/>
                    </a:schemeClr>
                  </a:gs>
                </a:gsLst>
                <a:lin ang="5400000" scaled="1"/>
              </a:gradFill>
              <a:ln w="9525">
                <a:noFill/>
                <a:round/>
              </a:ln>
            </p:spPr>
            <p:txBody>
              <a:bodyPr vert="horz" wrap="square" lIns="91440" tIns="45720" rIns="91440" bIns="45720" numCol="1" anchor="t" anchorCtr="0" compatLnSpc="1"/>
              <a:lstStyle/>
              <a:p>
                <a:pPr algn="ctr"/>
                <a:endParaRPr lang="zh-CN" altLang="en-US" dirty="0"/>
              </a:p>
            </p:txBody>
          </p:sp>
          <p:sp>
            <p:nvSpPr>
              <p:cNvPr id="34" name="矩形: 圆角 33"/>
              <p:cNvSpPr/>
              <p:nvPr/>
            </p:nvSpPr>
            <p:spPr>
              <a:xfrm>
                <a:off x="6525166" y="4595291"/>
                <a:ext cx="2132542" cy="579694"/>
              </a:xfrm>
              <a:prstGeom prst="roundRect">
                <a:avLst>
                  <a:gd name="adj" fmla="val 50000"/>
                </a:avLst>
              </a:prstGeom>
              <a:solidFill>
                <a:schemeClr val="accent1">
                  <a:alpha val="15000"/>
                </a:schemeClr>
              </a:solid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3765"/>
                <a:r>
                  <a:rPr lang="en-US" altLang="zh-CN" b="1">
                    <a:solidFill>
                      <a:schemeClr val="accent1"/>
                    </a:solidFill>
                    <a:latin typeface="Calibri" pitchFamily="34" charset="0"/>
                    <a:ea typeface="宋体" pitchFamily="2" charset="-122"/>
                  </a:rPr>
                  <a:t>Click to add text</a:t>
                </a:r>
                <a:endParaRPr lang="en-US" altLang="zh-CN" b="1" dirty="0">
                  <a:solidFill>
                    <a:schemeClr val="accent1"/>
                  </a:solidFill>
                  <a:latin typeface="Calibri" pitchFamily="34" charset="0"/>
                  <a:ea typeface="宋体" pitchFamily="2" charset="-122"/>
                </a:endParaRPr>
              </a:p>
            </p:txBody>
          </p:sp>
          <p:sp>
            <p:nvSpPr>
              <p:cNvPr id="32" name="矩形 31"/>
              <p:cNvSpPr/>
              <p:nvPr/>
            </p:nvSpPr>
            <p:spPr bwMode="auto">
              <a:xfrm>
                <a:off x="6525166" y="5174985"/>
                <a:ext cx="2132543" cy="10607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1">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20000"/>
                  </a:lnSpc>
                </a:pPr>
                <a:r>
                  <a:rPr kumimoji="1" lang="en-US" altLang="zh-CN" sz="1200">
                    <a:latin typeface="Calibri" pitchFamily="34" charset="0"/>
                    <a:ea typeface="宋体" pitchFamily="2" charset="-122"/>
                  </a:rPr>
                  <a:t>Et rebum labore lorem no dolore est diam erat sea.</a:t>
                </a:r>
                <a:endParaRPr kumimoji="1" lang="en-US" altLang="zh-CN" sz="1200" dirty="0">
                  <a:latin typeface="Calibri" pitchFamily="34" charset="0"/>
                  <a:ea typeface="宋体" pitchFamily="2" charset="-122"/>
                </a:endParaRPr>
              </a:p>
            </p:txBody>
          </p:sp>
        </p:grpSp>
        <p:grpSp>
          <p:nvGrpSpPr>
            <p:cNvPr id="12" name="组合 11"/>
            <p:cNvGrpSpPr/>
            <p:nvPr/>
          </p:nvGrpSpPr>
          <p:grpSpPr>
            <a:xfrm>
              <a:off x="9386357" y="2730914"/>
              <a:ext cx="2132543" cy="3504786"/>
              <a:chOff x="9386357" y="2730914"/>
              <a:chExt cx="2132543" cy="3504786"/>
            </a:xfrm>
          </p:grpSpPr>
          <p:sp>
            <p:nvSpPr>
              <p:cNvPr id="42" name="椭圆 41"/>
              <p:cNvSpPr/>
              <p:nvPr/>
            </p:nvSpPr>
            <p:spPr>
              <a:xfrm>
                <a:off x="9842298" y="2730914"/>
                <a:ext cx="1220660" cy="1186077"/>
              </a:xfrm>
              <a:prstGeom prst="ellipse">
                <a:avLst/>
              </a:prstGeom>
              <a:gradFill>
                <a:gsLst>
                  <a:gs pos="0">
                    <a:schemeClr val="accent1">
                      <a:lumMod val="60000"/>
                      <a:lumOff val="40000"/>
                    </a:schemeClr>
                  </a:gs>
                  <a:gs pos="60000">
                    <a:schemeClr val="accent1"/>
                  </a:gs>
                </a:gsLst>
                <a:lin ang="2700000" scaled="0"/>
              </a:gradFill>
              <a:ln w="57150" cap="rnd">
                <a:noFill/>
                <a:prstDash val="solid"/>
                <a:round/>
              </a:ln>
              <a:effectLst>
                <a:outerShdw blurRad="50800" dist="50800" dir="5400000" algn="ctr" rotWithShape="0">
                  <a:schemeClr val="accent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normAutofit/>
              </a:bodyPr>
              <a:lstStyle/>
              <a:p>
                <a:pPr algn="ctr" defTabSz="913765"/>
                <a:r>
                  <a:rPr lang="nb-NO" altLang="zh-CN" sz="2400" b="1">
                    <a:solidFill>
                      <a:srgbClr val="FFFFFF"/>
                    </a:solidFill>
                    <a:latin typeface="Calibri" pitchFamily="34" charset="0"/>
                    <a:ea typeface="宋体" pitchFamily="2" charset="-122"/>
                  </a:rPr>
                  <a:t>Step4</a:t>
                </a:r>
                <a:endParaRPr lang="nb-NO" altLang="zh-CN" sz="2400" b="1" dirty="0">
                  <a:solidFill>
                    <a:srgbClr val="FFFFFF"/>
                  </a:solidFill>
                  <a:latin typeface="Calibri" pitchFamily="34" charset="0"/>
                  <a:ea typeface="宋体" pitchFamily="2" charset="-122"/>
                </a:endParaRPr>
              </a:p>
            </p:txBody>
          </p:sp>
          <p:sp>
            <p:nvSpPr>
              <p:cNvPr id="43" name="任意多边形: 形状 42"/>
              <p:cNvSpPr/>
              <p:nvPr/>
            </p:nvSpPr>
            <p:spPr bwMode="auto">
              <a:xfrm>
                <a:off x="9967674" y="3492305"/>
                <a:ext cx="969909" cy="942430"/>
              </a:xfrm>
              <a:custGeom>
                <a:avLst/>
                <a:gdLst>
                  <a:gd name="T0" fmla="*/ 988 w 988"/>
                  <a:gd name="T1" fmla="*/ 0 h 988"/>
                  <a:gd name="T2" fmla="*/ 0 w 988"/>
                  <a:gd name="T3" fmla="*/ 0 h 988"/>
                  <a:gd name="T4" fmla="*/ 343 w 988"/>
                  <a:gd name="T5" fmla="*/ 668 h 988"/>
                  <a:gd name="T6" fmla="*/ 241 w 988"/>
                  <a:gd name="T7" fmla="*/ 668 h 988"/>
                  <a:gd name="T8" fmla="*/ 520 w 988"/>
                  <a:gd name="T9" fmla="*/ 988 h 988"/>
                  <a:gd name="T10" fmla="*/ 804 w 988"/>
                  <a:gd name="T11" fmla="*/ 668 h 988"/>
                  <a:gd name="T12" fmla="*/ 696 w 988"/>
                  <a:gd name="T13" fmla="*/ 668 h 988"/>
                  <a:gd name="T14" fmla="*/ 988 w 988"/>
                  <a:gd name="T15" fmla="*/ 0 h 9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8" h="988">
                    <a:moveTo>
                      <a:pt x="988" y="0"/>
                    </a:moveTo>
                    <a:lnTo>
                      <a:pt x="0" y="0"/>
                    </a:lnTo>
                    <a:lnTo>
                      <a:pt x="343" y="668"/>
                    </a:lnTo>
                    <a:lnTo>
                      <a:pt x="241" y="668"/>
                    </a:lnTo>
                    <a:lnTo>
                      <a:pt x="520" y="988"/>
                    </a:lnTo>
                    <a:lnTo>
                      <a:pt x="804" y="668"/>
                    </a:lnTo>
                    <a:lnTo>
                      <a:pt x="696" y="668"/>
                    </a:lnTo>
                    <a:lnTo>
                      <a:pt x="988" y="0"/>
                    </a:lnTo>
                    <a:close/>
                  </a:path>
                </a:pathLst>
              </a:custGeom>
              <a:gradFill>
                <a:gsLst>
                  <a:gs pos="0">
                    <a:schemeClr val="accent1">
                      <a:alpha val="0"/>
                    </a:schemeClr>
                  </a:gs>
                  <a:gs pos="100000">
                    <a:schemeClr val="accent1">
                      <a:alpha val="40000"/>
                    </a:schemeClr>
                  </a:gs>
                </a:gsLst>
                <a:lin ang="5400000" scaled="1"/>
              </a:gradFill>
              <a:ln w="9525">
                <a:noFill/>
                <a:round/>
              </a:ln>
            </p:spPr>
            <p:txBody>
              <a:bodyPr vert="horz" wrap="square" lIns="91440" tIns="45720" rIns="91440" bIns="45720" numCol="1" anchor="t" anchorCtr="0" compatLnSpc="1"/>
              <a:lstStyle/>
              <a:p>
                <a:pPr algn="ctr"/>
                <a:endParaRPr lang="zh-CN" altLang="en-US" dirty="0"/>
              </a:p>
            </p:txBody>
          </p:sp>
          <p:sp>
            <p:nvSpPr>
              <p:cNvPr id="41" name="矩形: 圆角 40"/>
              <p:cNvSpPr/>
              <p:nvPr/>
            </p:nvSpPr>
            <p:spPr>
              <a:xfrm>
                <a:off x="9386357" y="4595291"/>
                <a:ext cx="2132542" cy="579694"/>
              </a:xfrm>
              <a:prstGeom prst="roundRect">
                <a:avLst>
                  <a:gd name="adj" fmla="val 50000"/>
                </a:avLst>
              </a:prstGeom>
              <a:solidFill>
                <a:schemeClr val="accent1">
                  <a:alpha val="15000"/>
                </a:schemeClr>
              </a:solid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3765"/>
                <a:r>
                  <a:rPr lang="en-US" altLang="zh-CN" b="1">
                    <a:solidFill>
                      <a:schemeClr val="accent1"/>
                    </a:solidFill>
                    <a:latin typeface="Calibri" pitchFamily="34" charset="0"/>
                    <a:ea typeface="宋体" pitchFamily="2" charset="-122"/>
                  </a:rPr>
                  <a:t>Click to add text</a:t>
                </a:r>
                <a:endParaRPr lang="en-US" altLang="zh-CN" b="1" dirty="0">
                  <a:solidFill>
                    <a:schemeClr val="accent1"/>
                  </a:solidFill>
                  <a:latin typeface="Calibri" pitchFamily="34" charset="0"/>
                  <a:ea typeface="宋体" pitchFamily="2" charset="-122"/>
                </a:endParaRPr>
              </a:p>
            </p:txBody>
          </p:sp>
          <p:sp>
            <p:nvSpPr>
              <p:cNvPr id="39" name="矩形 38"/>
              <p:cNvSpPr/>
              <p:nvPr/>
            </p:nvSpPr>
            <p:spPr bwMode="auto">
              <a:xfrm>
                <a:off x="9386357" y="5174985"/>
                <a:ext cx="2132543" cy="10607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1">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20000"/>
                  </a:lnSpc>
                </a:pPr>
                <a:r>
                  <a:rPr kumimoji="1" lang="de-DE" altLang="zh-CN" sz="1200">
                    <a:latin typeface="Calibri" pitchFamily="34" charset="0"/>
                    <a:ea typeface="宋体" pitchFamily="2" charset="-122"/>
                  </a:rPr>
                  <a:t>Eirmod lorem justo duis lorem diam gubergren est est dolor.</a:t>
                </a:r>
                <a:endParaRPr kumimoji="1" lang="en-US" altLang="zh-CN" sz="1200" dirty="0">
                  <a:latin typeface="Calibri" pitchFamily="34" charset="0"/>
                  <a:ea typeface="宋体" pitchFamily="2" charset="-122"/>
                </a:endParaRPr>
              </a:p>
            </p:txBody>
          </p:sp>
        </p:grpSp>
      </p:grp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0" y="0"/>
            <a:ext cx="12192000" cy="6858000"/>
            <a:chOff x="0" y="0"/>
            <a:chExt cx="12192000" cy="6858000"/>
          </a:xfrm>
        </p:grpSpPr>
        <p:sp>
          <p:nvSpPr>
            <p:cNvPr id="5" name="任意多边形: 形状 4"/>
            <p:cNvSpPr/>
            <p:nvPr/>
          </p:nvSpPr>
          <p:spPr>
            <a:xfrm>
              <a:off x="0" y="3050715"/>
              <a:ext cx="12192000" cy="3807285"/>
            </a:xfrm>
            <a:custGeom>
              <a:avLst/>
              <a:gdLst>
                <a:gd name="connsiteX0" fmla="*/ 0 w 2380392"/>
                <a:gd name="connsiteY0" fmla="*/ 290703 h 756570"/>
                <a:gd name="connsiteX1" fmla="*/ 862203 w 2380392"/>
                <a:gd name="connsiteY1" fmla="*/ 141637 h 756570"/>
                <a:gd name="connsiteX2" fmla="*/ 1520666 w 2380392"/>
                <a:gd name="connsiteY2" fmla="*/ 215837 h 756570"/>
                <a:gd name="connsiteX3" fmla="*/ 2380393 w 2380392"/>
                <a:gd name="connsiteY3" fmla="*/ 0 h 756570"/>
                <a:gd name="connsiteX4" fmla="*/ 2380393 w 2380392"/>
                <a:gd name="connsiteY4" fmla="*/ 756571 h 756570"/>
                <a:gd name="connsiteX5" fmla="*/ 0 w 2380392"/>
                <a:gd name="connsiteY5" fmla="*/ 756571 h 756570"/>
                <a:gd name="connsiteX6" fmla="*/ 0 w 2380392"/>
                <a:gd name="connsiteY6" fmla="*/ 290703 h 756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80392" h="756570">
                  <a:moveTo>
                    <a:pt x="0" y="290703"/>
                  </a:moveTo>
                  <a:cubicBezTo>
                    <a:pt x="0" y="290703"/>
                    <a:pt x="496919" y="129159"/>
                    <a:pt x="862203" y="141637"/>
                  </a:cubicBezTo>
                  <a:cubicBezTo>
                    <a:pt x="1227487" y="154115"/>
                    <a:pt x="1314450" y="203073"/>
                    <a:pt x="1520666" y="215837"/>
                  </a:cubicBezTo>
                  <a:cubicBezTo>
                    <a:pt x="1726883" y="228600"/>
                    <a:pt x="2171700" y="154019"/>
                    <a:pt x="2380393" y="0"/>
                  </a:cubicBezTo>
                  <a:lnTo>
                    <a:pt x="2380393" y="756571"/>
                  </a:lnTo>
                  <a:lnTo>
                    <a:pt x="0" y="756571"/>
                  </a:lnTo>
                  <a:lnTo>
                    <a:pt x="0" y="290703"/>
                  </a:lnTo>
                  <a:close/>
                </a:path>
              </a:pathLst>
            </a:custGeom>
            <a:solidFill>
              <a:schemeClr val="accent1">
                <a:alpha val="10000"/>
              </a:schemeClr>
            </a:solidFill>
            <a:ln w="9525" cap="flat">
              <a:noFill/>
              <a:prstDash val="solid"/>
              <a:miter/>
            </a:ln>
          </p:spPr>
          <p:txBody>
            <a:bodyPr rtlCol="0" anchor="ctr"/>
            <a:lstStyle/>
            <a:p>
              <a:endParaRPr lang="zh-CN" altLang="en-US"/>
            </a:p>
          </p:txBody>
        </p:sp>
        <p:sp>
          <p:nvSpPr>
            <p:cNvPr id="11" name="任意多边形: 形状 10"/>
            <p:cNvSpPr/>
            <p:nvPr/>
          </p:nvSpPr>
          <p:spPr>
            <a:xfrm>
              <a:off x="11239500" y="5842000"/>
              <a:ext cx="952500" cy="1016000"/>
            </a:xfrm>
            <a:custGeom>
              <a:avLst/>
              <a:gdLst>
                <a:gd name="connsiteX0" fmla="*/ 673100 w 952500"/>
                <a:gd name="connsiteY0" fmla="*/ 0 h 1016000"/>
                <a:gd name="connsiteX1" fmla="*/ 935101 w 952500"/>
                <a:gd name="connsiteY1" fmla="*/ 52896 h 1016000"/>
                <a:gd name="connsiteX2" fmla="*/ 952500 w 952500"/>
                <a:gd name="connsiteY2" fmla="*/ 62340 h 1016000"/>
                <a:gd name="connsiteX3" fmla="*/ 952500 w 952500"/>
                <a:gd name="connsiteY3" fmla="*/ 1016000 h 1016000"/>
                <a:gd name="connsiteX4" fmla="*/ 96806 w 952500"/>
                <a:gd name="connsiteY4" fmla="*/ 1016000 h 1016000"/>
                <a:gd name="connsiteX5" fmla="*/ 52896 w 952500"/>
                <a:gd name="connsiteY5" fmla="*/ 935101 h 1016000"/>
                <a:gd name="connsiteX6" fmla="*/ 0 w 952500"/>
                <a:gd name="connsiteY6" fmla="*/ 673100 h 1016000"/>
                <a:gd name="connsiteX7" fmla="*/ 673100 w 952500"/>
                <a:gd name="connsiteY7" fmla="*/ 0 h 10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52500" h="1016000">
                  <a:moveTo>
                    <a:pt x="673100" y="0"/>
                  </a:moveTo>
                  <a:cubicBezTo>
                    <a:pt x="766036" y="0"/>
                    <a:pt x="854572" y="18835"/>
                    <a:pt x="935101" y="52896"/>
                  </a:cubicBezTo>
                  <a:lnTo>
                    <a:pt x="952500" y="62340"/>
                  </a:lnTo>
                  <a:lnTo>
                    <a:pt x="952500" y="1016000"/>
                  </a:lnTo>
                  <a:lnTo>
                    <a:pt x="96806" y="1016000"/>
                  </a:lnTo>
                  <a:lnTo>
                    <a:pt x="52896" y="935101"/>
                  </a:lnTo>
                  <a:cubicBezTo>
                    <a:pt x="18835" y="854573"/>
                    <a:pt x="0" y="766036"/>
                    <a:pt x="0" y="673100"/>
                  </a:cubicBezTo>
                  <a:cubicBezTo>
                    <a:pt x="0" y="301357"/>
                    <a:pt x="301357" y="0"/>
                    <a:pt x="673100" y="0"/>
                  </a:cubicBezTo>
                  <a:close/>
                </a:path>
              </a:pathLst>
            </a:custGeom>
            <a:solidFill>
              <a:schemeClr val="accent1">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9" name="任意多边形: 形状 8"/>
            <p:cNvSpPr/>
            <p:nvPr/>
          </p:nvSpPr>
          <p:spPr>
            <a:xfrm>
              <a:off x="0" y="0"/>
              <a:ext cx="660400" cy="1343640"/>
            </a:xfrm>
            <a:custGeom>
              <a:avLst/>
              <a:gdLst>
                <a:gd name="connsiteX0" fmla="*/ 0 w 660400"/>
                <a:gd name="connsiteY0" fmla="*/ 0 h 1343640"/>
                <a:gd name="connsiteX1" fmla="*/ 122953 w 660400"/>
                <a:gd name="connsiteY1" fmla="*/ 12395 h 1343640"/>
                <a:gd name="connsiteX2" fmla="*/ 660400 w 660400"/>
                <a:gd name="connsiteY2" fmla="*/ 671820 h 1343640"/>
                <a:gd name="connsiteX3" fmla="*/ 122953 w 660400"/>
                <a:gd name="connsiteY3" fmla="*/ 1331245 h 1343640"/>
                <a:gd name="connsiteX4" fmla="*/ 0 w 660400"/>
                <a:gd name="connsiteY4" fmla="*/ 1343640 h 13436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0400" h="1343640">
                  <a:moveTo>
                    <a:pt x="0" y="0"/>
                  </a:moveTo>
                  <a:lnTo>
                    <a:pt x="122953" y="12395"/>
                  </a:lnTo>
                  <a:cubicBezTo>
                    <a:pt x="429674" y="75159"/>
                    <a:pt x="660400" y="346545"/>
                    <a:pt x="660400" y="671820"/>
                  </a:cubicBezTo>
                  <a:cubicBezTo>
                    <a:pt x="660400" y="997095"/>
                    <a:pt x="429674" y="1268481"/>
                    <a:pt x="122953" y="1331245"/>
                  </a:cubicBezTo>
                  <a:lnTo>
                    <a:pt x="0" y="1343640"/>
                  </a:lnTo>
                  <a:close/>
                </a:path>
              </a:pathLst>
            </a:custGeom>
            <a:solidFill>
              <a:schemeClr val="accent1">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12" name="文本框 11"/>
            <p:cNvSpPr txBox="1"/>
            <p:nvPr/>
          </p:nvSpPr>
          <p:spPr>
            <a:xfrm>
              <a:off x="660400" y="1130300"/>
              <a:ext cx="10858500" cy="698500"/>
            </a:xfrm>
            <a:prstGeom prst="rect">
              <a:avLst/>
            </a:prstGeom>
            <a:noFill/>
          </p:spPr>
          <p:txBody>
            <a:bodyPr vert="horz" wrap="square" rtlCol="0" anchor="t" anchorCtr="0">
              <a:normAutofit/>
            </a:bodyPr>
            <a:lstStyle/>
            <a:p>
              <a:pPr algn="ctr"/>
              <a:r>
                <a:rPr lang="en-US" altLang="zh-CN" sz="2400" b="1" dirty="0">
                  <a:latin typeface="Calibri" pitchFamily="34" charset="0"/>
                  <a:ea typeface="宋体" pitchFamily="2" charset="-122"/>
                </a:rPr>
                <a:t>Unified fonts make reading more fluent</a:t>
              </a:r>
              <a:endParaRPr lang="zh-CN" altLang="en-US" sz="2400" b="1" dirty="0">
                <a:latin typeface="Calibri" pitchFamily="34" charset="0"/>
                <a:ea typeface="宋体" pitchFamily="2" charset="-122"/>
              </a:endParaRPr>
            </a:p>
          </p:txBody>
        </p:sp>
        <p:sp>
          <p:nvSpPr>
            <p:cNvPr id="15" name="任意多边形: 形状 14"/>
            <p:cNvSpPr/>
            <p:nvPr/>
          </p:nvSpPr>
          <p:spPr>
            <a:xfrm>
              <a:off x="0" y="3014661"/>
              <a:ext cx="12192000" cy="1527943"/>
            </a:xfrm>
            <a:custGeom>
              <a:avLst/>
              <a:gdLst>
                <a:gd name="connsiteX0" fmla="*/ 0 w 2380392"/>
                <a:gd name="connsiteY0" fmla="*/ 290703 h 290703"/>
                <a:gd name="connsiteX1" fmla="*/ 862203 w 2380392"/>
                <a:gd name="connsiteY1" fmla="*/ 141637 h 290703"/>
                <a:gd name="connsiteX2" fmla="*/ 1520666 w 2380392"/>
                <a:gd name="connsiteY2" fmla="*/ 215837 h 290703"/>
                <a:gd name="connsiteX3" fmla="*/ 2380393 w 2380392"/>
                <a:gd name="connsiteY3" fmla="*/ 0 h 290703"/>
              </a:gdLst>
              <a:ahLst/>
              <a:cxnLst>
                <a:cxn ang="0">
                  <a:pos x="connsiteX0" y="connsiteY0"/>
                </a:cxn>
                <a:cxn ang="0">
                  <a:pos x="connsiteX1" y="connsiteY1"/>
                </a:cxn>
                <a:cxn ang="0">
                  <a:pos x="connsiteX2" y="connsiteY2"/>
                </a:cxn>
                <a:cxn ang="0">
                  <a:pos x="connsiteX3" y="connsiteY3"/>
                </a:cxn>
              </a:cxnLst>
              <a:rect l="l" t="t" r="r" b="b"/>
              <a:pathLst>
                <a:path w="2380392" h="290703">
                  <a:moveTo>
                    <a:pt x="0" y="290703"/>
                  </a:moveTo>
                  <a:cubicBezTo>
                    <a:pt x="0" y="290703"/>
                    <a:pt x="496919" y="129159"/>
                    <a:pt x="862203" y="141637"/>
                  </a:cubicBezTo>
                  <a:cubicBezTo>
                    <a:pt x="1227487" y="154115"/>
                    <a:pt x="1314450" y="203073"/>
                    <a:pt x="1520666" y="215837"/>
                  </a:cubicBezTo>
                  <a:cubicBezTo>
                    <a:pt x="1726883" y="228600"/>
                    <a:pt x="2171700" y="154019"/>
                    <a:pt x="2380393" y="0"/>
                  </a:cubicBezTo>
                </a:path>
              </a:pathLst>
            </a:custGeom>
            <a:noFill/>
            <a:ln w="22225" cap="flat">
              <a:solidFill>
                <a:schemeClr val="accent1">
                  <a:alpha val="50000"/>
                </a:schemeClr>
              </a:solidFill>
              <a:prstDash val="solid"/>
              <a:miter/>
            </a:ln>
          </p:spPr>
          <p:txBody>
            <a:bodyPr rtlCol="0" anchor="ctr"/>
            <a:lstStyle/>
            <a:p>
              <a:endParaRPr lang="zh-CN" altLang="en-US"/>
            </a:p>
          </p:txBody>
        </p:sp>
        <p:grpSp>
          <p:nvGrpSpPr>
            <p:cNvPr id="49" name="组合 48"/>
            <p:cNvGrpSpPr/>
            <p:nvPr/>
          </p:nvGrpSpPr>
          <p:grpSpPr>
            <a:xfrm>
              <a:off x="796811" y="4172574"/>
              <a:ext cx="2457677" cy="1961526"/>
              <a:chOff x="755423" y="4172574"/>
              <a:chExt cx="2457677" cy="1961526"/>
            </a:xfrm>
          </p:grpSpPr>
          <p:sp>
            <p:nvSpPr>
              <p:cNvPr id="16" name="椭圆 15"/>
              <p:cNvSpPr/>
              <p:nvPr/>
            </p:nvSpPr>
            <p:spPr>
              <a:xfrm>
                <a:off x="755423" y="4172574"/>
                <a:ext cx="203200" cy="203200"/>
              </a:xfrm>
              <a:prstGeom prst="ellipse">
                <a:avLst/>
              </a:prstGeom>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8" name="直接连接符 17"/>
              <p:cNvCxnSpPr/>
              <p:nvPr/>
            </p:nvCxnSpPr>
            <p:spPr>
              <a:xfrm>
                <a:off x="857023" y="4204010"/>
                <a:ext cx="0" cy="1930090"/>
              </a:xfrm>
              <a:prstGeom prst="line">
                <a:avLst/>
              </a:prstGeom>
              <a:ln w="1270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19" name="文本框 18"/>
              <p:cNvSpPr txBox="1"/>
              <p:nvPr/>
            </p:nvSpPr>
            <p:spPr>
              <a:xfrm flipH="1">
                <a:off x="958623" y="4936914"/>
                <a:ext cx="2254477" cy="1197186"/>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rmAutofit/>
              </a:bodyPr>
              <a:lstStyle>
                <a:defPPr>
                  <a:defRPr lang="zh-CN"/>
                </a:defPPr>
                <a:lvl1pPr algn="ctr">
                  <a:defRPr sz="1400" b="1"/>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lnSpc>
                    <a:spcPct val="120000"/>
                  </a:lnSpc>
                </a:pPr>
                <a:r>
                  <a:rPr lang="en-US" altLang="zh-CN" sz="1200" b="0" dirty="0" err="1">
                    <a:solidFill>
                      <a:schemeClr val="tx1"/>
                    </a:solidFill>
                    <a:latin typeface="Calibri" pitchFamily="34" charset="0"/>
                    <a:ea typeface="宋体" pitchFamily="2" charset="-122"/>
                  </a:rPr>
                  <a:t>Gubergren</a:t>
                </a:r>
                <a:r>
                  <a:rPr lang="en-US" altLang="zh-CN" sz="1200" b="0" dirty="0">
                    <a:solidFill>
                      <a:schemeClr val="tx1"/>
                    </a:solidFill>
                    <a:latin typeface="Calibri" pitchFamily="34" charset="0"/>
                    <a:ea typeface="宋体" pitchFamily="2" charset="-122"/>
                  </a:rPr>
                  <a:t> magna sit in </a:t>
                </a:r>
                <a:r>
                  <a:rPr lang="en-US" altLang="zh-CN" sz="1200" b="0" dirty="0" err="1">
                    <a:solidFill>
                      <a:schemeClr val="tx1"/>
                    </a:solidFill>
                    <a:latin typeface="Calibri" pitchFamily="34" charset="0"/>
                    <a:ea typeface="宋体" pitchFamily="2" charset="-122"/>
                  </a:rPr>
                  <a:t>accusam</a:t>
                </a:r>
                <a:r>
                  <a:rPr lang="en-US" altLang="zh-CN" sz="1200" b="0" dirty="0">
                    <a:solidFill>
                      <a:schemeClr val="tx1"/>
                    </a:solidFill>
                    <a:latin typeface="Calibri" pitchFamily="34" charset="0"/>
                    <a:ea typeface="宋体" pitchFamily="2" charset="-122"/>
                  </a:rPr>
                  <a:t> </a:t>
                </a:r>
                <a:r>
                  <a:rPr lang="en-US" altLang="zh-CN" sz="1200" b="0" dirty="0" err="1">
                    <a:solidFill>
                      <a:schemeClr val="tx1"/>
                    </a:solidFill>
                    <a:latin typeface="Calibri" pitchFamily="34" charset="0"/>
                    <a:ea typeface="宋体" pitchFamily="2" charset="-122"/>
                  </a:rPr>
                  <a:t>sanctus</a:t>
                </a:r>
                <a:r>
                  <a:rPr lang="en-US" altLang="zh-CN" sz="1200" b="0" dirty="0">
                    <a:solidFill>
                      <a:schemeClr val="tx1"/>
                    </a:solidFill>
                    <a:latin typeface="Calibri" pitchFamily="34" charset="0"/>
                    <a:ea typeface="宋体" pitchFamily="2" charset="-122"/>
                  </a:rPr>
                  <a:t> </a:t>
                </a:r>
                <a:r>
                  <a:rPr lang="en-US" altLang="zh-CN" sz="1200" b="0" dirty="0" err="1">
                    <a:solidFill>
                      <a:schemeClr val="tx1"/>
                    </a:solidFill>
                    <a:latin typeface="Calibri" pitchFamily="34" charset="0"/>
                    <a:ea typeface="宋体" pitchFamily="2" charset="-122"/>
                  </a:rPr>
                  <a:t>clita</a:t>
                </a:r>
                <a:r>
                  <a:rPr lang="en-US" altLang="zh-CN" sz="1200" b="0" dirty="0">
                    <a:solidFill>
                      <a:schemeClr val="tx1"/>
                    </a:solidFill>
                    <a:latin typeface="Calibri" pitchFamily="34" charset="0"/>
                    <a:ea typeface="宋体" pitchFamily="2" charset="-122"/>
                  </a:rPr>
                  <a:t> labore duo.</a:t>
                </a:r>
                <a:endParaRPr lang="en-US" altLang="zh-CN" sz="1200" b="0" dirty="0">
                  <a:solidFill>
                    <a:schemeClr val="tx1"/>
                  </a:solidFill>
                  <a:latin typeface="Calibri" pitchFamily="34" charset="0"/>
                  <a:ea typeface="宋体" pitchFamily="2" charset="-122"/>
                </a:endParaRPr>
              </a:p>
            </p:txBody>
          </p:sp>
          <p:sp>
            <p:nvSpPr>
              <p:cNvPr id="20" name="文本框 19"/>
              <p:cNvSpPr txBox="1"/>
              <p:nvPr/>
            </p:nvSpPr>
            <p:spPr>
              <a:xfrm flipH="1">
                <a:off x="958623" y="4287583"/>
                <a:ext cx="2254477" cy="649330"/>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normAutofit/>
              </a:bodyPr>
              <a:lstStyle>
                <a:defPPr>
                  <a:defRPr lang="zh-CN"/>
                </a:defPPr>
                <a:lvl1pPr algn="ctr">
                  <a:defRPr sz="1400" b="1"/>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n-US" altLang="zh-CN" sz="1800" dirty="0">
                    <a:solidFill>
                      <a:schemeClr val="tx1"/>
                    </a:solidFill>
                    <a:latin typeface="Calibri" pitchFamily="34" charset="0"/>
                    <a:ea typeface="宋体" pitchFamily="2" charset="-122"/>
                  </a:rPr>
                  <a:t>Click to add text</a:t>
                </a:r>
                <a:endParaRPr lang="en-US" altLang="zh-CN" sz="1800" dirty="0">
                  <a:solidFill>
                    <a:schemeClr val="tx1"/>
                  </a:solidFill>
                  <a:latin typeface="Calibri" pitchFamily="34" charset="0"/>
                  <a:ea typeface="宋体" pitchFamily="2" charset="-122"/>
                </a:endParaRPr>
              </a:p>
            </p:txBody>
          </p:sp>
        </p:grpSp>
        <p:grpSp>
          <p:nvGrpSpPr>
            <p:cNvPr id="51" name="组合 50"/>
            <p:cNvGrpSpPr/>
            <p:nvPr/>
          </p:nvGrpSpPr>
          <p:grpSpPr>
            <a:xfrm>
              <a:off x="2669847" y="1921469"/>
              <a:ext cx="3035956" cy="2041303"/>
              <a:chOff x="2781480" y="1921469"/>
              <a:chExt cx="3035956" cy="2041303"/>
            </a:xfrm>
          </p:grpSpPr>
          <p:sp>
            <p:nvSpPr>
              <p:cNvPr id="21" name="椭圆 20"/>
              <p:cNvSpPr/>
              <p:nvPr/>
            </p:nvSpPr>
            <p:spPr>
              <a:xfrm>
                <a:off x="2781480" y="3759572"/>
                <a:ext cx="203200" cy="203200"/>
              </a:xfrm>
              <a:prstGeom prst="ellipse">
                <a:avLst/>
              </a:prstGeom>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7" name="文本框 26"/>
              <p:cNvSpPr txBox="1"/>
              <p:nvPr/>
            </p:nvSpPr>
            <p:spPr>
              <a:xfrm flipH="1">
                <a:off x="2984679" y="2429996"/>
                <a:ext cx="2832757" cy="1197186"/>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rmAutofit/>
              </a:bodyPr>
              <a:lstStyle>
                <a:defPPr>
                  <a:defRPr lang="zh-CN"/>
                </a:defPPr>
                <a:lvl1pPr algn="ctr">
                  <a:defRPr sz="1400" b="1"/>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lnSpc>
                    <a:spcPct val="120000"/>
                  </a:lnSpc>
                </a:pPr>
                <a:r>
                  <a:rPr lang="pt-BR" altLang="zh-CN" sz="1200" b="0" dirty="0">
                    <a:solidFill>
                      <a:schemeClr val="tx1"/>
                    </a:solidFill>
                    <a:latin typeface="Calibri" pitchFamily="34" charset="0"/>
                    <a:ea typeface="宋体" pitchFamily="2" charset="-122"/>
                  </a:rPr>
                  <a:t>Suscipit rebum eu diam illum takimata magna duo dolore vel.</a:t>
                </a:r>
                <a:endParaRPr lang="en-US" altLang="zh-CN" sz="1200" b="0" dirty="0">
                  <a:solidFill>
                    <a:schemeClr val="tx1"/>
                  </a:solidFill>
                  <a:latin typeface="Calibri" pitchFamily="34" charset="0"/>
                  <a:ea typeface="宋体" pitchFamily="2" charset="-122"/>
                </a:endParaRPr>
              </a:p>
            </p:txBody>
          </p:sp>
          <p:sp>
            <p:nvSpPr>
              <p:cNvPr id="28" name="文本框 27"/>
              <p:cNvSpPr txBox="1"/>
              <p:nvPr/>
            </p:nvSpPr>
            <p:spPr>
              <a:xfrm flipH="1">
                <a:off x="2984678" y="1921469"/>
                <a:ext cx="2832757" cy="508526"/>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normAutofit/>
              </a:bodyPr>
              <a:lstStyle>
                <a:defPPr>
                  <a:defRPr lang="zh-CN"/>
                </a:defPPr>
                <a:lvl1pPr algn="ctr">
                  <a:defRPr sz="1400" b="1"/>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n-US" altLang="zh-CN" sz="1800">
                    <a:solidFill>
                      <a:schemeClr val="tx1"/>
                    </a:solidFill>
                    <a:latin typeface="Calibri" pitchFamily="34" charset="0"/>
                    <a:ea typeface="宋体" pitchFamily="2" charset="-122"/>
                  </a:rPr>
                  <a:t>Click to add text</a:t>
                </a:r>
                <a:endParaRPr lang="en-US" altLang="zh-CN" sz="1800" dirty="0">
                  <a:solidFill>
                    <a:schemeClr val="tx1"/>
                  </a:solidFill>
                  <a:latin typeface="Calibri" pitchFamily="34" charset="0"/>
                  <a:ea typeface="宋体" pitchFamily="2" charset="-122"/>
                </a:endParaRPr>
              </a:p>
            </p:txBody>
          </p:sp>
          <p:cxnSp>
            <p:nvCxnSpPr>
              <p:cNvPr id="26" name="直接连接符 25"/>
              <p:cNvCxnSpPr/>
              <p:nvPr/>
            </p:nvCxnSpPr>
            <p:spPr>
              <a:xfrm>
                <a:off x="2883080" y="1925636"/>
                <a:ext cx="0" cy="1847079"/>
              </a:xfrm>
              <a:prstGeom prst="line">
                <a:avLst/>
              </a:prstGeom>
              <a:ln w="1270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grpSp>
        <p:grpSp>
          <p:nvGrpSpPr>
            <p:cNvPr id="50" name="组合 49"/>
            <p:cNvGrpSpPr/>
            <p:nvPr/>
          </p:nvGrpSpPr>
          <p:grpSpPr>
            <a:xfrm>
              <a:off x="4860812" y="3681409"/>
              <a:ext cx="2457677" cy="2452691"/>
              <a:chOff x="4574214" y="3681409"/>
              <a:chExt cx="2457677" cy="2452691"/>
            </a:xfrm>
          </p:grpSpPr>
          <p:sp>
            <p:nvSpPr>
              <p:cNvPr id="22" name="椭圆 21"/>
              <p:cNvSpPr/>
              <p:nvPr/>
            </p:nvSpPr>
            <p:spPr>
              <a:xfrm>
                <a:off x="4574214" y="3681409"/>
                <a:ext cx="203200" cy="203200"/>
              </a:xfrm>
              <a:prstGeom prst="ellipse">
                <a:avLst/>
              </a:prstGeom>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30" name="直接连接符 29"/>
              <p:cNvCxnSpPr/>
              <p:nvPr/>
            </p:nvCxnSpPr>
            <p:spPr>
              <a:xfrm>
                <a:off x="4675814" y="3879345"/>
                <a:ext cx="0" cy="2254755"/>
              </a:xfrm>
              <a:prstGeom prst="line">
                <a:avLst/>
              </a:prstGeom>
              <a:ln w="1270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31" name="文本框 30"/>
              <p:cNvSpPr txBox="1"/>
              <p:nvPr/>
            </p:nvSpPr>
            <p:spPr>
              <a:xfrm flipH="1">
                <a:off x="4777414" y="4803213"/>
                <a:ext cx="2254477" cy="1197186"/>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rmAutofit/>
              </a:bodyPr>
              <a:lstStyle>
                <a:defPPr>
                  <a:defRPr lang="zh-CN"/>
                </a:defPPr>
                <a:lvl1pPr algn="ctr">
                  <a:defRPr sz="1400" b="1"/>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lnSpc>
                    <a:spcPct val="120000"/>
                  </a:lnSpc>
                </a:pPr>
                <a:r>
                  <a:rPr lang="fr-FR" altLang="zh-CN" sz="1200" b="0" dirty="0">
                    <a:solidFill>
                      <a:schemeClr val="tx1"/>
                    </a:solidFill>
                    <a:latin typeface="Calibri" pitchFamily="34" charset="0"/>
                    <a:ea typeface="宋体" pitchFamily="2" charset="-122"/>
                  </a:rPr>
                  <a:t>Qui invidunt elitr diam ipsum et duis praesent rebum.</a:t>
                </a:r>
                <a:endParaRPr lang="en-US" altLang="zh-CN" sz="1200" b="0" dirty="0">
                  <a:solidFill>
                    <a:schemeClr val="tx1"/>
                  </a:solidFill>
                  <a:latin typeface="Calibri" pitchFamily="34" charset="0"/>
                  <a:ea typeface="宋体" pitchFamily="2" charset="-122"/>
                </a:endParaRPr>
              </a:p>
            </p:txBody>
          </p:sp>
          <p:sp>
            <p:nvSpPr>
              <p:cNvPr id="32" name="文本框 31"/>
              <p:cNvSpPr txBox="1"/>
              <p:nvPr/>
            </p:nvSpPr>
            <p:spPr>
              <a:xfrm flipH="1">
                <a:off x="4777414" y="4153882"/>
                <a:ext cx="2254477" cy="649330"/>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normAutofit/>
              </a:bodyPr>
              <a:lstStyle>
                <a:defPPr>
                  <a:defRPr lang="zh-CN"/>
                </a:defPPr>
                <a:lvl1pPr algn="ctr">
                  <a:defRPr sz="1400" b="1"/>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n-US" altLang="zh-CN" sz="1800" dirty="0">
                    <a:solidFill>
                      <a:schemeClr val="tx1"/>
                    </a:solidFill>
                    <a:latin typeface="Calibri" pitchFamily="34" charset="0"/>
                    <a:ea typeface="宋体" pitchFamily="2" charset="-122"/>
                  </a:rPr>
                  <a:t>Click to add text</a:t>
                </a:r>
                <a:endParaRPr lang="en-US" altLang="zh-CN" sz="1800" dirty="0">
                  <a:solidFill>
                    <a:schemeClr val="tx1"/>
                  </a:solidFill>
                  <a:latin typeface="Calibri" pitchFamily="34" charset="0"/>
                  <a:ea typeface="宋体" pitchFamily="2" charset="-122"/>
                </a:endParaRPr>
              </a:p>
            </p:txBody>
          </p:sp>
        </p:grpSp>
        <p:grpSp>
          <p:nvGrpSpPr>
            <p:cNvPr id="52" name="组合 51"/>
            <p:cNvGrpSpPr/>
            <p:nvPr/>
          </p:nvGrpSpPr>
          <p:grpSpPr>
            <a:xfrm>
              <a:off x="6819573" y="1990533"/>
              <a:ext cx="3035956" cy="2134513"/>
              <a:chOff x="6619030" y="1990533"/>
              <a:chExt cx="3035956" cy="2134513"/>
            </a:xfrm>
          </p:grpSpPr>
          <p:sp>
            <p:nvSpPr>
              <p:cNvPr id="23" name="椭圆 22"/>
              <p:cNvSpPr/>
              <p:nvPr/>
            </p:nvSpPr>
            <p:spPr>
              <a:xfrm>
                <a:off x="6619030" y="3921846"/>
                <a:ext cx="203200" cy="203200"/>
              </a:xfrm>
              <a:prstGeom prst="ellipse">
                <a:avLst/>
              </a:prstGeom>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34" name="直接连接符 33"/>
              <p:cNvCxnSpPr/>
              <p:nvPr/>
            </p:nvCxnSpPr>
            <p:spPr>
              <a:xfrm>
                <a:off x="6720630" y="1994700"/>
                <a:ext cx="0" cy="1927146"/>
              </a:xfrm>
              <a:prstGeom prst="line">
                <a:avLst/>
              </a:prstGeom>
              <a:ln w="1270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35" name="文本框 34"/>
              <p:cNvSpPr txBox="1"/>
              <p:nvPr/>
            </p:nvSpPr>
            <p:spPr>
              <a:xfrm flipH="1">
                <a:off x="6822229" y="2499060"/>
                <a:ext cx="2832757" cy="1197186"/>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rmAutofit/>
              </a:bodyPr>
              <a:lstStyle>
                <a:defPPr>
                  <a:defRPr lang="zh-CN"/>
                </a:defPPr>
                <a:lvl1pPr algn="ctr">
                  <a:defRPr sz="1400" b="1"/>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lnSpc>
                    <a:spcPct val="120000"/>
                  </a:lnSpc>
                </a:pPr>
                <a:r>
                  <a:rPr lang="en-US" altLang="zh-CN" sz="1200" b="0" dirty="0">
                    <a:solidFill>
                      <a:schemeClr val="tx1"/>
                    </a:solidFill>
                    <a:latin typeface="Calibri" pitchFamily="34" charset="0"/>
                    <a:ea typeface="宋体" pitchFamily="2" charset="-122"/>
                  </a:rPr>
                  <a:t>Et </a:t>
                </a:r>
                <a:r>
                  <a:rPr lang="en-US" altLang="zh-CN" sz="1200" b="0" dirty="0" err="1">
                    <a:solidFill>
                      <a:schemeClr val="tx1"/>
                    </a:solidFill>
                    <a:latin typeface="Calibri" pitchFamily="34" charset="0"/>
                    <a:ea typeface="宋体" pitchFamily="2" charset="-122"/>
                  </a:rPr>
                  <a:t>nonumy</a:t>
                </a:r>
                <a:r>
                  <a:rPr lang="en-US" altLang="zh-CN" sz="1200" b="0" dirty="0">
                    <a:solidFill>
                      <a:schemeClr val="tx1"/>
                    </a:solidFill>
                    <a:latin typeface="Calibri" pitchFamily="34" charset="0"/>
                    <a:ea typeface="宋体" pitchFamily="2" charset="-122"/>
                  </a:rPr>
                  <a:t> </a:t>
                </a:r>
                <a:r>
                  <a:rPr lang="en-US" altLang="zh-CN" sz="1200" b="0" dirty="0" err="1">
                    <a:solidFill>
                      <a:schemeClr val="tx1"/>
                    </a:solidFill>
                    <a:latin typeface="Calibri" pitchFamily="34" charset="0"/>
                    <a:ea typeface="宋体" pitchFamily="2" charset="-122"/>
                  </a:rPr>
                  <a:t>sadipscing</a:t>
                </a:r>
                <a:r>
                  <a:rPr lang="en-US" altLang="zh-CN" sz="1200" b="0" dirty="0">
                    <a:solidFill>
                      <a:schemeClr val="tx1"/>
                    </a:solidFill>
                    <a:latin typeface="Calibri" pitchFamily="34" charset="0"/>
                    <a:ea typeface="宋体" pitchFamily="2" charset="-122"/>
                  </a:rPr>
                  <a:t> </a:t>
                </a:r>
                <a:r>
                  <a:rPr lang="en-US" altLang="zh-CN" sz="1200" b="0" dirty="0" err="1">
                    <a:solidFill>
                      <a:schemeClr val="tx1"/>
                    </a:solidFill>
                    <a:latin typeface="Calibri" pitchFamily="34" charset="0"/>
                    <a:ea typeface="宋体" pitchFamily="2" charset="-122"/>
                  </a:rPr>
                  <a:t>vero</a:t>
                </a:r>
                <a:r>
                  <a:rPr lang="en-US" altLang="zh-CN" sz="1200" b="0" dirty="0">
                    <a:solidFill>
                      <a:schemeClr val="tx1"/>
                    </a:solidFill>
                    <a:latin typeface="Calibri" pitchFamily="34" charset="0"/>
                    <a:ea typeface="宋体" pitchFamily="2" charset="-122"/>
                  </a:rPr>
                  <a:t> </a:t>
                </a:r>
                <a:r>
                  <a:rPr lang="en-US" altLang="zh-CN" sz="1200" b="0" dirty="0" err="1">
                    <a:solidFill>
                      <a:schemeClr val="tx1"/>
                    </a:solidFill>
                    <a:latin typeface="Calibri" pitchFamily="34" charset="0"/>
                    <a:ea typeface="宋体" pitchFamily="2" charset="-122"/>
                  </a:rPr>
                  <a:t>nam</a:t>
                </a:r>
                <a:r>
                  <a:rPr lang="en-US" altLang="zh-CN" sz="1200" b="0" dirty="0">
                    <a:solidFill>
                      <a:schemeClr val="tx1"/>
                    </a:solidFill>
                    <a:latin typeface="Calibri" pitchFamily="34" charset="0"/>
                    <a:ea typeface="宋体" pitchFamily="2" charset="-122"/>
                  </a:rPr>
                  <a:t> et </a:t>
                </a:r>
                <a:r>
                  <a:rPr lang="en-US" altLang="zh-CN" sz="1200" b="0" dirty="0" err="1">
                    <a:solidFill>
                      <a:schemeClr val="tx1"/>
                    </a:solidFill>
                    <a:latin typeface="Calibri" pitchFamily="34" charset="0"/>
                    <a:ea typeface="宋体" pitchFamily="2" charset="-122"/>
                  </a:rPr>
                  <a:t>rebum</a:t>
                </a:r>
                <a:r>
                  <a:rPr lang="en-US" altLang="zh-CN" sz="1200" b="0" dirty="0">
                    <a:solidFill>
                      <a:schemeClr val="tx1"/>
                    </a:solidFill>
                    <a:latin typeface="Calibri" pitchFamily="34" charset="0"/>
                    <a:ea typeface="宋体" pitchFamily="2" charset="-122"/>
                  </a:rPr>
                  <a:t> </a:t>
                </a:r>
                <a:r>
                  <a:rPr lang="en-US" altLang="zh-CN" sz="1200" b="0" dirty="0" err="1">
                    <a:solidFill>
                      <a:schemeClr val="tx1"/>
                    </a:solidFill>
                    <a:latin typeface="Calibri" pitchFamily="34" charset="0"/>
                    <a:ea typeface="宋体" pitchFamily="2" charset="-122"/>
                  </a:rPr>
                  <a:t>dolores</a:t>
                </a:r>
                <a:r>
                  <a:rPr lang="en-US" altLang="zh-CN" sz="1200" b="0" dirty="0">
                    <a:solidFill>
                      <a:schemeClr val="tx1"/>
                    </a:solidFill>
                    <a:latin typeface="Calibri" pitchFamily="34" charset="0"/>
                    <a:ea typeface="宋体" pitchFamily="2" charset="-122"/>
                  </a:rPr>
                  <a:t> </a:t>
                </a:r>
                <a:r>
                  <a:rPr lang="en-US" altLang="zh-CN" sz="1200" b="0" dirty="0" err="1">
                    <a:solidFill>
                      <a:schemeClr val="tx1"/>
                    </a:solidFill>
                    <a:latin typeface="Calibri" pitchFamily="34" charset="0"/>
                    <a:ea typeface="宋体" pitchFamily="2" charset="-122"/>
                  </a:rPr>
                  <a:t>kasd</a:t>
                </a:r>
                <a:r>
                  <a:rPr lang="en-US" altLang="zh-CN" sz="1200" b="0" dirty="0">
                    <a:solidFill>
                      <a:schemeClr val="tx1"/>
                    </a:solidFill>
                    <a:latin typeface="Calibri" pitchFamily="34" charset="0"/>
                    <a:ea typeface="宋体" pitchFamily="2" charset="-122"/>
                  </a:rPr>
                  <a:t>.</a:t>
                </a:r>
                <a:endParaRPr lang="en-US" altLang="zh-CN" sz="1200" b="0" dirty="0">
                  <a:solidFill>
                    <a:schemeClr val="tx1"/>
                  </a:solidFill>
                  <a:latin typeface="Calibri" pitchFamily="34" charset="0"/>
                  <a:ea typeface="宋体" pitchFamily="2" charset="-122"/>
                </a:endParaRPr>
              </a:p>
            </p:txBody>
          </p:sp>
          <p:sp>
            <p:nvSpPr>
              <p:cNvPr id="36" name="文本框 35"/>
              <p:cNvSpPr txBox="1"/>
              <p:nvPr/>
            </p:nvSpPr>
            <p:spPr>
              <a:xfrm flipH="1">
                <a:off x="6822228" y="1990533"/>
                <a:ext cx="2832757" cy="508526"/>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normAutofit/>
              </a:bodyPr>
              <a:lstStyle>
                <a:defPPr>
                  <a:defRPr lang="zh-CN"/>
                </a:defPPr>
                <a:lvl1pPr algn="ctr">
                  <a:defRPr sz="1400" b="1"/>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n-US" altLang="zh-CN" sz="1800">
                    <a:solidFill>
                      <a:schemeClr val="tx1"/>
                    </a:solidFill>
                    <a:latin typeface="Calibri" pitchFamily="34" charset="0"/>
                    <a:ea typeface="宋体" pitchFamily="2" charset="-122"/>
                  </a:rPr>
                  <a:t>Click to add text</a:t>
                </a:r>
                <a:endParaRPr lang="en-US" altLang="zh-CN" sz="1800" dirty="0">
                  <a:solidFill>
                    <a:schemeClr val="tx1"/>
                  </a:solidFill>
                  <a:latin typeface="Calibri" pitchFamily="34" charset="0"/>
                  <a:ea typeface="宋体" pitchFamily="2" charset="-122"/>
                </a:endParaRPr>
              </a:p>
            </p:txBody>
          </p:sp>
        </p:grpSp>
        <p:grpSp>
          <p:nvGrpSpPr>
            <p:cNvPr id="53" name="组合 52"/>
            <p:cNvGrpSpPr/>
            <p:nvPr/>
          </p:nvGrpSpPr>
          <p:grpSpPr>
            <a:xfrm>
              <a:off x="8924812" y="3985249"/>
              <a:ext cx="2457677" cy="2148851"/>
              <a:chOff x="8775700" y="3985249"/>
              <a:chExt cx="2457677" cy="2148851"/>
            </a:xfrm>
          </p:grpSpPr>
          <p:sp>
            <p:nvSpPr>
              <p:cNvPr id="24" name="椭圆 23"/>
              <p:cNvSpPr/>
              <p:nvPr/>
            </p:nvSpPr>
            <p:spPr>
              <a:xfrm>
                <a:off x="8775700" y="3985249"/>
                <a:ext cx="203200" cy="203200"/>
              </a:xfrm>
              <a:prstGeom prst="ellipse">
                <a:avLst/>
              </a:prstGeom>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38" name="直接连接符 37"/>
              <p:cNvCxnSpPr/>
              <p:nvPr/>
            </p:nvCxnSpPr>
            <p:spPr>
              <a:xfrm>
                <a:off x="8877300" y="4111625"/>
                <a:ext cx="0" cy="2022475"/>
              </a:xfrm>
              <a:prstGeom prst="line">
                <a:avLst/>
              </a:prstGeom>
              <a:ln w="1270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39" name="文本框 38"/>
              <p:cNvSpPr txBox="1"/>
              <p:nvPr/>
            </p:nvSpPr>
            <p:spPr>
              <a:xfrm flipH="1">
                <a:off x="8978900" y="4803213"/>
                <a:ext cx="2254477" cy="1197186"/>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rmAutofit/>
              </a:bodyPr>
              <a:lstStyle>
                <a:defPPr>
                  <a:defRPr lang="zh-CN"/>
                </a:defPPr>
                <a:lvl1pPr algn="ctr">
                  <a:defRPr sz="1400" b="1"/>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lnSpc>
                    <a:spcPct val="120000"/>
                  </a:lnSpc>
                </a:pPr>
                <a:r>
                  <a:rPr lang="nb-NO" altLang="zh-CN" sz="1200" b="0" dirty="0">
                    <a:solidFill>
                      <a:schemeClr val="tx1"/>
                    </a:solidFill>
                    <a:latin typeface="Calibri" pitchFamily="34" charset="0"/>
                    <a:ea typeface="宋体" pitchFamily="2" charset="-122"/>
                  </a:rPr>
                  <a:t>Magna et et ea nostrud dolore amet tincidunt amet.</a:t>
                </a:r>
                <a:endParaRPr lang="en-US" altLang="zh-CN" sz="1200" b="0" dirty="0">
                  <a:solidFill>
                    <a:schemeClr val="tx1"/>
                  </a:solidFill>
                  <a:latin typeface="Calibri" pitchFamily="34" charset="0"/>
                  <a:ea typeface="宋体" pitchFamily="2" charset="-122"/>
                </a:endParaRPr>
              </a:p>
            </p:txBody>
          </p:sp>
          <p:sp>
            <p:nvSpPr>
              <p:cNvPr id="40" name="文本框 39"/>
              <p:cNvSpPr txBox="1"/>
              <p:nvPr/>
            </p:nvSpPr>
            <p:spPr>
              <a:xfrm flipH="1">
                <a:off x="8978900" y="4153882"/>
                <a:ext cx="2254477" cy="649330"/>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normAutofit/>
              </a:bodyPr>
              <a:lstStyle>
                <a:defPPr>
                  <a:defRPr lang="zh-CN"/>
                </a:defPPr>
                <a:lvl1pPr algn="ctr">
                  <a:defRPr sz="1400" b="1"/>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n-US" altLang="zh-CN" sz="1800" dirty="0">
                    <a:solidFill>
                      <a:schemeClr val="tx1"/>
                    </a:solidFill>
                    <a:latin typeface="Calibri" pitchFamily="34" charset="0"/>
                    <a:ea typeface="宋体" pitchFamily="2" charset="-122"/>
                  </a:rPr>
                  <a:t>Click to add text</a:t>
                </a:r>
                <a:endParaRPr lang="en-US" altLang="zh-CN" sz="1800" dirty="0">
                  <a:solidFill>
                    <a:schemeClr val="tx1"/>
                  </a:solidFill>
                  <a:latin typeface="Calibri" pitchFamily="34" charset="0"/>
                  <a:ea typeface="宋体" pitchFamily="2" charset="-122"/>
                </a:endParaRPr>
              </a:p>
            </p:txBody>
          </p:sp>
        </p:grpSp>
      </p:grpSp>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7" name="组合 66"/>
          <p:cNvGrpSpPr/>
          <p:nvPr/>
        </p:nvGrpSpPr>
        <p:grpSpPr>
          <a:xfrm>
            <a:off x="660401" y="1130302"/>
            <a:ext cx="10858500" cy="5003799"/>
            <a:chOff x="660400" y="1130301"/>
            <a:chExt cx="10858500" cy="5003799"/>
          </a:xfrm>
        </p:grpSpPr>
        <p:sp>
          <p:nvSpPr>
            <p:cNvPr id="2" name="文本框 1"/>
            <p:cNvSpPr txBox="1"/>
            <p:nvPr/>
          </p:nvSpPr>
          <p:spPr>
            <a:xfrm>
              <a:off x="660400" y="1130301"/>
              <a:ext cx="10858500" cy="742042"/>
            </a:xfrm>
            <a:prstGeom prst="rect">
              <a:avLst/>
            </a:prstGeom>
            <a:noFill/>
          </p:spPr>
          <p:txBody>
            <a:bodyPr vert="horz" wrap="square" rtlCol="0" anchor="t" anchorCtr="0">
              <a:normAutofit/>
            </a:bodyPr>
            <a:lstStyle/>
            <a:p>
              <a:pPr algn="ctr"/>
              <a:r>
                <a:rPr lang="en-US" altLang="zh-CN" sz="2400" b="1" dirty="0">
                  <a:latin typeface="Calibri" pitchFamily="34" charset="0"/>
                  <a:ea typeface="宋体" pitchFamily="2" charset="-122"/>
                </a:rPr>
                <a:t>Unified fonts make reading more fluent</a:t>
              </a:r>
              <a:endParaRPr lang="zh-CN" altLang="en-US" sz="2400" b="1" dirty="0">
                <a:latin typeface="Calibri" pitchFamily="34" charset="0"/>
                <a:ea typeface="宋体" pitchFamily="2" charset="-122"/>
              </a:endParaRPr>
            </a:p>
          </p:txBody>
        </p:sp>
        <p:sp>
          <p:nvSpPr>
            <p:cNvPr id="5" name="任意多边形: 形状 4"/>
            <p:cNvSpPr/>
            <p:nvPr/>
          </p:nvSpPr>
          <p:spPr>
            <a:xfrm>
              <a:off x="1570263" y="2321964"/>
              <a:ext cx="9051473" cy="2507577"/>
            </a:xfrm>
            <a:custGeom>
              <a:avLst/>
              <a:gdLst>
                <a:gd name="connsiteX0" fmla="*/ 0 w 9051473"/>
                <a:gd name="connsiteY0" fmla="*/ 0 h 2565400"/>
                <a:gd name="connsiteX1" fmla="*/ 7768773 w 9051473"/>
                <a:gd name="connsiteY1" fmla="*/ 0 h 2565400"/>
                <a:gd name="connsiteX2" fmla="*/ 9051473 w 9051473"/>
                <a:gd name="connsiteY2" fmla="*/ 1282700 h 2565400"/>
                <a:gd name="connsiteX3" fmla="*/ 9051472 w 9051473"/>
                <a:gd name="connsiteY3" fmla="*/ 1282700 h 2565400"/>
                <a:gd name="connsiteX4" fmla="*/ 7768772 w 9051473"/>
                <a:gd name="connsiteY4" fmla="*/ 2565400 h 2565400"/>
                <a:gd name="connsiteX5" fmla="*/ 0 w 9051473"/>
                <a:gd name="connsiteY5" fmla="*/ 2565399 h 2565400"/>
                <a:gd name="connsiteX0-1" fmla="*/ 0 w 9051473"/>
                <a:gd name="connsiteY0-2" fmla="*/ 0 h 2565400"/>
                <a:gd name="connsiteX1-3" fmla="*/ 7768773 w 9051473"/>
                <a:gd name="connsiteY1-4" fmla="*/ 0 h 2565400"/>
                <a:gd name="connsiteX2-5" fmla="*/ 9051473 w 9051473"/>
                <a:gd name="connsiteY2-6" fmla="*/ 1282700 h 2565400"/>
                <a:gd name="connsiteX3-7" fmla="*/ 9051472 w 9051473"/>
                <a:gd name="connsiteY3-8" fmla="*/ 1282700 h 2565400"/>
                <a:gd name="connsiteX4-9" fmla="*/ 7768772 w 9051473"/>
                <a:gd name="connsiteY4-10" fmla="*/ 2565400 h 2565400"/>
                <a:gd name="connsiteX5-11" fmla="*/ 0 w 9051473"/>
                <a:gd name="connsiteY5-12" fmla="*/ 2565399 h 2565400"/>
                <a:gd name="connsiteX6" fmla="*/ 91440 w 9051473"/>
                <a:gd name="connsiteY6" fmla="*/ 91440 h 2565400"/>
                <a:gd name="connsiteX0-13" fmla="*/ 0 w 9051473"/>
                <a:gd name="connsiteY0-14" fmla="*/ 0 h 2565400"/>
                <a:gd name="connsiteX1-15" fmla="*/ 7768773 w 9051473"/>
                <a:gd name="connsiteY1-16" fmla="*/ 0 h 2565400"/>
                <a:gd name="connsiteX2-17" fmla="*/ 9051473 w 9051473"/>
                <a:gd name="connsiteY2-18" fmla="*/ 1282700 h 2565400"/>
                <a:gd name="connsiteX3-19" fmla="*/ 9051472 w 9051473"/>
                <a:gd name="connsiteY3-20" fmla="*/ 1282700 h 2565400"/>
                <a:gd name="connsiteX4-21" fmla="*/ 7768772 w 9051473"/>
                <a:gd name="connsiteY4-22" fmla="*/ 2565400 h 2565400"/>
                <a:gd name="connsiteX5-23" fmla="*/ 0 w 9051473"/>
                <a:gd name="connsiteY5-24" fmla="*/ 2565399 h 256540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Lst>
              <a:rect l="l" t="t" r="r" b="b"/>
              <a:pathLst>
                <a:path w="9051473" h="2565400">
                  <a:moveTo>
                    <a:pt x="0" y="0"/>
                  </a:moveTo>
                  <a:lnTo>
                    <a:pt x="7768773" y="0"/>
                  </a:lnTo>
                  <a:cubicBezTo>
                    <a:pt x="8477189" y="0"/>
                    <a:pt x="9051473" y="574284"/>
                    <a:pt x="9051473" y="1282700"/>
                  </a:cubicBezTo>
                  <a:lnTo>
                    <a:pt x="9051472" y="1282700"/>
                  </a:lnTo>
                  <a:cubicBezTo>
                    <a:pt x="9051472" y="1991116"/>
                    <a:pt x="8477188" y="2565400"/>
                    <a:pt x="7768772" y="2565400"/>
                  </a:cubicBezTo>
                  <a:lnTo>
                    <a:pt x="0" y="2565399"/>
                  </a:lnTo>
                </a:path>
              </a:pathLst>
            </a:custGeom>
            <a:ln w="19050" cap="flat" cmpd="sng" algn="ctr">
              <a:solidFill>
                <a:schemeClr val="tx2">
                  <a:alpha val="50000"/>
                </a:schemeClr>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txBody>
            <a:bodyPr wrap="square" rtlCol="0" anchor="ctr">
              <a:noAutofit/>
            </a:bodyPr>
            <a:lstStyle/>
            <a:p>
              <a:pPr algn="ctr"/>
              <a:endParaRPr lang="zh-CN" altLang="en-US"/>
            </a:p>
          </p:txBody>
        </p:sp>
        <p:grpSp>
          <p:nvGrpSpPr>
            <p:cNvPr id="61" name="组合 60"/>
            <p:cNvGrpSpPr/>
            <p:nvPr/>
          </p:nvGrpSpPr>
          <p:grpSpPr>
            <a:xfrm>
              <a:off x="1580203" y="2007629"/>
              <a:ext cx="2244666" cy="1823137"/>
              <a:chOff x="1580203" y="2007629"/>
              <a:chExt cx="2244666" cy="1823137"/>
            </a:xfrm>
          </p:grpSpPr>
          <p:sp>
            <p:nvSpPr>
              <p:cNvPr id="41" name="文本框 40"/>
              <p:cNvSpPr txBox="1">
                <a:spLocks noChangeAspect="1"/>
              </p:cNvSpPr>
              <p:nvPr/>
            </p:nvSpPr>
            <p:spPr>
              <a:xfrm>
                <a:off x="2432536" y="2007629"/>
                <a:ext cx="540000" cy="540000"/>
              </a:xfrm>
              <a:prstGeom prst="roundRect">
                <a:avLst>
                  <a:gd name="adj" fmla="val 50000"/>
                </a:avLst>
              </a:prstGeom>
              <a:solidFill>
                <a:schemeClr val="accent1"/>
              </a:solidFill>
            </p:spPr>
            <p:txBody>
              <a:bodyPr wrap="none" lIns="108000" tIns="108000" rIns="108000" bIns="108000" rtlCol="0" anchor="ctr" anchorCtr="0">
                <a:noAutofit/>
              </a:bodyPr>
              <a:lstStyle/>
              <a:p>
                <a:pPr algn="ctr"/>
                <a:endParaRPr kumimoji="1" lang="zh-CN" altLang="en-US" sz="2000" b="1" dirty="0">
                  <a:noFill/>
                </a:endParaRPr>
              </a:p>
            </p:txBody>
          </p:sp>
          <p:sp>
            <p:nvSpPr>
              <p:cNvPr id="42" name="任意多边形: 形状 41"/>
              <p:cNvSpPr/>
              <p:nvPr/>
            </p:nvSpPr>
            <p:spPr>
              <a:xfrm>
                <a:off x="2589422" y="2139926"/>
                <a:ext cx="226228" cy="275406"/>
              </a:xfrm>
              <a:custGeom>
                <a:avLst/>
                <a:gdLst>
                  <a:gd name="connsiteX0" fmla="*/ 284197 w 438150"/>
                  <a:gd name="connsiteY0" fmla="*/ 621 h 533400"/>
                  <a:gd name="connsiteX1" fmla="*/ 286102 w 438150"/>
                  <a:gd name="connsiteY1" fmla="*/ 621 h 533400"/>
                  <a:gd name="connsiteX2" fmla="*/ 286102 w 438150"/>
                  <a:gd name="connsiteY2" fmla="*/ 124446 h 533400"/>
                  <a:gd name="connsiteX3" fmla="*/ 286102 w 438150"/>
                  <a:gd name="connsiteY3" fmla="*/ 126351 h 533400"/>
                  <a:gd name="connsiteX4" fmla="*/ 314677 w 438150"/>
                  <a:gd name="connsiteY4" fmla="*/ 153021 h 533400"/>
                  <a:gd name="connsiteX5" fmla="*/ 314677 w 438150"/>
                  <a:gd name="connsiteY5" fmla="*/ 153021 h 533400"/>
                  <a:gd name="connsiteX6" fmla="*/ 438502 w 438150"/>
                  <a:gd name="connsiteY6" fmla="*/ 153021 h 533400"/>
                  <a:gd name="connsiteX7" fmla="*/ 438502 w 438150"/>
                  <a:gd name="connsiteY7" fmla="*/ 154926 h 533400"/>
                  <a:gd name="connsiteX8" fmla="*/ 438502 w 438150"/>
                  <a:gd name="connsiteY8" fmla="*/ 505446 h 533400"/>
                  <a:gd name="connsiteX9" fmla="*/ 409927 w 438150"/>
                  <a:gd name="connsiteY9" fmla="*/ 534021 h 533400"/>
                  <a:gd name="connsiteX10" fmla="*/ 28927 w 438150"/>
                  <a:gd name="connsiteY10" fmla="*/ 534021 h 533400"/>
                  <a:gd name="connsiteX11" fmla="*/ 352 w 438150"/>
                  <a:gd name="connsiteY11" fmla="*/ 505446 h 533400"/>
                  <a:gd name="connsiteX12" fmla="*/ 352 w 438150"/>
                  <a:gd name="connsiteY12" fmla="*/ 29196 h 533400"/>
                  <a:gd name="connsiteX13" fmla="*/ 28927 w 438150"/>
                  <a:gd name="connsiteY13" fmla="*/ 621 h 533400"/>
                  <a:gd name="connsiteX14" fmla="*/ 284197 w 438150"/>
                  <a:gd name="connsiteY14" fmla="*/ 621 h 533400"/>
                  <a:gd name="connsiteX15" fmla="*/ 248002 w 438150"/>
                  <a:gd name="connsiteY15" fmla="*/ 200646 h 533400"/>
                  <a:gd name="connsiteX16" fmla="*/ 152752 w 438150"/>
                  <a:gd name="connsiteY16" fmla="*/ 200646 h 533400"/>
                  <a:gd name="connsiteX17" fmla="*/ 152752 w 438150"/>
                  <a:gd name="connsiteY17" fmla="*/ 410196 h 533400"/>
                  <a:gd name="connsiteX18" fmla="*/ 171802 w 438150"/>
                  <a:gd name="connsiteY18" fmla="*/ 410196 h 533400"/>
                  <a:gd name="connsiteX19" fmla="*/ 171802 w 438150"/>
                  <a:gd name="connsiteY19" fmla="*/ 314946 h 533400"/>
                  <a:gd name="connsiteX20" fmla="*/ 248002 w 438150"/>
                  <a:gd name="connsiteY20" fmla="*/ 314946 h 533400"/>
                  <a:gd name="connsiteX21" fmla="*/ 249907 w 438150"/>
                  <a:gd name="connsiteY21" fmla="*/ 314946 h 533400"/>
                  <a:gd name="connsiteX22" fmla="*/ 305152 w 438150"/>
                  <a:gd name="connsiteY22" fmla="*/ 257796 h 533400"/>
                  <a:gd name="connsiteX23" fmla="*/ 248002 w 438150"/>
                  <a:gd name="connsiteY23" fmla="*/ 200646 h 533400"/>
                  <a:gd name="connsiteX24" fmla="*/ 248002 w 438150"/>
                  <a:gd name="connsiteY24" fmla="*/ 200646 h 533400"/>
                  <a:gd name="connsiteX25" fmla="*/ 248002 w 438150"/>
                  <a:gd name="connsiteY25" fmla="*/ 219696 h 533400"/>
                  <a:gd name="connsiteX26" fmla="*/ 286102 w 438150"/>
                  <a:gd name="connsiteY26" fmla="*/ 257796 h 533400"/>
                  <a:gd name="connsiteX27" fmla="*/ 248002 w 438150"/>
                  <a:gd name="connsiteY27" fmla="*/ 295896 h 533400"/>
                  <a:gd name="connsiteX28" fmla="*/ 248002 w 438150"/>
                  <a:gd name="connsiteY28" fmla="*/ 295896 h 533400"/>
                  <a:gd name="connsiteX29" fmla="*/ 171802 w 438150"/>
                  <a:gd name="connsiteY29" fmla="*/ 295896 h 533400"/>
                  <a:gd name="connsiteX30" fmla="*/ 171802 w 438150"/>
                  <a:gd name="connsiteY30" fmla="*/ 219696 h 533400"/>
                  <a:gd name="connsiteX31" fmla="*/ 248002 w 438150"/>
                  <a:gd name="connsiteY31" fmla="*/ 219696 h 533400"/>
                  <a:gd name="connsiteX32" fmla="*/ 428977 w 438150"/>
                  <a:gd name="connsiteY32" fmla="*/ 133971 h 533400"/>
                  <a:gd name="connsiteX33" fmla="*/ 314677 w 438150"/>
                  <a:gd name="connsiteY33" fmla="*/ 133971 h 533400"/>
                  <a:gd name="connsiteX34" fmla="*/ 313724 w 438150"/>
                  <a:gd name="connsiteY34" fmla="*/ 133971 h 533400"/>
                  <a:gd name="connsiteX35" fmla="*/ 305152 w 438150"/>
                  <a:gd name="connsiteY35" fmla="*/ 124446 h 533400"/>
                  <a:gd name="connsiteX36" fmla="*/ 305152 w 438150"/>
                  <a:gd name="connsiteY36" fmla="*/ 124446 h 533400"/>
                  <a:gd name="connsiteX37" fmla="*/ 305152 w 438150"/>
                  <a:gd name="connsiteY37" fmla="*/ 10146 h 533400"/>
                  <a:gd name="connsiteX38" fmla="*/ 428977 w 438150"/>
                  <a:gd name="connsiteY38" fmla="*/ 133971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38150" h="533400">
                    <a:moveTo>
                      <a:pt x="284197" y="621"/>
                    </a:moveTo>
                    <a:cubicBezTo>
                      <a:pt x="285149" y="621"/>
                      <a:pt x="286102" y="621"/>
                      <a:pt x="286102" y="621"/>
                    </a:cubicBezTo>
                    <a:lnTo>
                      <a:pt x="286102" y="124446"/>
                    </a:lnTo>
                    <a:lnTo>
                      <a:pt x="286102" y="126351"/>
                    </a:lnTo>
                    <a:cubicBezTo>
                      <a:pt x="287055" y="141591"/>
                      <a:pt x="299437" y="153021"/>
                      <a:pt x="314677" y="153021"/>
                    </a:cubicBezTo>
                    <a:lnTo>
                      <a:pt x="314677" y="153021"/>
                    </a:lnTo>
                    <a:lnTo>
                      <a:pt x="438502" y="153021"/>
                    </a:lnTo>
                    <a:cubicBezTo>
                      <a:pt x="438502" y="153974"/>
                      <a:pt x="438502" y="154926"/>
                      <a:pt x="438502" y="154926"/>
                    </a:cubicBezTo>
                    <a:lnTo>
                      <a:pt x="438502" y="505446"/>
                    </a:lnTo>
                    <a:cubicBezTo>
                      <a:pt x="438502" y="521639"/>
                      <a:pt x="426120" y="534021"/>
                      <a:pt x="409927" y="534021"/>
                    </a:cubicBezTo>
                    <a:lnTo>
                      <a:pt x="28927" y="534021"/>
                    </a:lnTo>
                    <a:cubicBezTo>
                      <a:pt x="12734" y="534021"/>
                      <a:pt x="352" y="521639"/>
                      <a:pt x="352" y="505446"/>
                    </a:cubicBezTo>
                    <a:lnTo>
                      <a:pt x="352" y="29196"/>
                    </a:lnTo>
                    <a:cubicBezTo>
                      <a:pt x="352" y="13004"/>
                      <a:pt x="12734" y="621"/>
                      <a:pt x="28927" y="621"/>
                    </a:cubicBezTo>
                    <a:lnTo>
                      <a:pt x="284197" y="621"/>
                    </a:lnTo>
                    <a:close/>
                    <a:moveTo>
                      <a:pt x="248002" y="200646"/>
                    </a:moveTo>
                    <a:lnTo>
                      <a:pt x="152752" y="200646"/>
                    </a:lnTo>
                    <a:lnTo>
                      <a:pt x="152752" y="410196"/>
                    </a:lnTo>
                    <a:lnTo>
                      <a:pt x="171802" y="410196"/>
                    </a:lnTo>
                    <a:lnTo>
                      <a:pt x="171802" y="314946"/>
                    </a:lnTo>
                    <a:lnTo>
                      <a:pt x="248002" y="314946"/>
                    </a:lnTo>
                    <a:lnTo>
                      <a:pt x="249907" y="314946"/>
                    </a:lnTo>
                    <a:cubicBezTo>
                      <a:pt x="280387" y="313994"/>
                      <a:pt x="305152" y="288276"/>
                      <a:pt x="305152" y="257796"/>
                    </a:cubicBezTo>
                    <a:cubicBezTo>
                      <a:pt x="305152" y="226364"/>
                      <a:pt x="279434" y="200646"/>
                      <a:pt x="248002" y="200646"/>
                    </a:cubicBezTo>
                    <a:lnTo>
                      <a:pt x="248002" y="200646"/>
                    </a:lnTo>
                    <a:close/>
                    <a:moveTo>
                      <a:pt x="248002" y="219696"/>
                    </a:moveTo>
                    <a:cubicBezTo>
                      <a:pt x="268957" y="219696"/>
                      <a:pt x="286102" y="236841"/>
                      <a:pt x="286102" y="257796"/>
                    </a:cubicBezTo>
                    <a:cubicBezTo>
                      <a:pt x="286102" y="278751"/>
                      <a:pt x="268957" y="295896"/>
                      <a:pt x="248002" y="295896"/>
                    </a:cubicBezTo>
                    <a:lnTo>
                      <a:pt x="248002" y="295896"/>
                    </a:lnTo>
                    <a:lnTo>
                      <a:pt x="171802" y="295896"/>
                    </a:lnTo>
                    <a:lnTo>
                      <a:pt x="171802" y="219696"/>
                    </a:lnTo>
                    <a:lnTo>
                      <a:pt x="248002" y="219696"/>
                    </a:lnTo>
                    <a:close/>
                    <a:moveTo>
                      <a:pt x="428977" y="133971"/>
                    </a:moveTo>
                    <a:lnTo>
                      <a:pt x="314677" y="133971"/>
                    </a:lnTo>
                    <a:lnTo>
                      <a:pt x="313724" y="133971"/>
                    </a:lnTo>
                    <a:cubicBezTo>
                      <a:pt x="308962" y="133019"/>
                      <a:pt x="305152" y="129209"/>
                      <a:pt x="305152" y="124446"/>
                    </a:cubicBezTo>
                    <a:lnTo>
                      <a:pt x="305152" y="124446"/>
                    </a:lnTo>
                    <a:lnTo>
                      <a:pt x="305152" y="10146"/>
                    </a:lnTo>
                    <a:lnTo>
                      <a:pt x="428977" y="133971"/>
                    </a:lnTo>
                    <a:close/>
                  </a:path>
                </a:pathLst>
              </a:custGeom>
              <a:solidFill>
                <a:srgbClr val="FFFFFF"/>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sp>
            <p:nvSpPr>
              <p:cNvPr id="49" name="文本框 48"/>
              <p:cNvSpPr txBox="1"/>
              <p:nvPr/>
            </p:nvSpPr>
            <p:spPr>
              <a:xfrm>
                <a:off x="1580203" y="3208722"/>
                <a:ext cx="2244666" cy="622044"/>
              </a:xfrm>
              <a:prstGeom prst="rect">
                <a:avLst/>
              </a:prstGeom>
              <a:noFill/>
              <a:ln>
                <a:noFill/>
              </a:ln>
            </p:spPr>
            <p:txBody>
              <a:bodyPr wrap="square" lIns="91440" tIns="45720" rIns="91440" bIns="45720" anchor="t" anchorCtr="1">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20000"/>
                  </a:lnSpc>
                  <a:spcBef>
                    <a:spcPct val="0"/>
                  </a:spcBef>
                </a:pPr>
                <a:r>
                  <a:rPr lang="fr-FR" altLang="zh-CN" sz="1200" dirty="0">
                    <a:latin typeface="Calibri" pitchFamily="34" charset="0"/>
                    <a:ea typeface="宋体" pitchFamily="2" charset="-122"/>
                  </a:rPr>
                  <a:t>Et et elit accusam amet labore consequat takimata.</a:t>
                </a:r>
                <a:endParaRPr lang="en-US" altLang="zh-CN" sz="1200" dirty="0">
                  <a:latin typeface="Calibri" pitchFamily="34" charset="0"/>
                  <a:ea typeface="宋体" pitchFamily="2" charset="-122"/>
                </a:endParaRPr>
              </a:p>
            </p:txBody>
          </p:sp>
          <p:sp>
            <p:nvSpPr>
              <p:cNvPr id="50" name="矩形 49"/>
              <p:cNvSpPr/>
              <p:nvPr/>
            </p:nvSpPr>
            <p:spPr>
              <a:xfrm>
                <a:off x="1580203" y="2668722"/>
                <a:ext cx="2244666" cy="540000"/>
              </a:xfrm>
              <a:prstGeom prst="rect">
                <a:avLst/>
              </a:prstGeom>
            </p:spPr>
            <p:txBody>
              <a:bodyPr wrap="square" anchor="b" anchorCtr="1">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lvl="0" algn="ctr"/>
                <a:r>
                  <a:rPr lang="en-US" altLang="zh-CN" b="1" dirty="0">
                    <a:latin typeface="Calibri" pitchFamily="34" charset="0"/>
                    <a:ea typeface="宋体" pitchFamily="2" charset="-122"/>
                  </a:rPr>
                  <a:t>Click to add text</a:t>
                </a:r>
                <a:endParaRPr lang="zh-CN" altLang="en-US" b="1" dirty="0">
                  <a:latin typeface="Calibri" pitchFamily="34" charset="0"/>
                  <a:ea typeface="宋体" pitchFamily="2" charset="-122"/>
                </a:endParaRPr>
              </a:p>
            </p:txBody>
          </p:sp>
        </p:grpSp>
        <p:grpSp>
          <p:nvGrpSpPr>
            <p:cNvPr id="62" name="组合 61"/>
            <p:cNvGrpSpPr/>
            <p:nvPr/>
          </p:nvGrpSpPr>
          <p:grpSpPr>
            <a:xfrm>
              <a:off x="4727807" y="1994142"/>
              <a:ext cx="2244666" cy="1836624"/>
              <a:chOff x="3824869" y="1994142"/>
              <a:chExt cx="2244666" cy="1836624"/>
            </a:xfrm>
          </p:grpSpPr>
          <p:sp>
            <p:nvSpPr>
              <p:cNvPr id="35" name="文本框 34"/>
              <p:cNvSpPr txBox="1">
                <a:spLocks noChangeAspect="1"/>
              </p:cNvSpPr>
              <p:nvPr/>
            </p:nvSpPr>
            <p:spPr>
              <a:xfrm>
                <a:off x="4677202" y="1994142"/>
                <a:ext cx="540000" cy="540000"/>
              </a:xfrm>
              <a:prstGeom prst="roundRect">
                <a:avLst>
                  <a:gd name="adj" fmla="val 50000"/>
                </a:avLst>
              </a:prstGeom>
              <a:solidFill>
                <a:schemeClr val="accent1"/>
              </a:solidFill>
            </p:spPr>
            <p:txBody>
              <a:bodyPr wrap="none" lIns="108000" tIns="108000" rIns="108000" bIns="108000" rtlCol="0" anchor="ctr" anchorCtr="0">
                <a:noAutofit/>
              </a:bodyPr>
              <a:lstStyle/>
              <a:p>
                <a:pPr algn="ctr"/>
                <a:endParaRPr kumimoji="1" lang="zh-CN" altLang="en-US" sz="2000" b="1" dirty="0">
                  <a:noFill/>
                </a:endParaRPr>
              </a:p>
            </p:txBody>
          </p:sp>
          <p:sp>
            <p:nvSpPr>
              <p:cNvPr id="36" name="任意多边形: 形状 35"/>
              <p:cNvSpPr/>
              <p:nvPr/>
            </p:nvSpPr>
            <p:spPr>
              <a:xfrm>
                <a:off x="4809498" y="2128898"/>
                <a:ext cx="275408" cy="270488"/>
              </a:xfrm>
              <a:custGeom>
                <a:avLst/>
                <a:gdLst>
                  <a:gd name="connsiteX0" fmla="*/ 343764 w 533400"/>
                  <a:gd name="connsiteY0" fmla="*/ 276846 h 523875"/>
                  <a:gd name="connsiteX1" fmla="*/ 372339 w 533400"/>
                  <a:gd name="connsiteY1" fmla="*/ 305421 h 523875"/>
                  <a:gd name="connsiteX2" fmla="*/ 372339 w 533400"/>
                  <a:gd name="connsiteY2" fmla="*/ 495921 h 523875"/>
                  <a:gd name="connsiteX3" fmla="*/ 343764 w 533400"/>
                  <a:gd name="connsiteY3" fmla="*/ 524496 h 523875"/>
                  <a:gd name="connsiteX4" fmla="*/ 191364 w 533400"/>
                  <a:gd name="connsiteY4" fmla="*/ 524496 h 523875"/>
                  <a:gd name="connsiteX5" fmla="*/ 162789 w 533400"/>
                  <a:gd name="connsiteY5" fmla="*/ 495921 h 523875"/>
                  <a:gd name="connsiteX6" fmla="*/ 162789 w 533400"/>
                  <a:gd name="connsiteY6" fmla="*/ 305421 h 523875"/>
                  <a:gd name="connsiteX7" fmla="*/ 191364 w 533400"/>
                  <a:gd name="connsiteY7" fmla="*/ 276846 h 523875"/>
                  <a:gd name="connsiteX8" fmla="*/ 343764 w 533400"/>
                  <a:gd name="connsiteY8" fmla="*/ 276846 h 523875"/>
                  <a:gd name="connsiteX9" fmla="*/ 143739 w 533400"/>
                  <a:gd name="connsiteY9" fmla="*/ 114921 h 523875"/>
                  <a:gd name="connsiteX10" fmla="*/ 179934 w 533400"/>
                  <a:gd name="connsiteY10" fmla="*/ 153021 h 523875"/>
                  <a:gd name="connsiteX11" fmla="*/ 181839 w 533400"/>
                  <a:gd name="connsiteY11" fmla="*/ 153021 h 523875"/>
                  <a:gd name="connsiteX12" fmla="*/ 353289 w 533400"/>
                  <a:gd name="connsiteY12" fmla="*/ 153021 h 523875"/>
                  <a:gd name="connsiteX13" fmla="*/ 391389 w 533400"/>
                  <a:gd name="connsiteY13" fmla="*/ 116826 h 523875"/>
                  <a:gd name="connsiteX14" fmla="*/ 391389 w 533400"/>
                  <a:gd name="connsiteY14" fmla="*/ 114921 h 523875"/>
                  <a:gd name="connsiteX15" fmla="*/ 505689 w 533400"/>
                  <a:gd name="connsiteY15" fmla="*/ 114921 h 523875"/>
                  <a:gd name="connsiteX16" fmla="*/ 534264 w 533400"/>
                  <a:gd name="connsiteY16" fmla="*/ 143496 h 523875"/>
                  <a:gd name="connsiteX17" fmla="*/ 534264 w 533400"/>
                  <a:gd name="connsiteY17" fmla="*/ 381621 h 523875"/>
                  <a:gd name="connsiteX18" fmla="*/ 505689 w 533400"/>
                  <a:gd name="connsiteY18" fmla="*/ 410196 h 523875"/>
                  <a:gd name="connsiteX19" fmla="*/ 391389 w 533400"/>
                  <a:gd name="connsiteY19" fmla="*/ 410196 h 523875"/>
                  <a:gd name="connsiteX20" fmla="*/ 391389 w 533400"/>
                  <a:gd name="connsiteY20" fmla="*/ 295896 h 523875"/>
                  <a:gd name="connsiteX21" fmla="*/ 355194 w 533400"/>
                  <a:gd name="connsiteY21" fmla="*/ 257796 h 523875"/>
                  <a:gd name="connsiteX22" fmla="*/ 353289 w 533400"/>
                  <a:gd name="connsiteY22" fmla="*/ 257796 h 523875"/>
                  <a:gd name="connsiteX23" fmla="*/ 181839 w 533400"/>
                  <a:gd name="connsiteY23" fmla="*/ 257796 h 523875"/>
                  <a:gd name="connsiteX24" fmla="*/ 143739 w 533400"/>
                  <a:gd name="connsiteY24" fmla="*/ 293991 h 523875"/>
                  <a:gd name="connsiteX25" fmla="*/ 143739 w 533400"/>
                  <a:gd name="connsiteY25" fmla="*/ 295896 h 523875"/>
                  <a:gd name="connsiteX26" fmla="*/ 143739 w 533400"/>
                  <a:gd name="connsiteY26" fmla="*/ 410196 h 523875"/>
                  <a:gd name="connsiteX27" fmla="*/ 29439 w 533400"/>
                  <a:gd name="connsiteY27" fmla="*/ 410196 h 523875"/>
                  <a:gd name="connsiteX28" fmla="*/ 864 w 533400"/>
                  <a:gd name="connsiteY28" fmla="*/ 381621 h 523875"/>
                  <a:gd name="connsiteX29" fmla="*/ 864 w 533400"/>
                  <a:gd name="connsiteY29" fmla="*/ 201599 h 523875"/>
                  <a:gd name="connsiteX30" fmla="*/ 11342 w 533400"/>
                  <a:gd name="connsiteY30" fmla="*/ 175881 h 523875"/>
                  <a:gd name="connsiteX31" fmla="*/ 56109 w 533400"/>
                  <a:gd name="connsiteY31" fmla="*/ 127304 h 523875"/>
                  <a:gd name="connsiteX32" fmla="*/ 83732 w 533400"/>
                  <a:gd name="connsiteY32" fmla="*/ 114921 h 523875"/>
                  <a:gd name="connsiteX33" fmla="*/ 143739 w 533400"/>
                  <a:gd name="connsiteY33" fmla="*/ 114921 h 523875"/>
                  <a:gd name="connsiteX34" fmla="*/ 462827 w 533400"/>
                  <a:gd name="connsiteY34" fmla="*/ 172071 h 523875"/>
                  <a:gd name="connsiteX35" fmla="*/ 448539 w 533400"/>
                  <a:gd name="connsiteY35" fmla="*/ 186359 h 523875"/>
                  <a:gd name="connsiteX36" fmla="*/ 462827 w 533400"/>
                  <a:gd name="connsiteY36" fmla="*/ 200646 h 523875"/>
                  <a:gd name="connsiteX37" fmla="*/ 477114 w 533400"/>
                  <a:gd name="connsiteY37" fmla="*/ 186359 h 523875"/>
                  <a:gd name="connsiteX38" fmla="*/ 462827 w 533400"/>
                  <a:gd name="connsiteY38" fmla="*/ 172071 h 523875"/>
                  <a:gd name="connsiteX39" fmla="*/ 343764 w 533400"/>
                  <a:gd name="connsiteY39" fmla="*/ 621 h 523875"/>
                  <a:gd name="connsiteX40" fmla="*/ 372339 w 533400"/>
                  <a:gd name="connsiteY40" fmla="*/ 29196 h 523875"/>
                  <a:gd name="connsiteX41" fmla="*/ 372339 w 533400"/>
                  <a:gd name="connsiteY41" fmla="*/ 105396 h 523875"/>
                  <a:gd name="connsiteX42" fmla="*/ 343764 w 533400"/>
                  <a:gd name="connsiteY42" fmla="*/ 133971 h 523875"/>
                  <a:gd name="connsiteX43" fmla="*/ 191364 w 533400"/>
                  <a:gd name="connsiteY43" fmla="*/ 133971 h 523875"/>
                  <a:gd name="connsiteX44" fmla="*/ 162789 w 533400"/>
                  <a:gd name="connsiteY44" fmla="*/ 105396 h 523875"/>
                  <a:gd name="connsiteX45" fmla="*/ 162789 w 533400"/>
                  <a:gd name="connsiteY45" fmla="*/ 29196 h 523875"/>
                  <a:gd name="connsiteX46" fmla="*/ 191364 w 533400"/>
                  <a:gd name="connsiteY46" fmla="*/ 621 h 523875"/>
                  <a:gd name="connsiteX47" fmla="*/ 343764 w 533400"/>
                  <a:gd name="connsiteY47" fmla="*/ 621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533400" h="523875">
                    <a:moveTo>
                      <a:pt x="343764" y="276846"/>
                    </a:moveTo>
                    <a:cubicBezTo>
                      <a:pt x="359957" y="276846"/>
                      <a:pt x="372339" y="289229"/>
                      <a:pt x="372339" y="305421"/>
                    </a:cubicBezTo>
                    <a:lnTo>
                      <a:pt x="372339" y="495921"/>
                    </a:lnTo>
                    <a:cubicBezTo>
                      <a:pt x="372339" y="512114"/>
                      <a:pt x="359957" y="524496"/>
                      <a:pt x="343764" y="524496"/>
                    </a:cubicBezTo>
                    <a:lnTo>
                      <a:pt x="191364" y="524496"/>
                    </a:lnTo>
                    <a:cubicBezTo>
                      <a:pt x="175171" y="524496"/>
                      <a:pt x="162789" y="512114"/>
                      <a:pt x="162789" y="495921"/>
                    </a:cubicBezTo>
                    <a:lnTo>
                      <a:pt x="162789" y="305421"/>
                    </a:lnTo>
                    <a:cubicBezTo>
                      <a:pt x="162789" y="289229"/>
                      <a:pt x="175171" y="276846"/>
                      <a:pt x="191364" y="276846"/>
                    </a:cubicBezTo>
                    <a:lnTo>
                      <a:pt x="343764" y="276846"/>
                    </a:lnTo>
                    <a:close/>
                    <a:moveTo>
                      <a:pt x="143739" y="114921"/>
                    </a:moveTo>
                    <a:cubicBezTo>
                      <a:pt x="143739" y="134924"/>
                      <a:pt x="159932" y="152069"/>
                      <a:pt x="179934" y="153021"/>
                    </a:cubicBezTo>
                    <a:lnTo>
                      <a:pt x="181839" y="153021"/>
                    </a:lnTo>
                    <a:lnTo>
                      <a:pt x="353289" y="153021"/>
                    </a:lnTo>
                    <a:cubicBezTo>
                      <a:pt x="373292" y="153021"/>
                      <a:pt x="390436" y="136829"/>
                      <a:pt x="391389" y="116826"/>
                    </a:cubicBezTo>
                    <a:lnTo>
                      <a:pt x="391389" y="114921"/>
                    </a:lnTo>
                    <a:lnTo>
                      <a:pt x="505689" y="114921"/>
                    </a:lnTo>
                    <a:cubicBezTo>
                      <a:pt x="521882" y="114921"/>
                      <a:pt x="534264" y="127304"/>
                      <a:pt x="534264" y="143496"/>
                    </a:cubicBezTo>
                    <a:lnTo>
                      <a:pt x="534264" y="381621"/>
                    </a:lnTo>
                    <a:cubicBezTo>
                      <a:pt x="534264" y="397814"/>
                      <a:pt x="521882" y="410196"/>
                      <a:pt x="505689" y="410196"/>
                    </a:cubicBezTo>
                    <a:lnTo>
                      <a:pt x="391389" y="410196"/>
                    </a:lnTo>
                    <a:lnTo>
                      <a:pt x="391389" y="295896"/>
                    </a:lnTo>
                    <a:cubicBezTo>
                      <a:pt x="391389" y="275894"/>
                      <a:pt x="375196" y="258749"/>
                      <a:pt x="355194" y="257796"/>
                    </a:cubicBezTo>
                    <a:lnTo>
                      <a:pt x="353289" y="257796"/>
                    </a:lnTo>
                    <a:lnTo>
                      <a:pt x="181839" y="257796"/>
                    </a:lnTo>
                    <a:cubicBezTo>
                      <a:pt x="161836" y="257796"/>
                      <a:pt x="144692" y="273989"/>
                      <a:pt x="143739" y="293991"/>
                    </a:cubicBezTo>
                    <a:lnTo>
                      <a:pt x="143739" y="295896"/>
                    </a:lnTo>
                    <a:lnTo>
                      <a:pt x="143739" y="410196"/>
                    </a:lnTo>
                    <a:lnTo>
                      <a:pt x="29439" y="410196"/>
                    </a:lnTo>
                    <a:cubicBezTo>
                      <a:pt x="13246" y="410196"/>
                      <a:pt x="864" y="397814"/>
                      <a:pt x="864" y="381621"/>
                    </a:cubicBezTo>
                    <a:lnTo>
                      <a:pt x="864" y="201599"/>
                    </a:lnTo>
                    <a:cubicBezTo>
                      <a:pt x="864" y="192074"/>
                      <a:pt x="4674" y="182549"/>
                      <a:pt x="11342" y="175881"/>
                    </a:cubicBezTo>
                    <a:lnTo>
                      <a:pt x="56109" y="127304"/>
                    </a:lnTo>
                    <a:cubicBezTo>
                      <a:pt x="63729" y="119684"/>
                      <a:pt x="73254" y="114921"/>
                      <a:pt x="83732" y="114921"/>
                    </a:cubicBezTo>
                    <a:lnTo>
                      <a:pt x="143739" y="114921"/>
                    </a:lnTo>
                    <a:close/>
                    <a:moveTo>
                      <a:pt x="462827" y="172071"/>
                    </a:moveTo>
                    <a:cubicBezTo>
                      <a:pt x="455207" y="172071"/>
                      <a:pt x="448539" y="178739"/>
                      <a:pt x="448539" y="186359"/>
                    </a:cubicBezTo>
                    <a:cubicBezTo>
                      <a:pt x="448539" y="193979"/>
                      <a:pt x="455207" y="200646"/>
                      <a:pt x="462827" y="200646"/>
                    </a:cubicBezTo>
                    <a:cubicBezTo>
                      <a:pt x="470446" y="200646"/>
                      <a:pt x="477114" y="193979"/>
                      <a:pt x="477114" y="186359"/>
                    </a:cubicBezTo>
                    <a:cubicBezTo>
                      <a:pt x="477114" y="178739"/>
                      <a:pt x="470446" y="172071"/>
                      <a:pt x="462827" y="172071"/>
                    </a:cubicBezTo>
                    <a:close/>
                    <a:moveTo>
                      <a:pt x="343764" y="621"/>
                    </a:moveTo>
                    <a:cubicBezTo>
                      <a:pt x="359957" y="621"/>
                      <a:pt x="372339" y="13004"/>
                      <a:pt x="372339" y="29196"/>
                    </a:cubicBezTo>
                    <a:lnTo>
                      <a:pt x="372339" y="105396"/>
                    </a:lnTo>
                    <a:cubicBezTo>
                      <a:pt x="372339" y="121589"/>
                      <a:pt x="359957" y="133971"/>
                      <a:pt x="343764" y="133971"/>
                    </a:cubicBezTo>
                    <a:lnTo>
                      <a:pt x="191364" y="133971"/>
                    </a:lnTo>
                    <a:cubicBezTo>
                      <a:pt x="175171" y="133971"/>
                      <a:pt x="162789" y="121589"/>
                      <a:pt x="162789" y="105396"/>
                    </a:cubicBezTo>
                    <a:lnTo>
                      <a:pt x="162789" y="29196"/>
                    </a:lnTo>
                    <a:cubicBezTo>
                      <a:pt x="162789" y="13004"/>
                      <a:pt x="175171" y="621"/>
                      <a:pt x="191364" y="621"/>
                    </a:cubicBezTo>
                    <a:lnTo>
                      <a:pt x="343764" y="621"/>
                    </a:lnTo>
                    <a:close/>
                  </a:path>
                </a:pathLst>
              </a:custGeom>
              <a:solidFill>
                <a:srgbClr val="FFFFFF"/>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sp>
            <p:nvSpPr>
              <p:cNvPr id="51" name="文本框 50"/>
              <p:cNvSpPr txBox="1"/>
              <p:nvPr/>
            </p:nvSpPr>
            <p:spPr>
              <a:xfrm>
                <a:off x="3824869" y="3208722"/>
                <a:ext cx="2244666" cy="622044"/>
              </a:xfrm>
              <a:prstGeom prst="rect">
                <a:avLst/>
              </a:prstGeom>
              <a:noFill/>
              <a:ln>
                <a:noFill/>
              </a:ln>
            </p:spPr>
            <p:txBody>
              <a:bodyPr wrap="square" lIns="91440" tIns="45720" rIns="91440" bIns="45720" anchor="t" anchorCtr="1">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20000"/>
                  </a:lnSpc>
                  <a:spcBef>
                    <a:spcPct val="0"/>
                  </a:spcBef>
                </a:pPr>
                <a:r>
                  <a:rPr lang="sv-SE" altLang="zh-CN" sz="1200">
                    <a:latin typeface="Calibri" pitchFamily="34" charset="0"/>
                    <a:ea typeface="宋体" pitchFamily="2" charset="-122"/>
                  </a:rPr>
                  <a:t>Vel amet et vel accusam sanctus ea lorem tempor iusto id ea.</a:t>
                </a:r>
                <a:endParaRPr lang="en-US" altLang="zh-CN" sz="1200" dirty="0">
                  <a:latin typeface="Calibri" pitchFamily="34" charset="0"/>
                  <a:ea typeface="宋体" pitchFamily="2" charset="-122"/>
                </a:endParaRPr>
              </a:p>
            </p:txBody>
          </p:sp>
          <p:sp>
            <p:nvSpPr>
              <p:cNvPr id="52" name="矩形 51"/>
              <p:cNvSpPr/>
              <p:nvPr/>
            </p:nvSpPr>
            <p:spPr>
              <a:xfrm>
                <a:off x="3824869" y="2668722"/>
                <a:ext cx="2244666" cy="540000"/>
              </a:xfrm>
              <a:prstGeom prst="rect">
                <a:avLst/>
              </a:prstGeom>
            </p:spPr>
            <p:txBody>
              <a:bodyPr wrap="square" anchor="b" anchorCtr="1">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lvl="0" algn="ctr"/>
                <a:r>
                  <a:rPr lang="en-US" altLang="zh-CN" b="1">
                    <a:latin typeface="Calibri" pitchFamily="34" charset="0"/>
                    <a:ea typeface="宋体" pitchFamily="2" charset="-122"/>
                  </a:rPr>
                  <a:t>Click to add text</a:t>
                </a:r>
                <a:endParaRPr lang="zh-CN" altLang="en-US" b="1" dirty="0">
                  <a:latin typeface="Calibri" pitchFamily="34" charset="0"/>
                  <a:ea typeface="宋体" pitchFamily="2" charset="-122"/>
                </a:endParaRPr>
              </a:p>
            </p:txBody>
          </p:sp>
        </p:grpSp>
        <p:grpSp>
          <p:nvGrpSpPr>
            <p:cNvPr id="63" name="组合 62"/>
            <p:cNvGrpSpPr/>
            <p:nvPr/>
          </p:nvGrpSpPr>
          <p:grpSpPr>
            <a:xfrm>
              <a:off x="7875409" y="1994142"/>
              <a:ext cx="2244666" cy="1836624"/>
              <a:chOff x="6537263" y="1994142"/>
              <a:chExt cx="2244666" cy="1836624"/>
            </a:xfrm>
          </p:grpSpPr>
          <p:sp>
            <p:nvSpPr>
              <p:cNvPr id="29" name="文本框 28"/>
              <p:cNvSpPr txBox="1">
                <a:spLocks noChangeAspect="1"/>
              </p:cNvSpPr>
              <p:nvPr/>
            </p:nvSpPr>
            <p:spPr>
              <a:xfrm>
                <a:off x="7389596" y="1994142"/>
                <a:ext cx="540000" cy="540000"/>
              </a:xfrm>
              <a:prstGeom prst="roundRect">
                <a:avLst>
                  <a:gd name="adj" fmla="val 50000"/>
                </a:avLst>
              </a:prstGeom>
              <a:solidFill>
                <a:schemeClr val="accent1"/>
              </a:solidFill>
            </p:spPr>
            <p:txBody>
              <a:bodyPr wrap="none" lIns="108000" tIns="108000" rIns="108000" bIns="108000" rtlCol="0" anchor="ctr" anchorCtr="0">
                <a:noAutofit/>
              </a:bodyPr>
              <a:lstStyle/>
              <a:p>
                <a:pPr algn="ctr"/>
                <a:endParaRPr kumimoji="1" lang="zh-CN" altLang="en-US" sz="2000" b="1" dirty="0">
                  <a:noFill/>
                </a:endParaRPr>
              </a:p>
            </p:txBody>
          </p:sp>
          <p:sp>
            <p:nvSpPr>
              <p:cNvPr id="30" name="任意多边形: 形状 29"/>
              <p:cNvSpPr/>
              <p:nvPr/>
            </p:nvSpPr>
            <p:spPr>
              <a:xfrm>
                <a:off x="7533747" y="2129143"/>
                <a:ext cx="251698" cy="269998"/>
              </a:xfrm>
              <a:custGeom>
                <a:avLst/>
                <a:gdLst>
                  <a:gd name="connsiteX0" fmla="*/ 8356 w 487477"/>
                  <a:gd name="connsiteY0" fmla="*/ 512114 h 522922"/>
                  <a:gd name="connsiteX1" fmla="*/ 8356 w 487477"/>
                  <a:gd name="connsiteY1" fmla="*/ 512114 h 522922"/>
                  <a:gd name="connsiteX2" fmla="*/ 8356 w 487477"/>
                  <a:gd name="connsiteY2" fmla="*/ 512114 h 522922"/>
                  <a:gd name="connsiteX3" fmla="*/ 7404 w 487477"/>
                  <a:gd name="connsiteY3" fmla="*/ 511161 h 522922"/>
                  <a:gd name="connsiteX4" fmla="*/ 5499 w 487477"/>
                  <a:gd name="connsiteY4" fmla="*/ 508303 h 522922"/>
                  <a:gd name="connsiteX5" fmla="*/ 5499 w 487477"/>
                  <a:gd name="connsiteY5" fmla="*/ 508303 h 522922"/>
                  <a:gd name="connsiteX6" fmla="*/ 5499 w 487477"/>
                  <a:gd name="connsiteY6" fmla="*/ 507351 h 522922"/>
                  <a:gd name="connsiteX7" fmla="*/ 4546 w 487477"/>
                  <a:gd name="connsiteY7" fmla="*/ 505446 h 522922"/>
                  <a:gd name="connsiteX8" fmla="*/ 3593 w 487477"/>
                  <a:gd name="connsiteY8" fmla="*/ 503541 h 522922"/>
                  <a:gd name="connsiteX9" fmla="*/ 3593 w 487477"/>
                  <a:gd name="connsiteY9" fmla="*/ 503541 h 522922"/>
                  <a:gd name="connsiteX10" fmla="*/ 3593 w 487477"/>
                  <a:gd name="connsiteY10" fmla="*/ 503541 h 522922"/>
                  <a:gd name="connsiteX11" fmla="*/ 3593 w 487477"/>
                  <a:gd name="connsiteY11" fmla="*/ 503541 h 522922"/>
                  <a:gd name="connsiteX12" fmla="*/ 2641 w 487477"/>
                  <a:gd name="connsiteY12" fmla="*/ 501636 h 522922"/>
                  <a:gd name="connsiteX13" fmla="*/ 2641 w 487477"/>
                  <a:gd name="connsiteY13" fmla="*/ 500684 h 522922"/>
                  <a:gd name="connsiteX14" fmla="*/ 1689 w 487477"/>
                  <a:gd name="connsiteY14" fmla="*/ 498778 h 522922"/>
                  <a:gd name="connsiteX15" fmla="*/ 736 w 487477"/>
                  <a:gd name="connsiteY15" fmla="*/ 494968 h 522922"/>
                  <a:gd name="connsiteX16" fmla="*/ 736 w 487477"/>
                  <a:gd name="connsiteY16" fmla="*/ 492111 h 522922"/>
                  <a:gd name="connsiteX17" fmla="*/ 736 w 487477"/>
                  <a:gd name="connsiteY17" fmla="*/ 485443 h 522922"/>
                  <a:gd name="connsiteX18" fmla="*/ 5499 w 487477"/>
                  <a:gd name="connsiteY18" fmla="*/ 467346 h 522922"/>
                  <a:gd name="connsiteX19" fmla="*/ 155041 w 487477"/>
                  <a:gd name="connsiteY19" fmla="*/ 151116 h 522922"/>
                  <a:gd name="connsiteX20" fmla="*/ 158851 w 487477"/>
                  <a:gd name="connsiteY20" fmla="*/ 134924 h 522922"/>
                  <a:gd name="connsiteX21" fmla="*/ 158851 w 487477"/>
                  <a:gd name="connsiteY21" fmla="*/ 19671 h 522922"/>
                  <a:gd name="connsiteX22" fmla="*/ 120751 w 487477"/>
                  <a:gd name="connsiteY22" fmla="*/ 19671 h 522922"/>
                  <a:gd name="connsiteX23" fmla="*/ 120751 w 487477"/>
                  <a:gd name="connsiteY23" fmla="*/ 621 h 522922"/>
                  <a:gd name="connsiteX24" fmla="*/ 368401 w 487477"/>
                  <a:gd name="connsiteY24" fmla="*/ 621 h 522922"/>
                  <a:gd name="connsiteX25" fmla="*/ 368401 w 487477"/>
                  <a:gd name="connsiteY25" fmla="*/ 19671 h 522922"/>
                  <a:gd name="connsiteX26" fmla="*/ 330301 w 487477"/>
                  <a:gd name="connsiteY26" fmla="*/ 19671 h 522922"/>
                  <a:gd name="connsiteX27" fmla="*/ 330301 w 487477"/>
                  <a:gd name="connsiteY27" fmla="*/ 134924 h 522922"/>
                  <a:gd name="connsiteX28" fmla="*/ 334111 w 487477"/>
                  <a:gd name="connsiteY28" fmla="*/ 151116 h 522922"/>
                  <a:gd name="connsiteX29" fmla="*/ 483654 w 487477"/>
                  <a:gd name="connsiteY29" fmla="*/ 467346 h 522922"/>
                  <a:gd name="connsiteX30" fmla="*/ 485558 w 487477"/>
                  <a:gd name="connsiteY30" fmla="*/ 504493 h 522922"/>
                  <a:gd name="connsiteX31" fmla="*/ 485558 w 487477"/>
                  <a:gd name="connsiteY31" fmla="*/ 504493 h 522922"/>
                  <a:gd name="connsiteX32" fmla="*/ 484606 w 487477"/>
                  <a:gd name="connsiteY32" fmla="*/ 506399 h 522922"/>
                  <a:gd name="connsiteX33" fmla="*/ 459841 w 487477"/>
                  <a:gd name="connsiteY33" fmla="*/ 523543 h 522922"/>
                  <a:gd name="connsiteX34" fmla="*/ 457936 w 487477"/>
                  <a:gd name="connsiteY34" fmla="*/ 523543 h 522922"/>
                  <a:gd name="connsiteX35" fmla="*/ 32168 w 487477"/>
                  <a:gd name="connsiteY35" fmla="*/ 523543 h 522922"/>
                  <a:gd name="connsiteX36" fmla="*/ 30264 w 487477"/>
                  <a:gd name="connsiteY36" fmla="*/ 523543 h 522922"/>
                  <a:gd name="connsiteX37" fmla="*/ 27406 w 487477"/>
                  <a:gd name="connsiteY37" fmla="*/ 523543 h 522922"/>
                  <a:gd name="connsiteX38" fmla="*/ 23596 w 487477"/>
                  <a:gd name="connsiteY38" fmla="*/ 522591 h 522922"/>
                  <a:gd name="connsiteX39" fmla="*/ 23596 w 487477"/>
                  <a:gd name="connsiteY39" fmla="*/ 522591 h 522922"/>
                  <a:gd name="connsiteX40" fmla="*/ 17881 w 487477"/>
                  <a:gd name="connsiteY40" fmla="*/ 520686 h 522922"/>
                  <a:gd name="connsiteX41" fmla="*/ 15976 w 487477"/>
                  <a:gd name="connsiteY41" fmla="*/ 519734 h 522922"/>
                  <a:gd name="connsiteX42" fmla="*/ 15024 w 487477"/>
                  <a:gd name="connsiteY42" fmla="*/ 518781 h 522922"/>
                  <a:gd name="connsiteX43" fmla="*/ 10261 w 487477"/>
                  <a:gd name="connsiteY43" fmla="*/ 514971 h 522922"/>
                  <a:gd name="connsiteX44" fmla="*/ 8356 w 487477"/>
                  <a:gd name="connsiteY44" fmla="*/ 512114 h 522922"/>
                  <a:gd name="connsiteX45" fmla="*/ 8356 w 487477"/>
                  <a:gd name="connsiteY45" fmla="*/ 512114 h 522922"/>
                  <a:gd name="connsiteX46" fmla="*/ 255054 w 487477"/>
                  <a:gd name="connsiteY46" fmla="*/ 402576 h 522922"/>
                  <a:gd name="connsiteX47" fmla="*/ 252196 w 487477"/>
                  <a:gd name="connsiteY47" fmla="*/ 404481 h 522922"/>
                  <a:gd name="connsiteX48" fmla="*/ 246481 w 487477"/>
                  <a:gd name="connsiteY48" fmla="*/ 408291 h 522922"/>
                  <a:gd name="connsiteX49" fmla="*/ 55029 w 487477"/>
                  <a:gd name="connsiteY49" fmla="*/ 414959 h 522922"/>
                  <a:gd name="connsiteX50" fmla="*/ 51218 w 487477"/>
                  <a:gd name="connsiteY50" fmla="*/ 413053 h 522922"/>
                  <a:gd name="connsiteX51" fmla="*/ 22643 w 487477"/>
                  <a:gd name="connsiteY51" fmla="*/ 474014 h 522922"/>
                  <a:gd name="connsiteX52" fmla="*/ 21691 w 487477"/>
                  <a:gd name="connsiteY52" fmla="*/ 475918 h 522922"/>
                  <a:gd name="connsiteX53" fmla="*/ 21691 w 487477"/>
                  <a:gd name="connsiteY53" fmla="*/ 495921 h 522922"/>
                  <a:gd name="connsiteX54" fmla="*/ 29311 w 487477"/>
                  <a:gd name="connsiteY54" fmla="*/ 502589 h 522922"/>
                  <a:gd name="connsiteX55" fmla="*/ 30264 w 487477"/>
                  <a:gd name="connsiteY55" fmla="*/ 502589 h 522922"/>
                  <a:gd name="connsiteX56" fmla="*/ 31216 w 487477"/>
                  <a:gd name="connsiteY56" fmla="*/ 502589 h 522922"/>
                  <a:gd name="connsiteX57" fmla="*/ 456983 w 487477"/>
                  <a:gd name="connsiteY57" fmla="*/ 502589 h 522922"/>
                  <a:gd name="connsiteX58" fmla="*/ 457936 w 487477"/>
                  <a:gd name="connsiteY58" fmla="*/ 502589 h 522922"/>
                  <a:gd name="connsiteX59" fmla="*/ 466508 w 487477"/>
                  <a:gd name="connsiteY59" fmla="*/ 495921 h 522922"/>
                  <a:gd name="connsiteX60" fmla="*/ 467461 w 487477"/>
                  <a:gd name="connsiteY60" fmla="*/ 477824 h 522922"/>
                  <a:gd name="connsiteX61" fmla="*/ 466508 w 487477"/>
                  <a:gd name="connsiteY61" fmla="*/ 475918 h 522922"/>
                  <a:gd name="connsiteX62" fmla="*/ 465556 w 487477"/>
                  <a:gd name="connsiteY62" fmla="*/ 474014 h 522922"/>
                  <a:gd name="connsiteX63" fmla="*/ 423646 w 487477"/>
                  <a:gd name="connsiteY63" fmla="*/ 385431 h 522922"/>
                  <a:gd name="connsiteX64" fmla="*/ 255054 w 487477"/>
                  <a:gd name="connsiteY64" fmla="*/ 402576 h 522922"/>
                  <a:gd name="connsiteX65" fmla="*/ 305536 w 487477"/>
                  <a:gd name="connsiteY65" fmla="*/ 255891 h 522922"/>
                  <a:gd name="connsiteX66" fmla="*/ 272199 w 487477"/>
                  <a:gd name="connsiteY66" fmla="*/ 289228 h 522922"/>
                  <a:gd name="connsiteX67" fmla="*/ 305536 w 487477"/>
                  <a:gd name="connsiteY67" fmla="*/ 322566 h 522922"/>
                  <a:gd name="connsiteX68" fmla="*/ 338874 w 487477"/>
                  <a:gd name="connsiteY68" fmla="*/ 289228 h 522922"/>
                  <a:gd name="connsiteX69" fmla="*/ 305536 w 487477"/>
                  <a:gd name="connsiteY69" fmla="*/ 255891 h 52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487477" h="522922">
                    <a:moveTo>
                      <a:pt x="8356" y="512114"/>
                    </a:moveTo>
                    <a:lnTo>
                      <a:pt x="8356" y="512114"/>
                    </a:lnTo>
                    <a:lnTo>
                      <a:pt x="8356" y="512114"/>
                    </a:lnTo>
                    <a:lnTo>
                      <a:pt x="7404" y="511161"/>
                    </a:lnTo>
                    <a:cubicBezTo>
                      <a:pt x="6451" y="510209"/>
                      <a:pt x="6451" y="509256"/>
                      <a:pt x="5499" y="508303"/>
                    </a:cubicBezTo>
                    <a:lnTo>
                      <a:pt x="5499" y="508303"/>
                    </a:lnTo>
                    <a:lnTo>
                      <a:pt x="5499" y="507351"/>
                    </a:lnTo>
                    <a:lnTo>
                      <a:pt x="4546" y="505446"/>
                    </a:lnTo>
                    <a:lnTo>
                      <a:pt x="3593" y="503541"/>
                    </a:lnTo>
                    <a:lnTo>
                      <a:pt x="3593" y="503541"/>
                    </a:lnTo>
                    <a:lnTo>
                      <a:pt x="3593" y="503541"/>
                    </a:lnTo>
                    <a:lnTo>
                      <a:pt x="3593" y="503541"/>
                    </a:lnTo>
                    <a:lnTo>
                      <a:pt x="2641" y="501636"/>
                    </a:lnTo>
                    <a:cubicBezTo>
                      <a:pt x="2641" y="501636"/>
                      <a:pt x="2641" y="500684"/>
                      <a:pt x="2641" y="500684"/>
                    </a:cubicBezTo>
                    <a:cubicBezTo>
                      <a:pt x="2641" y="499731"/>
                      <a:pt x="2641" y="499731"/>
                      <a:pt x="1689" y="498778"/>
                    </a:cubicBezTo>
                    <a:cubicBezTo>
                      <a:pt x="1689" y="497826"/>
                      <a:pt x="736" y="495921"/>
                      <a:pt x="736" y="494968"/>
                    </a:cubicBezTo>
                    <a:lnTo>
                      <a:pt x="736" y="492111"/>
                    </a:lnTo>
                    <a:cubicBezTo>
                      <a:pt x="736" y="490206"/>
                      <a:pt x="736" y="487349"/>
                      <a:pt x="736" y="485443"/>
                    </a:cubicBezTo>
                    <a:cubicBezTo>
                      <a:pt x="736" y="478776"/>
                      <a:pt x="2641" y="473061"/>
                      <a:pt x="5499" y="467346"/>
                    </a:cubicBezTo>
                    <a:lnTo>
                      <a:pt x="155041" y="151116"/>
                    </a:lnTo>
                    <a:cubicBezTo>
                      <a:pt x="157899" y="146353"/>
                      <a:pt x="158851" y="140639"/>
                      <a:pt x="158851" y="134924"/>
                    </a:cubicBezTo>
                    <a:lnTo>
                      <a:pt x="158851" y="19671"/>
                    </a:lnTo>
                    <a:lnTo>
                      <a:pt x="120751" y="19671"/>
                    </a:lnTo>
                    <a:lnTo>
                      <a:pt x="120751" y="621"/>
                    </a:lnTo>
                    <a:lnTo>
                      <a:pt x="368401" y="621"/>
                    </a:lnTo>
                    <a:lnTo>
                      <a:pt x="368401" y="19671"/>
                    </a:lnTo>
                    <a:lnTo>
                      <a:pt x="330301" y="19671"/>
                    </a:lnTo>
                    <a:lnTo>
                      <a:pt x="330301" y="134924"/>
                    </a:lnTo>
                    <a:cubicBezTo>
                      <a:pt x="330301" y="140639"/>
                      <a:pt x="331254" y="146353"/>
                      <a:pt x="334111" y="151116"/>
                    </a:cubicBezTo>
                    <a:lnTo>
                      <a:pt x="483654" y="467346"/>
                    </a:lnTo>
                    <a:cubicBezTo>
                      <a:pt x="489368" y="478776"/>
                      <a:pt x="489368" y="492111"/>
                      <a:pt x="485558" y="504493"/>
                    </a:cubicBezTo>
                    <a:lnTo>
                      <a:pt x="485558" y="504493"/>
                    </a:lnTo>
                    <a:lnTo>
                      <a:pt x="484606" y="506399"/>
                    </a:lnTo>
                    <a:cubicBezTo>
                      <a:pt x="479843" y="515924"/>
                      <a:pt x="470318" y="522591"/>
                      <a:pt x="459841" y="523543"/>
                    </a:cubicBezTo>
                    <a:lnTo>
                      <a:pt x="457936" y="523543"/>
                    </a:lnTo>
                    <a:lnTo>
                      <a:pt x="32168" y="523543"/>
                    </a:lnTo>
                    <a:lnTo>
                      <a:pt x="30264" y="523543"/>
                    </a:lnTo>
                    <a:cubicBezTo>
                      <a:pt x="29311" y="523543"/>
                      <a:pt x="28358" y="523543"/>
                      <a:pt x="27406" y="523543"/>
                    </a:cubicBezTo>
                    <a:cubicBezTo>
                      <a:pt x="26454" y="523543"/>
                      <a:pt x="24549" y="523543"/>
                      <a:pt x="23596" y="522591"/>
                    </a:cubicBezTo>
                    <a:lnTo>
                      <a:pt x="23596" y="522591"/>
                    </a:lnTo>
                    <a:cubicBezTo>
                      <a:pt x="21691" y="521639"/>
                      <a:pt x="19786" y="521639"/>
                      <a:pt x="17881" y="520686"/>
                    </a:cubicBezTo>
                    <a:lnTo>
                      <a:pt x="15976" y="519734"/>
                    </a:lnTo>
                    <a:cubicBezTo>
                      <a:pt x="15976" y="519734"/>
                      <a:pt x="15024" y="519734"/>
                      <a:pt x="15024" y="518781"/>
                    </a:cubicBezTo>
                    <a:cubicBezTo>
                      <a:pt x="13118" y="517828"/>
                      <a:pt x="11214" y="515924"/>
                      <a:pt x="10261" y="514971"/>
                    </a:cubicBezTo>
                    <a:lnTo>
                      <a:pt x="8356" y="512114"/>
                    </a:lnTo>
                    <a:lnTo>
                      <a:pt x="8356" y="512114"/>
                    </a:lnTo>
                    <a:close/>
                    <a:moveTo>
                      <a:pt x="255054" y="402576"/>
                    </a:moveTo>
                    <a:lnTo>
                      <a:pt x="252196" y="404481"/>
                    </a:lnTo>
                    <a:lnTo>
                      <a:pt x="246481" y="408291"/>
                    </a:lnTo>
                    <a:cubicBezTo>
                      <a:pt x="198856" y="439724"/>
                      <a:pt x="119799" y="440676"/>
                      <a:pt x="55029" y="414959"/>
                    </a:cubicBezTo>
                    <a:lnTo>
                      <a:pt x="51218" y="413053"/>
                    </a:lnTo>
                    <a:lnTo>
                      <a:pt x="22643" y="474014"/>
                    </a:lnTo>
                    <a:lnTo>
                      <a:pt x="21691" y="475918"/>
                    </a:lnTo>
                    <a:cubicBezTo>
                      <a:pt x="18833" y="482586"/>
                      <a:pt x="18833" y="490206"/>
                      <a:pt x="21691" y="495921"/>
                    </a:cubicBezTo>
                    <a:cubicBezTo>
                      <a:pt x="22643" y="498778"/>
                      <a:pt x="25501" y="501636"/>
                      <a:pt x="29311" y="502589"/>
                    </a:cubicBezTo>
                    <a:lnTo>
                      <a:pt x="30264" y="502589"/>
                    </a:lnTo>
                    <a:lnTo>
                      <a:pt x="31216" y="502589"/>
                    </a:lnTo>
                    <a:lnTo>
                      <a:pt x="456983" y="502589"/>
                    </a:lnTo>
                    <a:lnTo>
                      <a:pt x="457936" y="502589"/>
                    </a:lnTo>
                    <a:cubicBezTo>
                      <a:pt x="461746" y="502589"/>
                      <a:pt x="464604" y="499731"/>
                      <a:pt x="466508" y="495921"/>
                    </a:cubicBezTo>
                    <a:cubicBezTo>
                      <a:pt x="468414" y="490206"/>
                      <a:pt x="469366" y="483539"/>
                      <a:pt x="467461" y="477824"/>
                    </a:cubicBezTo>
                    <a:lnTo>
                      <a:pt x="466508" y="475918"/>
                    </a:lnTo>
                    <a:lnTo>
                      <a:pt x="465556" y="474014"/>
                    </a:lnTo>
                    <a:lnTo>
                      <a:pt x="423646" y="385431"/>
                    </a:lnTo>
                    <a:cubicBezTo>
                      <a:pt x="365543" y="372096"/>
                      <a:pt x="296011" y="376859"/>
                      <a:pt x="255054" y="402576"/>
                    </a:cubicBezTo>
                    <a:close/>
                    <a:moveTo>
                      <a:pt x="305536" y="255891"/>
                    </a:moveTo>
                    <a:cubicBezTo>
                      <a:pt x="287439" y="255891"/>
                      <a:pt x="272199" y="271131"/>
                      <a:pt x="272199" y="289228"/>
                    </a:cubicBezTo>
                    <a:cubicBezTo>
                      <a:pt x="272199" y="307326"/>
                      <a:pt x="287439" y="322566"/>
                      <a:pt x="305536" y="322566"/>
                    </a:cubicBezTo>
                    <a:cubicBezTo>
                      <a:pt x="323633" y="322566"/>
                      <a:pt x="338874" y="307326"/>
                      <a:pt x="338874" y="289228"/>
                    </a:cubicBezTo>
                    <a:cubicBezTo>
                      <a:pt x="338874" y="270178"/>
                      <a:pt x="323633" y="255891"/>
                      <a:pt x="305536" y="255891"/>
                    </a:cubicBezTo>
                    <a:close/>
                  </a:path>
                </a:pathLst>
              </a:custGeom>
              <a:solidFill>
                <a:srgbClr val="FFFFFF"/>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sp>
            <p:nvSpPr>
              <p:cNvPr id="53" name="文本框 52"/>
              <p:cNvSpPr txBox="1"/>
              <p:nvPr/>
            </p:nvSpPr>
            <p:spPr>
              <a:xfrm>
                <a:off x="6537263" y="3208722"/>
                <a:ext cx="2244666" cy="622044"/>
              </a:xfrm>
              <a:prstGeom prst="rect">
                <a:avLst/>
              </a:prstGeom>
              <a:noFill/>
              <a:ln>
                <a:noFill/>
              </a:ln>
            </p:spPr>
            <p:txBody>
              <a:bodyPr wrap="square" lIns="91440" tIns="45720" rIns="91440" bIns="45720" anchor="t" anchorCtr="1">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20000"/>
                  </a:lnSpc>
                  <a:spcBef>
                    <a:spcPct val="0"/>
                  </a:spcBef>
                </a:pPr>
                <a:r>
                  <a:rPr lang="sv-SE" altLang="zh-CN" sz="1200">
                    <a:latin typeface="Calibri" pitchFamily="34" charset="0"/>
                    <a:ea typeface="宋体" pitchFamily="2" charset="-122"/>
                  </a:rPr>
                  <a:t>Et erat sea rebum et sea esse aliquam vel lorem dolor et.</a:t>
                </a:r>
                <a:endParaRPr lang="en-US" altLang="zh-CN" sz="1200" dirty="0">
                  <a:latin typeface="Calibri" pitchFamily="34" charset="0"/>
                  <a:ea typeface="宋体" pitchFamily="2" charset="-122"/>
                </a:endParaRPr>
              </a:p>
            </p:txBody>
          </p:sp>
          <p:sp>
            <p:nvSpPr>
              <p:cNvPr id="54" name="矩形 53"/>
              <p:cNvSpPr/>
              <p:nvPr/>
            </p:nvSpPr>
            <p:spPr>
              <a:xfrm>
                <a:off x="6537263" y="2668722"/>
                <a:ext cx="2244666" cy="540000"/>
              </a:xfrm>
              <a:prstGeom prst="rect">
                <a:avLst/>
              </a:prstGeom>
            </p:spPr>
            <p:txBody>
              <a:bodyPr wrap="square" anchor="b" anchorCtr="1">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lvl="0" algn="ctr"/>
                <a:r>
                  <a:rPr lang="en-US" altLang="zh-CN" b="1">
                    <a:latin typeface="Calibri" pitchFamily="34" charset="0"/>
                    <a:ea typeface="宋体" pitchFamily="2" charset="-122"/>
                  </a:rPr>
                  <a:t>Click to add text</a:t>
                </a:r>
                <a:endParaRPr lang="zh-CN" altLang="en-US" b="1" dirty="0">
                  <a:latin typeface="Calibri" pitchFamily="34" charset="0"/>
                  <a:ea typeface="宋体" pitchFamily="2" charset="-122"/>
                </a:endParaRPr>
              </a:p>
            </p:txBody>
          </p:sp>
        </p:grpSp>
        <p:grpSp>
          <p:nvGrpSpPr>
            <p:cNvPr id="64" name="组合 63"/>
            <p:cNvGrpSpPr/>
            <p:nvPr/>
          </p:nvGrpSpPr>
          <p:grpSpPr>
            <a:xfrm>
              <a:off x="5882304" y="4568945"/>
              <a:ext cx="3083276" cy="1565155"/>
              <a:chOff x="6753578" y="4568945"/>
              <a:chExt cx="3083276" cy="1565155"/>
            </a:xfrm>
          </p:grpSpPr>
          <p:sp>
            <p:nvSpPr>
              <p:cNvPr id="23" name="文本框 22"/>
              <p:cNvSpPr txBox="1">
                <a:spLocks noChangeAspect="1"/>
              </p:cNvSpPr>
              <p:nvPr/>
            </p:nvSpPr>
            <p:spPr>
              <a:xfrm>
                <a:off x="8025216" y="4568945"/>
                <a:ext cx="540000" cy="540000"/>
              </a:xfrm>
              <a:prstGeom prst="roundRect">
                <a:avLst>
                  <a:gd name="adj" fmla="val 50000"/>
                </a:avLst>
              </a:prstGeom>
              <a:solidFill>
                <a:schemeClr val="accent1"/>
              </a:solidFill>
            </p:spPr>
            <p:txBody>
              <a:bodyPr wrap="none" lIns="108000" tIns="108000" rIns="108000" bIns="108000" rtlCol="0" anchor="ctr" anchorCtr="0">
                <a:noAutofit/>
              </a:bodyPr>
              <a:lstStyle/>
              <a:p>
                <a:pPr algn="ctr"/>
                <a:endParaRPr kumimoji="1" lang="zh-CN" altLang="en-US" sz="2000" b="1" dirty="0">
                  <a:noFill/>
                </a:endParaRPr>
              </a:p>
            </p:txBody>
          </p:sp>
          <p:sp>
            <p:nvSpPr>
              <p:cNvPr id="24" name="任意多边形: 形状 23"/>
              <p:cNvSpPr/>
              <p:nvPr/>
            </p:nvSpPr>
            <p:spPr>
              <a:xfrm>
                <a:off x="8167349" y="4703701"/>
                <a:ext cx="255734" cy="270488"/>
              </a:xfrm>
              <a:custGeom>
                <a:avLst/>
                <a:gdLst>
                  <a:gd name="connsiteX0" fmla="*/ 371955 w 495300"/>
                  <a:gd name="connsiteY0" fmla="*/ 621 h 523875"/>
                  <a:gd name="connsiteX1" fmla="*/ 400530 w 495300"/>
                  <a:gd name="connsiteY1" fmla="*/ 29196 h 523875"/>
                  <a:gd name="connsiteX2" fmla="*/ 400530 w 495300"/>
                  <a:gd name="connsiteY2" fmla="*/ 133971 h 523875"/>
                  <a:gd name="connsiteX3" fmla="*/ 371955 w 495300"/>
                  <a:gd name="connsiteY3" fmla="*/ 162546 h 523875"/>
                  <a:gd name="connsiteX4" fmla="*/ 257655 w 495300"/>
                  <a:gd name="connsiteY4" fmla="*/ 162546 h 523875"/>
                  <a:gd name="connsiteX5" fmla="*/ 257655 w 495300"/>
                  <a:gd name="connsiteY5" fmla="*/ 286371 h 523875"/>
                  <a:gd name="connsiteX6" fmla="*/ 419580 w 495300"/>
                  <a:gd name="connsiteY6" fmla="*/ 286371 h 523875"/>
                  <a:gd name="connsiteX7" fmla="*/ 457680 w 495300"/>
                  <a:gd name="connsiteY7" fmla="*/ 322566 h 523875"/>
                  <a:gd name="connsiteX8" fmla="*/ 457680 w 495300"/>
                  <a:gd name="connsiteY8" fmla="*/ 324471 h 523875"/>
                  <a:gd name="connsiteX9" fmla="*/ 457680 w 495300"/>
                  <a:gd name="connsiteY9" fmla="*/ 429246 h 523875"/>
                  <a:gd name="connsiteX10" fmla="*/ 476730 w 495300"/>
                  <a:gd name="connsiteY10" fmla="*/ 429246 h 523875"/>
                  <a:gd name="connsiteX11" fmla="*/ 495780 w 495300"/>
                  <a:gd name="connsiteY11" fmla="*/ 448296 h 523875"/>
                  <a:gd name="connsiteX12" fmla="*/ 495780 w 495300"/>
                  <a:gd name="connsiteY12" fmla="*/ 505446 h 523875"/>
                  <a:gd name="connsiteX13" fmla="*/ 476730 w 495300"/>
                  <a:gd name="connsiteY13" fmla="*/ 524496 h 523875"/>
                  <a:gd name="connsiteX14" fmla="*/ 419580 w 495300"/>
                  <a:gd name="connsiteY14" fmla="*/ 524496 h 523875"/>
                  <a:gd name="connsiteX15" fmla="*/ 400530 w 495300"/>
                  <a:gd name="connsiteY15" fmla="*/ 505446 h 523875"/>
                  <a:gd name="connsiteX16" fmla="*/ 400530 w 495300"/>
                  <a:gd name="connsiteY16" fmla="*/ 448296 h 523875"/>
                  <a:gd name="connsiteX17" fmla="*/ 419580 w 495300"/>
                  <a:gd name="connsiteY17" fmla="*/ 429246 h 523875"/>
                  <a:gd name="connsiteX18" fmla="*/ 438630 w 495300"/>
                  <a:gd name="connsiteY18" fmla="*/ 429246 h 523875"/>
                  <a:gd name="connsiteX19" fmla="*/ 438630 w 495300"/>
                  <a:gd name="connsiteY19" fmla="*/ 324471 h 523875"/>
                  <a:gd name="connsiteX20" fmla="*/ 420533 w 495300"/>
                  <a:gd name="connsiteY20" fmla="*/ 305421 h 523875"/>
                  <a:gd name="connsiteX21" fmla="*/ 419580 w 495300"/>
                  <a:gd name="connsiteY21" fmla="*/ 305421 h 523875"/>
                  <a:gd name="connsiteX22" fmla="*/ 257655 w 495300"/>
                  <a:gd name="connsiteY22" fmla="*/ 305421 h 523875"/>
                  <a:gd name="connsiteX23" fmla="*/ 257655 w 495300"/>
                  <a:gd name="connsiteY23" fmla="*/ 429246 h 523875"/>
                  <a:gd name="connsiteX24" fmla="*/ 276705 w 495300"/>
                  <a:gd name="connsiteY24" fmla="*/ 429246 h 523875"/>
                  <a:gd name="connsiteX25" fmla="*/ 295755 w 495300"/>
                  <a:gd name="connsiteY25" fmla="*/ 448296 h 523875"/>
                  <a:gd name="connsiteX26" fmla="*/ 295755 w 495300"/>
                  <a:gd name="connsiteY26" fmla="*/ 505446 h 523875"/>
                  <a:gd name="connsiteX27" fmla="*/ 276705 w 495300"/>
                  <a:gd name="connsiteY27" fmla="*/ 524496 h 523875"/>
                  <a:gd name="connsiteX28" fmla="*/ 219555 w 495300"/>
                  <a:gd name="connsiteY28" fmla="*/ 524496 h 523875"/>
                  <a:gd name="connsiteX29" fmla="*/ 200505 w 495300"/>
                  <a:gd name="connsiteY29" fmla="*/ 505446 h 523875"/>
                  <a:gd name="connsiteX30" fmla="*/ 200505 w 495300"/>
                  <a:gd name="connsiteY30" fmla="*/ 448296 h 523875"/>
                  <a:gd name="connsiteX31" fmla="*/ 219555 w 495300"/>
                  <a:gd name="connsiteY31" fmla="*/ 429246 h 523875"/>
                  <a:gd name="connsiteX32" fmla="*/ 238605 w 495300"/>
                  <a:gd name="connsiteY32" fmla="*/ 429246 h 523875"/>
                  <a:gd name="connsiteX33" fmla="*/ 238605 w 495300"/>
                  <a:gd name="connsiteY33" fmla="*/ 305421 h 523875"/>
                  <a:gd name="connsiteX34" fmla="*/ 76680 w 495300"/>
                  <a:gd name="connsiteY34" fmla="*/ 305421 h 523875"/>
                  <a:gd name="connsiteX35" fmla="*/ 57630 w 495300"/>
                  <a:gd name="connsiteY35" fmla="*/ 323519 h 523875"/>
                  <a:gd name="connsiteX36" fmla="*/ 57630 w 495300"/>
                  <a:gd name="connsiteY36" fmla="*/ 324471 h 523875"/>
                  <a:gd name="connsiteX37" fmla="*/ 57630 w 495300"/>
                  <a:gd name="connsiteY37" fmla="*/ 429246 h 523875"/>
                  <a:gd name="connsiteX38" fmla="*/ 76680 w 495300"/>
                  <a:gd name="connsiteY38" fmla="*/ 429246 h 523875"/>
                  <a:gd name="connsiteX39" fmla="*/ 95730 w 495300"/>
                  <a:gd name="connsiteY39" fmla="*/ 448296 h 523875"/>
                  <a:gd name="connsiteX40" fmla="*/ 95730 w 495300"/>
                  <a:gd name="connsiteY40" fmla="*/ 505446 h 523875"/>
                  <a:gd name="connsiteX41" fmla="*/ 76680 w 495300"/>
                  <a:gd name="connsiteY41" fmla="*/ 524496 h 523875"/>
                  <a:gd name="connsiteX42" fmla="*/ 19530 w 495300"/>
                  <a:gd name="connsiteY42" fmla="*/ 524496 h 523875"/>
                  <a:gd name="connsiteX43" fmla="*/ 480 w 495300"/>
                  <a:gd name="connsiteY43" fmla="*/ 505446 h 523875"/>
                  <a:gd name="connsiteX44" fmla="*/ 480 w 495300"/>
                  <a:gd name="connsiteY44" fmla="*/ 448296 h 523875"/>
                  <a:gd name="connsiteX45" fmla="*/ 19530 w 495300"/>
                  <a:gd name="connsiteY45" fmla="*/ 429246 h 523875"/>
                  <a:gd name="connsiteX46" fmla="*/ 38580 w 495300"/>
                  <a:gd name="connsiteY46" fmla="*/ 429246 h 523875"/>
                  <a:gd name="connsiteX47" fmla="*/ 38580 w 495300"/>
                  <a:gd name="connsiteY47" fmla="*/ 324471 h 523875"/>
                  <a:gd name="connsiteX48" fmla="*/ 74775 w 495300"/>
                  <a:gd name="connsiteY48" fmla="*/ 286371 h 523875"/>
                  <a:gd name="connsiteX49" fmla="*/ 76680 w 495300"/>
                  <a:gd name="connsiteY49" fmla="*/ 286371 h 523875"/>
                  <a:gd name="connsiteX50" fmla="*/ 238605 w 495300"/>
                  <a:gd name="connsiteY50" fmla="*/ 286371 h 523875"/>
                  <a:gd name="connsiteX51" fmla="*/ 238605 w 495300"/>
                  <a:gd name="connsiteY51" fmla="*/ 162546 h 523875"/>
                  <a:gd name="connsiteX52" fmla="*/ 124305 w 495300"/>
                  <a:gd name="connsiteY52" fmla="*/ 162546 h 523875"/>
                  <a:gd name="connsiteX53" fmla="*/ 95730 w 495300"/>
                  <a:gd name="connsiteY53" fmla="*/ 133971 h 523875"/>
                  <a:gd name="connsiteX54" fmla="*/ 95730 w 495300"/>
                  <a:gd name="connsiteY54" fmla="*/ 29196 h 523875"/>
                  <a:gd name="connsiteX55" fmla="*/ 124305 w 495300"/>
                  <a:gd name="connsiteY55" fmla="*/ 621 h 523875"/>
                  <a:gd name="connsiteX56" fmla="*/ 371955 w 495300"/>
                  <a:gd name="connsiteY56" fmla="*/ 621 h 523875"/>
                  <a:gd name="connsiteX57" fmla="*/ 148118 w 495300"/>
                  <a:gd name="connsiteY57" fmla="*/ 95871 h 523875"/>
                  <a:gd name="connsiteX58" fmla="*/ 133830 w 495300"/>
                  <a:gd name="connsiteY58" fmla="*/ 110159 h 523875"/>
                  <a:gd name="connsiteX59" fmla="*/ 148118 w 495300"/>
                  <a:gd name="connsiteY59" fmla="*/ 124446 h 523875"/>
                  <a:gd name="connsiteX60" fmla="*/ 162405 w 495300"/>
                  <a:gd name="connsiteY60" fmla="*/ 110159 h 523875"/>
                  <a:gd name="connsiteX61" fmla="*/ 148118 w 495300"/>
                  <a:gd name="connsiteY61" fmla="*/ 95871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95300" h="523875">
                    <a:moveTo>
                      <a:pt x="371955" y="621"/>
                    </a:moveTo>
                    <a:cubicBezTo>
                      <a:pt x="388148" y="621"/>
                      <a:pt x="400530" y="13004"/>
                      <a:pt x="400530" y="29196"/>
                    </a:cubicBezTo>
                    <a:lnTo>
                      <a:pt x="400530" y="133971"/>
                    </a:lnTo>
                    <a:cubicBezTo>
                      <a:pt x="400530" y="150164"/>
                      <a:pt x="388148" y="162546"/>
                      <a:pt x="371955" y="162546"/>
                    </a:cubicBezTo>
                    <a:lnTo>
                      <a:pt x="257655" y="162546"/>
                    </a:lnTo>
                    <a:lnTo>
                      <a:pt x="257655" y="286371"/>
                    </a:lnTo>
                    <a:lnTo>
                      <a:pt x="419580" y="286371"/>
                    </a:lnTo>
                    <a:cubicBezTo>
                      <a:pt x="439583" y="286371"/>
                      <a:pt x="456727" y="302564"/>
                      <a:pt x="457680" y="322566"/>
                    </a:cubicBezTo>
                    <a:lnTo>
                      <a:pt x="457680" y="324471"/>
                    </a:lnTo>
                    <a:lnTo>
                      <a:pt x="457680" y="429246"/>
                    </a:lnTo>
                    <a:lnTo>
                      <a:pt x="476730" y="429246"/>
                    </a:lnTo>
                    <a:cubicBezTo>
                      <a:pt x="487208" y="429246"/>
                      <a:pt x="495780" y="437819"/>
                      <a:pt x="495780" y="448296"/>
                    </a:cubicBezTo>
                    <a:lnTo>
                      <a:pt x="495780" y="505446"/>
                    </a:lnTo>
                    <a:cubicBezTo>
                      <a:pt x="495780" y="515924"/>
                      <a:pt x="487208" y="524496"/>
                      <a:pt x="476730" y="524496"/>
                    </a:cubicBezTo>
                    <a:lnTo>
                      <a:pt x="419580" y="524496"/>
                    </a:lnTo>
                    <a:cubicBezTo>
                      <a:pt x="409102" y="524496"/>
                      <a:pt x="400530" y="515924"/>
                      <a:pt x="400530" y="505446"/>
                    </a:cubicBezTo>
                    <a:lnTo>
                      <a:pt x="400530" y="448296"/>
                    </a:lnTo>
                    <a:cubicBezTo>
                      <a:pt x="400530" y="437819"/>
                      <a:pt x="409102" y="429246"/>
                      <a:pt x="419580" y="429246"/>
                    </a:cubicBezTo>
                    <a:lnTo>
                      <a:pt x="438630" y="429246"/>
                    </a:lnTo>
                    <a:lnTo>
                      <a:pt x="438630" y="324471"/>
                    </a:lnTo>
                    <a:cubicBezTo>
                      <a:pt x="438630" y="313994"/>
                      <a:pt x="431010" y="306374"/>
                      <a:pt x="420533" y="305421"/>
                    </a:cubicBezTo>
                    <a:lnTo>
                      <a:pt x="419580" y="305421"/>
                    </a:lnTo>
                    <a:lnTo>
                      <a:pt x="257655" y="305421"/>
                    </a:lnTo>
                    <a:lnTo>
                      <a:pt x="257655" y="429246"/>
                    </a:lnTo>
                    <a:lnTo>
                      <a:pt x="276705" y="429246"/>
                    </a:lnTo>
                    <a:cubicBezTo>
                      <a:pt x="287183" y="429246"/>
                      <a:pt x="295755" y="437819"/>
                      <a:pt x="295755" y="448296"/>
                    </a:cubicBezTo>
                    <a:lnTo>
                      <a:pt x="295755" y="505446"/>
                    </a:lnTo>
                    <a:cubicBezTo>
                      <a:pt x="295755" y="515924"/>
                      <a:pt x="287183" y="524496"/>
                      <a:pt x="276705" y="524496"/>
                    </a:cubicBezTo>
                    <a:lnTo>
                      <a:pt x="219555" y="524496"/>
                    </a:lnTo>
                    <a:cubicBezTo>
                      <a:pt x="209077" y="524496"/>
                      <a:pt x="200505" y="515924"/>
                      <a:pt x="200505" y="505446"/>
                    </a:cubicBezTo>
                    <a:lnTo>
                      <a:pt x="200505" y="448296"/>
                    </a:lnTo>
                    <a:cubicBezTo>
                      <a:pt x="200505" y="437819"/>
                      <a:pt x="209077" y="429246"/>
                      <a:pt x="219555" y="429246"/>
                    </a:cubicBezTo>
                    <a:lnTo>
                      <a:pt x="238605" y="429246"/>
                    </a:lnTo>
                    <a:lnTo>
                      <a:pt x="238605" y="305421"/>
                    </a:lnTo>
                    <a:lnTo>
                      <a:pt x="76680" y="305421"/>
                    </a:lnTo>
                    <a:cubicBezTo>
                      <a:pt x="66202" y="305421"/>
                      <a:pt x="58583" y="313041"/>
                      <a:pt x="57630" y="323519"/>
                    </a:cubicBezTo>
                    <a:lnTo>
                      <a:pt x="57630" y="324471"/>
                    </a:lnTo>
                    <a:lnTo>
                      <a:pt x="57630" y="429246"/>
                    </a:lnTo>
                    <a:lnTo>
                      <a:pt x="76680" y="429246"/>
                    </a:lnTo>
                    <a:cubicBezTo>
                      <a:pt x="87158" y="429246"/>
                      <a:pt x="95730" y="437819"/>
                      <a:pt x="95730" y="448296"/>
                    </a:cubicBezTo>
                    <a:lnTo>
                      <a:pt x="95730" y="505446"/>
                    </a:lnTo>
                    <a:cubicBezTo>
                      <a:pt x="95730" y="515924"/>
                      <a:pt x="87158" y="524496"/>
                      <a:pt x="76680" y="524496"/>
                    </a:cubicBezTo>
                    <a:lnTo>
                      <a:pt x="19530" y="524496"/>
                    </a:lnTo>
                    <a:cubicBezTo>
                      <a:pt x="9052" y="524496"/>
                      <a:pt x="480" y="515924"/>
                      <a:pt x="480" y="505446"/>
                    </a:cubicBezTo>
                    <a:lnTo>
                      <a:pt x="480" y="448296"/>
                    </a:lnTo>
                    <a:cubicBezTo>
                      <a:pt x="480" y="437819"/>
                      <a:pt x="9052" y="429246"/>
                      <a:pt x="19530" y="429246"/>
                    </a:cubicBezTo>
                    <a:lnTo>
                      <a:pt x="38580" y="429246"/>
                    </a:lnTo>
                    <a:lnTo>
                      <a:pt x="38580" y="324471"/>
                    </a:lnTo>
                    <a:cubicBezTo>
                      <a:pt x="38580" y="304469"/>
                      <a:pt x="54773" y="287324"/>
                      <a:pt x="74775" y="286371"/>
                    </a:cubicBezTo>
                    <a:lnTo>
                      <a:pt x="76680" y="286371"/>
                    </a:lnTo>
                    <a:lnTo>
                      <a:pt x="238605" y="286371"/>
                    </a:lnTo>
                    <a:lnTo>
                      <a:pt x="238605" y="162546"/>
                    </a:lnTo>
                    <a:lnTo>
                      <a:pt x="124305" y="162546"/>
                    </a:lnTo>
                    <a:cubicBezTo>
                      <a:pt x="108112" y="162546"/>
                      <a:pt x="95730" y="150164"/>
                      <a:pt x="95730" y="133971"/>
                    </a:cubicBezTo>
                    <a:lnTo>
                      <a:pt x="95730" y="29196"/>
                    </a:lnTo>
                    <a:cubicBezTo>
                      <a:pt x="95730" y="13004"/>
                      <a:pt x="108112" y="621"/>
                      <a:pt x="124305" y="621"/>
                    </a:cubicBezTo>
                    <a:lnTo>
                      <a:pt x="371955" y="621"/>
                    </a:lnTo>
                    <a:close/>
                    <a:moveTo>
                      <a:pt x="148118" y="95871"/>
                    </a:moveTo>
                    <a:cubicBezTo>
                      <a:pt x="140498" y="95871"/>
                      <a:pt x="133830" y="102539"/>
                      <a:pt x="133830" y="110159"/>
                    </a:cubicBezTo>
                    <a:cubicBezTo>
                      <a:pt x="133830" y="117779"/>
                      <a:pt x="140498" y="124446"/>
                      <a:pt x="148118" y="124446"/>
                    </a:cubicBezTo>
                    <a:cubicBezTo>
                      <a:pt x="155737" y="124446"/>
                      <a:pt x="162405" y="117779"/>
                      <a:pt x="162405" y="110159"/>
                    </a:cubicBezTo>
                    <a:cubicBezTo>
                      <a:pt x="162405" y="102539"/>
                      <a:pt x="155737" y="95871"/>
                      <a:pt x="148118" y="95871"/>
                    </a:cubicBezTo>
                    <a:close/>
                  </a:path>
                </a:pathLst>
              </a:custGeom>
              <a:solidFill>
                <a:srgbClr val="FFFFFF"/>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sp>
            <p:nvSpPr>
              <p:cNvPr id="55" name="文本框 54"/>
              <p:cNvSpPr txBox="1"/>
              <p:nvPr/>
            </p:nvSpPr>
            <p:spPr>
              <a:xfrm>
                <a:off x="6753578" y="5634038"/>
                <a:ext cx="3083276" cy="500062"/>
              </a:xfrm>
              <a:prstGeom prst="rect">
                <a:avLst/>
              </a:prstGeom>
              <a:noFill/>
              <a:ln>
                <a:noFill/>
              </a:ln>
            </p:spPr>
            <p:txBody>
              <a:bodyPr wrap="square" lIns="91440" tIns="45720" rIns="91440" bIns="45720" anchor="t" anchorCtr="1">
                <a:normAutofit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20000"/>
                  </a:lnSpc>
                  <a:spcBef>
                    <a:spcPct val="0"/>
                  </a:spcBef>
                </a:pPr>
                <a:r>
                  <a:rPr lang="pt-BR" altLang="zh-CN" sz="1200" dirty="0">
                    <a:latin typeface="Calibri" pitchFamily="34" charset="0"/>
                    <a:ea typeface="宋体" pitchFamily="2" charset="-122"/>
                  </a:rPr>
                  <a:t>Tempor ipsum justo clita et est no erat accusam enim.</a:t>
                </a:r>
                <a:endParaRPr lang="en-US" altLang="zh-CN" sz="1200" dirty="0">
                  <a:latin typeface="Calibri" pitchFamily="34" charset="0"/>
                  <a:ea typeface="宋体" pitchFamily="2" charset="-122"/>
                </a:endParaRPr>
              </a:p>
            </p:txBody>
          </p:sp>
          <p:sp>
            <p:nvSpPr>
              <p:cNvPr id="56" name="矩形 55"/>
              <p:cNvSpPr/>
              <p:nvPr/>
            </p:nvSpPr>
            <p:spPr>
              <a:xfrm>
                <a:off x="6753578" y="5143876"/>
                <a:ext cx="3083276" cy="490162"/>
              </a:xfrm>
              <a:prstGeom prst="rect">
                <a:avLst/>
              </a:prstGeom>
            </p:spPr>
            <p:txBody>
              <a:bodyPr wrap="square" anchor="b" anchorCtr="1">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lvl="0" algn="ctr"/>
                <a:r>
                  <a:rPr lang="en-US" altLang="zh-CN" b="1" dirty="0">
                    <a:latin typeface="Calibri" pitchFamily="34" charset="0"/>
                    <a:ea typeface="宋体" pitchFamily="2" charset="-122"/>
                  </a:rPr>
                  <a:t>Click to add text</a:t>
                </a:r>
                <a:endParaRPr lang="zh-CN" altLang="en-US" b="1" dirty="0">
                  <a:latin typeface="Calibri" pitchFamily="34" charset="0"/>
                  <a:ea typeface="宋体" pitchFamily="2" charset="-122"/>
                </a:endParaRPr>
              </a:p>
            </p:txBody>
          </p:sp>
        </p:grpSp>
        <p:grpSp>
          <p:nvGrpSpPr>
            <p:cNvPr id="65" name="组合 64"/>
            <p:cNvGrpSpPr/>
            <p:nvPr/>
          </p:nvGrpSpPr>
          <p:grpSpPr>
            <a:xfrm>
              <a:off x="2734700" y="4568945"/>
              <a:ext cx="3083276" cy="1565155"/>
              <a:chOff x="4254104" y="4568945"/>
              <a:chExt cx="3083276" cy="1565155"/>
            </a:xfrm>
          </p:grpSpPr>
          <p:sp>
            <p:nvSpPr>
              <p:cNvPr id="16" name="文本框 15"/>
              <p:cNvSpPr txBox="1">
                <a:spLocks noChangeAspect="1"/>
              </p:cNvSpPr>
              <p:nvPr/>
            </p:nvSpPr>
            <p:spPr>
              <a:xfrm>
                <a:off x="5525742" y="4568945"/>
                <a:ext cx="540000" cy="540000"/>
              </a:xfrm>
              <a:prstGeom prst="roundRect">
                <a:avLst>
                  <a:gd name="adj" fmla="val 50000"/>
                </a:avLst>
              </a:prstGeom>
              <a:solidFill>
                <a:schemeClr val="accent1"/>
              </a:solidFill>
            </p:spPr>
            <p:txBody>
              <a:bodyPr wrap="none" lIns="108000" tIns="108000" rIns="108000" bIns="108000" rtlCol="0" anchor="ctr" anchorCtr="0">
                <a:noAutofit/>
              </a:bodyPr>
              <a:lstStyle/>
              <a:p>
                <a:pPr algn="ctr"/>
                <a:endParaRPr kumimoji="1" lang="zh-CN" altLang="en-US" sz="2000" b="1" dirty="0">
                  <a:noFill/>
                </a:endParaRPr>
              </a:p>
            </p:txBody>
          </p:sp>
          <p:sp>
            <p:nvSpPr>
              <p:cNvPr id="17" name="任意多边形: 形状 16"/>
              <p:cNvSpPr/>
              <p:nvPr/>
            </p:nvSpPr>
            <p:spPr>
              <a:xfrm>
                <a:off x="5658039" y="4735668"/>
                <a:ext cx="275406" cy="206554"/>
              </a:xfrm>
              <a:custGeom>
                <a:avLst/>
                <a:gdLst>
                  <a:gd name="connsiteX0" fmla="*/ 505433 w 533400"/>
                  <a:gd name="connsiteY0" fmla="*/ 621 h 400050"/>
                  <a:gd name="connsiteX1" fmla="*/ 534008 w 533400"/>
                  <a:gd name="connsiteY1" fmla="*/ 29196 h 400050"/>
                  <a:gd name="connsiteX2" fmla="*/ 534008 w 533400"/>
                  <a:gd name="connsiteY2" fmla="*/ 372096 h 400050"/>
                  <a:gd name="connsiteX3" fmla="*/ 505433 w 533400"/>
                  <a:gd name="connsiteY3" fmla="*/ 400671 h 400050"/>
                  <a:gd name="connsiteX4" fmla="*/ 29183 w 533400"/>
                  <a:gd name="connsiteY4" fmla="*/ 400671 h 400050"/>
                  <a:gd name="connsiteX5" fmla="*/ 608 w 533400"/>
                  <a:gd name="connsiteY5" fmla="*/ 372096 h 400050"/>
                  <a:gd name="connsiteX6" fmla="*/ 608 w 533400"/>
                  <a:gd name="connsiteY6" fmla="*/ 29196 h 400050"/>
                  <a:gd name="connsiteX7" fmla="*/ 29183 w 533400"/>
                  <a:gd name="connsiteY7" fmla="*/ 621 h 400050"/>
                  <a:gd name="connsiteX8" fmla="*/ 505433 w 533400"/>
                  <a:gd name="connsiteY8" fmla="*/ 621 h 400050"/>
                  <a:gd name="connsiteX9" fmla="*/ 391133 w 533400"/>
                  <a:gd name="connsiteY9" fmla="*/ 198741 h 400050"/>
                  <a:gd name="connsiteX10" fmla="*/ 351128 w 533400"/>
                  <a:gd name="connsiteY10" fmla="*/ 204456 h 400050"/>
                  <a:gd name="connsiteX11" fmla="*/ 351128 w 533400"/>
                  <a:gd name="connsiteY11" fmla="*/ 204456 h 400050"/>
                  <a:gd name="connsiteX12" fmla="*/ 267308 w 533400"/>
                  <a:gd name="connsiteY12" fmla="*/ 315899 h 400050"/>
                  <a:gd name="connsiteX13" fmla="*/ 264451 w 533400"/>
                  <a:gd name="connsiteY13" fmla="*/ 318756 h 400050"/>
                  <a:gd name="connsiteX14" fmla="*/ 224446 w 533400"/>
                  <a:gd name="connsiteY14" fmla="*/ 318756 h 400050"/>
                  <a:gd name="connsiteX15" fmla="*/ 224446 w 533400"/>
                  <a:gd name="connsiteY15" fmla="*/ 318756 h 400050"/>
                  <a:gd name="connsiteX16" fmla="*/ 162533 w 533400"/>
                  <a:gd name="connsiteY16" fmla="*/ 257796 h 400050"/>
                  <a:gd name="connsiteX17" fmla="*/ 160628 w 533400"/>
                  <a:gd name="connsiteY17" fmla="*/ 255891 h 400050"/>
                  <a:gd name="connsiteX18" fmla="*/ 120623 w 533400"/>
                  <a:gd name="connsiteY18" fmla="*/ 259701 h 400050"/>
                  <a:gd name="connsiteX19" fmla="*/ 120623 w 533400"/>
                  <a:gd name="connsiteY19" fmla="*/ 259701 h 400050"/>
                  <a:gd name="connsiteX20" fmla="*/ 32993 w 533400"/>
                  <a:gd name="connsiteY20" fmla="*/ 366381 h 400050"/>
                  <a:gd name="connsiteX21" fmla="*/ 31088 w 533400"/>
                  <a:gd name="connsiteY21" fmla="*/ 372096 h 400050"/>
                  <a:gd name="connsiteX22" fmla="*/ 40613 w 533400"/>
                  <a:gd name="connsiteY22" fmla="*/ 381621 h 400050"/>
                  <a:gd name="connsiteX23" fmla="*/ 40613 w 533400"/>
                  <a:gd name="connsiteY23" fmla="*/ 381621 h 400050"/>
                  <a:gd name="connsiteX24" fmla="*/ 497813 w 533400"/>
                  <a:gd name="connsiteY24" fmla="*/ 381621 h 400050"/>
                  <a:gd name="connsiteX25" fmla="*/ 503528 w 533400"/>
                  <a:gd name="connsiteY25" fmla="*/ 379716 h 400050"/>
                  <a:gd name="connsiteX26" fmla="*/ 506386 w 533400"/>
                  <a:gd name="connsiteY26" fmla="*/ 366381 h 400050"/>
                  <a:gd name="connsiteX27" fmla="*/ 506386 w 533400"/>
                  <a:gd name="connsiteY27" fmla="*/ 366381 h 400050"/>
                  <a:gd name="connsiteX28" fmla="*/ 398753 w 533400"/>
                  <a:gd name="connsiteY28" fmla="*/ 205409 h 400050"/>
                  <a:gd name="connsiteX29" fmla="*/ 391133 w 533400"/>
                  <a:gd name="connsiteY29" fmla="*/ 198741 h 400050"/>
                  <a:gd name="connsiteX30" fmla="*/ 95858 w 533400"/>
                  <a:gd name="connsiteY30" fmla="*/ 57771 h 400050"/>
                  <a:gd name="connsiteX31" fmla="*/ 57758 w 533400"/>
                  <a:gd name="connsiteY31" fmla="*/ 95871 h 400050"/>
                  <a:gd name="connsiteX32" fmla="*/ 95858 w 533400"/>
                  <a:gd name="connsiteY32" fmla="*/ 133971 h 400050"/>
                  <a:gd name="connsiteX33" fmla="*/ 133958 w 533400"/>
                  <a:gd name="connsiteY33" fmla="*/ 95871 h 400050"/>
                  <a:gd name="connsiteX34" fmla="*/ 95858 w 533400"/>
                  <a:gd name="connsiteY34" fmla="*/ 57771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33400" h="400050">
                    <a:moveTo>
                      <a:pt x="505433" y="621"/>
                    </a:moveTo>
                    <a:cubicBezTo>
                      <a:pt x="521626" y="621"/>
                      <a:pt x="534008" y="13004"/>
                      <a:pt x="534008" y="29196"/>
                    </a:cubicBezTo>
                    <a:lnTo>
                      <a:pt x="534008" y="372096"/>
                    </a:lnTo>
                    <a:cubicBezTo>
                      <a:pt x="534008" y="388289"/>
                      <a:pt x="521626" y="400671"/>
                      <a:pt x="505433" y="400671"/>
                    </a:cubicBezTo>
                    <a:lnTo>
                      <a:pt x="29183" y="400671"/>
                    </a:lnTo>
                    <a:cubicBezTo>
                      <a:pt x="12990" y="400671"/>
                      <a:pt x="608" y="388289"/>
                      <a:pt x="608" y="372096"/>
                    </a:cubicBezTo>
                    <a:lnTo>
                      <a:pt x="608" y="29196"/>
                    </a:lnTo>
                    <a:cubicBezTo>
                      <a:pt x="608" y="13004"/>
                      <a:pt x="12990" y="621"/>
                      <a:pt x="29183" y="621"/>
                    </a:cubicBezTo>
                    <a:lnTo>
                      <a:pt x="505433" y="621"/>
                    </a:lnTo>
                    <a:close/>
                    <a:moveTo>
                      <a:pt x="391133" y="198741"/>
                    </a:moveTo>
                    <a:cubicBezTo>
                      <a:pt x="378751" y="189216"/>
                      <a:pt x="360653" y="192074"/>
                      <a:pt x="351128" y="204456"/>
                    </a:cubicBezTo>
                    <a:lnTo>
                      <a:pt x="351128" y="204456"/>
                    </a:lnTo>
                    <a:lnTo>
                      <a:pt x="267308" y="315899"/>
                    </a:lnTo>
                    <a:cubicBezTo>
                      <a:pt x="266355" y="316851"/>
                      <a:pt x="265403" y="317804"/>
                      <a:pt x="264451" y="318756"/>
                    </a:cubicBezTo>
                    <a:cubicBezTo>
                      <a:pt x="253021" y="330186"/>
                      <a:pt x="234923" y="330186"/>
                      <a:pt x="224446" y="318756"/>
                    </a:cubicBezTo>
                    <a:lnTo>
                      <a:pt x="224446" y="318756"/>
                    </a:lnTo>
                    <a:lnTo>
                      <a:pt x="162533" y="257796"/>
                    </a:lnTo>
                    <a:cubicBezTo>
                      <a:pt x="161580" y="256844"/>
                      <a:pt x="161580" y="256844"/>
                      <a:pt x="160628" y="255891"/>
                    </a:cubicBezTo>
                    <a:cubicBezTo>
                      <a:pt x="148246" y="245414"/>
                      <a:pt x="130148" y="247319"/>
                      <a:pt x="120623" y="259701"/>
                    </a:cubicBezTo>
                    <a:lnTo>
                      <a:pt x="120623" y="259701"/>
                    </a:lnTo>
                    <a:lnTo>
                      <a:pt x="32993" y="366381"/>
                    </a:lnTo>
                    <a:cubicBezTo>
                      <a:pt x="32040" y="368286"/>
                      <a:pt x="31088" y="370191"/>
                      <a:pt x="31088" y="372096"/>
                    </a:cubicBezTo>
                    <a:cubicBezTo>
                      <a:pt x="31088" y="377811"/>
                      <a:pt x="34898" y="381621"/>
                      <a:pt x="40613" y="381621"/>
                    </a:cubicBezTo>
                    <a:lnTo>
                      <a:pt x="40613" y="381621"/>
                    </a:lnTo>
                    <a:lnTo>
                      <a:pt x="497813" y="381621"/>
                    </a:lnTo>
                    <a:cubicBezTo>
                      <a:pt x="499718" y="381621"/>
                      <a:pt x="501623" y="380669"/>
                      <a:pt x="503528" y="379716"/>
                    </a:cubicBezTo>
                    <a:cubicBezTo>
                      <a:pt x="508290" y="376859"/>
                      <a:pt x="509243" y="371144"/>
                      <a:pt x="506386" y="366381"/>
                    </a:cubicBezTo>
                    <a:lnTo>
                      <a:pt x="506386" y="366381"/>
                    </a:lnTo>
                    <a:lnTo>
                      <a:pt x="398753" y="205409"/>
                    </a:lnTo>
                    <a:cubicBezTo>
                      <a:pt x="395896" y="202551"/>
                      <a:pt x="393990" y="200646"/>
                      <a:pt x="391133" y="198741"/>
                    </a:cubicBezTo>
                    <a:close/>
                    <a:moveTo>
                      <a:pt x="95858" y="57771"/>
                    </a:moveTo>
                    <a:cubicBezTo>
                      <a:pt x="74903" y="57771"/>
                      <a:pt x="57758" y="74916"/>
                      <a:pt x="57758" y="95871"/>
                    </a:cubicBezTo>
                    <a:cubicBezTo>
                      <a:pt x="57758" y="116826"/>
                      <a:pt x="74903" y="133971"/>
                      <a:pt x="95858" y="133971"/>
                    </a:cubicBezTo>
                    <a:cubicBezTo>
                      <a:pt x="116813" y="133971"/>
                      <a:pt x="133958" y="116826"/>
                      <a:pt x="133958" y="95871"/>
                    </a:cubicBezTo>
                    <a:cubicBezTo>
                      <a:pt x="133958" y="74916"/>
                      <a:pt x="116813" y="57771"/>
                      <a:pt x="95858" y="57771"/>
                    </a:cubicBezTo>
                    <a:close/>
                  </a:path>
                </a:pathLst>
              </a:custGeom>
              <a:solidFill>
                <a:srgbClr val="FFFFFF"/>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sp>
            <p:nvSpPr>
              <p:cNvPr id="57" name="文本框 56"/>
              <p:cNvSpPr txBox="1"/>
              <p:nvPr/>
            </p:nvSpPr>
            <p:spPr>
              <a:xfrm>
                <a:off x="4254104" y="5634038"/>
                <a:ext cx="3083276" cy="500062"/>
              </a:xfrm>
              <a:prstGeom prst="rect">
                <a:avLst/>
              </a:prstGeom>
              <a:noFill/>
              <a:ln>
                <a:noFill/>
              </a:ln>
            </p:spPr>
            <p:txBody>
              <a:bodyPr wrap="square" lIns="91440" tIns="45720" rIns="91440" bIns="45720" anchor="t" anchorCtr="1">
                <a:normAutofit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20000"/>
                  </a:lnSpc>
                  <a:spcBef>
                    <a:spcPct val="0"/>
                  </a:spcBef>
                </a:pPr>
                <a:r>
                  <a:rPr lang="sv-SE" altLang="zh-CN" sz="1200">
                    <a:latin typeface="Calibri" pitchFamily="34" charset="0"/>
                    <a:ea typeface="宋体" pitchFamily="2" charset="-122"/>
                  </a:rPr>
                  <a:t>Diam duis feugiat odio sadipscing et sed kasd kasd.</a:t>
                </a:r>
                <a:endParaRPr lang="en-US" altLang="zh-CN" sz="1200" dirty="0">
                  <a:latin typeface="Calibri" pitchFamily="34" charset="0"/>
                  <a:ea typeface="宋体" pitchFamily="2" charset="-122"/>
                </a:endParaRPr>
              </a:p>
            </p:txBody>
          </p:sp>
          <p:sp>
            <p:nvSpPr>
              <p:cNvPr id="58" name="矩形 57"/>
              <p:cNvSpPr/>
              <p:nvPr/>
            </p:nvSpPr>
            <p:spPr>
              <a:xfrm>
                <a:off x="4254104" y="5143876"/>
                <a:ext cx="3083276" cy="490162"/>
              </a:xfrm>
              <a:prstGeom prst="rect">
                <a:avLst/>
              </a:prstGeom>
            </p:spPr>
            <p:txBody>
              <a:bodyPr wrap="square" anchor="b" anchorCtr="1">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lvl="0" algn="ctr"/>
                <a:r>
                  <a:rPr lang="en-US" altLang="zh-CN" b="1">
                    <a:latin typeface="Calibri" pitchFamily="34" charset="0"/>
                    <a:ea typeface="宋体" pitchFamily="2" charset="-122"/>
                  </a:rPr>
                  <a:t>Click to add text</a:t>
                </a:r>
                <a:endParaRPr lang="zh-CN" altLang="en-US" b="1" dirty="0">
                  <a:latin typeface="Calibri" pitchFamily="34" charset="0"/>
                  <a:ea typeface="宋体" pitchFamily="2" charset="-122"/>
                </a:endParaRPr>
              </a:p>
            </p:txBody>
          </p:sp>
        </p:grpSp>
      </p:grpSp>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8" name="组合 77"/>
          <p:cNvGrpSpPr/>
          <p:nvPr/>
        </p:nvGrpSpPr>
        <p:grpSpPr>
          <a:xfrm>
            <a:off x="660401" y="406835"/>
            <a:ext cx="10858500" cy="5658331"/>
            <a:chOff x="660400" y="406835"/>
            <a:chExt cx="10858500" cy="5658330"/>
          </a:xfrm>
        </p:grpSpPr>
        <p:grpSp>
          <p:nvGrpSpPr>
            <p:cNvPr id="75" name="组合 74"/>
            <p:cNvGrpSpPr/>
            <p:nvPr/>
          </p:nvGrpSpPr>
          <p:grpSpPr>
            <a:xfrm>
              <a:off x="660400" y="406835"/>
              <a:ext cx="2499987" cy="3022165"/>
              <a:chOff x="660400" y="406835"/>
              <a:chExt cx="2499987" cy="3022165"/>
            </a:xfrm>
          </p:grpSpPr>
          <p:sp>
            <p:nvSpPr>
              <p:cNvPr id="3" name="任意多边形: 形状 2"/>
              <p:cNvSpPr/>
              <p:nvPr/>
            </p:nvSpPr>
            <p:spPr>
              <a:xfrm>
                <a:off x="660400" y="3317823"/>
                <a:ext cx="2280888" cy="111177"/>
              </a:xfrm>
              <a:custGeom>
                <a:avLst/>
                <a:gdLst>
                  <a:gd name="connsiteX0" fmla="*/ 3475912 w 3475911"/>
                  <a:gd name="connsiteY0" fmla="*/ 84713 h 169426"/>
                  <a:gd name="connsiteX1" fmla="*/ 1737956 w 3475911"/>
                  <a:gd name="connsiteY1" fmla="*/ 169427 h 169426"/>
                  <a:gd name="connsiteX2" fmla="*/ 0 w 3475911"/>
                  <a:gd name="connsiteY2" fmla="*/ 84713 h 169426"/>
                  <a:gd name="connsiteX3" fmla="*/ 1737956 w 3475911"/>
                  <a:gd name="connsiteY3" fmla="*/ 0 h 169426"/>
                  <a:gd name="connsiteX4" fmla="*/ 3475912 w 3475911"/>
                  <a:gd name="connsiteY4" fmla="*/ 84713 h 169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5911" h="169426">
                    <a:moveTo>
                      <a:pt x="3475912" y="84713"/>
                    </a:moveTo>
                    <a:cubicBezTo>
                      <a:pt x="3475912" y="131499"/>
                      <a:pt x="2697803" y="169427"/>
                      <a:pt x="1737956" y="169427"/>
                    </a:cubicBezTo>
                    <a:cubicBezTo>
                      <a:pt x="778109" y="169427"/>
                      <a:pt x="0" y="131499"/>
                      <a:pt x="0" y="84713"/>
                    </a:cubicBezTo>
                    <a:cubicBezTo>
                      <a:pt x="0" y="37927"/>
                      <a:pt x="778109" y="0"/>
                      <a:pt x="1737956" y="0"/>
                    </a:cubicBezTo>
                    <a:cubicBezTo>
                      <a:pt x="2697803" y="0"/>
                      <a:pt x="3475912" y="37927"/>
                      <a:pt x="3475912" y="84713"/>
                    </a:cubicBezTo>
                    <a:close/>
                  </a:path>
                </a:pathLst>
              </a:custGeom>
              <a:solidFill>
                <a:srgbClr val="E6E7EB"/>
              </a:solidFill>
              <a:ln w="6048" cap="flat">
                <a:noFill/>
                <a:prstDash val="solid"/>
                <a:miter/>
              </a:ln>
            </p:spPr>
            <p:txBody>
              <a:bodyPr rtlCol="0" anchor="ctr"/>
              <a:lstStyle/>
              <a:p>
                <a:endParaRPr lang="zh-CN" altLang="en-US"/>
              </a:p>
            </p:txBody>
          </p:sp>
          <p:sp>
            <p:nvSpPr>
              <p:cNvPr id="4" name="任意多边形: 形状 3"/>
              <p:cNvSpPr/>
              <p:nvPr/>
            </p:nvSpPr>
            <p:spPr>
              <a:xfrm>
                <a:off x="2344344" y="422519"/>
                <a:ext cx="147270" cy="2911941"/>
              </a:xfrm>
              <a:custGeom>
                <a:avLst/>
                <a:gdLst>
                  <a:gd name="connsiteX0" fmla="*/ 0 w 224429"/>
                  <a:gd name="connsiteY0" fmla="*/ 4437591 h 4437591"/>
                  <a:gd name="connsiteX1" fmla="*/ 224430 w 224429"/>
                  <a:gd name="connsiteY1" fmla="*/ 4437591 h 4437591"/>
                  <a:gd name="connsiteX2" fmla="*/ 224430 w 224429"/>
                  <a:gd name="connsiteY2" fmla="*/ 74850 h 4437591"/>
                  <a:gd name="connsiteX3" fmla="*/ 112185 w 224429"/>
                  <a:gd name="connsiteY3" fmla="*/ 0 h 4437591"/>
                  <a:gd name="connsiteX4" fmla="*/ 0 w 224429"/>
                  <a:gd name="connsiteY4" fmla="*/ 74850 h 4437591"/>
                  <a:gd name="connsiteX5" fmla="*/ 0 w 224429"/>
                  <a:gd name="connsiteY5" fmla="*/ 4437591 h 4437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4429" h="4437591">
                    <a:moveTo>
                      <a:pt x="0" y="4437591"/>
                    </a:moveTo>
                    <a:lnTo>
                      <a:pt x="224430" y="4437591"/>
                    </a:lnTo>
                    <a:lnTo>
                      <a:pt x="224430" y="74850"/>
                    </a:lnTo>
                    <a:lnTo>
                      <a:pt x="112185" y="0"/>
                    </a:lnTo>
                    <a:lnTo>
                      <a:pt x="0" y="74850"/>
                    </a:lnTo>
                    <a:lnTo>
                      <a:pt x="0" y="4437591"/>
                    </a:lnTo>
                    <a:close/>
                  </a:path>
                </a:pathLst>
              </a:custGeom>
              <a:solidFill>
                <a:srgbClr val="AFB8C5"/>
              </a:solidFill>
              <a:ln w="6048" cap="flat">
                <a:noFill/>
                <a:prstDash val="solid"/>
                <a:miter/>
              </a:ln>
            </p:spPr>
            <p:txBody>
              <a:bodyPr rtlCol="0" anchor="ctr"/>
              <a:lstStyle/>
              <a:p>
                <a:endParaRPr lang="zh-CN" altLang="en-US"/>
              </a:p>
            </p:txBody>
          </p:sp>
          <p:sp>
            <p:nvSpPr>
              <p:cNvPr id="5" name="任意多边形: 形状 4"/>
              <p:cNvSpPr/>
              <p:nvPr/>
            </p:nvSpPr>
            <p:spPr>
              <a:xfrm>
                <a:off x="2492528" y="1204018"/>
                <a:ext cx="667859" cy="298035"/>
              </a:xfrm>
              <a:custGeom>
                <a:avLst/>
                <a:gdLst>
                  <a:gd name="connsiteX0" fmla="*/ 0 w 1017770"/>
                  <a:gd name="connsiteY0" fmla="*/ 0 h 454184"/>
                  <a:gd name="connsiteX1" fmla="*/ 0 w 1017770"/>
                  <a:gd name="connsiteY1" fmla="*/ 454185 h 454184"/>
                  <a:gd name="connsiteX2" fmla="*/ 866376 w 1017770"/>
                  <a:gd name="connsiteY2" fmla="*/ 454185 h 454184"/>
                  <a:gd name="connsiteX3" fmla="*/ 1017771 w 1017770"/>
                  <a:gd name="connsiteY3" fmla="*/ 227092 h 454184"/>
                  <a:gd name="connsiteX4" fmla="*/ 866376 w 1017770"/>
                  <a:gd name="connsiteY4" fmla="*/ 0 h 454184"/>
                  <a:gd name="connsiteX5" fmla="*/ 0 w 1017770"/>
                  <a:gd name="connsiteY5" fmla="*/ 0 h 454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770" h="454184">
                    <a:moveTo>
                      <a:pt x="0" y="0"/>
                    </a:moveTo>
                    <a:lnTo>
                      <a:pt x="0" y="454185"/>
                    </a:lnTo>
                    <a:lnTo>
                      <a:pt x="866376" y="454185"/>
                    </a:lnTo>
                    <a:lnTo>
                      <a:pt x="1017771" y="227092"/>
                    </a:lnTo>
                    <a:lnTo>
                      <a:pt x="866376" y="0"/>
                    </a:lnTo>
                    <a:lnTo>
                      <a:pt x="0" y="0"/>
                    </a:lnTo>
                    <a:close/>
                  </a:path>
                </a:pathLst>
              </a:custGeom>
              <a:solidFill>
                <a:srgbClr val="E34A3D"/>
              </a:solidFill>
              <a:ln w="6048" cap="flat">
                <a:noFill/>
                <a:prstDash val="solid"/>
                <a:miter/>
              </a:ln>
            </p:spPr>
            <p:txBody>
              <a:bodyPr rtlCol="0" anchor="ctr"/>
              <a:lstStyle/>
              <a:p>
                <a:endParaRPr lang="zh-CN" altLang="en-US"/>
              </a:p>
            </p:txBody>
          </p:sp>
          <p:sp>
            <p:nvSpPr>
              <p:cNvPr id="6" name="任意多边形: 形状 5"/>
              <p:cNvSpPr/>
              <p:nvPr/>
            </p:nvSpPr>
            <p:spPr>
              <a:xfrm>
                <a:off x="3034876" y="1262188"/>
                <a:ext cx="60552" cy="181696"/>
              </a:xfrm>
              <a:custGeom>
                <a:avLst/>
                <a:gdLst>
                  <a:gd name="connsiteX0" fmla="*/ 0 w 92277"/>
                  <a:gd name="connsiteY0" fmla="*/ 276892 h 276891"/>
                  <a:gd name="connsiteX1" fmla="*/ 92277 w 92277"/>
                  <a:gd name="connsiteY1" fmla="*/ 138446 h 276891"/>
                  <a:gd name="connsiteX2" fmla="*/ 0 w 92277"/>
                  <a:gd name="connsiteY2" fmla="*/ 0 h 276891"/>
                </a:gdLst>
                <a:ahLst/>
                <a:cxnLst>
                  <a:cxn ang="0">
                    <a:pos x="connsiteX0" y="connsiteY0"/>
                  </a:cxn>
                  <a:cxn ang="0">
                    <a:pos x="connsiteX1" y="connsiteY1"/>
                  </a:cxn>
                  <a:cxn ang="0">
                    <a:pos x="connsiteX2" y="connsiteY2"/>
                  </a:cxn>
                </a:cxnLst>
                <a:rect l="l" t="t" r="r" b="b"/>
                <a:pathLst>
                  <a:path w="92277" h="276891">
                    <a:moveTo>
                      <a:pt x="0" y="276892"/>
                    </a:moveTo>
                    <a:lnTo>
                      <a:pt x="92277" y="138446"/>
                    </a:lnTo>
                    <a:lnTo>
                      <a:pt x="0" y="0"/>
                    </a:lnTo>
                  </a:path>
                </a:pathLst>
              </a:custGeom>
              <a:noFill/>
              <a:ln w="18143" cap="rnd">
                <a:solidFill>
                  <a:srgbClr val="FFFFFF"/>
                </a:solidFill>
                <a:prstDash val="solid"/>
                <a:round/>
              </a:ln>
            </p:spPr>
            <p:txBody>
              <a:bodyPr rtlCol="0" anchor="ctr"/>
              <a:lstStyle/>
              <a:p>
                <a:endParaRPr lang="zh-CN" altLang="en-US"/>
              </a:p>
            </p:txBody>
          </p:sp>
          <p:sp>
            <p:nvSpPr>
              <p:cNvPr id="7" name="任意多边形: 形状 6"/>
              <p:cNvSpPr/>
              <p:nvPr/>
            </p:nvSpPr>
            <p:spPr>
              <a:xfrm>
                <a:off x="2550698" y="1353036"/>
                <a:ext cx="409332" cy="3970"/>
              </a:xfrm>
              <a:custGeom>
                <a:avLst/>
                <a:gdLst>
                  <a:gd name="connsiteX0" fmla="*/ 623793 w 623793"/>
                  <a:gd name="connsiteY0" fmla="*/ 0 h 6050"/>
                  <a:gd name="connsiteX1" fmla="*/ 0 w 623793"/>
                  <a:gd name="connsiteY1" fmla="*/ 0 h 6050"/>
                </a:gdLst>
                <a:ahLst/>
                <a:cxnLst>
                  <a:cxn ang="0">
                    <a:pos x="connsiteX0" y="connsiteY0"/>
                  </a:cxn>
                  <a:cxn ang="0">
                    <a:pos x="connsiteX1" y="connsiteY1"/>
                  </a:cxn>
                </a:cxnLst>
                <a:rect l="l" t="t" r="r" b="b"/>
                <a:pathLst>
                  <a:path w="623793" h="6050">
                    <a:moveTo>
                      <a:pt x="623793" y="0"/>
                    </a:moveTo>
                    <a:lnTo>
                      <a:pt x="0" y="0"/>
                    </a:lnTo>
                  </a:path>
                </a:pathLst>
              </a:custGeom>
              <a:ln w="18143" cap="rnd">
                <a:solidFill>
                  <a:srgbClr val="FFFFFF"/>
                </a:solidFill>
                <a:prstDash val="solid"/>
                <a:round/>
              </a:ln>
            </p:spPr>
            <p:txBody>
              <a:bodyPr rtlCol="0" anchor="ctr"/>
              <a:lstStyle/>
              <a:p>
                <a:endParaRPr lang="zh-CN" altLang="en-US"/>
              </a:p>
            </p:txBody>
          </p:sp>
          <p:sp>
            <p:nvSpPr>
              <p:cNvPr id="8" name="任意多边形: 形状 7"/>
              <p:cNvSpPr/>
              <p:nvPr/>
            </p:nvSpPr>
            <p:spPr>
              <a:xfrm>
                <a:off x="1749822" y="781860"/>
                <a:ext cx="594204" cy="298035"/>
              </a:xfrm>
              <a:custGeom>
                <a:avLst/>
                <a:gdLst>
                  <a:gd name="connsiteX0" fmla="*/ 905526 w 905525"/>
                  <a:gd name="connsiteY0" fmla="*/ 0 h 454184"/>
                  <a:gd name="connsiteX1" fmla="*/ 905526 w 905525"/>
                  <a:gd name="connsiteY1" fmla="*/ 454185 h 454184"/>
                  <a:gd name="connsiteX2" fmla="*/ 151395 w 905525"/>
                  <a:gd name="connsiteY2" fmla="*/ 454185 h 454184"/>
                  <a:gd name="connsiteX3" fmla="*/ 0 w 905525"/>
                  <a:gd name="connsiteY3" fmla="*/ 227092 h 454184"/>
                  <a:gd name="connsiteX4" fmla="*/ 151395 w 905525"/>
                  <a:gd name="connsiteY4" fmla="*/ 0 h 454184"/>
                  <a:gd name="connsiteX5" fmla="*/ 905526 w 905525"/>
                  <a:gd name="connsiteY5" fmla="*/ 0 h 454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5525" h="454184">
                    <a:moveTo>
                      <a:pt x="905526" y="0"/>
                    </a:moveTo>
                    <a:lnTo>
                      <a:pt x="905526" y="454185"/>
                    </a:lnTo>
                    <a:lnTo>
                      <a:pt x="151395" y="454185"/>
                    </a:lnTo>
                    <a:lnTo>
                      <a:pt x="0" y="227092"/>
                    </a:lnTo>
                    <a:lnTo>
                      <a:pt x="151395" y="0"/>
                    </a:lnTo>
                    <a:lnTo>
                      <a:pt x="905526" y="0"/>
                    </a:lnTo>
                    <a:close/>
                  </a:path>
                </a:pathLst>
              </a:custGeom>
              <a:solidFill>
                <a:srgbClr val="557FF4"/>
              </a:solidFill>
              <a:ln w="6048" cap="flat">
                <a:noFill/>
                <a:prstDash val="solid"/>
                <a:miter/>
              </a:ln>
            </p:spPr>
            <p:txBody>
              <a:bodyPr rtlCol="0" anchor="ctr"/>
              <a:lstStyle/>
              <a:p>
                <a:endParaRPr lang="zh-CN" altLang="en-US"/>
              </a:p>
            </p:txBody>
          </p:sp>
          <p:sp>
            <p:nvSpPr>
              <p:cNvPr id="9" name="任意多边形: 形状 8"/>
              <p:cNvSpPr/>
              <p:nvPr/>
            </p:nvSpPr>
            <p:spPr>
              <a:xfrm>
                <a:off x="1814781" y="840030"/>
                <a:ext cx="60552" cy="181696"/>
              </a:xfrm>
              <a:custGeom>
                <a:avLst/>
                <a:gdLst>
                  <a:gd name="connsiteX0" fmla="*/ 92277 w 92277"/>
                  <a:gd name="connsiteY0" fmla="*/ 276892 h 276891"/>
                  <a:gd name="connsiteX1" fmla="*/ 0 w 92277"/>
                  <a:gd name="connsiteY1" fmla="*/ 138446 h 276891"/>
                  <a:gd name="connsiteX2" fmla="*/ 92277 w 92277"/>
                  <a:gd name="connsiteY2" fmla="*/ 0 h 276891"/>
                </a:gdLst>
                <a:ahLst/>
                <a:cxnLst>
                  <a:cxn ang="0">
                    <a:pos x="connsiteX0" y="connsiteY0"/>
                  </a:cxn>
                  <a:cxn ang="0">
                    <a:pos x="connsiteX1" y="connsiteY1"/>
                  </a:cxn>
                  <a:cxn ang="0">
                    <a:pos x="connsiteX2" y="connsiteY2"/>
                  </a:cxn>
                </a:cxnLst>
                <a:rect l="l" t="t" r="r" b="b"/>
                <a:pathLst>
                  <a:path w="92277" h="276891">
                    <a:moveTo>
                      <a:pt x="92277" y="276892"/>
                    </a:moveTo>
                    <a:lnTo>
                      <a:pt x="0" y="138446"/>
                    </a:lnTo>
                    <a:lnTo>
                      <a:pt x="92277" y="0"/>
                    </a:lnTo>
                  </a:path>
                </a:pathLst>
              </a:custGeom>
              <a:noFill/>
              <a:ln w="18143" cap="rnd">
                <a:solidFill>
                  <a:srgbClr val="FFFFFF"/>
                </a:solidFill>
                <a:prstDash val="solid"/>
                <a:round/>
              </a:ln>
            </p:spPr>
            <p:txBody>
              <a:bodyPr rtlCol="0" anchor="ctr"/>
              <a:lstStyle/>
              <a:p>
                <a:endParaRPr lang="zh-CN" altLang="en-US"/>
              </a:p>
            </p:txBody>
          </p:sp>
          <p:sp>
            <p:nvSpPr>
              <p:cNvPr id="10" name="任意多边形: 形状 9"/>
              <p:cNvSpPr/>
              <p:nvPr/>
            </p:nvSpPr>
            <p:spPr>
              <a:xfrm>
                <a:off x="1950179" y="930879"/>
                <a:ext cx="335676" cy="3970"/>
              </a:xfrm>
              <a:custGeom>
                <a:avLst/>
                <a:gdLst>
                  <a:gd name="connsiteX0" fmla="*/ 0 w 511547"/>
                  <a:gd name="connsiteY0" fmla="*/ 0 h 6050"/>
                  <a:gd name="connsiteX1" fmla="*/ 511548 w 511547"/>
                  <a:gd name="connsiteY1" fmla="*/ 0 h 6050"/>
                </a:gdLst>
                <a:ahLst/>
                <a:cxnLst>
                  <a:cxn ang="0">
                    <a:pos x="connsiteX0" y="connsiteY0"/>
                  </a:cxn>
                  <a:cxn ang="0">
                    <a:pos x="connsiteX1" y="connsiteY1"/>
                  </a:cxn>
                </a:cxnLst>
                <a:rect l="l" t="t" r="r" b="b"/>
                <a:pathLst>
                  <a:path w="511547" h="6050">
                    <a:moveTo>
                      <a:pt x="0" y="0"/>
                    </a:moveTo>
                    <a:lnTo>
                      <a:pt x="511548" y="0"/>
                    </a:lnTo>
                  </a:path>
                </a:pathLst>
              </a:custGeom>
              <a:ln w="18143" cap="rnd">
                <a:solidFill>
                  <a:srgbClr val="FFFFFF"/>
                </a:solidFill>
                <a:prstDash val="solid"/>
                <a:round/>
              </a:ln>
            </p:spPr>
            <p:txBody>
              <a:bodyPr rtlCol="0" anchor="ctr"/>
              <a:lstStyle/>
              <a:p>
                <a:endParaRPr lang="zh-CN" altLang="en-US"/>
              </a:p>
            </p:txBody>
          </p:sp>
          <p:sp>
            <p:nvSpPr>
              <p:cNvPr id="11" name="任意多边形: 形状 10"/>
              <p:cNvSpPr/>
              <p:nvPr/>
            </p:nvSpPr>
            <p:spPr>
              <a:xfrm>
                <a:off x="1536400" y="1626374"/>
                <a:ext cx="808261" cy="298035"/>
              </a:xfrm>
              <a:custGeom>
                <a:avLst/>
                <a:gdLst>
                  <a:gd name="connsiteX0" fmla="*/ 1231733 w 1231732"/>
                  <a:gd name="connsiteY0" fmla="*/ 0 h 454184"/>
                  <a:gd name="connsiteX1" fmla="*/ 1231733 w 1231732"/>
                  <a:gd name="connsiteY1" fmla="*/ 454185 h 454184"/>
                  <a:gd name="connsiteX2" fmla="*/ 151395 w 1231732"/>
                  <a:gd name="connsiteY2" fmla="*/ 454185 h 454184"/>
                  <a:gd name="connsiteX3" fmla="*/ 0 w 1231732"/>
                  <a:gd name="connsiteY3" fmla="*/ 227092 h 454184"/>
                  <a:gd name="connsiteX4" fmla="*/ 151395 w 1231732"/>
                  <a:gd name="connsiteY4" fmla="*/ 0 h 454184"/>
                  <a:gd name="connsiteX5" fmla="*/ 1231733 w 1231732"/>
                  <a:gd name="connsiteY5" fmla="*/ 0 h 454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31732" h="454184">
                    <a:moveTo>
                      <a:pt x="1231733" y="0"/>
                    </a:moveTo>
                    <a:lnTo>
                      <a:pt x="1231733" y="454185"/>
                    </a:lnTo>
                    <a:lnTo>
                      <a:pt x="151395" y="454185"/>
                    </a:lnTo>
                    <a:lnTo>
                      <a:pt x="0" y="227092"/>
                    </a:lnTo>
                    <a:lnTo>
                      <a:pt x="151395" y="0"/>
                    </a:lnTo>
                    <a:lnTo>
                      <a:pt x="1231733" y="0"/>
                    </a:lnTo>
                    <a:close/>
                  </a:path>
                </a:pathLst>
              </a:custGeom>
              <a:solidFill>
                <a:srgbClr val="F1C369"/>
              </a:solidFill>
              <a:ln w="6048" cap="flat">
                <a:noFill/>
                <a:prstDash val="solid"/>
                <a:miter/>
              </a:ln>
            </p:spPr>
            <p:txBody>
              <a:bodyPr rtlCol="0" anchor="ctr"/>
              <a:lstStyle/>
              <a:p>
                <a:endParaRPr lang="zh-CN" altLang="en-US"/>
              </a:p>
            </p:txBody>
          </p:sp>
          <p:sp>
            <p:nvSpPr>
              <p:cNvPr id="12" name="任意多边形: 形状 11"/>
              <p:cNvSpPr/>
              <p:nvPr/>
            </p:nvSpPr>
            <p:spPr>
              <a:xfrm>
                <a:off x="1601320" y="1684544"/>
                <a:ext cx="60552" cy="181696"/>
              </a:xfrm>
              <a:custGeom>
                <a:avLst/>
                <a:gdLst>
                  <a:gd name="connsiteX0" fmla="*/ 92277 w 92277"/>
                  <a:gd name="connsiteY0" fmla="*/ 276892 h 276891"/>
                  <a:gd name="connsiteX1" fmla="*/ 0 w 92277"/>
                  <a:gd name="connsiteY1" fmla="*/ 138446 h 276891"/>
                  <a:gd name="connsiteX2" fmla="*/ 92277 w 92277"/>
                  <a:gd name="connsiteY2" fmla="*/ 0 h 276891"/>
                </a:gdLst>
                <a:ahLst/>
                <a:cxnLst>
                  <a:cxn ang="0">
                    <a:pos x="connsiteX0" y="connsiteY0"/>
                  </a:cxn>
                  <a:cxn ang="0">
                    <a:pos x="connsiteX1" y="connsiteY1"/>
                  </a:cxn>
                  <a:cxn ang="0">
                    <a:pos x="connsiteX2" y="connsiteY2"/>
                  </a:cxn>
                </a:cxnLst>
                <a:rect l="l" t="t" r="r" b="b"/>
                <a:pathLst>
                  <a:path w="92277" h="276891">
                    <a:moveTo>
                      <a:pt x="92277" y="276892"/>
                    </a:moveTo>
                    <a:lnTo>
                      <a:pt x="0" y="138446"/>
                    </a:lnTo>
                    <a:lnTo>
                      <a:pt x="92277" y="0"/>
                    </a:lnTo>
                  </a:path>
                </a:pathLst>
              </a:custGeom>
              <a:noFill/>
              <a:ln w="18143" cap="rnd">
                <a:solidFill>
                  <a:srgbClr val="FFFFFF"/>
                </a:solidFill>
                <a:prstDash val="solid"/>
                <a:round/>
              </a:ln>
            </p:spPr>
            <p:txBody>
              <a:bodyPr rtlCol="0" anchor="ctr"/>
              <a:lstStyle/>
              <a:p>
                <a:endParaRPr lang="zh-CN" altLang="en-US"/>
              </a:p>
            </p:txBody>
          </p:sp>
          <p:sp>
            <p:nvSpPr>
              <p:cNvPr id="13" name="任意多边形: 形状 12"/>
              <p:cNvSpPr/>
              <p:nvPr/>
            </p:nvSpPr>
            <p:spPr>
              <a:xfrm>
                <a:off x="1736718" y="1775392"/>
                <a:ext cx="549734" cy="3970"/>
              </a:xfrm>
              <a:custGeom>
                <a:avLst/>
                <a:gdLst>
                  <a:gd name="connsiteX0" fmla="*/ 0 w 837755"/>
                  <a:gd name="connsiteY0" fmla="*/ 0 h 6050"/>
                  <a:gd name="connsiteX1" fmla="*/ 837755 w 837755"/>
                  <a:gd name="connsiteY1" fmla="*/ 0 h 6050"/>
                </a:gdLst>
                <a:ahLst/>
                <a:cxnLst>
                  <a:cxn ang="0">
                    <a:pos x="connsiteX0" y="connsiteY0"/>
                  </a:cxn>
                  <a:cxn ang="0">
                    <a:pos x="connsiteX1" y="connsiteY1"/>
                  </a:cxn>
                </a:cxnLst>
                <a:rect l="l" t="t" r="r" b="b"/>
                <a:pathLst>
                  <a:path w="837755" h="6050">
                    <a:moveTo>
                      <a:pt x="0" y="0"/>
                    </a:moveTo>
                    <a:lnTo>
                      <a:pt x="837755" y="0"/>
                    </a:lnTo>
                  </a:path>
                </a:pathLst>
              </a:custGeom>
              <a:ln w="18143" cap="rnd">
                <a:solidFill>
                  <a:srgbClr val="FFFFFF"/>
                </a:solidFill>
                <a:prstDash val="solid"/>
                <a:round/>
              </a:ln>
            </p:spPr>
            <p:txBody>
              <a:bodyPr rtlCol="0" anchor="ctr"/>
              <a:lstStyle/>
              <a:p>
                <a:endParaRPr lang="zh-CN" altLang="en-US"/>
              </a:p>
            </p:txBody>
          </p:sp>
          <p:sp>
            <p:nvSpPr>
              <p:cNvPr id="14" name="任意多边形: 形状 13"/>
              <p:cNvSpPr/>
              <p:nvPr/>
            </p:nvSpPr>
            <p:spPr>
              <a:xfrm rot="10800000">
                <a:off x="2195247" y="3334420"/>
                <a:ext cx="445464" cy="46416"/>
              </a:xfrm>
              <a:custGeom>
                <a:avLst/>
                <a:gdLst>
                  <a:gd name="connsiteX0" fmla="*/ 652616 w 678856"/>
                  <a:gd name="connsiteY0" fmla="*/ -159 h 70735"/>
                  <a:gd name="connsiteX1" fmla="*/ 678211 w 678856"/>
                  <a:gd name="connsiteY1" fmla="*/ -159 h 70735"/>
                  <a:gd name="connsiteX2" fmla="*/ 678211 w 678856"/>
                  <a:gd name="connsiteY2" fmla="*/ 70576 h 70735"/>
                  <a:gd name="connsiteX3" fmla="*/ 652616 w 678856"/>
                  <a:gd name="connsiteY3" fmla="*/ 70576 h 70735"/>
                  <a:gd name="connsiteX4" fmla="*/ 24950 w 678856"/>
                  <a:gd name="connsiteY4" fmla="*/ 70576 h 70735"/>
                  <a:gd name="connsiteX5" fmla="*/ -645 w 678856"/>
                  <a:gd name="connsiteY5" fmla="*/ 70576 h 70735"/>
                  <a:gd name="connsiteX6" fmla="*/ -645 w 678856"/>
                  <a:gd name="connsiteY6" fmla="*/ -159 h 70735"/>
                  <a:gd name="connsiteX7" fmla="*/ 24950 w 678856"/>
                  <a:gd name="connsiteY7" fmla="*/ -159 h 70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856" h="70735">
                    <a:moveTo>
                      <a:pt x="652616" y="-159"/>
                    </a:moveTo>
                    <a:cubicBezTo>
                      <a:pt x="666752" y="-159"/>
                      <a:pt x="678211" y="-159"/>
                      <a:pt x="678211" y="-159"/>
                    </a:cubicBezTo>
                    <a:lnTo>
                      <a:pt x="678211" y="70576"/>
                    </a:lnTo>
                    <a:cubicBezTo>
                      <a:pt x="678211" y="70576"/>
                      <a:pt x="666752" y="70576"/>
                      <a:pt x="652616" y="70576"/>
                    </a:cubicBezTo>
                    <a:lnTo>
                      <a:pt x="24950" y="70576"/>
                    </a:lnTo>
                    <a:cubicBezTo>
                      <a:pt x="10814" y="70576"/>
                      <a:pt x="-645" y="70576"/>
                      <a:pt x="-645" y="70576"/>
                    </a:cubicBezTo>
                    <a:lnTo>
                      <a:pt x="-645" y="-159"/>
                    </a:lnTo>
                    <a:cubicBezTo>
                      <a:pt x="-645" y="-159"/>
                      <a:pt x="10814" y="-159"/>
                      <a:pt x="24950" y="-159"/>
                    </a:cubicBezTo>
                    <a:close/>
                  </a:path>
                </a:pathLst>
              </a:custGeom>
              <a:solidFill>
                <a:srgbClr val="AFB8C5"/>
              </a:solidFill>
              <a:ln w="6048" cap="flat">
                <a:noFill/>
                <a:prstDash val="solid"/>
                <a:miter/>
              </a:ln>
            </p:spPr>
            <p:txBody>
              <a:bodyPr rtlCol="0" anchor="ctr"/>
              <a:lstStyle/>
              <a:p>
                <a:endParaRPr lang="zh-CN" altLang="en-US"/>
              </a:p>
            </p:txBody>
          </p:sp>
          <p:sp>
            <p:nvSpPr>
              <p:cNvPr id="15" name="任意多边形: 形状 14"/>
              <p:cNvSpPr/>
              <p:nvPr/>
            </p:nvSpPr>
            <p:spPr>
              <a:xfrm>
                <a:off x="1055268" y="815730"/>
                <a:ext cx="96050" cy="241698"/>
              </a:xfrm>
              <a:custGeom>
                <a:avLst/>
                <a:gdLst>
                  <a:gd name="connsiteX0" fmla="*/ 1914 w 146374"/>
                  <a:gd name="connsiteY0" fmla="*/ 19688 h 368330"/>
                  <a:gd name="connsiteX1" fmla="*/ 90197 w 146374"/>
                  <a:gd name="connsiteY1" fmla="*/ 355032 h 368330"/>
                  <a:gd name="connsiteX2" fmla="*/ 106837 w 146374"/>
                  <a:gd name="connsiteY2" fmla="*/ -159 h 368330"/>
                </a:gdLst>
                <a:ahLst/>
                <a:cxnLst>
                  <a:cxn ang="0">
                    <a:pos x="connsiteX0" y="connsiteY0"/>
                  </a:cxn>
                  <a:cxn ang="0">
                    <a:pos x="connsiteX1" y="connsiteY1"/>
                  </a:cxn>
                  <a:cxn ang="0">
                    <a:pos x="connsiteX2" y="connsiteY2"/>
                  </a:cxn>
                </a:cxnLst>
                <a:rect l="l" t="t" r="r" b="b"/>
                <a:pathLst>
                  <a:path w="146374" h="368330">
                    <a:moveTo>
                      <a:pt x="1914" y="19688"/>
                    </a:moveTo>
                    <a:cubicBezTo>
                      <a:pt x="1914" y="19688"/>
                      <a:pt x="-24166" y="260153"/>
                      <a:pt x="90197" y="355032"/>
                    </a:cubicBezTo>
                    <a:cubicBezTo>
                      <a:pt x="204560" y="449911"/>
                      <a:pt x="106837" y="-159"/>
                      <a:pt x="106837" y="-159"/>
                    </a:cubicBezTo>
                    <a:close/>
                  </a:path>
                </a:pathLst>
              </a:custGeom>
              <a:solidFill>
                <a:srgbClr val="232323"/>
              </a:solidFill>
              <a:ln w="6048" cap="flat">
                <a:noFill/>
                <a:prstDash val="solid"/>
                <a:miter/>
              </a:ln>
            </p:spPr>
            <p:txBody>
              <a:bodyPr rtlCol="0" anchor="ctr"/>
              <a:lstStyle/>
              <a:p>
                <a:endParaRPr lang="zh-CN" altLang="en-US"/>
              </a:p>
            </p:txBody>
          </p:sp>
          <p:sp>
            <p:nvSpPr>
              <p:cNvPr id="16" name="任意多边形: 形状 15"/>
              <p:cNvSpPr/>
              <p:nvPr/>
            </p:nvSpPr>
            <p:spPr>
              <a:xfrm>
                <a:off x="1121813" y="737178"/>
                <a:ext cx="221024" cy="427530"/>
              </a:xfrm>
              <a:custGeom>
                <a:avLst/>
                <a:gdLst>
                  <a:gd name="connsiteX0" fmla="*/ 150769 w 336825"/>
                  <a:gd name="connsiteY0" fmla="*/ 163 h 651526"/>
                  <a:gd name="connsiteX1" fmla="*/ 327034 w 336825"/>
                  <a:gd name="connsiteY1" fmla="*/ 153918 h 651526"/>
                  <a:gd name="connsiteX2" fmla="*/ 335445 w 336825"/>
                  <a:gd name="connsiteY2" fmla="*/ 355233 h 651526"/>
                  <a:gd name="connsiteX3" fmla="*/ 245891 w 336825"/>
                  <a:gd name="connsiteY3" fmla="*/ 458644 h 651526"/>
                  <a:gd name="connsiteX4" fmla="*/ 257085 w 336825"/>
                  <a:gd name="connsiteY4" fmla="*/ 640173 h 651526"/>
                  <a:gd name="connsiteX5" fmla="*/ 19282 w 336825"/>
                  <a:gd name="connsiteY5" fmla="*/ 651367 h 651526"/>
                  <a:gd name="connsiteX6" fmla="*/ -323 w 336825"/>
                  <a:gd name="connsiteY6" fmla="*/ 173342 h 651526"/>
                  <a:gd name="connsiteX7" fmla="*/ 150951 w 336825"/>
                  <a:gd name="connsiteY7" fmla="*/ -18 h 651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6825" h="651526">
                    <a:moveTo>
                      <a:pt x="150769" y="163"/>
                    </a:moveTo>
                    <a:cubicBezTo>
                      <a:pt x="243107" y="-5404"/>
                      <a:pt x="321467" y="61701"/>
                      <a:pt x="327034" y="153918"/>
                    </a:cubicBezTo>
                    <a:cubicBezTo>
                      <a:pt x="332601" y="232217"/>
                      <a:pt x="338228" y="313300"/>
                      <a:pt x="335445" y="355233"/>
                    </a:cubicBezTo>
                    <a:cubicBezTo>
                      <a:pt x="335445" y="444666"/>
                      <a:pt x="245891" y="458644"/>
                      <a:pt x="245891" y="458644"/>
                    </a:cubicBezTo>
                    <a:cubicBezTo>
                      <a:pt x="245891" y="458644"/>
                      <a:pt x="259868" y="615182"/>
                      <a:pt x="257085" y="640173"/>
                    </a:cubicBezTo>
                    <a:lnTo>
                      <a:pt x="19282" y="651367"/>
                    </a:lnTo>
                    <a:lnTo>
                      <a:pt x="-323" y="173342"/>
                    </a:lnTo>
                    <a:cubicBezTo>
                      <a:pt x="-5890" y="83848"/>
                      <a:pt x="61276" y="8392"/>
                      <a:pt x="150951" y="-18"/>
                    </a:cubicBezTo>
                  </a:path>
                </a:pathLst>
              </a:custGeom>
              <a:solidFill>
                <a:srgbClr val="F9AD98"/>
              </a:solidFill>
              <a:ln w="6048" cap="flat">
                <a:noFill/>
                <a:prstDash val="solid"/>
                <a:miter/>
              </a:ln>
            </p:spPr>
            <p:txBody>
              <a:bodyPr rtlCol="0" anchor="ctr"/>
              <a:lstStyle/>
              <a:p>
                <a:endParaRPr lang="zh-CN" altLang="en-US"/>
              </a:p>
            </p:txBody>
          </p:sp>
          <p:sp>
            <p:nvSpPr>
              <p:cNvPr id="17" name="任意多边形: 形状 16"/>
              <p:cNvSpPr/>
              <p:nvPr/>
            </p:nvSpPr>
            <p:spPr>
              <a:xfrm>
                <a:off x="1205607" y="1014699"/>
                <a:ext cx="78261" cy="38475"/>
              </a:xfrm>
              <a:custGeom>
                <a:avLst/>
                <a:gdLst>
                  <a:gd name="connsiteX0" fmla="*/ 118619 w 119264"/>
                  <a:gd name="connsiteY0" fmla="*/ 34573 h 58633"/>
                  <a:gd name="connsiteX1" fmla="*/ -645 w 119264"/>
                  <a:gd name="connsiteY1" fmla="*/ -159 h 58633"/>
                  <a:gd name="connsiteX2" fmla="*/ 118619 w 119264"/>
                  <a:gd name="connsiteY2" fmla="*/ 57688 h 58633"/>
                  <a:gd name="connsiteX3" fmla="*/ 118619 w 119264"/>
                  <a:gd name="connsiteY3" fmla="*/ 34573 h 58633"/>
                </a:gdLst>
                <a:ahLst/>
                <a:cxnLst>
                  <a:cxn ang="0">
                    <a:pos x="connsiteX0" y="connsiteY0"/>
                  </a:cxn>
                  <a:cxn ang="0">
                    <a:pos x="connsiteX1" y="connsiteY1"/>
                  </a:cxn>
                  <a:cxn ang="0">
                    <a:pos x="connsiteX2" y="connsiteY2"/>
                  </a:cxn>
                  <a:cxn ang="0">
                    <a:pos x="connsiteX3" y="connsiteY3"/>
                  </a:cxn>
                </a:cxnLst>
                <a:rect l="l" t="t" r="r" b="b"/>
                <a:pathLst>
                  <a:path w="119264" h="58633">
                    <a:moveTo>
                      <a:pt x="118619" y="34573"/>
                    </a:moveTo>
                    <a:cubicBezTo>
                      <a:pt x="118619" y="34573"/>
                      <a:pt x="61861" y="40624"/>
                      <a:pt x="-645" y="-159"/>
                    </a:cubicBezTo>
                    <a:cubicBezTo>
                      <a:pt x="-645" y="-159"/>
                      <a:pt x="27794" y="66401"/>
                      <a:pt x="118619" y="57688"/>
                    </a:cubicBezTo>
                    <a:lnTo>
                      <a:pt x="118619" y="34573"/>
                    </a:lnTo>
                    <a:close/>
                  </a:path>
                </a:pathLst>
              </a:custGeom>
              <a:solidFill>
                <a:srgbClr val="E26147"/>
              </a:solidFill>
              <a:ln w="6048" cap="flat">
                <a:noFill/>
                <a:prstDash val="solid"/>
                <a:miter/>
              </a:ln>
            </p:spPr>
            <p:txBody>
              <a:bodyPr rtlCol="0" anchor="ctr"/>
              <a:lstStyle/>
              <a:p>
                <a:endParaRPr lang="zh-CN" altLang="en-US"/>
              </a:p>
            </p:txBody>
          </p:sp>
          <p:sp>
            <p:nvSpPr>
              <p:cNvPr id="18" name="任意多边形: 形状 17"/>
              <p:cNvSpPr/>
              <p:nvPr/>
            </p:nvSpPr>
            <p:spPr>
              <a:xfrm>
                <a:off x="1050666" y="679274"/>
                <a:ext cx="322018" cy="201391"/>
              </a:xfrm>
              <a:custGeom>
                <a:avLst/>
                <a:gdLst>
                  <a:gd name="connsiteX0" fmla="*/ 275108 w 490732"/>
                  <a:gd name="connsiteY0" fmla="*/ 21057 h 306906"/>
                  <a:gd name="connsiteX1" fmla="*/ 486891 w 490732"/>
                  <a:gd name="connsiteY1" fmla="*/ 129974 h 306906"/>
                  <a:gd name="connsiteX2" fmla="*/ 402178 w 490732"/>
                  <a:gd name="connsiteY2" fmla="*/ 250993 h 306906"/>
                  <a:gd name="connsiteX3" fmla="*/ 214598 w 490732"/>
                  <a:gd name="connsiteY3" fmla="*/ 204764 h 306906"/>
                  <a:gd name="connsiteX4" fmla="*/ 64534 w 490732"/>
                  <a:gd name="connsiteY4" fmla="*/ 304363 h 306906"/>
                  <a:gd name="connsiteX5" fmla="*/ 144831 w 490732"/>
                  <a:gd name="connsiteY5" fmla="*/ 86891 h 306906"/>
                  <a:gd name="connsiteX6" fmla="*/ 275108 w 490732"/>
                  <a:gd name="connsiteY6" fmla="*/ 21057 h 306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0732" h="306906">
                    <a:moveTo>
                      <a:pt x="275108" y="21057"/>
                    </a:moveTo>
                    <a:cubicBezTo>
                      <a:pt x="384025" y="-39453"/>
                      <a:pt x="470372" y="39694"/>
                      <a:pt x="486891" y="129974"/>
                    </a:cubicBezTo>
                    <a:cubicBezTo>
                      <a:pt x="505044" y="228484"/>
                      <a:pt x="441691" y="259828"/>
                      <a:pt x="402178" y="250993"/>
                    </a:cubicBezTo>
                    <a:cubicBezTo>
                      <a:pt x="342757" y="237742"/>
                      <a:pt x="279464" y="189153"/>
                      <a:pt x="214598" y="204764"/>
                    </a:cubicBezTo>
                    <a:cubicBezTo>
                      <a:pt x="176598" y="213901"/>
                      <a:pt x="124318" y="324210"/>
                      <a:pt x="64534" y="304363"/>
                    </a:cubicBezTo>
                    <a:cubicBezTo>
                      <a:pt x="-58421" y="263579"/>
                      <a:pt x="6264" y="90824"/>
                      <a:pt x="144831" y="86891"/>
                    </a:cubicBezTo>
                    <a:cubicBezTo>
                      <a:pt x="209697" y="85076"/>
                      <a:pt x="243219" y="38786"/>
                      <a:pt x="275108" y="21057"/>
                    </a:cubicBezTo>
                    <a:close/>
                  </a:path>
                </a:pathLst>
              </a:custGeom>
              <a:solidFill>
                <a:srgbClr val="232323"/>
              </a:solidFill>
              <a:ln w="6048" cap="flat">
                <a:noFill/>
                <a:prstDash val="solid"/>
                <a:miter/>
              </a:ln>
            </p:spPr>
            <p:txBody>
              <a:bodyPr rtlCol="0" anchor="ctr"/>
              <a:lstStyle/>
              <a:p>
                <a:endParaRPr lang="zh-CN" altLang="en-US"/>
              </a:p>
            </p:txBody>
          </p:sp>
          <p:sp>
            <p:nvSpPr>
              <p:cNvPr id="19" name="任意多边形: 形状 18"/>
              <p:cNvSpPr/>
              <p:nvPr/>
            </p:nvSpPr>
            <p:spPr>
              <a:xfrm>
                <a:off x="1078189" y="863642"/>
                <a:ext cx="58169" cy="79115"/>
              </a:xfrm>
              <a:custGeom>
                <a:avLst/>
                <a:gdLst>
                  <a:gd name="connsiteX0" fmla="*/ 84068 w 88646"/>
                  <a:gd name="connsiteY0" fmla="*/ 5185 h 120565"/>
                  <a:gd name="connsiteX1" fmla="*/ -645 w 88646"/>
                  <a:gd name="connsiteY1" fmla="*/ 58918 h 120565"/>
                  <a:gd name="connsiteX2" fmla="*/ 88001 w 88646"/>
                  <a:gd name="connsiteY2" fmla="*/ 116160 h 120565"/>
                  <a:gd name="connsiteX3" fmla="*/ 84189 w 88646"/>
                  <a:gd name="connsiteY3" fmla="*/ 5185 h 120565"/>
                </a:gdLst>
                <a:ahLst/>
                <a:cxnLst>
                  <a:cxn ang="0">
                    <a:pos x="connsiteX0" y="connsiteY0"/>
                  </a:cxn>
                  <a:cxn ang="0">
                    <a:pos x="connsiteX1" y="connsiteY1"/>
                  </a:cxn>
                  <a:cxn ang="0">
                    <a:pos x="connsiteX2" y="connsiteY2"/>
                  </a:cxn>
                  <a:cxn ang="0">
                    <a:pos x="connsiteX3" y="connsiteY3"/>
                  </a:cxn>
                </a:cxnLst>
                <a:rect l="l" t="t" r="r" b="b"/>
                <a:pathLst>
                  <a:path w="88646" h="120565">
                    <a:moveTo>
                      <a:pt x="84068" y="5185"/>
                    </a:moveTo>
                    <a:cubicBezTo>
                      <a:pt x="80196" y="1615"/>
                      <a:pt x="-645" y="-19866"/>
                      <a:pt x="-645" y="58918"/>
                    </a:cubicBezTo>
                    <a:cubicBezTo>
                      <a:pt x="3228" y="137580"/>
                      <a:pt x="88001" y="119730"/>
                      <a:pt x="88001" y="116160"/>
                    </a:cubicBezTo>
                    <a:cubicBezTo>
                      <a:pt x="88001" y="112590"/>
                      <a:pt x="84189" y="5185"/>
                      <a:pt x="84189" y="5185"/>
                    </a:cubicBezTo>
                    <a:close/>
                  </a:path>
                </a:pathLst>
              </a:custGeom>
              <a:solidFill>
                <a:srgbClr val="F9AD98"/>
              </a:solidFill>
              <a:ln w="6048" cap="flat">
                <a:noFill/>
                <a:prstDash val="solid"/>
                <a:miter/>
              </a:ln>
            </p:spPr>
            <p:txBody>
              <a:bodyPr rtlCol="0" anchor="ctr"/>
              <a:lstStyle/>
              <a:p>
                <a:endParaRPr lang="zh-CN" altLang="en-US"/>
              </a:p>
            </p:txBody>
          </p:sp>
          <p:sp>
            <p:nvSpPr>
              <p:cNvPr id="20" name="任意多边形: 形状 19"/>
              <p:cNvSpPr/>
              <p:nvPr/>
            </p:nvSpPr>
            <p:spPr>
              <a:xfrm>
                <a:off x="1349103" y="3120761"/>
                <a:ext cx="326862" cy="252589"/>
              </a:xfrm>
              <a:custGeom>
                <a:avLst/>
                <a:gdLst>
                  <a:gd name="connsiteX0" fmla="*/ 231897 w 498115"/>
                  <a:gd name="connsiteY0" fmla="*/ -159 h 384928"/>
                  <a:gd name="connsiteX1" fmla="*/ 246238 w 498115"/>
                  <a:gd name="connsiteY1" fmla="*/ 241092 h 384928"/>
                  <a:gd name="connsiteX2" fmla="*/ 375729 w 498115"/>
                  <a:gd name="connsiteY2" fmla="*/ 280000 h 384928"/>
                  <a:gd name="connsiteX3" fmla="*/ 497292 w 498115"/>
                  <a:gd name="connsiteY3" fmla="*/ 379901 h 384928"/>
                  <a:gd name="connsiteX4" fmla="*/ 29372 w 498115"/>
                  <a:gd name="connsiteY4" fmla="*/ 379901 h 384928"/>
                  <a:gd name="connsiteX5" fmla="*/ -459 w 498115"/>
                  <a:gd name="connsiteY5" fmla="*/ -159 h 384928"/>
                  <a:gd name="connsiteX6" fmla="*/ 231897 w 498115"/>
                  <a:gd name="connsiteY6" fmla="*/ -159 h 384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8115" h="384928">
                    <a:moveTo>
                      <a:pt x="231897" y="-159"/>
                    </a:moveTo>
                    <a:lnTo>
                      <a:pt x="246238" y="241092"/>
                    </a:lnTo>
                    <a:cubicBezTo>
                      <a:pt x="290519" y="249993"/>
                      <a:pt x="333874" y="263021"/>
                      <a:pt x="375729" y="280000"/>
                    </a:cubicBezTo>
                    <a:cubicBezTo>
                      <a:pt x="472121" y="318363"/>
                      <a:pt x="500015" y="379780"/>
                      <a:pt x="497292" y="379901"/>
                    </a:cubicBezTo>
                    <a:cubicBezTo>
                      <a:pt x="266630" y="390853"/>
                      <a:pt x="29372" y="379901"/>
                      <a:pt x="29372" y="379901"/>
                    </a:cubicBezTo>
                    <a:cubicBezTo>
                      <a:pt x="-4877" y="6436"/>
                      <a:pt x="-459" y="-159"/>
                      <a:pt x="-459" y="-159"/>
                    </a:cubicBezTo>
                    <a:lnTo>
                      <a:pt x="231897" y="-159"/>
                    </a:lnTo>
                  </a:path>
                </a:pathLst>
              </a:custGeom>
              <a:solidFill>
                <a:srgbClr val="AFB8C5"/>
              </a:solidFill>
              <a:ln w="6048" cap="flat">
                <a:noFill/>
                <a:prstDash val="solid"/>
                <a:miter/>
              </a:ln>
            </p:spPr>
            <p:txBody>
              <a:bodyPr rtlCol="0" anchor="ctr"/>
              <a:lstStyle/>
              <a:p>
                <a:endParaRPr lang="zh-CN" altLang="en-US"/>
              </a:p>
            </p:txBody>
          </p:sp>
          <p:sp>
            <p:nvSpPr>
              <p:cNvPr id="21" name="任意多边形: 形状 20"/>
              <p:cNvSpPr/>
              <p:nvPr/>
            </p:nvSpPr>
            <p:spPr>
              <a:xfrm>
                <a:off x="785062" y="3123223"/>
                <a:ext cx="305674" cy="253657"/>
              </a:xfrm>
              <a:custGeom>
                <a:avLst/>
                <a:gdLst>
                  <a:gd name="connsiteX0" fmla="*/ 444729 w 465826"/>
                  <a:gd name="connsiteY0" fmla="*/ -159 h 386555"/>
                  <a:gd name="connsiteX1" fmla="*/ 465181 w 465826"/>
                  <a:gd name="connsiteY1" fmla="*/ 376150 h 386555"/>
                  <a:gd name="connsiteX2" fmla="*/ -379 w 465826"/>
                  <a:gd name="connsiteY2" fmla="*/ 376150 h 386555"/>
                  <a:gd name="connsiteX3" fmla="*/ 101821 w 465826"/>
                  <a:gd name="connsiteY3" fmla="*/ 280000 h 386555"/>
                  <a:gd name="connsiteX4" fmla="*/ 223446 w 465826"/>
                  <a:gd name="connsiteY4" fmla="*/ 241092 h 386555"/>
                  <a:gd name="connsiteX5" fmla="*/ 212372 w 465826"/>
                  <a:gd name="connsiteY5" fmla="*/ -159 h 386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5826" h="386555">
                    <a:moveTo>
                      <a:pt x="444729" y="-159"/>
                    </a:moveTo>
                    <a:lnTo>
                      <a:pt x="465181" y="376150"/>
                    </a:lnTo>
                    <a:cubicBezTo>
                      <a:pt x="465181" y="376150"/>
                      <a:pt x="115678" y="399204"/>
                      <a:pt x="-379" y="376150"/>
                    </a:cubicBezTo>
                    <a:cubicBezTo>
                      <a:pt x="-3042" y="375605"/>
                      <a:pt x="13114" y="318363"/>
                      <a:pt x="101821" y="280000"/>
                    </a:cubicBezTo>
                    <a:cubicBezTo>
                      <a:pt x="140905" y="262846"/>
                      <a:pt x="181664" y="249806"/>
                      <a:pt x="223446" y="241092"/>
                    </a:cubicBezTo>
                    <a:cubicBezTo>
                      <a:pt x="223446" y="241092"/>
                      <a:pt x="217032" y="122675"/>
                      <a:pt x="212372" y="-159"/>
                    </a:cubicBezTo>
                    <a:close/>
                  </a:path>
                </a:pathLst>
              </a:custGeom>
              <a:solidFill>
                <a:srgbClr val="AFB8C5"/>
              </a:solidFill>
              <a:ln w="6048" cap="flat">
                <a:noFill/>
                <a:prstDash val="solid"/>
                <a:miter/>
              </a:ln>
            </p:spPr>
            <p:txBody>
              <a:bodyPr rtlCol="0" anchor="ctr"/>
              <a:lstStyle/>
              <a:p>
                <a:endParaRPr lang="zh-CN" altLang="en-US"/>
              </a:p>
            </p:txBody>
          </p:sp>
          <p:sp>
            <p:nvSpPr>
              <p:cNvPr id="22" name="任意多边形: 形状 21"/>
              <p:cNvSpPr/>
              <p:nvPr/>
            </p:nvSpPr>
            <p:spPr>
              <a:xfrm>
                <a:off x="893078" y="1849007"/>
                <a:ext cx="657062" cy="1399052"/>
              </a:xfrm>
              <a:custGeom>
                <a:avLst/>
                <a:gdLst>
                  <a:gd name="connsiteX0" fmla="*/ 839895 w 1001316"/>
                  <a:gd name="connsiteY0" fmla="*/ 9764 h 2132055"/>
                  <a:gd name="connsiteX1" fmla="*/ 998006 w 1001316"/>
                  <a:gd name="connsiteY1" fmla="*/ 2102307 h 2132055"/>
                  <a:gd name="connsiteX2" fmla="*/ 976440 w 1001316"/>
                  <a:gd name="connsiteY2" fmla="*/ 2131702 h 2132055"/>
                  <a:gd name="connsiteX3" fmla="*/ 974831 w 1001316"/>
                  <a:gd name="connsiteY3" fmla="*/ 2131896 h 2132055"/>
                  <a:gd name="connsiteX4" fmla="*/ 692735 w 1001316"/>
                  <a:gd name="connsiteY4" fmla="*/ 2128628 h 2132055"/>
                  <a:gd name="connsiteX5" fmla="*/ 659939 w 1001316"/>
                  <a:gd name="connsiteY5" fmla="*/ 2098857 h 2132055"/>
                  <a:gd name="connsiteX6" fmla="*/ 525729 w 1001316"/>
                  <a:gd name="connsiteY6" fmla="*/ 340147 h 2132055"/>
                  <a:gd name="connsiteX7" fmla="*/ 291133 w 1001316"/>
                  <a:gd name="connsiteY7" fmla="*/ 2125179 h 2132055"/>
                  <a:gd name="connsiteX8" fmla="*/ 55146 w 1001316"/>
                  <a:gd name="connsiteY8" fmla="*/ 2118584 h 2132055"/>
                  <a:gd name="connsiteX9" fmla="*/ -638 w 1001316"/>
                  <a:gd name="connsiteY9" fmla="*/ 2060985 h 2132055"/>
                  <a:gd name="connsiteX10" fmla="*/ -583 w 1001316"/>
                  <a:gd name="connsiteY10" fmla="*/ 2059284 h 2132055"/>
                  <a:gd name="connsiteX11" fmla="*/ 160069 w 1001316"/>
                  <a:gd name="connsiteY11" fmla="*/ -159 h 2132055"/>
                  <a:gd name="connsiteX12" fmla="*/ 839895 w 1001316"/>
                  <a:gd name="connsiteY12" fmla="*/ 9764 h 2132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01316" h="2132055">
                    <a:moveTo>
                      <a:pt x="839895" y="9764"/>
                    </a:moveTo>
                    <a:cubicBezTo>
                      <a:pt x="1034191" y="2401829"/>
                      <a:pt x="998006" y="2102307"/>
                      <a:pt x="998006" y="2102307"/>
                    </a:cubicBezTo>
                    <a:cubicBezTo>
                      <a:pt x="1000166" y="2116375"/>
                      <a:pt x="990515" y="2129536"/>
                      <a:pt x="976440" y="2131702"/>
                    </a:cubicBezTo>
                    <a:cubicBezTo>
                      <a:pt x="975908" y="2131781"/>
                      <a:pt x="975369" y="2131847"/>
                      <a:pt x="974831" y="2131896"/>
                    </a:cubicBezTo>
                    <a:lnTo>
                      <a:pt x="692735" y="2128628"/>
                    </a:lnTo>
                    <a:cubicBezTo>
                      <a:pt x="675829" y="2128477"/>
                      <a:pt x="661724" y="2115673"/>
                      <a:pt x="659939" y="2098857"/>
                    </a:cubicBezTo>
                    <a:cubicBezTo>
                      <a:pt x="527060" y="354669"/>
                      <a:pt x="525729" y="340147"/>
                      <a:pt x="525729" y="340147"/>
                    </a:cubicBezTo>
                    <a:cubicBezTo>
                      <a:pt x="434965" y="2209893"/>
                      <a:pt x="314611" y="2128749"/>
                      <a:pt x="291133" y="2125179"/>
                    </a:cubicBezTo>
                    <a:lnTo>
                      <a:pt x="55146" y="2118584"/>
                    </a:lnTo>
                    <a:cubicBezTo>
                      <a:pt x="23838" y="2118081"/>
                      <a:pt x="-1140" y="2092292"/>
                      <a:pt x="-638" y="2060985"/>
                    </a:cubicBezTo>
                    <a:cubicBezTo>
                      <a:pt x="-626" y="2060416"/>
                      <a:pt x="-607" y="2059853"/>
                      <a:pt x="-583" y="2059284"/>
                    </a:cubicBezTo>
                    <a:cubicBezTo>
                      <a:pt x="127697" y="-6694"/>
                      <a:pt x="160069" y="-159"/>
                      <a:pt x="160069" y="-159"/>
                    </a:cubicBezTo>
                    <a:lnTo>
                      <a:pt x="839895" y="9764"/>
                    </a:lnTo>
                    <a:close/>
                  </a:path>
                </a:pathLst>
              </a:custGeom>
              <a:solidFill>
                <a:srgbClr val="232323"/>
              </a:solidFill>
              <a:ln w="6048" cap="flat">
                <a:noFill/>
                <a:prstDash val="solid"/>
                <a:miter/>
              </a:ln>
            </p:spPr>
            <p:txBody>
              <a:bodyPr rtlCol="0" anchor="ctr"/>
              <a:lstStyle/>
              <a:p>
                <a:endParaRPr lang="zh-CN" altLang="en-US"/>
              </a:p>
            </p:txBody>
          </p:sp>
          <p:sp>
            <p:nvSpPr>
              <p:cNvPr id="23" name="任意多边形: 形状 22"/>
              <p:cNvSpPr/>
              <p:nvPr/>
            </p:nvSpPr>
            <p:spPr>
              <a:xfrm>
                <a:off x="1228875" y="1875172"/>
                <a:ext cx="26603" cy="171017"/>
              </a:xfrm>
              <a:custGeom>
                <a:avLst/>
                <a:gdLst>
                  <a:gd name="connsiteX0" fmla="*/ 32575 w 40541"/>
                  <a:gd name="connsiteY0" fmla="*/ 266 h 260617"/>
                  <a:gd name="connsiteX1" fmla="*/ 36568 w 40541"/>
                  <a:gd name="connsiteY1" fmla="*/ 39779 h 260617"/>
                  <a:gd name="connsiteX2" fmla="*/ 39896 w 40541"/>
                  <a:gd name="connsiteY2" fmla="*/ 138591 h 260617"/>
                  <a:gd name="connsiteX3" fmla="*/ 38928 w 40541"/>
                  <a:gd name="connsiteY3" fmla="*/ 194563 h 260617"/>
                  <a:gd name="connsiteX4" fmla="*/ 30033 w 40541"/>
                  <a:gd name="connsiteY4" fmla="*/ 237403 h 260617"/>
                  <a:gd name="connsiteX5" fmla="*/ 8915 w 40541"/>
                  <a:gd name="connsiteY5" fmla="*/ 257190 h 260617"/>
                  <a:gd name="connsiteX6" fmla="*/ -645 w 40541"/>
                  <a:gd name="connsiteY6" fmla="*/ 260458 h 260617"/>
                  <a:gd name="connsiteX7" fmla="*/ 23135 w 40541"/>
                  <a:gd name="connsiteY7" fmla="*/ 234136 h 260617"/>
                  <a:gd name="connsiteX8" fmla="*/ 32333 w 40541"/>
                  <a:gd name="connsiteY8" fmla="*/ 194563 h 260617"/>
                  <a:gd name="connsiteX9" fmla="*/ 33301 w 40541"/>
                  <a:gd name="connsiteY9" fmla="*/ 138591 h 260617"/>
                  <a:gd name="connsiteX10" fmla="*/ 29973 w 40541"/>
                  <a:gd name="connsiteY10" fmla="*/ 39779 h 260617"/>
                  <a:gd name="connsiteX11" fmla="*/ 32575 w 40541"/>
                  <a:gd name="connsiteY11" fmla="*/ 266 h 260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41" h="260617">
                    <a:moveTo>
                      <a:pt x="32575" y="266"/>
                    </a:moveTo>
                    <a:lnTo>
                      <a:pt x="36568" y="39779"/>
                    </a:lnTo>
                    <a:cubicBezTo>
                      <a:pt x="35903" y="66101"/>
                      <a:pt x="39231" y="99079"/>
                      <a:pt x="39896" y="138591"/>
                    </a:cubicBezTo>
                    <a:cubicBezTo>
                      <a:pt x="38565" y="158378"/>
                      <a:pt x="40562" y="178104"/>
                      <a:pt x="38928" y="194563"/>
                    </a:cubicBezTo>
                    <a:cubicBezTo>
                      <a:pt x="37294" y="211021"/>
                      <a:pt x="35661" y="227540"/>
                      <a:pt x="30033" y="237403"/>
                    </a:cubicBezTo>
                    <a:cubicBezTo>
                      <a:pt x="24944" y="245814"/>
                      <a:pt x="17641" y="252658"/>
                      <a:pt x="8915" y="257190"/>
                    </a:cubicBezTo>
                    <a:cubicBezTo>
                      <a:pt x="6005" y="258957"/>
                      <a:pt x="2743" y="260076"/>
                      <a:pt x="-645" y="260458"/>
                    </a:cubicBezTo>
                    <a:cubicBezTo>
                      <a:pt x="10616" y="255399"/>
                      <a:pt x="19238" y="245851"/>
                      <a:pt x="23135" y="234136"/>
                    </a:cubicBezTo>
                    <a:cubicBezTo>
                      <a:pt x="29779" y="222040"/>
                      <a:pt x="32962" y="208347"/>
                      <a:pt x="32333" y="194563"/>
                    </a:cubicBezTo>
                    <a:cubicBezTo>
                      <a:pt x="33966" y="178104"/>
                      <a:pt x="31970" y="158257"/>
                      <a:pt x="33301" y="138591"/>
                    </a:cubicBezTo>
                    <a:cubicBezTo>
                      <a:pt x="32635" y="99079"/>
                      <a:pt x="32635" y="65980"/>
                      <a:pt x="29973" y="39779"/>
                    </a:cubicBezTo>
                    <a:cubicBezTo>
                      <a:pt x="30578" y="13397"/>
                      <a:pt x="32272" y="-3062"/>
                      <a:pt x="32575" y="266"/>
                    </a:cubicBezTo>
                    <a:close/>
                  </a:path>
                </a:pathLst>
              </a:custGeom>
              <a:solidFill>
                <a:srgbClr val="0E223F"/>
              </a:solidFill>
              <a:ln w="6048" cap="flat">
                <a:noFill/>
                <a:prstDash val="solid"/>
                <a:miter/>
              </a:ln>
            </p:spPr>
            <p:txBody>
              <a:bodyPr rtlCol="0" anchor="ctr"/>
              <a:lstStyle/>
              <a:p>
                <a:endParaRPr lang="zh-CN" altLang="en-US"/>
              </a:p>
            </p:txBody>
          </p:sp>
          <p:sp>
            <p:nvSpPr>
              <p:cNvPr id="24" name="任意多边形: 形状 23"/>
              <p:cNvSpPr/>
              <p:nvPr/>
            </p:nvSpPr>
            <p:spPr>
              <a:xfrm>
                <a:off x="906023" y="1110113"/>
                <a:ext cx="573325" cy="791598"/>
              </a:xfrm>
              <a:custGeom>
                <a:avLst/>
                <a:gdLst>
                  <a:gd name="connsiteX0" fmla="*/ 580247 w 873707"/>
                  <a:gd name="connsiteY0" fmla="*/ -159 h 1206339"/>
                  <a:gd name="connsiteX1" fmla="*/ 344259 w 873707"/>
                  <a:gd name="connsiteY1" fmla="*/ -159 h 1206339"/>
                  <a:gd name="connsiteX2" fmla="*/ 247444 w 873707"/>
                  <a:gd name="connsiteY2" fmla="*/ 17993 h 1206339"/>
                  <a:gd name="connsiteX3" fmla="*/ -645 w 873707"/>
                  <a:gd name="connsiteY3" fmla="*/ 175318 h 1206339"/>
                  <a:gd name="connsiteX4" fmla="*/ 160794 w 873707"/>
                  <a:gd name="connsiteY4" fmla="*/ 510783 h 1206339"/>
                  <a:gd name="connsiteX5" fmla="*/ 120374 w 873707"/>
                  <a:gd name="connsiteY5" fmla="*/ 1173908 h 1206339"/>
                  <a:gd name="connsiteX6" fmla="*/ 822285 w 873707"/>
                  <a:gd name="connsiteY6" fmla="*/ 1173908 h 1206339"/>
                  <a:gd name="connsiteX7" fmla="*/ 873053 w 873707"/>
                  <a:gd name="connsiteY7" fmla="*/ 119710 h 1206339"/>
                  <a:gd name="connsiteX8" fmla="*/ 809094 w 873707"/>
                  <a:gd name="connsiteY8" fmla="*/ 65251 h 1206339"/>
                  <a:gd name="connsiteX9" fmla="*/ 580247 w 873707"/>
                  <a:gd name="connsiteY9" fmla="*/ -159 h 1206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73707" h="1206339">
                    <a:moveTo>
                      <a:pt x="580247" y="-159"/>
                    </a:moveTo>
                    <a:cubicBezTo>
                      <a:pt x="557132" y="76990"/>
                      <a:pt x="382865" y="69306"/>
                      <a:pt x="344259" y="-159"/>
                    </a:cubicBezTo>
                    <a:cubicBezTo>
                      <a:pt x="311615" y="3713"/>
                      <a:pt x="279272" y="9782"/>
                      <a:pt x="247444" y="17993"/>
                    </a:cubicBezTo>
                    <a:cubicBezTo>
                      <a:pt x="142884" y="44376"/>
                      <a:pt x="53813" y="114809"/>
                      <a:pt x="-645" y="175318"/>
                    </a:cubicBezTo>
                    <a:cubicBezTo>
                      <a:pt x="132173" y="484280"/>
                      <a:pt x="160794" y="510783"/>
                      <a:pt x="160794" y="510783"/>
                    </a:cubicBezTo>
                    <a:cubicBezTo>
                      <a:pt x="174833" y="677729"/>
                      <a:pt x="162731" y="829003"/>
                      <a:pt x="120374" y="1173908"/>
                    </a:cubicBezTo>
                    <a:cubicBezTo>
                      <a:pt x="652858" y="1246520"/>
                      <a:pt x="822285" y="1173908"/>
                      <a:pt x="822285" y="1173908"/>
                    </a:cubicBezTo>
                    <a:cubicBezTo>
                      <a:pt x="870693" y="665627"/>
                      <a:pt x="828336" y="605118"/>
                      <a:pt x="873053" y="119710"/>
                    </a:cubicBezTo>
                    <a:cubicBezTo>
                      <a:pt x="873900" y="110573"/>
                      <a:pt x="816597" y="70637"/>
                      <a:pt x="809094" y="65251"/>
                    </a:cubicBezTo>
                    <a:cubicBezTo>
                      <a:pt x="725470" y="5892"/>
                      <a:pt x="580247" y="-159"/>
                      <a:pt x="580247" y="-159"/>
                    </a:cubicBezTo>
                    <a:close/>
                  </a:path>
                </a:pathLst>
              </a:custGeom>
              <a:solidFill>
                <a:srgbClr val="E34A3D"/>
              </a:solidFill>
              <a:ln w="6048" cap="flat">
                <a:noFill/>
                <a:prstDash val="solid"/>
                <a:miter/>
              </a:ln>
            </p:spPr>
            <p:txBody>
              <a:bodyPr rtlCol="0" anchor="ctr"/>
              <a:lstStyle/>
              <a:p>
                <a:endParaRPr lang="zh-CN" altLang="en-US"/>
              </a:p>
            </p:txBody>
          </p:sp>
          <p:sp>
            <p:nvSpPr>
              <p:cNvPr id="25" name="任意多边形: 形状 24"/>
              <p:cNvSpPr/>
              <p:nvPr/>
            </p:nvSpPr>
            <p:spPr>
              <a:xfrm>
                <a:off x="1341701" y="721898"/>
                <a:ext cx="129525" cy="230121"/>
              </a:xfrm>
              <a:custGeom>
                <a:avLst/>
                <a:gdLst>
                  <a:gd name="connsiteX0" fmla="*/ 164394 w 197387"/>
                  <a:gd name="connsiteY0" fmla="*/ 349414 h 350688"/>
                  <a:gd name="connsiteX1" fmla="*/ 55476 w 197387"/>
                  <a:gd name="connsiteY1" fmla="*/ 305969 h 350688"/>
                  <a:gd name="connsiteX2" fmla="*/ 2167 w 197387"/>
                  <a:gd name="connsiteY2" fmla="*/ 161048 h 350688"/>
                  <a:gd name="connsiteX3" fmla="*/ 75384 w 197387"/>
                  <a:gd name="connsiteY3" fmla="*/ 237532 h 350688"/>
                  <a:gd name="connsiteX4" fmla="*/ 63282 w 197387"/>
                  <a:gd name="connsiteY4" fmla="*/ 159959 h 350688"/>
                  <a:gd name="connsiteX5" fmla="*/ 51180 w 197387"/>
                  <a:gd name="connsiteY5" fmla="*/ 11589 h 350688"/>
                  <a:gd name="connsiteX6" fmla="*/ 103884 w 197387"/>
                  <a:gd name="connsiteY6" fmla="*/ 125105 h 350688"/>
                  <a:gd name="connsiteX7" fmla="*/ 190897 w 197387"/>
                  <a:gd name="connsiteY7" fmla="*/ 249574 h 350688"/>
                  <a:gd name="connsiteX8" fmla="*/ 164394 w 197387"/>
                  <a:gd name="connsiteY8" fmla="*/ 349414 h 350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7387" h="350688">
                    <a:moveTo>
                      <a:pt x="164394" y="349414"/>
                    </a:moveTo>
                    <a:cubicBezTo>
                      <a:pt x="164394" y="349414"/>
                      <a:pt x="75989" y="361516"/>
                      <a:pt x="55476" y="305969"/>
                    </a:cubicBezTo>
                    <a:cubicBezTo>
                      <a:pt x="34964" y="250421"/>
                      <a:pt x="-12657" y="172121"/>
                      <a:pt x="2167" y="161048"/>
                    </a:cubicBezTo>
                    <a:cubicBezTo>
                      <a:pt x="16811" y="148039"/>
                      <a:pt x="75384" y="237532"/>
                      <a:pt x="75384" y="237532"/>
                    </a:cubicBezTo>
                    <a:lnTo>
                      <a:pt x="63282" y="159959"/>
                    </a:lnTo>
                    <a:cubicBezTo>
                      <a:pt x="63282" y="159959"/>
                      <a:pt x="23406" y="59089"/>
                      <a:pt x="51180" y="11589"/>
                    </a:cubicBezTo>
                    <a:cubicBezTo>
                      <a:pt x="78530" y="-37847"/>
                      <a:pt x="78652" y="82023"/>
                      <a:pt x="103884" y="125105"/>
                    </a:cubicBezTo>
                    <a:cubicBezTo>
                      <a:pt x="127301" y="170367"/>
                      <a:pt x="170081" y="235596"/>
                      <a:pt x="190897" y="249574"/>
                    </a:cubicBezTo>
                    <a:cubicBezTo>
                      <a:pt x="213225" y="261312"/>
                      <a:pt x="164394" y="349414"/>
                      <a:pt x="164394" y="349414"/>
                    </a:cubicBezTo>
                    <a:close/>
                  </a:path>
                </a:pathLst>
              </a:custGeom>
              <a:solidFill>
                <a:srgbClr val="F9AD98"/>
              </a:solidFill>
              <a:ln w="6048" cap="flat">
                <a:noFill/>
                <a:prstDash val="solid"/>
                <a:miter/>
              </a:ln>
            </p:spPr>
            <p:txBody>
              <a:bodyPr rtlCol="0" anchor="ctr"/>
              <a:lstStyle/>
              <a:p>
                <a:endParaRPr lang="zh-CN" altLang="en-US"/>
              </a:p>
            </p:txBody>
          </p:sp>
          <p:sp>
            <p:nvSpPr>
              <p:cNvPr id="26" name="任意多边形: 形状 25"/>
              <p:cNvSpPr/>
              <p:nvPr/>
            </p:nvSpPr>
            <p:spPr>
              <a:xfrm>
                <a:off x="1361255" y="870326"/>
                <a:ext cx="500773" cy="569348"/>
              </a:xfrm>
              <a:custGeom>
                <a:avLst/>
                <a:gdLst>
                  <a:gd name="connsiteX0" fmla="*/ 55933 w 763143"/>
                  <a:gd name="connsiteY0" fmla="*/ 867487 h 867646"/>
                  <a:gd name="connsiteX1" fmla="*/ 739691 w 763143"/>
                  <a:gd name="connsiteY1" fmla="*/ 583092 h 867646"/>
                  <a:gd name="connsiteX2" fmla="*/ 703385 w 763143"/>
                  <a:gd name="connsiteY2" fmla="*/ 347105 h 867646"/>
                  <a:gd name="connsiteX3" fmla="*/ 171687 w 763143"/>
                  <a:gd name="connsiteY3" fmla="*/ -159 h 867646"/>
                  <a:gd name="connsiteX4" fmla="*/ 98289 w 763143"/>
                  <a:gd name="connsiteY4" fmla="*/ 135321 h 867646"/>
                  <a:gd name="connsiteX5" fmla="*/ 443194 w 763143"/>
                  <a:gd name="connsiteY5" fmla="*/ 419716 h 867646"/>
                  <a:gd name="connsiteX6" fmla="*/ 43831 w 763143"/>
                  <a:gd name="connsiteY6" fmla="*/ 395513 h 867646"/>
                  <a:gd name="connsiteX7" fmla="*/ 55933 w 763143"/>
                  <a:gd name="connsiteY7" fmla="*/ 867487 h 867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3143" h="867646">
                    <a:moveTo>
                      <a:pt x="55933" y="867487"/>
                    </a:moveTo>
                    <a:cubicBezTo>
                      <a:pt x="55933" y="867487"/>
                      <a:pt x="632105" y="762503"/>
                      <a:pt x="739691" y="583092"/>
                    </a:cubicBezTo>
                    <a:cubicBezTo>
                      <a:pt x="775997" y="522583"/>
                      <a:pt x="772487" y="423105"/>
                      <a:pt x="703385" y="347105"/>
                    </a:cubicBezTo>
                    <a:cubicBezTo>
                      <a:pt x="521856" y="147423"/>
                      <a:pt x="171687" y="-159"/>
                      <a:pt x="171687" y="-159"/>
                    </a:cubicBezTo>
                    <a:lnTo>
                      <a:pt x="98289" y="135321"/>
                    </a:lnTo>
                    <a:cubicBezTo>
                      <a:pt x="98289" y="135321"/>
                      <a:pt x="450153" y="347105"/>
                      <a:pt x="443194" y="419716"/>
                    </a:cubicBezTo>
                    <a:cubicBezTo>
                      <a:pt x="431092" y="546787"/>
                      <a:pt x="43831" y="395513"/>
                      <a:pt x="43831" y="395513"/>
                    </a:cubicBezTo>
                    <a:cubicBezTo>
                      <a:pt x="43831" y="395513"/>
                      <a:pt x="-63876" y="727408"/>
                      <a:pt x="55933" y="867487"/>
                    </a:cubicBezTo>
                    <a:close/>
                  </a:path>
                </a:pathLst>
              </a:custGeom>
              <a:solidFill>
                <a:srgbClr val="E34A3D"/>
              </a:solidFill>
              <a:ln w="6048" cap="flat">
                <a:noFill/>
                <a:prstDash val="solid"/>
                <a:miter/>
              </a:ln>
            </p:spPr>
            <p:txBody>
              <a:bodyPr rtlCol="0" anchor="ctr"/>
              <a:lstStyle/>
              <a:p>
                <a:endParaRPr lang="zh-CN" altLang="en-US"/>
              </a:p>
            </p:txBody>
          </p:sp>
          <p:sp>
            <p:nvSpPr>
              <p:cNvPr id="27" name="任意多边形: 形状 26"/>
              <p:cNvSpPr/>
              <p:nvPr/>
            </p:nvSpPr>
            <p:spPr>
              <a:xfrm>
                <a:off x="802299" y="1754506"/>
                <a:ext cx="199984" cy="147071"/>
              </a:xfrm>
              <a:custGeom>
                <a:avLst/>
                <a:gdLst>
                  <a:gd name="connsiteX0" fmla="*/ 269063 w 304761"/>
                  <a:gd name="connsiteY0" fmla="*/ 146697 h 224125"/>
                  <a:gd name="connsiteX1" fmla="*/ 188403 w 304761"/>
                  <a:gd name="connsiteY1" fmla="*/ 214166 h 224125"/>
                  <a:gd name="connsiteX2" fmla="*/ 146531 w 304761"/>
                  <a:gd name="connsiteY2" fmla="*/ 221306 h 224125"/>
                  <a:gd name="connsiteX3" fmla="*/ 12502 w 304761"/>
                  <a:gd name="connsiteY3" fmla="*/ 176226 h 224125"/>
                  <a:gd name="connsiteX4" fmla="*/ 400 w 304761"/>
                  <a:gd name="connsiteY4" fmla="*/ 150631 h 224125"/>
                  <a:gd name="connsiteX5" fmla="*/ 400 w 304761"/>
                  <a:gd name="connsiteY5" fmla="*/ 150631 h 224125"/>
                  <a:gd name="connsiteX6" fmla="*/ 24604 w 304761"/>
                  <a:gd name="connsiteY6" fmla="*/ 137137 h 224125"/>
                  <a:gd name="connsiteX7" fmla="*/ 133521 w 304761"/>
                  <a:gd name="connsiteY7" fmla="*/ 139012 h 224125"/>
                  <a:gd name="connsiteX8" fmla="*/ 272693 w 304761"/>
                  <a:gd name="connsiteY8" fmla="*/ -159 h 224125"/>
                  <a:gd name="connsiteX9" fmla="*/ 274388 w 304761"/>
                  <a:gd name="connsiteY9" fmla="*/ 1474 h 224125"/>
                  <a:gd name="connsiteX10" fmla="*/ 276548 w 304761"/>
                  <a:gd name="connsiteY10" fmla="*/ 139745 h 224125"/>
                  <a:gd name="connsiteX11" fmla="*/ 269063 w 304761"/>
                  <a:gd name="connsiteY11" fmla="*/ 146697 h 224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4761" h="224125">
                    <a:moveTo>
                      <a:pt x="269063" y="146697"/>
                    </a:moveTo>
                    <a:lnTo>
                      <a:pt x="188403" y="214166"/>
                    </a:lnTo>
                    <a:cubicBezTo>
                      <a:pt x="176737" y="223877"/>
                      <a:pt x="160757" y="226600"/>
                      <a:pt x="146531" y="221306"/>
                    </a:cubicBezTo>
                    <a:lnTo>
                      <a:pt x="12502" y="176226"/>
                    </a:lnTo>
                    <a:cubicBezTo>
                      <a:pt x="2282" y="172293"/>
                      <a:pt x="-3043" y="161026"/>
                      <a:pt x="400" y="150631"/>
                    </a:cubicBezTo>
                    <a:lnTo>
                      <a:pt x="400" y="150631"/>
                    </a:lnTo>
                    <a:cubicBezTo>
                      <a:pt x="3728" y="140519"/>
                      <a:pt x="14251" y="134650"/>
                      <a:pt x="24604" y="137137"/>
                    </a:cubicBezTo>
                    <a:lnTo>
                      <a:pt x="133521" y="139012"/>
                    </a:lnTo>
                    <a:lnTo>
                      <a:pt x="272693" y="-159"/>
                    </a:lnTo>
                    <a:lnTo>
                      <a:pt x="274388" y="1474"/>
                    </a:lnTo>
                    <a:cubicBezTo>
                      <a:pt x="313168" y="39063"/>
                      <a:pt x="314130" y="100964"/>
                      <a:pt x="276548" y="139745"/>
                    </a:cubicBezTo>
                    <a:cubicBezTo>
                      <a:pt x="274176" y="142189"/>
                      <a:pt x="271677" y="144513"/>
                      <a:pt x="269063" y="146697"/>
                    </a:cubicBezTo>
                    <a:close/>
                  </a:path>
                </a:pathLst>
              </a:custGeom>
              <a:solidFill>
                <a:srgbClr val="F9AD98"/>
              </a:solidFill>
              <a:ln w="6048" cap="flat">
                <a:noFill/>
                <a:prstDash val="solid"/>
                <a:miter/>
              </a:ln>
            </p:spPr>
            <p:txBody>
              <a:bodyPr rtlCol="0" anchor="ctr"/>
              <a:lstStyle/>
              <a:p>
                <a:endParaRPr lang="zh-CN" altLang="en-US"/>
              </a:p>
            </p:txBody>
          </p:sp>
          <p:sp>
            <p:nvSpPr>
              <p:cNvPr id="28" name="任意多边形: 形状 27"/>
              <p:cNvSpPr/>
              <p:nvPr/>
            </p:nvSpPr>
            <p:spPr>
              <a:xfrm>
                <a:off x="669413" y="1180710"/>
                <a:ext cx="383563" cy="666748"/>
              </a:xfrm>
              <a:custGeom>
                <a:avLst/>
                <a:gdLst>
                  <a:gd name="connsiteX0" fmla="*/ 445492 w 584522"/>
                  <a:gd name="connsiteY0" fmla="*/ -159 h 1016076"/>
                  <a:gd name="connsiteX1" fmla="*/ 8976 w 584522"/>
                  <a:gd name="connsiteY1" fmla="*/ 497350 h 1016076"/>
                  <a:gd name="connsiteX2" fmla="*/ 51333 w 584522"/>
                  <a:gd name="connsiteY2" fmla="*/ 730675 h 1016076"/>
                  <a:gd name="connsiteX3" fmla="*/ 338451 w 584522"/>
                  <a:gd name="connsiteY3" fmla="*/ 1015918 h 1016076"/>
                  <a:gd name="connsiteX4" fmla="*/ 487062 w 584522"/>
                  <a:gd name="connsiteY4" fmla="*/ 866459 h 1016076"/>
                  <a:gd name="connsiteX5" fmla="*/ 281330 w 584522"/>
                  <a:gd name="connsiteY5" fmla="*/ 595921 h 1016076"/>
                  <a:gd name="connsiteX6" fmla="*/ 583878 w 584522"/>
                  <a:gd name="connsiteY6" fmla="*/ 358178 h 1016076"/>
                  <a:gd name="connsiteX7" fmla="*/ 445492 w 584522"/>
                  <a:gd name="connsiteY7" fmla="*/ -159 h 1016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4522" h="1016076">
                    <a:moveTo>
                      <a:pt x="445492" y="-159"/>
                    </a:moveTo>
                    <a:cubicBezTo>
                      <a:pt x="445492" y="-159"/>
                      <a:pt x="129995" y="194802"/>
                      <a:pt x="8976" y="497350"/>
                    </a:cubicBezTo>
                    <a:cubicBezTo>
                      <a:pt x="-12989" y="552414"/>
                      <a:pt x="3288" y="648624"/>
                      <a:pt x="51333" y="730675"/>
                    </a:cubicBezTo>
                    <a:cubicBezTo>
                      <a:pt x="99317" y="813815"/>
                      <a:pt x="338451" y="1015918"/>
                      <a:pt x="338451" y="1015918"/>
                    </a:cubicBezTo>
                    <a:lnTo>
                      <a:pt x="487062" y="866459"/>
                    </a:lnTo>
                    <a:cubicBezTo>
                      <a:pt x="487062" y="866459"/>
                      <a:pt x="287381" y="624905"/>
                      <a:pt x="281330" y="595921"/>
                    </a:cubicBezTo>
                    <a:cubicBezTo>
                      <a:pt x="275279" y="565666"/>
                      <a:pt x="583878" y="358178"/>
                      <a:pt x="583878" y="358178"/>
                    </a:cubicBezTo>
                    <a:cubicBezTo>
                      <a:pt x="583878" y="358178"/>
                      <a:pt x="552897" y="149723"/>
                      <a:pt x="445492" y="-159"/>
                    </a:cubicBezTo>
                    <a:close/>
                  </a:path>
                </a:pathLst>
              </a:custGeom>
              <a:solidFill>
                <a:srgbClr val="E34A3D"/>
              </a:solidFill>
              <a:ln w="6048" cap="flat">
                <a:noFill/>
                <a:prstDash val="solid"/>
                <a:miter/>
              </a:ln>
            </p:spPr>
            <p:txBody>
              <a:bodyPr rtlCol="0" anchor="ctr"/>
              <a:lstStyle/>
              <a:p>
                <a:endParaRPr lang="zh-CN" altLang="en-US"/>
              </a:p>
            </p:txBody>
          </p:sp>
          <p:sp>
            <p:nvSpPr>
              <p:cNvPr id="29" name="任意多边形: 形状 28"/>
              <p:cNvSpPr/>
              <p:nvPr/>
            </p:nvSpPr>
            <p:spPr>
              <a:xfrm>
                <a:off x="1528589" y="656491"/>
                <a:ext cx="94171" cy="148587"/>
              </a:xfrm>
              <a:custGeom>
                <a:avLst/>
                <a:gdLst>
                  <a:gd name="connsiteX0" fmla="*/ 29230 w 143510"/>
                  <a:gd name="connsiteY0" fmla="*/ 171956 h 226436"/>
                  <a:gd name="connsiteX1" fmla="*/ 21442 w 143510"/>
                  <a:gd name="connsiteY1" fmla="*/ 154626 h 226436"/>
                  <a:gd name="connsiteX2" fmla="*/ 21787 w 143510"/>
                  <a:gd name="connsiteY2" fmla="*/ 153803 h 226436"/>
                  <a:gd name="connsiteX3" fmla="*/ 33042 w 143510"/>
                  <a:gd name="connsiteY3" fmla="*/ 133956 h 226436"/>
                  <a:gd name="connsiteX4" fmla="*/ 49924 w 143510"/>
                  <a:gd name="connsiteY4" fmla="*/ 120644 h 226436"/>
                  <a:gd name="connsiteX5" fmla="*/ 75822 w 143510"/>
                  <a:gd name="connsiteY5" fmla="*/ 109208 h 226436"/>
                  <a:gd name="connsiteX6" fmla="*/ 100873 w 143510"/>
                  <a:gd name="connsiteY6" fmla="*/ 96501 h 226436"/>
                  <a:gd name="connsiteX7" fmla="*/ 110857 w 143510"/>
                  <a:gd name="connsiteY7" fmla="*/ 82220 h 226436"/>
                  <a:gd name="connsiteX8" fmla="*/ 108860 w 143510"/>
                  <a:gd name="connsiteY8" fmla="*/ 50574 h 226436"/>
                  <a:gd name="connsiteX9" fmla="*/ 83628 w 143510"/>
                  <a:gd name="connsiteY9" fmla="*/ 27943 h 226436"/>
                  <a:gd name="connsiteX10" fmla="*/ 51376 w 143510"/>
                  <a:gd name="connsiteY10" fmla="*/ 27943 h 226436"/>
                  <a:gd name="connsiteX11" fmla="*/ 30743 w 143510"/>
                  <a:gd name="connsiteY11" fmla="*/ 45370 h 226436"/>
                  <a:gd name="connsiteX12" fmla="*/ 12590 w 143510"/>
                  <a:gd name="connsiteY12" fmla="*/ 49485 h 226436"/>
                  <a:gd name="connsiteX13" fmla="*/ 12590 w 143510"/>
                  <a:gd name="connsiteY13" fmla="*/ 49485 h 226436"/>
                  <a:gd name="connsiteX14" fmla="*/ 6060 w 143510"/>
                  <a:gd name="connsiteY14" fmla="*/ 29831 h 226436"/>
                  <a:gd name="connsiteX15" fmla="*/ 7325 w 143510"/>
                  <a:gd name="connsiteY15" fmla="*/ 27762 h 226436"/>
                  <a:gd name="connsiteX16" fmla="*/ 37580 w 143510"/>
                  <a:gd name="connsiteY16" fmla="*/ 4042 h 226436"/>
                  <a:gd name="connsiteX17" fmla="*/ 91615 w 143510"/>
                  <a:gd name="connsiteY17" fmla="*/ 5857 h 226436"/>
                  <a:gd name="connsiteX18" fmla="*/ 135727 w 143510"/>
                  <a:gd name="connsiteY18" fmla="*/ 41800 h 226436"/>
                  <a:gd name="connsiteX19" fmla="*/ 139115 w 143510"/>
                  <a:gd name="connsiteY19" fmla="*/ 90208 h 226436"/>
                  <a:gd name="connsiteX20" fmla="*/ 122838 w 143510"/>
                  <a:gd name="connsiteY20" fmla="*/ 113806 h 226436"/>
                  <a:gd name="connsiteX21" fmla="*/ 86169 w 143510"/>
                  <a:gd name="connsiteY21" fmla="*/ 133230 h 226436"/>
                  <a:gd name="connsiteX22" fmla="*/ 62933 w 143510"/>
                  <a:gd name="connsiteY22" fmla="*/ 143880 h 226436"/>
                  <a:gd name="connsiteX23" fmla="*/ 52405 w 143510"/>
                  <a:gd name="connsiteY23" fmla="*/ 154227 h 226436"/>
                  <a:gd name="connsiteX24" fmla="*/ 46354 w 143510"/>
                  <a:gd name="connsiteY24" fmla="*/ 164755 h 226436"/>
                  <a:gd name="connsiteX25" fmla="*/ 29351 w 143510"/>
                  <a:gd name="connsiteY25" fmla="*/ 171895 h 226436"/>
                  <a:gd name="connsiteX26" fmla="*/ 20819 w 143510"/>
                  <a:gd name="connsiteY26" fmla="*/ 194950 h 226436"/>
                  <a:gd name="connsiteX27" fmla="*/ 20819 w 143510"/>
                  <a:gd name="connsiteY27" fmla="*/ 194950 h 226436"/>
                  <a:gd name="connsiteX28" fmla="*/ 30627 w 143510"/>
                  <a:gd name="connsiteY28" fmla="*/ 215583 h 226436"/>
                  <a:gd name="connsiteX29" fmla="*/ 30561 w 143510"/>
                  <a:gd name="connsiteY29" fmla="*/ 215765 h 226436"/>
                  <a:gd name="connsiteX30" fmla="*/ 30561 w 143510"/>
                  <a:gd name="connsiteY30" fmla="*/ 215765 h 226436"/>
                  <a:gd name="connsiteX31" fmla="*/ 9878 w 143510"/>
                  <a:gd name="connsiteY31" fmla="*/ 225271 h 226436"/>
                  <a:gd name="connsiteX32" fmla="*/ 9867 w 143510"/>
                  <a:gd name="connsiteY32" fmla="*/ 225265 h 226436"/>
                  <a:gd name="connsiteX33" fmla="*/ 9867 w 143510"/>
                  <a:gd name="connsiteY33" fmla="*/ 225265 h 226436"/>
                  <a:gd name="connsiteX34" fmla="*/ 360 w 143510"/>
                  <a:gd name="connsiteY34" fmla="*/ 204583 h 226436"/>
                  <a:gd name="connsiteX35" fmla="*/ 367 w 143510"/>
                  <a:gd name="connsiteY35" fmla="*/ 204571 h 226436"/>
                  <a:gd name="connsiteX36" fmla="*/ 367 w 143510"/>
                  <a:gd name="connsiteY36" fmla="*/ 204571 h 226436"/>
                  <a:gd name="connsiteX37" fmla="*/ 20819 w 143510"/>
                  <a:gd name="connsiteY37" fmla="*/ 194950 h 226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43510" h="226436">
                    <a:moveTo>
                      <a:pt x="29230" y="171956"/>
                    </a:moveTo>
                    <a:cubicBezTo>
                      <a:pt x="22295" y="169324"/>
                      <a:pt x="18810" y="161566"/>
                      <a:pt x="21442" y="154626"/>
                    </a:cubicBezTo>
                    <a:cubicBezTo>
                      <a:pt x="21545" y="154348"/>
                      <a:pt x="21666" y="154075"/>
                      <a:pt x="21787" y="153803"/>
                    </a:cubicBezTo>
                    <a:cubicBezTo>
                      <a:pt x="24819" y="146802"/>
                      <a:pt x="28588" y="140152"/>
                      <a:pt x="33042" y="133956"/>
                    </a:cubicBezTo>
                    <a:cubicBezTo>
                      <a:pt x="37901" y="128619"/>
                      <a:pt x="43601" y="124123"/>
                      <a:pt x="49924" y="120644"/>
                    </a:cubicBezTo>
                    <a:cubicBezTo>
                      <a:pt x="58286" y="116239"/>
                      <a:pt x="66939" y="112421"/>
                      <a:pt x="75822" y="109208"/>
                    </a:cubicBezTo>
                    <a:cubicBezTo>
                      <a:pt x="84741" y="106206"/>
                      <a:pt x="93182" y="101922"/>
                      <a:pt x="100873" y="96501"/>
                    </a:cubicBezTo>
                    <a:cubicBezTo>
                      <a:pt x="105411" y="92713"/>
                      <a:pt x="108854" y="87781"/>
                      <a:pt x="110857" y="82220"/>
                    </a:cubicBezTo>
                    <a:cubicBezTo>
                      <a:pt x="114669" y="71861"/>
                      <a:pt x="113943" y="60370"/>
                      <a:pt x="108860" y="50574"/>
                    </a:cubicBezTo>
                    <a:cubicBezTo>
                      <a:pt x="103862" y="39924"/>
                      <a:pt x="94755" y="31761"/>
                      <a:pt x="83628" y="27943"/>
                    </a:cubicBezTo>
                    <a:cubicBezTo>
                      <a:pt x="73299" y="23689"/>
                      <a:pt x="61705" y="23689"/>
                      <a:pt x="51376" y="27943"/>
                    </a:cubicBezTo>
                    <a:cubicBezTo>
                      <a:pt x="43032" y="31749"/>
                      <a:pt x="35892" y="37776"/>
                      <a:pt x="30743" y="45370"/>
                    </a:cubicBezTo>
                    <a:cubicBezTo>
                      <a:pt x="26470" y="50925"/>
                      <a:pt x="18846" y="52655"/>
                      <a:pt x="12590" y="49485"/>
                    </a:cubicBezTo>
                    <a:lnTo>
                      <a:pt x="12590" y="49485"/>
                    </a:lnTo>
                    <a:cubicBezTo>
                      <a:pt x="5359" y="45860"/>
                      <a:pt x="2436" y="37062"/>
                      <a:pt x="6060" y="29831"/>
                    </a:cubicBezTo>
                    <a:cubicBezTo>
                      <a:pt x="6423" y="29105"/>
                      <a:pt x="6847" y="28415"/>
                      <a:pt x="7325" y="27762"/>
                    </a:cubicBezTo>
                    <a:cubicBezTo>
                      <a:pt x="14907" y="17100"/>
                      <a:pt x="25418" y="8865"/>
                      <a:pt x="37580" y="4042"/>
                    </a:cubicBezTo>
                    <a:cubicBezTo>
                      <a:pt x="55188" y="-2130"/>
                      <a:pt x="74466" y="-1483"/>
                      <a:pt x="91615" y="5857"/>
                    </a:cubicBezTo>
                    <a:cubicBezTo>
                      <a:pt x="110397" y="11721"/>
                      <a:pt x="126190" y="24591"/>
                      <a:pt x="135727" y="41800"/>
                    </a:cubicBezTo>
                    <a:cubicBezTo>
                      <a:pt x="143871" y="56667"/>
                      <a:pt x="145112" y="74354"/>
                      <a:pt x="139115" y="90208"/>
                    </a:cubicBezTo>
                    <a:cubicBezTo>
                      <a:pt x="135829" y="99351"/>
                      <a:pt x="130220" y="107489"/>
                      <a:pt x="122838" y="113806"/>
                    </a:cubicBezTo>
                    <a:cubicBezTo>
                      <a:pt x="111728" y="122193"/>
                      <a:pt x="99348" y="128752"/>
                      <a:pt x="86169" y="133230"/>
                    </a:cubicBezTo>
                    <a:cubicBezTo>
                      <a:pt x="78115" y="136068"/>
                      <a:pt x="70340" y="139632"/>
                      <a:pt x="62933" y="143880"/>
                    </a:cubicBezTo>
                    <a:cubicBezTo>
                      <a:pt x="58819" y="146657"/>
                      <a:pt x="55255" y="150166"/>
                      <a:pt x="52405" y="154227"/>
                    </a:cubicBezTo>
                    <a:cubicBezTo>
                      <a:pt x="50087" y="157555"/>
                      <a:pt x="48066" y="161076"/>
                      <a:pt x="46354" y="164755"/>
                    </a:cubicBezTo>
                    <a:cubicBezTo>
                      <a:pt x="43449" y="171242"/>
                      <a:pt x="36013" y="174364"/>
                      <a:pt x="29351" y="171895"/>
                    </a:cubicBezTo>
                    <a:close/>
                    <a:moveTo>
                      <a:pt x="20819" y="194950"/>
                    </a:moveTo>
                    <a:lnTo>
                      <a:pt x="20819" y="194950"/>
                    </a:lnTo>
                    <a:cubicBezTo>
                      <a:pt x="29224" y="197939"/>
                      <a:pt x="33617" y="207179"/>
                      <a:pt x="30627" y="215583"/>
                    </a:cubicBezTo>
                    <a:cubicBezTo>
                      <a:pt x="30603" y="215644"/>
                      <a:pt x="30585" y="215704"/>
                      <a:pt x="30561" y="215765"/>
                    </a:cubicBezTo>
                    <a:lnTo>
                      <a:pt x="30561" y="215765"/>
                    </a:lnTo>
                    <a:cubicBezTo>
                      <a:pt x="27475" y="224103"/>
                      <a:pt x="18211" y="228357"/>
                      <a:pt x="9878" y="225271"/>
                    </a:cubicBezTo>
                    <a:cubicBezTo>
                      <a:pt x="9873" y="225265"/>
                      <a:pt x="9873" y="225265"/>
                      <a:pt x="9867" y="225265"/>
                    </a:cubicBezTo>
                    <a:lnTo>
                      <a:pt x="9867" y="225265"/>
                    </a:lnTo>
                    <a:cubicBezTo>
                      <a:pt x="1529" y="222179"/>
                      <a:pt x="-2725" y="212915"/>
                      <a:pt x="360" y="204583"/>
                    </a:cubicBezTo>
                    <a:cubicBezTo>
                      <a:pt x="367" y="204577"/>
                      <a:pt x="367" y="204577"/>
                      <a:pt x="367" y="204571"/>
                    </a:cubicBezTo>
                    <a:lnTo>
                      <a:pt x="367" y="204571"/>
                    </a:lnTo>
                    <a:cubicBezTo>
                      <a:pt x="3404" y="196311"/>
                      <a:pt x="12517" y="192027"/>
                      <a:pt x="20819" y="194950"/>
                    </a:cubicBezTo>
                    <a:close/>
                  </a:path>
                </a:pathLst>
              </a:custGeom>
              <a:solidFill>
                <a:srgbClr val="E34A3D"/>
              </a:solidFill>
              <a:ln w="6048" cap="flat">
                <a:noFill/>
                <a:prstDash val="solid"/>
                <a:miter/>
              </a:ln>
            </p:spPr>
            <p:txBody>
              <a:bodyPr rtlCol="0" anchor="ctr"/>
              <a:lstStyle/>
              <a:p>
                <a:endParaRPr lang="zh-CN" altLang="en-US"/>
              </a:p>
            </p:txBody>
          </p:sp>
          <p:sp>
            <p:nvSpPr>
              <p:cNvPr id="30" name="任意多边形: 形状 29"/>
              <p:cNvSpPr/>
              <p:nvPr/>
            </p:nvSpPr>
            <p:spPr>
              <a:xfrm>
                <a:off x="698388" y="757166"/>
                <a:ext cx="271745" cy="244256"/>
              </a:xfrm>
              <a:custGeom>
                <a:avLst/>
                <a:gdLst>
                  <a:gd name="connsiteX0" fmla="*/ 316804 w 414120"/>
                  <a:gd name="connsiteY0" fmla="*/ 288285 h 372228"/>
                  <a:gd name="connsiteX1" fmla="*/ 278441 w 414120"/>
                  <a:gd name="connsiteY1" fmla="*/ 292479 h 372228"/>
                  <a:gd name="connsiteX2" fmla="*/ 276565 w 414120"/>
                  <a:gd name="connsiteY2" fmla="*/ 290827 h 372228"/>
                  <a:gd name="connsiteX3" fmla="*/ 245826 w 414120"/>
                  <a:gd name="connsiteY3" fmla="*/ 256518 h 372228"/>
                  <a:gd name="connsiteX4" fmla="*/ 230941 w 414120"/>
                  <a:gd name="connsiteY4" fmla="*/ 215734 h 372228"/>
                  <a:gd name="connsiteX5" fmla="*/ 225616 w 414120"/>
                  <a:gd name="connsiteY5" fmla="*/ 158734 h 372228"/>
                  <a:gd name="connsiteX6" fmla="*/ 217205 w 414120"/>
                  <a:gd name="connsiteY6" fmla="*/ 102460 h 372228"/>
                  <a:gd name="connsiteX7" fmla="*/ 196269 w 414120"/>
                  <a:gd name="connsiteY7" fmla="*/ 74444 h 372228"/>
                  <a:gd name="connsiteX8" fmla="*/ 134307 w 414120"/>
                  <a:gd name="connsiteY8" fmla="*/ 58046 h 372228"/>
                  <a:gd name="connsiteX9" fmla="*/ 74645 w 414120"/>
                  <a:gd name="connsiteY9" fmla="*/ 92053 h 372228"/>
                  <a:gd name="connsiteX10" fmla="*/ 54314 w 414120"/>
                  <a:gd name="connsiteY10" fmla="*/ 153894 h 372228"/>
                  <a:gd name="connsiteX11" fmla="*/ 74645 w 414120"/>
                  <a:gd name="connsiteY11" fmla="*/ 204722 h 372228"/>
                  <a:gd name="connsiteX12" fmla="*/ 70772 w 414120"/>
                  <a:gd name="connsiteY12" fmla="*/ 242419 h 372228"/>
                  <a:gd name="connsiteX13" fmla="*/ 70772 w 414120"/>
                  <a:gd name="connsiteY13" fmla="*/ 242419 h 372228"/>
                  <a:gd name="connsiteX14" fmla="*/ 28839 w 414120"/>
                  <a:gd name="connsiteY14" fmla="*/ 242316 h 372228"/>
                  <a:gd name="connsiteX15" fmla="*/ 25753 w 414120"/>
                  <a:gd name="connsiteY15" fmla="*/ 238668 h 372228"/>
                  <a:gd name="connsiteX16" fmla="*/ -508 w 414120"/>
                  <a:gd name="connsiteY16" fmla="*/ 166056 h 372228"/>
                  <a:gd name="connsiteX17" fmla="*/ 37431 w 414120"/>
                  <a:gd name="connsiteY17" fmla="*/ 63553 h 372228"/>
                  <a:gd name="connsiteX18" fmla="*/ 134549 w 414120"/>
                  <a:gd name="connsiteY18" fmla="*/ 1833 h 372228"/>
                  <a:gd name="connsiteX19" fmla="*/ 230033 w 414120"/>
                  <a:gd name="connsiteY19" fmla="*/ 26037 h 372228"/>
                  <a:gd name="connsiteX20" fmla="*/ 264948 w 414120"/>
                  <a:gd name="connsiteY20" fmla="*/ 72387 h 372228"/>
                  <a:gd name="connsiteX21" fmla="*/ 278744 w 414120"/>
                  <a:gd name="connsiteY21" fmla="*/ 155104 h 372228"/>
                  <a:gd name="connsiteX22" fmla="*/ 284371 w 414120"/>
                  <a:gd name="connsiteY22" fmla="*/ 206416 h 372228"/>
                  <a:gd name="connsiteX23" fmla="*/ 297441 w 414120"/>
                  <a:gd name="connsiteY23" fmla="*/ 233222 h 372228"/>
                  <a:gd name="connsiteX24" fmla="*/ 314021 w 414120"/>
                  <a:gd name="connsiteY24" fmla="*/ 251374 h 372228"/>
                  <a:gd name="connsiteX25" fmla="*/ 316804 w 414120"/>
                  <a:gd name="connsiteY25" fmla="*/ 288467 h 372228"/>
                  <a:gd name="connsiteX26" fmla="*/ 355530 w 414120"/>
                  <a:gd name="connsiteY26" fmla="*/ 319145 h 372228"/>
                  <a:gd name="connsiteX27" fmla="*/ 355530 w 414120"/>
                  <a:gd name="connsiteY27" fmla="*/ 319145 h 372228"/>
                  <a:gd name="connsiteX28" fmla="*/ 401275 w 414120"/>
                  <a:gd name="connsiteY28" fmla="*/ 314183 h 372228"/>
                  <a:gd name="connsiteX29" fmla="*/ 401275 w 414120"/>
                  <a:gd name="connsiteY29" fmla="*/ 314183 h 372228"/>
                  <a:gd name="connsiteX30" fmla="*/ 406358 w 414120"/>
                  <a:gd name="connsiteY30" fmla="*/ 359856 h 372228"/>
                  <a:gd name="connsiteX31" fmla="*/ 406298 w 414120"/>
                  <a:gd name="connsiteY31" fmla="*/ 359929 h 372228"/>
                  <a:gd name="connsiteX32" fmla="*/ 406298 w 414120"/>
                  <a:gd name="connsiteY32" fmla="*/ 359929 h 372228"/>
                  <a:gd name="connsiteX33" fmla="*/ 360553 w 414120"/>
                  <a:gd name="connsiteY33" fmla="*/ 364890 h 372228"/>
                  <a:gd name="connsiteX34" fmla="*/ 360553 w 414120"/>
                  <a:gd name="connsiteY34" fmla="*/ 364890 h 372228"/>
                  <a:gd name="connsiteX35" fmla="*/ 355470 w 414120"/>
                  <a:gd name="connsiteY35" fmla="*/ 319218 h 372228"/>
                  <a:gd name="connsiteX36" fmla="*/ 355530 w 414120"/>
                  <a:gd name="connsiteY36" fmla="*/ 319145 h 372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14120" h="372228">
                    <a:moveTo>
                      <a:pt x="316804" y="288285"/>
                    </a:moveTo>
                    <a:cubicBezTo>
                      <a:pt x="307364" y="300036"/>
                      <a:pt x="290192" y="301912"/>
                      <a:pt x="278441" y="292479"/>
                    </a:cubicBezTo>
                    <a:cubicBezTo>
                      <a:pt x="277787" y="291958"/>
                      <a:pt x="277164" y="291408"/>
                      <a:pt x="276565" y="290827"/>
                    </a:cubicBezTo>
                    <a:cubicBezTo>
                      <a:pt x="265105" y="280540"/>
                      <a:pt x="254800" y="269031"/>
                      <a:pt x="245826" y="256518"/>
                    </a:cubicBezTo>
                    <a:cubicBezTo>
                      <a:pt x="238656" y="243835"/>
                      <a:pt x="233628" y="230057"/>
                      <a:pt x="230941" y="215734"/>
                    </a:cubicBezTo>
                    <a:cubicBezTo>
                      <a:pt x="227904" y="196874"/>
                      <a:pt x="226125" y="177831"/>
                      <a:pt x="225616" y="158734"/>
                    </a:cubicBezTo>
                    <a:cubicBezTo>
                      <a:pt x="224406" y="132352"/>
                      <a:pt x="221562" y="113594"/>
                      <a:pt x="217205" y="102460"/>
                    </a:cubicBezTo>
                    <a:cubicBezTo>
                      <a:pt x="212812" y="91442"/>
                      <a:pt x="205588" y="81778"/>
                      <a:pt x="196269" y="74444"/>
                    </a:cubicBezTo>
                    <a:cubicBezTo>
                      <a:pt x="178854" y="60485"/>
                      <a:pt x="156351" y="54531"/>
                      <a:pt x="134307" y="58046"/>
                    </a:cubicBezTo>
                    <a:cubicBezTo>
                      <a:pt x="110648" y="60866"/>
                      <a:pt x="89131" y="73131"/>
                      <a:pt x="74645" y="92053"/>
                    </a:cubicBezTo>
                    <a:cubicBezTo>
                      <a:pt x="59989" y="109183"/>
                      <a:pt x="52686" y="131408"/>
                      <a:pt x="54314" y="153894"/>
                    </a:cubicBezTo>
                    <a:cubicBezTo>
                      <a:pt x="56377" y="172361"/>
                      <a:pt x="63402" y="189927"/>
                      <a:pt x="74645" y="204722"/>
                    </a:cubicBezTo>
                    <a:cubicBezTo>
                      <a:pt x="82753" y="216539"/>
                      <a:pt x="81113" y="232495"/>
                      <a:pt x="70772" y="242419"/>
                    </a:cubicBezTo>
                    <a:lnTo>
                      <a:pt x="70772" y="242419"/>
                    </a:lnTo>
                    <a:cubicBezTo>
                      <a:pt x="59167" y="253970"/>
                      <a:pt x="40390" y="253922"/>
                      <a:pt x="28839" y="242316"/>
                    </a:cubicBezTo>
                    <a:cubicBezTo>
                      <a:pt x="27713" y="241185"/>
                      <a:pt x="26685" y="239962"/>
                      <a:pt x="25753" y="238668"/>
                    </a:cubicBezTo>
                    <a:cubicBezTo>
                      <a:pt x="10226" y="217477"/>
                      <a:pt x="1108" y="192275"/>
                      <a:pt x="-508" y="166056"/>
                    </a:cubicBezTo>
                    <a:cubicBezTo>
                      <a:pt x="-2124" y="131202"/>
                      <a:pt x="10523" y="97033"/>
                      <a:pt x="37431" y="63553"/>
                    </a:cubicBezTo>
                    <a:cubicBezTo>
                      <a:pt x="65871" y="28052"/>
                      <a:pt x="98243" y="7479"/>
                      <a:pt x="134549" y="1833"/>
                    </a:cubicBezTo>
                    <a:cubicBezTo>
                      <a:pt x="168386" y="-4478"/>
                      <a:pt x="203288" y="4368"/>
                      <a:pt x="230033" y="26037"/>
                    </a:cubicBezTo>
                    <a:cubicBezTo>
                      <a:pt x="245481" y="38211"/>
                      <a:pt x="257511" y="54180"/>
                      <a:pt x="264948" y="72387"/>
                    </a:cubicBezTo>
                    <a:cubicBezTo>
                      <a:pt x="272330" y="90540"/>
                      <a:pt x="276928" y="118114"/>
                      <a:pt x="278744" y="155104"/>
                    </a:cubicBezTo>
                    <a:cubicBezTo>
                      <a:pt x="279040" y="172343"/>
                      <a:pt x="280922" y="189522"/>
                      <a:pt x="284371" y="206416"/>
                    </a:cubicBezTo>
                    <a:cubicBezTo>
                      <a:pt x="287058" y="216073"/>
                      <a:pt x="291487" y="225156"/>
                      <a:pt x="297441" y="233222"/>
                    </a:cubicBezTo>
                    <a:cubicBezTo>
                      <a:pt x="302439" y="239732"/>
                      <a:pt x="307988" y="245808"/>
                      <a:pt x="314021" y="251374"/>
                    </a:cubicBezTo>
                    <a:cubicBezTo>
                      <a:pt x="324477" y="261123"/>
                      <a:pt x="325693" y="277267"/>
                      <a:pt x="316804" y="288467"/>
                    </a:cubicBezTo>
                    <a:close/>
                    <a:moveTo>
                      <a:pt x="355530" y="319145"/>
                    </a:moveTo>
                    <a:lnTo>
                      <a:pt x="355530" y="319145"/>
                    </a:lnTo>
                    <a:cubicBezTo>
                      <a:pt x="366797" y="305149"/>
                      <a:pt x="387267" y="302929"/>
                      <a:pt x="401275" y="314183"/>
                    </a:cubicBezTo>
                    <a:lnTo>
                      <a:pt x="401275" y="314183"/>
                    </a:lnTo>
                    <a:cubicBezTo>
                      <a:pt x="415289" y="325390"/>
                      <a:pt x="417565" y="345842"/>
                      <a:pt x="406358" y="359856"/>
                    </a:cubicBezTo>
                    <a:cubicBezTo>
                      <a:pt x="406340" y="359880"/>
                      <a:pt x="406316" y="359904"/>
                      <a:pt x="406298" y="359929"/>
                    </a:cubicBezTo>
                    <a:lnTo>
                      <a:pt x="406298" y="359929"/>
                    </a:lnTo>
                    <a:cubicBezTo>
                      <a:pt x="395031" y="373925"/>
                      <a:pt x="374561" y="376145"/>
                      <a:pt x="360553" y="364890"/>
                    </a:cubicBezTo>
                    <a:lnTo>
                      <a:pt x="360553" y="364890"/>
                    </a:lnTo>
                    <a:cubicBezTo>
                      <a:pt x="346538" y="353684"/>
                      <a:pt x="344263" y="333232"/>
                      <a:pt x="355470" y="319218"/>
                    </a:cubicBezTo>
                    <a:cubicBezTo>
                      <a:pt x="355488" y="319194"/>
                      <a:pt x="355512" y="319169"/>
                      <a:pt x="355530" y="319145"/>
                    </a:cubicBezTo>
                    <a:close/>
                  </a:path>
                </a:pathLst>
              </a:custGeom>
              <a:solidFill>
                <a:srgbClr val="E34A3D"/>
              </a:solidFill>
              <a:ln w="6048" cap="flat">
                <a:noFill/>
                <a:prstDash val="solid"/>
                <a:miter/>
              </a:ln>
            </p:spPr>
            <p:txBody>
              <a:bodyPr rtlCol="0" anchor="ctr"/>
              <a:lstStyle/>
              <a:p>
                <a:endParaRPr lang="zh-CN" altLang="en-US"/>
              </a:p>
            </p:txBody>
          </p:sp>
          <p:sp>
            <p:nvSpPr>
              <p:cNvPr id="31" name="任意多边形: 形状 30"/>
              <p:cNvSpPr/>
              <p:nvPr/>
            </p:nvSpPr>
            <p:spPr>
              <a:xfrm>
                <a:off x="956928" y="459675"/>
                <a:ext cx="474953" cy="296279"/>
              </a:xfrm>
              <a:custGeom>
                <a:avLst/>
                <a:gdLst>
                  <a:gd name="connsiteX0" fmla="*/ 691278 w 723795"/>
                  <a:gd name="connsiteY0" fmla="*/ 159357 h 451508"/>
                  <a:gd name="connsiteX1" fmla="*/ 467393 w 723795"/>
                  <a:gd name="connsiteY1" fmla="*/ 149978 h 451508"/>
                  <a:gd name="connsiteX2" fmla="*/ 206536 w 723795"/>
                  <a:gd name="connsiteY2" fmla="*/ 215267 h 451508"/>
                  <a:gd name="connsiteX3" fmla="*/ 204055 w 723795"/>
                  <a:gd name="connsiteY3" fmla="*/ 216780 h 451508"/>
                  <a:gd name="connsiteX4" fmla="*/ 248227 w 723795"/>
                  <a:gd name="connsiteY4" fmla="*/ 119239 h 451508"/>
                  <a:gd name="connsiteX5" fmla="*/ 363801 w 723795"/>
                  <a:gd name="connsiteY5" fmla="*/ 43602 h 451508"/>
                  <a:gd name="connsiteX6" fmla="*/ 493957 w 723795"/>
                  <a:gd name="connsiteY6" fmla="*/ 5057 h 451508"/>
                  <a:gd name="connsiteX7" fmla="*/ 493957 w 723795"/>
                  <a:gd name="connsiteY7" fmla="*/ -147 h 451508"/>
                  <a:gd name="connsiteX8" fmla="*/ 262810 w 723795"/>
                  <a:gd name="connsiteY8" fmla="*/ 96306 h 451508"/>
                  <a:gd name="connsiteX9" fmla="*/ 198731 w 723795"/>
                  <a:gd name="connsiteY9" fmla="*/ 218656 h 451508"/>
                  <a:gd name="connsiteX10" fmla="*/ 85638 w 723795"/>
                  <a:gd name="connsiteY10" fmla="*/ 265309 h 451508"/>
                  <a:gd name="connsiteX11" fmla="*/ 36626 w 723795"/>
                  <a:gd name="connsiteY11" fmla="*/ 299376 h 451508"/>
                  <a:gd name="connsiteX12" fmla="*/ 2740 w 723795"/>
                  <a:gd name="connsiteY12" fmla="*/ 341127 h 451508"/>
                  <a:gd name="connsiteX13" fmla="*/ 62342 w 723795"/>
                  <a:gd name="connsiteY13" fmla="*/ 425841 h 451508"/>
                  <a:gd name="connsiteX14" fmla="*/ 195947 w 723795"/>
                  <a:gd name="connsiteY14" fmla="*/ 450045 h 451508"/>
                  <a:gd name="connsiteX15" fmla="*/ 474896 w 723795"/>
                  <a:gd name="connsiteY15" fmla="*/ 402666 h 451508"/>
                  <a:gd name="connsiteX16" fmla="*/ 473807 w 723795"/>
                  <a:gd name="connsiteY16" fmla="*/ 398188 h 451508"/>
                  <a:gd name="connsiteX17" fmla="*/ 242176 w 723795"/>
                  <a:gd name="connsiteY17" fmla="*/ 445022 h 451508"/>
                  <a:gd name="connsiteX18" fmla="*/ 122307 w 723795"/>
                  <a:gd name="connsiteY18" fmla="*/ 434252 h 451508"/>
                  <a:gd name="connsiteX19" fmla="*/ 12422 w 723795"/>
                  <a:gd name="connsiteY19" fmla="*/ 384634 h 451508"/>
                  <a:gd name="connsiteX20" fmla="*/ 79769 w 723795"/>
                  <a:gd name="connsiteY20" fmla="*/ 275716 h 451508"/>
                  <a:gd name="connsiteX21" fmla="*/ 199033 w 723795"/>
                  <a:gd name="connsiteY21" fmla="*/ 225191 h 451508"/>
                  <a:gd name="connsiteX22" fmla="*/ 214887 w 723795"/>
                  <a:gd name="connsiteY22" fmla="*/ 275293 h 451508"/>
                  <a:gd name="connsiteX23" fmla="*/ 403677 w 723795"/>
                  <a:gd name="connsiteY23" fmla="*/ 344213 h 451508"/>
                  <a:gd name="connsiteX24" fmla="*/ 633613 w 723795"/>
                  <a:gd name="connsiteY24" fmla="*/ 279166 h 451508"/>
                  <a:gd name="connsiteX25" fmla="*/ 715724 w 723795"/>
                  <a:gd name="connsiteY25" fmla="*/ 215872 h 451508"/>
                  <a:gd name="connsiteX26" fmla="*/ 721775 w 723795"/>
                  <a:gd name="connsiteY26" fmla="*/ 184589 h 451508"/>
                  <a:gd name="connsiteX27" fmla="*/ 690613 w 723795"/>
                  <a:gd name="connsiteY27" fmla="*/ 159417 h 451508"/>
                  <a:gd name="connsiteX28" fmla="*/ 697329 w 723795"/>
                  <a:gd name="connsiteY28" fmla="*/ 229366 h 451508"/>
                  <a:gd name="connsiteX29" fmla="*/ 643415 w 723795"/>
                  <a:gd name="connsiteY29" fmla="*/ 266458 h 451508"/>
                  <a:gd name="connsiteX30" fmla="*/ 526148 w 723795"/>
                  <a:gd name="connsiteY30" fmla="*/ 317468 h 451508"/>
                  <a:gd name="connsiteX31" fmla="*/ 277574 w 723795"/>
                  <a:gd name="connsiteY31" fmla="*/ 320191 h 451508"/>
                  <a:gd name="connsiteX32" fmla="*/ 205568 w 723795"/>
                  <a:gd name="connsiteY32" fmla="*/ 229729 h 451508"/>
                  <a:gd name="connsiteX33" fmla="*/ 204237 w 723795"/>
                  <a:gd name="connsiteY33" fmla="*/ 222044 h 451508"/>
                  <a:gd name="connsiteX34" fmla="*/ 208654 w 723795"/>
                  <a:gd name="connsiteY34" fmla="*/ 220955 h 451508"/>
                  <a:gd name="connsiteX35" fmla="*/ 472778 w 723795"/>
                  <a:gd name="connsiteY35" fmla="*/ 155363 h 451508"/>
                  <a:gd name="connsiteX36" fmla="*/ 590833 w 723795"/>
                  <a:gd name="connsiteY36" fmla="*/ 146589 h 451508"/>
                  <a:gd name="connsiteX37" fmla="*/ 649527 w 723795"/>
                  <a:gd name="connsiteY37" fmla="*/ 152640 h 451508"/>
                  <a:gd name="connsiteX38" fmla="*/ 714877 w 723795"/>
                  <a:gd name="connsiteY38" fmla="*/ 180414 h 451508"/>
                  <a:gd name="connsiteX39" fmla="*/ 697329 w 723795"/>
                  <a:gd name="connsiteY39" fmla="*/ 229124 h 451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723795" h="451508">
                    <a:moveTo>
                      <a:pt x="691278" y="159357"/>
                    </a:moveTo>
                    <a:cubicBezTo>
                      <a:pt x="620240" y="133458"/>
                      <a:pt x="541033" y="138420"/>
                      <a:pt x="467393" y="149978"/>
                    </a:cubicBezTo>
                    <a:cubicBezTo>
                      <a:pt x="378892" y="165002"/>
                      <a:pt x="291680" y="186828"/>
                      <a:pt x="206536" y="215267"/>
                    </a:cubicBezTo>
                    <a:lnTo>
                      <a:pt x="204055" y="216780"/>
                    </a:lnTo>
                    <a:cubicBezTo>
                      <a:pt x="206282" y="179942"/>
                      <a:pt x="222009" y="145215"/>
                      <a:pt x="248227" y="119239"/>
                    </a:cubicBezTo>
                    <a:cubicBezTo>
                      <a:pt x="280237" y="85535"/>
                      <a:pt x="321686" y="61331"/>
                      <a:pt x="363801" y="43602"/>
                    </a:cubicBezTo>
                    <a:cubicBezTo>
                      <a:pt x="405298" y="25080"/>
                      <a:pt x="449065" y="12119"/>
                      <a:pt x="493957" y="5057"/>
                    </a:cubicBezTo>
                    <a:cubicBezTo>
                      <a:pt x="497224" y="4755"/>
                      <a:pt x="497345" y="-449"/>
                      <a:pt x="493957" y="-147"/>
                    </a:cubicBezTo>
                    <a:cubicBezTo>
                      <a:pt x="410877" y="12318"/>
                      <a:pt x="327677" y="43723"/>
                      <a:pt x="262810" y="96306"/>
                    </a:cubicBezTo>
                    <a:cubicBezTo>
                      <a:pt x="227231" y="127105"/>
                      <a:pt x="198852" y="172245"/>
                      <a:pt x="198731" y="218656"/>
                    </a:cubicBezTo>
                    <a:cubicBezTo>
                      <a:pt x="159702" y="230770"/>
                      <a:pt x="121853" y="246381"/>
                      <a:pt x="85638" y="265309"/>
                    </a:cubicBezTo>
                    <a:cubicBezTo>
                      <a:pt x="68108" y="274845"/>
                      <a:pt x="51674" y="286269"/>
                      <a:pt x="36626" y="299376"/>
                    </a:cubicBezTo>
                    <a:cubicBezTo>
                      <a:pt x="23374" y="311115"/>
                      <a:pt x="9638" y="324790"/>
                      <a:pt x="2740" y="341127"/>
                    </a:cubicBezTo>
                    <a:cubicBezTo>
                      <a:pt x="-12690" y="385057"/>
                      <a:pt x="27670" y="411258"/>
                      <a:pt x="62342" y="425841"/>
                    </a:cubicBezTo>
                    <a:cubicBezTo>
                      <a:pt x="104275" y="440787"/>
                      <a:pt x="151291" y="447443"/>
                      <a:pt x="195947" y="450045"/>
                    </a:cubicBezTo>
                    <a:cubicBezTo>
                      <a:pt x="291359" y="456289"/>
                      <a:pt x="386897" y="440060"/>
                      <a:pt x="474896" y="402666"/>
                    </a:cubicBezTo>
                    <a:cubicBezTo>
                      <a:pt x="478103" y="402302"/>
                      <a:pt x="477498" y="395828"/>
                      <a:pt x="473807" y="398188"/>
                    </a:cubicBezTo>
                    <a:cubicBezTo>
                      <a:pt x="400403" y="428794"/>
                      <a:pt x="321704" y="444708"/>
                      <a:pt x="242176" y="445022"/>
                    </a:cubicBezTo>
                    <a:cubicBezTo>
                      <a:pt x="201937" y="446081"/>
                      <a:pt x="161711" y="442469"/>
                      <a:pt x="122307" y="434252"/>
                    </a:cubicBezTo>
                    <a:cubicBezTo>
                      <a:pt x="83762" y="427474"/>
                      <a:pt x="36504" y="417611"/>
                      <a:pt x="12422" y="384634"/>
                    </a:cubicBezTo>
                    <a:cubicBezTo>
                      <a:pt x="-19769" y="341309"/>
                      <a:pt x="48728" y="294898"/>
                      <a:pt x="79769" y="275716"/>
                    </a:cubicBezTo>
                    <a:cubicBezTo>
                      <a:pt x="116740" y="252602"/>
                      <a:pt x="157887" y="238866"/>
                      <a:pt x="199033" y="225191"/>
                    </a:cubicBezTo>
                    <a:cubicBezTo>
                      <a:pt x="199687" y="243017"/>
                      <a:pt x="205163" y="260335"/>
                      <a:pt x="214887" y="275293"/>
                    </a:cubicBezTo>
                    <a:cubicBezTo>
                      <a:pt x="251192" y="338465"/>
                      <a:pt x="339900" y="346331"/>
                      <a:pt x="403677" y="344213"/>
                    </a:cubicBezTo>
                    <a:cubicBezTo>
                      <a:pt x="484263" y="340250"/>
                      <a:pt x="562895" y="318007"/>
                      <a:pt x="633613" y="279166"/>
                    </a:cubicBezTo>
                    <a:cubicBezTo>
                      <a:pt x="662718" y="262707"/>
                      <a:pt x="697572" y="244372"/>
                      <a:pt x="715724" y="215872"/>
                    </a:cubicBezTo>
                    <a:cubicBezTo>
                      <a:pt x="722641" y="207020"/>
                      <a:pt x="724892" y="195384"/>
                      <a:pt x="721775" y="184589"/>
                    </a:cubicBezTo>
                    <a:cubicBezTo>
                      <a:pt x="719778" y="170369"/>
                      <a:pt x="703623" y="163471"/>
                      <a:pt x="690613" y="159417"/>
                    </a:cubicBezTo>
                    <a:close/>
                    <a:moveTo>
                      <a:pt x="697329" y="229366"/>
                    </a:moveTo>
                    <a:cubicBezTo>
                      <a:pt x="681095" y="244082"/>
                      <a:pt x="662960" y="256553"/>
                      <a:pt x="643415" y="266458"/>
                    </a:cubicBezTo>
                    <a:cubicBezTo>
                      <a:pt x="606898" y="288853"/>
                      <a:pt x="567428" y="306020"/>
                      <a:pt x="526148" y="317468"/>
                    </a:cubicBezTo>
                    <a:cubicBezTo>
                      <a:pt x="448030" y="340583"/>
                      <a:pt x="353696" y="351535"/>
                      <a:pt x="277574" y="320191"/>
                    </a:cubicBezTo>
                    <a:cubicBezTo>
                      <a:pt x="239333" y="302946"/>
                      <a:pt x="209622" y="271783"/>
                      <a:pt x="205568" y="229729"/>
                    </a:cubicBezTo>
                    <a:cubicBezTo>
                      <a:pt x="204055" y="227309"/>
                      <a:pt x="204540" y="225251"/>
                      <a:pt x="204237" y="222044"/>
                    </a:cubicBezTo>
                    <a:cubicBezTo>
                      <a:pt x="205798" y="222395"/>
                      <a:pt x="207438" y="221996"/>
                      <a:pt x="208654" y="220955"/>
                    </a:cubicBezTo>
                    <a:cubicBezTo>
                      <a:pt x="294838" y="192195"/>
                      <a:pt x="383152" y="170260"/>
                      <a:pt x="472778" y="155363"/>
                    </a:cubicBezTo>
                    <a:cubicBezTo>
                      <a:pt x="511741" y="148543"/>
                      <a:pt x="551290" y="145603"/>
                      <a:pt x="590833" y="146589"/>
                    </a:cubicBezTo>
                    <a:cubicBezTo>
                      <a:pt x="610486" y="147593"/>
                      <a:pt x="630079" y="149614"/>
                      <a:pt x="649527" y="152640"/>
                    </a:cubicBezTo>
                    <a:cubicBezTo>
                      <a:pt x="670826" y="156513"/>
                      <a:pt x="702110" y="162685"/>
                      <a:pt x="714877" y="180414"/>
                    </a:cubicBezTo>
                    <a:cubicBezTo>
                      <a:pt x="726979" y="196872"/>
                      <a:pt x="708100" y="218958"/>
                      <a:pt x="697329" y="229124"/>
                    </a:cubicBezTo>
                    <a:close/>
                  </a:path>
                </a:pathLst>
              </a:custGeom>
              <a:solidFill>
                <a:srgbClr val="F1C369"/>
              </a:solidFill>
              <a:ln w="6048" cap="flat">
                <a:noFill/>
                <a:prstDash val="solid"/>
                <a:miter/>
              </a:ln>
            </p:spPr>
            <p:txBody>
              <a:bodyPr rtlCol="0" anchor="ctr"/>
              <a:lstStyle/>
              <a:p>
                <a:endParaRPr lang="zh-CN" altLang="en-US"/>
              </a:p>
            </p:txBody>
          </p:sp>
          <p:sp>
            <p:nvSpPr>
              <p:cNvPr id="32" name="任意多边形: 形状 31"/>
              <p:cNvSpPr/>
              <p:nvPr/>
            </p:nvSpPr>
            <p:spPr>
              <a:xfrm>
                <a:off x="1263777" y="406835"/>
                <a:ext cx="77864" cy="84693"/>
              </a:xfrm>
              <a:custGeom>
                <a:avLst/>
                <a:gdLst>
                  <a:gd name="connsiteX0" fmla="*/ 40904 w 118659"/>
                  <a:gd name="connsiteY0" fmla="*/ 50586 h 129066"/>
                  <a:gd name="connsiteX1" fmla="*/ 31465 w 118659"/>
                  <a:gd name="connsiteY1" fmla="*/ 0 h 129066"/>
                  <a:gd name="connsiteX2" fmla="*/ 67347 w 118659"/>
                  <a:gd name="connsiteY2" fmla="*/ 43567 h 129066"/>
                  <a:gd name="connsiteX3" fmla="*/ 108131 w 118659"/>
                  <a:gd name="connsiteY3" fmla="*/ 28621 h 129066"/>
                  <a:gd name="connsiteX4" fmla="*/ 79086 w 118659"/>
                  <a:gd name="connsiteY4" fmla="*/ 59239 h 129066"/>
                  <a:gd name="connsiteX5" fmla="*/ 118659 w 118659"/>
                  <a:gd name="connsiteY5" fmla="*/ 87134 h 129066"/>
                  <a:gd name="connsiteX6" fmla="*/ 66742 w 118659"/>
                  <a:gd name="connsiteY6" fmla="*/ 76484 h 129066"/>
                  <a:gd name="connsiteX7" fmla="*/ 48468 w 118659"/>
                  <a:gd name="connsiteY7" fmla="*/ 129067 h 129066"/>
                  <a:gd name="connsiteX8" fmla="*/ 44535 w 118659"/>
                  <a:gd name="connsiteY8" fmla="*/ 70312 h 129066"/>
                  <a:gd name="connsiteX9" fmla="*/ 0 w 118659"/>
                  <a:gd name="connsiteY9" fmla="*/ 76121 h 129066"/>
                  <a:gd name="connsiteX10" fmla="*/ 40904 w 118659"/>
                  <a:gd name="connsiteY10" fmla="*/ 50586 h 129066"/>
                  <a:gd name="connsiteX11" fmla="*/ 40904 w 118659"/>
                  <a:gd name="connsiteY11" fmla="*/ 50586 h 129066"/>
                  <a:gd name="connsiteX12" fmla="*/ 40904 w 118659"/>
                  <a:gd name="connsiteY12" fmla="*/ 50586 h 129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659" h="129066">
                    <a:moveTo>
                      <a:pt x="40904" y="50586"/>
                    </a:moveTo>
                    <a:lnTo>
                      <a:pt x="31465" y="0"/>
                    </a:lnTo>
                    <a:lnTo>
                      <a:pt x="67347" y="43567"/>
                    </a:lnTo>
                    <a:lnTo>
                      <a:pt x="108131" y="28621"/>
                    </a:lnTo>
                    <a:lnTo>
                      <a:pt x="79086" y="59239"/>
                    </a:lnTo>
                    <a:lnTo>
                      <a:pt x="118659" y="87134"/>
                    </a:lnTo>
                    <a:lnTo>
                      <a:pt x="66742" y="76484"/>
                    </a:lnTo>
                    <a:lnTo>
                      <a:pt x="48468" y="129067"/>
                    </a:lnTo>
                    <a:lnTo>
                      <a:pt x="44535" y="70312"/>
                    </a:lnTo>
                    <a:lnTo>
                      <a:pt x="0" y="76121"/>
                    </a:lnTo>
                    <a:lnTo>
                      <a:pt x="40904" y="50586"/>
                    </a:lnTo>
                    <a:lnTo>
                      <a:pt x="40904" y="50586"/>
                    </a:lnTo>
                    <a:lnTo>
                      <a:pt x="40904" y="50586"/>
                    </a:lnTo>
                    <a:close/>
                  </a:path>
                </a:pathLst>
              </a:custGeom>
              <a:solidFill>
                <a:srgbClr val="F1C369"/>
              </a:solidFill>
              <a:ln w="6048" cap="flat">
                <a:noFill/>
                <a:prstDash val="solid"/>
                <a:miter/>
              </a:ln>
            </p:spPr>
            <p:txBody>
              <a:bodyPr rtlCol="0" anchor="ctr"/>
              <a:lstStyle/>
              <a:p>
                <a:endParaRPr lang="zh-CN" altLang="en-US"/>
              </a:p>
            </p:txBody>
          </p:sp>
          <p:sp>
            <p:nvSpPr>
              <p:cNvPr id="33" name="任意多边形: 形状 32"/>
              <p:cNvSpPr/>
              <p:nvPr/>
            </p:nvSpPr>
            <p:spPr>
              <a:xfrm>
                <a:off x="960500" y="699391"/>
                <a:ext cx="77983" cy="85209"/>
              </a:xfrm>
              <a:custGeom>
                <a:avLst/>
                <a:gdLst>
                  <a:gd name="connsiteX0" fmla="*/ 40844 w 118840"/>
                  <a:gd name="connsiteY0" fmla="*/ 50889 h 129853"/>
                  <a:gd name="connsiteX1" fmla="*/ 31162 w 118840"/>
                  <a:gd name="connsiteY1" fmla="*/ 0 h 129853"/>
                  <a:gd name="connsiteX2" fmla="*/ 67287 w 118840"/>
                  <a:gd name="connsiteY2" fmla="*/ 43990 h 129853"/>
                  <a:gd name="connsiteX3" fmla="*/ 107344 w 118840"/>
                  <a:gd name="connsiteY3" fmla="*/ 29589 h 129853"/>
                  <a:gd name="connsiteX4" fmla="*/ 78662 w 118840"/>
                  <a:gd name="connsiteY4" fmla="*/ 59118 h 129853"/>
                  <a:gd name="connsiteX5" fmla="*/ 118841 w 118840"/>
                  <a:gd name="connsiteY5" fmla="*/ 88041 h 129853"/>
                  <a:gd name="connsiteX6" fmla="*/ 66863 w 118840"/>
                  <a:gd name="connsiteY6" fmla="*/ 77089 h 129853"/>
                  <a:gd name="connsiteX7" fmla="*/ 48831 w 118840"/>
                  <a:gd name="connsiteY7" fmla="*/ 129854 h 129853"/>
                  <a:gd name="connsiteX8" fmla="*/ 44596 w 118840"/>
                  <a:gd name="connsiteY8" fmla="*/ 70736 h 129853"/>
                  <a:gd name="connsiteX9" fmla="*/ 0 w 118840"/>
                  <a:gd name="connsiteY9" fmla="*/ 76424 h 129853"/>
                  <a:gd name="connsiteX10" fmla="*/ 40844 w 118840"/>
                  <a:gd name="connsiteY10" fmla="*/ 50889 h 129853"/>
                  <a:gd name="connsiteX11" fmla="*/ 40844 w 118840"/>
                  <a:gd name="connsiteY11" fmla="*/ 50889 h 129853"/>
                  <a:gd name="connsiteX12" fmla="*/ 40844 w 118840"/>
                  <a:gd name="connsiteY12" fmla="*/ 50889 h 129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840" h="129853">
                    <a:moveTo>
                      <a:pt x="40844" y="50889"/>
                    </a:moveTo>
                    <a:lnTo>
                      <a:pt x="31162" y="0"/>
                    </a:lnTo>
                    <a:lnTo>
                      <a:pt x="67287" y="43990"/>
                    </a:lnTo>
                    <a:lnTo>
                      <a:pt x="107344" y="29589"/>
                    </a:lnTo>
                    <a:lnTo>
                      <a:pt x="78662" y="59118"/>
                    </a:lnTo>
                    <a:lnTo>
                      <a:pt x="118841" y="88041"/>
                    </a:lnTo>
                    <a:lnTo>
                      <a:pt x="66863" y="77089"/>
                    </a:lnTo>
                    <a:lnTo>
                      <a:pt x="48831" y="129854"/>
                    </a:lnTo>
                    <a:lnTo>
                      <a:pt x="44596" y="70736"/>
                    </a:lnTo>
                    <a:lnTo>
                      <a:pt x="0" y="76424"/>
                    </a:lnTo>
                    <a:lnTo>
                      <a:pt x="40844" y="50889"/>
                    </a:lnTo>
                    <a:lnTo>
                      <a:pt x="40844" y="50889"/>
                    </a:lnTo>
                    <a:lnTo>
                      <a:pt x="40844" y="50889"/>
                    </a:lnTo>
                    <a:close/>
                  </a:path>
                </a:pathLst>
              </a:custGeom>
              <a:solidFill>
                <a:srgbClr val="F1C369"/>
              </a:solidFill>
              <a:ln w="6048" cap="flat">
                <a:noFill/>
                <a:prstDash val="solid"/>
                <a:miter/>
              </a:ln>
            </p:spPr>
            <p:txBody>
              <a:bodyPr rtlCol="0" anchor="ctr"/>
              <a:lstStyle/>
              <a:p>
                <a:endParaRPr lang="zh-CN" altLang="en-US"/>
              </a:p>
            </p:txBody>
          </p:sp>
          <p:sp>
            <p:nvSpPr>
              <p:cNvPr id="34" name="任意多边形: 形状 33"/>
              <p:cNvSpPr/>
              <p:nvPr/>
            </p:nvSpPr>
            <p:spPr>
              <a:xfrm>
                <a:off x="1139972" y="832169"/>
                <a:ext cx="32437" cy="55589"/>
              </a:xfrm>
              <a:custGeom>
                <a:avLst/>
                <a:gdLst>
                  <a:gd name="connsiteX0" fmla="*/ 24044 w 49431"/>
                  <a:gd name="connsiteY0" fmla="*/ 84554 h 84713"/>
                  <a:gd name="connsiteX1" fmla="*/ 24044 w 49431"/>
                  <a:gd name="connsiteY1" fmla="*/ 84554 h 84713"/>
                  <a:gd name="connsiteX2" fmla="*/ 48786 w 49431"/>
                  <a:gd name="connsiteY2" fmla="*/ 59921 h 84713"/>
                  <a:gd name="connsiteX3" fmla="*/ 47522 w 49431"/>
                  <a:gd name="connsiteY3" fmla="*/ 52060 h 84713"/>
                  <a:gd name="connsiteX4" fmla="*/ 24044 w 49431"/>
                  <a:gd name="connsiteY4" fmla="*/ -159 h 84713"/>
                  <a:gd name="connsiteX5" fmla="*/ 627 w 49431"/>
                  <a:gd name="connsiteY5" fmla="*/ 52060 h 84713"/>
                  <a:gd name="connsiteX6" fmla="*/ 16244 w 49431"/>
                  <a:gd name="connsiteY6" fmla="*/ 83289 h 84713"/>
                  <a:gd name="connsiteX7" fmla="*/ 24044 w 49431"/>
                  <a:gd name="connsiteY7" fmla="*/ 84554 h 84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431" h="84713">
                    <a:moveTo>
                      <a:pt x="24044" y="84554"/>
                    </a:moveTo>
                    <a:lnTo>
                      <a:pt x="24044" y="84554"/>
                    </a:lnTo>
                    <a:cubicBezTo>
                      <a:pt x="37677" y="84584"/>
                      <a:pt x="48756" y="73559"/>
                      <a:pt x="48786" y="59921"/>
                    </a:cubicBezTo>
                    <a:cubicBezTo>
                      <a:pt x="48793" y="57252"/>
                      <a:pt x="48369" y="54596"/>
                      <a:pt x="47522" y="52060"/>
                    </a:cubicBezTo>
                    <a:lnTo>
                      <a:pt x="24044" y="-159"/>
                    </a:lnTo>
                    <a:lnTo>
                      <a:pt x="627" y="52060"/>
                    </a:lnTo>
                    <a:cubicBezTo>
                      <a:pt x="-3681" y="64997"/>
                      <a:pt x="3307" y="78975"/>
                      <a:pt x="16244" y="83289"/>
                    </a:cubicBezTo>
                    <a:cubicBezTo>
                      <a:pt x="18756" y="84124"/>
                      <a:pt x="21394" y="84554"/>
                      <a:pt x="24044" y="84554"/>
                    </a:cubicBezTo>
                    <a:close/>
                  </a:path>
                </a:pathLst>
              </a:custGeom>
              <a:solidFill>
                <a:srgbClr val="FFFFFF"/>
              </a:solidFill>
              <a:ln w="6048" cap="flat">
                <a:noFill/>
                <a:prstDash val="solid"/>
                <a:miter/>
              </a:ln>
            </p:spPr>
            <p:txBody>
              <a:bodyPr rtlCol="0" anchor="ctr"/>
              <a:lstStyle/>
              <a:p>
                <a:endParaRPr lang="zh-CN" altLang="en-US"/>
              </a:p>
            </p:txBody>
          </p:sp>
          <p:sp>
            <p:nvSpPr>
              <p:cNvPr id="35" name="任意多边形: 形状 34"/>
              <p:cNvSpPr/>
              <p:nvPr/>
            </p:nvSpPr>
            <p:spPr>
              <a:xfrm>
                <a:off x="1177018" y="859963"/>
                <a:ext cx="64364" cy="11197"/>
              </a:xfrm>
              <a:custGeom>
                <a:avLst/>
                <a:gdLst>
                  <a:gd name="connsiteX0" fmla="*/ 97441 w 98086"/>
                  <a:gd name="connsiteY0" fmla="*/ 15392 h 17063"/>
                  <a:gd name="connsiteX1" fmla="*/ -645 w 98086"/>
                  <a:gd name="connsiteY1" fmla="*/ 16904 h 17063"/>
                  <a:gd name="connsiteX2" fmla="*/ 64403 w 98086"/>
                  <a:gd name="connsiteY2" fmla="*/ -159 h 17063"/>
                  <a:gd name="connsiteX3" fmla="*/ 97441 w 98086"/>
                  <a:gd name="connsiteY3" fmla="*/ 15392 h 17063"/>
                </a:gdLst>
                <a:ahLst/>
                <a:cxnLst>
                  <a:cxn ang="0">
                    <a:pos x="connsiteX0" y="connsiteY0"/>
                  </a:cxn>
                  <a:cxn ang="0">
                    <a:pos x="connsiteX1" y="connsiteY1"/>
                  </a:cxn>
                  <a:cxn ang="0">
                    <a:pos x="connsiteX2" y="connsiteY2"/>
                  </a:cxn>
                  <a:cxn ang="0">
                    <a:pos x="connsiteX3" y="connsiteY3"/>
                  </a:cxn>
                </a:cxnLst>
                <a:rect l="l" t="t" r="r" b="b"/>
                <a:pathLst>
                  <a:path w="98086" h="17063">
                    <a:moveTo>
                      <a:pt x="97441" y="15392"/>
                    </a:moveTo>
                    <a:cubicBezTo>
                      <a:pt x="97441" y="15392"/>
                      <a:pt x="58775" y="3290"/>
                      <a:pt x="-645" y="16904"/>
                    </a:cubicBezTo>
                    <a:cubicBezTo>
                      <a:pt x="9944" y="5892"/>
                      <a:pt x="49033" y="-159"/>
                      <a:pt x="64403" y="-159"/>
                    </a:cubicBezTo>
                    <a:cubicBezTo>
                      <a:pt x="88606" y="-159"/>
                      <a:pt x="97441" y="15392"/>
                      <a:pt x="97441" y="15392"/>
                    </a:cubicBezTo>
                    <a:close/>
                  </a:path>
                </a:pathLst>
              </a:custGeom>
              <a:solidFill>
                <a:srgbClr val="232323"/>
              </a:solidFill>
              <a:ln w="6048" cap="flat">
                <a:noFill/>
                <a:prstDash val="solid"/>
                <a:miter/>
              </a:ln>
            </p:spPr>
            <p:txBody>
              <a:bodyPr rtlCol="0" anchor="ctr"/>
              <a:lstStyle/>
              <a:p>
                <a:endParaRPr lang="zh-CN" altLang="en-US"/>
              </a:p>
            </p:txBody>
          </p:sp>
          <p:sp>
            <p:nvSpPr>
              <p:cNvPr id="36" name="任意多边形: 形状 35"/>
              <p:cNvSpPr/>
              <p:nvPr/>
            </p:nvSpPr>
            <p:spPr>
              <a:xfrm>
                <a:off x="1287164" y="861307"/>
                <a:ext cx="50983" cy="10210"/>
              </a:xfrm>
              <a:custGeom>
                <a:avLst/>
                <a:gdLst>
                  <a:gd name="connsiteX0" fmla="*/ -585 w 77694"/>
                  <a:gd name="connsiteY0" fmla="*/ 15401 h 15560"/>
                  <a:gd name="connsiteX1" fmla="*/ 77049 w 77694"/>
                  <a:gd name="connsiteY1" fmla="*/ 12920 h 15560"/>
                  <a:gd name="connsiteX2" fmla="*/ 23559 w 77694"/>
                  <a:gd name="connsiteY2" fmla="*/ 274 h 15560"/>
                  <a:gd name="connsiteX3" fmla="*/ -645 w 77694"/>
                  <a:gd name="connsiteY3" fmla="*/ 15401 h 15560"/>
                </a:gdLst>
                <a:ahLst/>
                <a:cxnLst>
                  <a:cxn ang="0">
                    <a:pos x="connsiteX0" y="connsiteY0"/>
                  </a:cxn>
                  <a:cxn ang="0">
                    <a:pos x="connsiteX1" y="connsiteY1"/>
                  </a:cxn>
                  <a:cxn ang="0">
                    <a:pos x="connsiteX2" y="connsiteY2"/>
                  </a:cxn>
                  <a:cxn ang="0">
                    <a:pos x="connsiteX3" y="connsiteY3"/>
                  </a:cxn>
                </a:cxnLst>
                <a:rect l="l" t="t" r="r" b="b"/>
                <a:pathLst>
                  <a:path w="77694" h="15560">
                    <a:moveTo>
                      <a:pt x="-585" y="15401"/>
                    </a:moveTo>
                    <a:cubicBezTo>
                      <a:pt x="-585" y="15401"/>
                      <a:pt x="51696" y="5901"/>
                      <a:pt x="77049" y="12920"/>
                    </a:cubicBezTo>
                    <a:cubicBezTo>
                      <a:pt x="74326" y="1665"/>
                      <a:pt x="36084" y="-1421"/>
                      <a:pt x="23559" y="274"/>
                    </a:cubicBezTo>
                    <a:cubicBezTo>
                      <a:pt x="11941" y="697"/>
                      <a:pt x="-645" y="15401"/>
                      <a:pt x="-645" y="15401"/>
                    </a:cubicBezTo>
                    <a:close/>
                  </a:path>
                </a:pathLst>
              </a:custGeom>
              <a:solidFill>
                <a:srgbClr val="232323"/>
              </a:solidFill>
              <a:ln w="6048" cap="flat">
                <a:noFill/>
                <a:prstDash val="solid"/>
                <a:miter/>
              </a:ln>
            </p:spPr>
            <p:txBody>
              <a:bodyPr rtlCol="0" anchor="ctr"/>
              <a:lstStyle/>
              <a:p>
                <a:endParaRPr lang="zh-CN" altLang="en-US"/>
              </a:p>
            </p:txBody>
          </p:sp>
          <p:sp>
            <p:nvSpPr>
              <p:cNvPr id="37" name="任意多边形: 形状 36"/>
              <p:cNvSpPr/>
              <p:nvPr/>
            </p:nvSpPr>
            <p:spPr>
              <a:xfrm>
                <a:off x="1216266" y="885883"/>
                <a:ext cx="15116" cy="24515"/>
              </a:xfrm>
              <a:custGeom>
                <a:avLst/>
                <a:gdLst>
                  <a:gd name="connsiteX0" fmla="*/ -370 w 23036"/>
                  <a:gd name="connsiteY0" fmla="*/ 19035 h 37359"/>
                  <a:gd name="connsiteX1" fmla="*/ 12095 w 23036"/>
                  <a:gd name="connsiteY1" fmla="*/ 37187 h 37359"/>
                  <a:gd name="connsiteX2" fmla="*/ 22382 w 23036"/>
                  <a:gd name="connsiteY2" fmla="*/ 18006 h 37359"/>
                  <a:gd name="connsiteX3" fmla="*/ 8707 w 23036"/>
                  <a:gd name="connsiteY3" fmla="*/ -147 h 37359"/>
                  <a:gd name="connsiteX4" fmla="*/ -370 w 23036"/>
                  <a:gd name="connsiteY4" fmla="*/ 19216 h 373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6" h="37359">
                    <a:moveTo>
                      <a:pt x="-370" y="19035"/>
                    </a:moveTo>
                    <a:cubicBezTo>
                      <a:pt x="-370" y="29745"/>
                      <a:pt x="6105" y="37551"/>
                      <a:pt x="12095" y="37187"/>
                    </a:cubicBezTo>
                    <a:cubicBezTo>
                      <a:pt x="18086" y="36824"/>
                      <a:pt x="22624" y="27566"/>
                      <a:pt x="22382" y="18006"/>
                    </a:cubicBezTo>
                    <a:cubicBezTo>
                      <a:pt x="21111" y="7114"/>
                      <a:pt x="15907" y="-510"/>
                      <a:pt x="8707" y="-147"/>
                    </a:cubicBezTo>
                    <a:cubicBezTo>
                      <a:pt x="2656" y="458"/>
                      <a:pt x="-1822" y="9535"/>
                      <a:pt x="-370" y="19216"/>
                    </a:cubicBezTo>
                    <a:close/>
                  </a:path>
                </a:pathLst>
              </a:custGeom>
              <a:solidFill>
                <a:srgbClr val="232323"/>
              </a:solidFill>
              <a:ln w="6048" cap="flat">
                <a:noFill/>
                <a:prstDash val="solid"/>
                <a:miter/>
              </a:ln>
            </p:spPr>
            <p:txBody>
              <a:bodyPr rtlCol="0" anchor="ctr"/>
              <a:lstStyle/>
              <a:p>
                <a:endParaRPr lang="zh-CN" altLang="en-US"/>
              </a:p>
            </p:txBody>
          </p:sp>
          <p:sp>
            <p:nvSpPr>
              <p:cNvPr id="38" name="任意多边形: 形状 37"/>
              <p:cNvSpPr/>
              <p:nvPr/>
            </p:nvSpPr>
            <p:spPr>
              <a:xfrm>
                <a:off x="1302386" y="885829"/>
                <a:ext cx="15192" cy="24429"/>
              </a:xfrm>
              <a:custGeom>
                <a:avLst/>
                <a:gdLst>
                  <a:gd name="connsiteX0" fmla="*/ -608 w 23152"/>
                  <a:gd name="connsiteY0" fmla="*/ 20569 h 37228"/>
                  <a:gd name="connsiteX1" fmla="*/ 13673 w 23152"/>
                  <a:gd name="connsiteY1" fmla="*/ 37028 h 37228"/>
                  <a:gd name="connsiteX2" fmla="*/ 22144 w 23152"/>
                  <a:gd name="connsiteY2" fmla="*/ 17423 h 37228"/>
                  <a:gd name="connsiteX3" fmla="*/ 9134 w 23152"/>
                  <a:gd name="connsiteY3" fmla="*/ -125 h 37228"/>
                  <a:gd name="connsiteX4" fmla="*/ -608 w 23152"/>
                  <a:gd name="connsiteY4" fmla="*/ 20569 h 372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52" h="37228">
                    <a:moveTo>
                      <a:pt x="-608" y="20569"/>
                    </a:moveTo>
                    <a:cubicBezTo>
                      <a:pt x="1087" y="30190"/>
                      <a:pt x="6472" y="37693"/>
                      <a:pt x="13673" y="37028"/>
                    </a:cubicBezTo>
                    <a:cubicBezTo>
                      <a:pt x="19724" y="36302"/>
                      <a:pt x="23778" y="28254"/>
                      <a:pt x="22144" y="17423"/>
                    </a:cubicBezTo>
                    <a:cubicBezTo>
                      <a:pt x="21721" y="6713"/>
                      <a:pt x="15125" y="-730"/>
                      <a:pt x="9134" y="-125"/>
                    </a:cubicBezTo>
                    <a:cubicBezTo>
                      <a:pt x="3144" y="480"/>
                      <a:pt x="-1092" y="9859"/>
                      <a:pt x="-608" y="20569"/>
                    </a:cubicBezTo>
                    <a:close/>
                  </a:path>
                </a:pathLst>
              </a:custGeom>
              <a:solidFill>
                <a:srgbClr val="232323"/>
              </a:solidFill>
              <a:ln w="6048" cap="flat">
                <a:noFill/>
                <a:prstDash val="solid"/>
                <a:miter/>
              </a:ln>
            </p:spPr>
            <p:txBody>
              <a:bodyPr rtlCol="0" anchor="ctr"/>
              <a:lstStyle/>
              <a:p>
                <a:endParaRPr lang="zh-CN" altLang="en-US"/>
              </a:p>
            </p:txBody>
          </p:sp>
          <p:sp>
            <p:nvSpPr>
              <p:cNvPr id="39" name="任意多边形: 形状 38"/>
              <p:cNvSpPr/>
              <p:nvPr/>
            </p:nvSpPr>
            <p:spPr>
              <a:xfrm>
                <a:off x="1271321" y="899669"/>
                <a:ext cx="16407" cy="37395"/>
              </a:xfrm>
              <a:custGeom>
                <a:avLst/>
                <a:gdLst>
                  <a:gd name="connsiteX0" fmla="*/ -645 w 25003"/>
                  <a:gd name="connsiteY0" fmla="*/ -159 h 56987"/>
                  <a:gd name="connsiteX1" fmla="*/ 23559 w 25003"/>
                  <a:gd name="connsiteY1" fmla="*/ 48248 h 56987"/>
                  <a:gd name="connsiteX2" fmla="*/ -645 w 25003"/>
                  <a:gd name="connsiteY2" fmla="*/ 54299 h 56987"/>
                </a:gdLst>
                <a:ahLst/>
                <a:cxnLst>
                  <a:cxn ang="0">
                    <a:pos x="connsiteX0" y="connsiteY0"/>
                  </a:cxn>
                  <a:cxn ang="0">
                    <a:pos x="connsiteX1" y="connsiteY1"/>
                  </a:cxn>
                  <a:cxn ang="0">
                    <a:pos x="connsiteX2" y="connsiteY2"/>
                  </a:cxn>
                </a:cxnLst>
                <a:rect l="l" t="t" r="r" b="b"/>
                <a:pathLst>
                  <a:path w="25003" h="56987">
                    <a:moveTo>
                      <a:pt x="-645" y="-159"/>
                    </a:moveTo>
                    <a:cubicBezTo>
                      <a:pt x="-645" y="-159"/>
                      <a:pt x="29610" y="30095"/>
                      <a:pt x="23559" y="48248"/>
                    </a:cubicBezTo>
                    <a:cubicBezTo>
                      <a:pt x="18718" y="62952"/>
                      <a:pt x="-645" y="54299"/>
                      <a:pt x="-645" y="54299"/>
                    </a:cubicBezTo>
                  </a:path>
                </a:pathLst>
              </a:custGeom>
              <a:solidFill>
                <a:srgbClr val="E26147"/>
              </a:solidFill>
              <a:ln w="6048" cap="flat">
                <a:noFill/>
                <a:prstDash val="solid"/>
                <a:miter/>
              </a:ln>
            </p:spPr>
            <p:txBody>
              <a:bodyPr rtlCol="0" anchor="ctr"/>
              <a:lstStyle/>
              <a:p>
                <a:endParaRPr lang="zh-CN" altLang="en-US"/>
              </a:p>
            </p:txBody>
          </p:sp>
          <p:sp>
            <p:nvSpPr>
              <p:cNvPr id="40" name="任意多边形: 形状 39"/>
              <p:cNvSpPr/>
              <p:nvPr/>
            </p:nvSpPr>
            <p:spPr>
              <a:xfrm>
                <a:off x="1239556" y="961165"/>
                <a:ext cx="62227" cy="13946"/>
              </a:xfrm>
              <a:custGeom>
                <a:avLst/>
                <a:gdLst>
                  <a:gd name="connsiteX0" fmla="*/ 93145 w 94829"/>
                  <a:gd name="connsiteY0" fmla="*/ 12016 h 21252"/>
                  <a:gd name="connsiteX1" fmla="*/ -645 w 94829"/>
                  <a:gd name="connsiteY1" fmla="*/ 21093 h 21252"/>
                </a:gdLst>
                <a:ahLst/>
                <a:cxnLst>
                  <a:cxn ang="0">
                    <a:pos x="connsiteX0" y="connsiteY0"/>
                  </a:cxn>
                  <a:cxn ang="0">
                    <a:pos x="connsiteX1" y="connsiteY1"/>
                  </a:cxn>
                </a:cxnLst>
                <a:rect l="l" t="t" r="r" b="b"/>
                <a:pathLst>
                  <a:path w="94829" h="21252">
                    <a:moveTo>
                      <a:pt x="93145" y="12016"/>
                    </a:moveTo>
                    <a:cubicBezTo>
                      <a:pt x="101495" y="18067"/>
                      <a:pt x="58594" y="-24289"/>
                      <a:pt x="-645" y="21093"/>
                    </a:cubicBezTo>
                  </a:path>
                </a:pathLst>
              </a:custGeom>
              <a:noFill/>
              <a:ln w="6048" cap="flat">
                <a:solidFill>
                  <a:srgbClr val="E26147"/>
                </a:solidFill>
                <a:prstDash val="solid"/>
                <a:miter/>
              </a:ln>
            </p:spPr>
            <p:txBody>
              <a:bodyPr rtlCol="0" anchor="ctr"/>
              <a:lstStyle/>
              <a:p>
                <a:endParaRPr lang="zh-CN" altLang="en-US"/>
              </a:p>
            </p:txBody>
          </p:sp>
        </p:grpSp>
        <p:sp>
          <p:nvSpPr>
            <p:cNvPr id="44" name="任意多边形: 形状 43"/>
            <p:cNvSpPr/>
            <p:nvPr/>
          </p:nvSpPr>
          <p:spPr>
            <a:xfrm>
              <a:off x="2867345" y="3351277"/>
              <a:ext cx="8589820" cy="1179460"/>
            </a:xfrm>
            <a:custGeom>
              <a:avLst/>
              <a:gdLst>
                <a:gd name="connsiteX0" fmla="*/ 22967 w 5687048"/>
                <a:gd name="connsiteY0" fmla="*/ 49039 h 1012878"/>
                <a:gd name="connsiteX1" fmla="*/ 707053 w 5687048"/>
                <a:gd name="connsiteY1" fmla="*/ 111714 h 1012878"/>
                <a:gd name="connsiteX2" fmla="*/ 840974 w 5687048"/>
                <a:gd name="connsiteY2" fmla="*/ 161530 h 1012878"/>
                <a:gd name="connsiteX3" fmla="*/ 851166 w 5687048"/>
                <a:gd name="connsiteY3" fmla="*/ 291260 h 1012878"/>
                <a:gd name="connsiteX4" fmla="*/ 615708 w 5687048"/>
                <a:gd name="connsiteY4" fmla="*/ 427849 h 1012878"/>
                <a:gd name="connsiteX5" fmla="*/ 543508 w 5687048"/>
                <a:gd name="connsiteY5" fmla="*/ 628159 h 1012878"/>
                <a:gd name="connsiteX6" fmla="*/ 765727 w 5687048"/>
                <a:gd name="connsiteY6" fmla="*/ 779797 h 1012878"/>
                <a:gd name="connsiteX7" fmla="*/ 1410093 w 5687048"/>
                <a:gd name="connsiteY7" fmla="*/ 925339 h 1012878"/>
                <a:gd name="connsiteX8" fmla="*/ 2744165 w 5687048"/>
                <a:gd name="connsiteY8" fmla="*/ 1012398 h 1012878"/>
                <a:gd name="connsiteX9" fmla="*/ 4117860 w 5687048"/>
                <a:gd name="connsiteY9" fmla="*/ 995729 h 1012878"/>
                <a:gd name="connsiteX10" fmla="*/ 5501557 w 5687048"/>
                <a:gd name="connsiteY10" fmla="*/ 879905 h 1012878"/>
                <a:gd name="connsiteX11" fmla="*/ 5669864 w 5687048"/>
                <a:gd name="connsiteY11" fmla="*/ 852378 h 1012878"/>
                <a:gd name="connsiteX12" fmla="*/ 5657195 w 5687048"/>
                <a:gd name="connsiteY12" fmla="*/ 806467 h 1012878"/>
                <a:gd name="connsiteX13" fmla="*/ 4272451 w 5687048"/>
                <a:gd name="connsiteY13" fmla="*/ 942580 h 1012878"/>
                <a:gd name="connsiteX14" fmla="*/ 2893421 w 5687048"/>
                <a:gd name="connsiteY14" fmla="*/ 965059 h 1012878"/>
                <a:gd name="connsiteX15" fmla="*/ 1557349 w 5687048"/>
                <a:gd name="connsiteY15" fmla="*/ 898860 h 1012878"/>
                <a:gd name="connsiteX16" fmla="*/ 908411 w 5687048"/>
                <a:gd name="connsiteY16" fmla="*/ 771415 h 1012878"/>
                <a:gd name="connsiteX17" fmla="*/ 751058 w 5687048"/>
                <a:gd name="connsiteY17" fmla="*/ 725219 h 1012878"/>
                <a:gd name="connsiteX18" fmla="*/ 619137 w 5687048"/>
                <a:gd name="connsiteY18" fmla="*/ 654163 h 1012878"/>
                <a:gd name="connsiteX19" fmla="*/ 580370 w 5687048"/>
                <a:gd name="connsiteY19" fmla="*/ 529385 h 1012878"/>
                <a:gd name="connsiteX20" fmla="*/ 677430 w 5687048"/>
                <a:gd name="connsiteY20" fmla="*/ 450804 h 1012878"/>
                <a:gd name="connsiteX21" fmla="*/ 896695 w 5687048"/>
                <a:gd name="connsiteY21" fmla="*/ 308024 h 1012878"/>
                <a:gd name="connsiteX22" fmla="*/ 832021 w 5687048"/>
                <a:gd name="connsiteY22" fmla="*/ 100189 h 1012878"/>
                <a:gd name="connsiteX23" fmla="*/ 698575 w 5687048"/>
                <a:gd name="connsiteY23" fmla="*/ 61231 h 1012878"/>
                <a:gd name="connsiteX24" fmla="*/ 527792 w 5687048"/>
                <a:gd name="connsiteY24" fmla="*/ 30656 h 1012878"/>
                <a:gd name="connsiteX25" fmla="*/ 191464 w 5687048"/>
                <a:gd name="connsiteY25" fmla="*/ 1033 h 1012878"/>
                <a:gd name="connsiteX26" fmla="*/ 22967 w 5687048"/>
                <a:gd name="connsiteY26" fmla="*/ 1414 h 1012878"/>
                <a:gd name="connsiteX27" fmla="*/ 22967 w 5687048"/>
                <a:gd name="connsiteY27" fmla="*/ 49039 h 1012878"/>
                <a:gd name="connsiteX28" fmla="*/ 22967 w 5687048"/>
                <a:gd name="connsiteY28" fmla="*/ 49039 h 1012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687048" h="1012878">
                  <a:moveTo>
                    <a:pt x="22967" y="49039"/>
                  </a:moveTo>
                  <a:cubicBezTo>
                    <a:pt x="252615" y="42086"/>
                    <a:pt x="482548" y="62374"/>
                    <a:pt x="707053" y="111714"/>
                  </a:cubicBezTo>
                  <a:cubicBezTo>
                    <a:pt x="752296" y="121620"/>
                    <a:pt x="804493" y="130669"/>
                    <a:pt x="840974" y="161530"/>
                  </a:cubicBezTo>
                  <a:cubicBezTo>
                    <a:pt x="880979" y="195439"/>
                    <a:pt x="877931" y="250112"/>
                    <a:pt x="851166" y="291260"/>
                  </a:cubicBezTo>
                  <a:cubicBezTo>
                    <a:pt x="799255" y="371175"/>
                    <a:pt x="693146" y="384224"/>
                    <a:pt x="615708" y="427849"/>
                  </a:cubicBezTo>
                  <a:cubicBezTo>
                    <a:pt x="541127" y="469854"/>
                    <a:pt x="506456" y="547292"/>
                    <a:pt x="543508" y="628159"/>
                  </a:cubicBezTo>
                  <a:cubicBezTo>
                    <a:pt x="583609" y="715599"/>
                    <a:pt x="679716" y="753127"/>
                    <a:pt x="765727" y="779797"/>
                  </a:cubicBezTo>
                  <a:cubicBezTo>
                    <a:pt x="976134" y="844948"/>
                    <a:pt x="1192542" y="891430"/>
                    <a:pt x="1410093" y="925339"/>
                  </a:cubicBezTo>
                  <a:cubicBezTo>
                    <a:pt x="1851196" y="994110"/>
                    <a:pt x="2298395" y="1010493"/>
                    <a:pt x="2744165" y="1012398"/>
                  </a:cubicBezTo>
                  <a:cubicBezTo>
                    <a:pt x="3201936" y="1014398"/>
                    <a:pt x="3660374" y="1010398"/>
                    <a:pt x="4117860" y="995729"/>
                  </a:cubicBezTo>
                  <a:cubicBezTo>
                    <a:pt x="4580585" y="980870"/>
                    <a:pt x="5043500" y="949819"/>
                    <a:pt x="5501557" y="879905"/>
                  </a:cubicBezTo>
                  <a:cubicBezTo>
                    <a:pt x="5557754" y="871333"/>
                    <a:pt x="5613857" y="862093"/>
                    <a:pt x="5669864" y="852378"/>
                  </a:cubicBezTo>
                  <a:cubicBezTo>
                    <a:pt x="5699963" y="847139"/>
                    <a:pt x="5687199" y="801229"/>
                    <a:pt x="5657195" y="806467"/>
                  </a:cubicBezTo>
                  <a:cubicBezTo>
                    <a:pt x="5199710" y="886287"/>
                    <a:pt x="4736128" y="923815"/>
                    <a:pt x="4272451" y="942580"/>
                  </a:cubicBezTo>
                  <a:cubicBezTo>
                    <a:pt x="3813155" y="961153"/>
                    <a:pt x="3353002" y="964106"/>
                    <a:pt x="2893421" y="965059"/>
                  </a:cubicBezTo>
                  <a:cubicBezTo>
                    <a:pt x="2447461" y="965916"/>
                    <a:pt x="2000071" y="956867"/>
                    <a:pt x="1557349" y="898860"/>
                  </a:cubicBezTo>
                  <a:cubicBezTo>
                    <a:pt x="1338655" y="870190"/>
                    <a:pt x="1121390" y="829042"/>
                    <a:pt x="908411" y="771415"/>
                  </a:cubicBezTo>
                  <a:cubicBezTo>
                    <a:pt x="855643" y="757128"/>
                    <a:pt x="802874" y="742555"/>
                    <a:pt x="751058" y="725219"/>
                  </a:cubicBezTo>
                  <a:cubicBezTo>
                    <a:pt x="704100" y="709503"/>
                    <a:pt x="654951" y="689500"/>
                    <a:pt x="619137" y="654163"/>
                  </a:cubicBezTo>
                  <a:cubicBezTo>
                    <a:pt x="587609" y="623016"/>
                    <a:pt x="563892" y="573772"/>
                    <a:pt x="580370" y="529385"/>
                  </a:cubicBezTo>
                  <a:cubicBezTo>
                    <a:pt x="595610" y="488523"/>
                    <a:pt x="639997" y="466901"/>
                    <a:pt x="677430" y="450804"/>
                  </a:cubicBezTo>
                  <a:cubicBezTo>
                    <a:pt x="757440" y="416514"/>
                    <a:pt x="850594" y="388891"/>
                    <a:pt x="896695" y="308024"/>
                  </a:cubicBezTo>
                  <a:cubicBezTo>
                    <a:pt x="941844" y="228776"/>
                    <a:pt x="913936" y="139336"/>
                    <a:pt x="832021" y="100189"/>
                  </a:cubicBezTo>
                  <a:cubicBezTo>
                    <a:pt x="790015" y="79996"/>
                    <a:pt x="743914" y="70852"/>
                    <a:pt x="698575" y="61231"/>
                  </a:cubicBezTo>
                  <a:cubicBezTo>
                    <a:pt x="641997" y="49230"/>
                    <a:pt x="585037" y="39038"/>
                    <a:pt x="527792" y="30656"/>
                  </a:cubicBezTo>
                  <a:cubicBezTo>
                    <a:pt x="416350" y="14273"/>
                    <a:pt x="304050" y="4177"/>
                    <a:pt x="191464" y="1033"/>
                  </a:cubicBezTo>
                  <a:cubicBezTo>
                    <a:pt x="135267" y="-491"/>
                    <a:pt x="79069" y="-300"/>
                    <a:pt x="22967" y="1414"/>
                  </a:cubicBezTo>
                  <a:cubicBezTo>
                    <a:pt x="-7608" y="2367"/>
                    <a:pt x="-7703" y="49992"/>
                    <a:pt x="22967" y="49039"/>
                  </a:cubicBezTo>
                  <a:lnTo>
                    <a:pt x="22967" y="49039"/>
                  </a:lnTo>
                  <a:close/>
                </a:path>
              </a:pathLst>
            </a:custGeom>
            <a:solidFill>
              <a:schemeClr val="tx2">
                <a:alpha val="50000"/>
              </a:schemeClr>
            </a:solidFill>
            <a:ln w="9525" cap="flat">
              <a:noFill/>
              <a:prstDash val="solid"/>
              <a:miter/>
            </a:ln>
          </p:spPr>
          <p:txBody>
            <a:bodyPr rtlCol="0" anchor="ctr"/>
            <a:lstStyle/>
            <a:p>
              <a:endParaRPr lang="zh-CN" altLang="en-US"/>
            </a:p>
          </p:txBody>
        </p:sp>
        <p:sp>
          <p:nvSpPr>
            <p:cNvPr id="76" name="文本框 75"/>
            <p:cNvSpPr txBox="1"/>
            <p:nvPr/>
          </p:nvSpPr>
          <p:spPr>
            <a:xfrm>
              <a:off x="7068457" y="1130300"/>
              <a:ext cx="4450443" cy="1315851"/>
            </a:xfrm>
            <a:prstGeom prst="rect">
              <a:avLst/>
            </a:prstGeom>
            <a:noFill/>
          </p:spPr>
          <p:txBody>
            <a:bodyPr vert="horz" wrap="square" rtlCol="0" anchor="t" anchorCtr="0">
              <a:normAutofit/>
            </a:bodyPr>
            <a:lstStyle/>
            <a:p>
              <a:pPr algn="r"/>
              <a:r>
                <a:rPr lang="en-US" altLang="zh-CN" sz="2400" b="1" dirty="0">
                  <a:latin typeface="Calibri" pitchFamily="34" charset="0"/>
                  <a:ea typeface="宋体" pitchFamily="2" charset="-122"/>
                </a:rPr>
                <a:t>Unified fonts make reading more fluent</a:t>
              </a:r>
              <a:endParaRPr lang="zh-CN" altLang="en-US" sz="2400" b="1" dirty="0">
                <a:latin typeface="Calibri" pitchFamily="34" charset="0"/>
                <a:ea typeface="宋体" pitchFamily="2" charset="-122"/>
              </a:endParaRPr>
            </a:p>
          </p:txBody>
        </p:sp>
        <p:grpSp>
          <p:nvGrpSpPr>
            <p:cNvPr id="71" name="组合 70"/>
            <p:cNvGrpSpPr/>
            <p:nvPr/>
          </p:nvGrpSpPr>
          <p:grpSpPr>
            <a:xfrm>
              <a:off x="3205221" y="1852373"/>
              <a:ext cx="3052842" cy="1579898"/>
              <a:chOff x="3205221" y="1852373"/>
              <a:chExt cx="3052842" cy="1579898"/>
            </a:xfrm>
          </p:grpSpPr>
          <p:sp>
            <p:nvSpPr>
              <p:cNvPr id="46" name="矩形 45"/>
              <p:cNvSpPr/>
              <p:nvPr/>
            </p:nvSpPr>
            <p:spPr>
              <a:xfrm>
                <a:off x="4012813" y="2446151"/>
                <a:ext cx="2245250" cy="819826"/>
              </a:xfrm>
              <a:prstGeom prst="rect">
                <a:avLst/>
              </a:prstGeom>
            </p:spPr>
            <p:txBody>
              <a:bodyPr wrap="square"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lvl="0">
                  <a:lnSpc>
                    <a:spcPct val="120000"/>
                  </a:lnSpc>
                </a:pPr>
                <a:r>
                  <a:rPr lang="fr-FR" altLang="zh-CN" sz="1200">
                    <a:latin typeface="Calibri" pitchFamily="34" charset="0"/>
                    <a:ea typeface="宋体" pitchFamily="2" charset="-122"/>
                  </a:rPr>
                  <a:t>Et wisi autem et sea amet diam dignissim nonummy magna.</a:t>
                </a:r>
                <a:endParaRPr lang="zh-CN" altLang="en-US" sz="1200" dirty="0">
                  <a:latin typeface="Calibri" pitchFamily="34" charset="0"/>
                  <a:ea typeface="宋体" pitchFamily="2" charset="-122"/>
                </a:endParaRPr>
              </a:p>
            </p:txBody>
          </p:sp>
          <p:sp>
            <p:nvSpPr>
              <p:cNvPr id="47" name="矩形 46"/>
              <p:cNvSpPr/>
              <p:nvPr/>
            </p:nvSpPr>
            <p:spPr>
              <a:xfrm>
                <a:off x="4012813" y="1852373"/>
                <a:ext cx="2245250" cy="568198"/>
              </a:xfrm>
              <a:prstGeom prst="rect">
                <a:avLst/>
              </a:prstGeom>
            </p:spPr>
            <p:txBody>
              <a:bodyPr wrap="square" anchor="b"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lvl="0"/>
                <a:r>
                  <a:rPr lang="fr-FR" altLang="zh-CN" b="1" dirty="0">
                    <a:latin typeface="Calibri" pitchFamily="34" charset="0"/>
                    <a:ea typeface="宋体" pitchFamily="2" charset="-122"/>
                  </a:rPr>
                  <a:t>Click to add text</a:t>
                </a:r>
                <a:endParaRPr lang="zh-CN" altLang="en-US" b="1" dirty="0">
                  <a:latin typeface="Calibri" pitchFamily="34" charset="0"/>
                  <a:ea typeface="宋体" pitchFamily="2" charset="-122"/>
                </a:endParaRPr>
              </a:p>
            </p:txBody>
          </p:sp>
          <p:sp>
            <p:nvSpPr>
              <p:cNvPr id="48" name="椭圆 47"/>
              <p:cNvSpPr/>
              <p:nvPr/>
            </p:nvSpPr>
            <p:spPr>
              <a:xfrm>
                <a:off x="3419465" y="3320759"/>
                <a:ext cx="111512" cy="111512"/>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1" name="任意多边形: 形状 50"/>
              <p:cNvSpPr/>
              <p:nvPr/>
            </p:nvSpPr>
            <p:spPr>
              <a:xfrm flipV="1">
                <a:off x="3205221" y="2528434"/>
                <a:ext cx="540000" cy="722471"/>
              </a:xfrm>
              <a:custGeom>
                <a:avLst/>
                <a:gdLst>
                  <a:gd name="connsiteX0" fmla="*/ 270000 w 540000"/>
                  <a:gd name="connsiteY0" fmla="*/ 722471 h 722471"/>
                  <a:gd name="connsiteX1" fmla="*/ 540000 w 540000"/>
                  <a:gd name="connsiteY1" fmla="*/ 452471 h 722471"/>
                  <a:gd name="connsiteX2" fmla="*/ 493889 w 540000"/>
                  <a:gd name="connsiteY2" fmla="*/ 301511 h 722471"/>
                  <a:gd name="connsiteX3" fmla="*/ 488875 w 540000"/>
                  <a:gd name="connsiteY3" fmla="*/ 295435 h 722471"/>
                  <a:gd name="connsiteX4" fmla="*/ 270000 w 540000"/>
                  <a:gd name="connsiteY4" fmla="*/ 0 h 722471"/>
                  <a:gd name="connsiteX5" fmla="*/ 51126 w 540000"/>
                  <a:gd name="connsiteY5" fmla="*/ 295435 h 722471"/>
                  <a:gd name="connsiteX6" fmla="*/ 46111 w 540000"/>
                  <a:gd name="connsiteY6" fmla="*/ 301511 h 722471"/>
                  <a:gd name="connsiteX7" fmla="*/ 0 w 540000"/>
                  <a:gd name="connsiteY7" fmla="*/ 452471 h 722471"/>
                  <a:gd name="connsiteX8" fmla="*/ 270000 w 540000"/>
                  <a:gd name="connsiteY8" fmla="*/ 722471 h 722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0000" h="722471">
                    <a:moveTo>
                      <a:pt x="270000" y="722471"/>
                    </a:moveTo>
                    <a:cubicBezTo>
                      <a:pt x="419117" y="722471"/>
                      <a:pt x="540000" y="601588"/>
                      <a:pt x="540000" y="452471"/>
                    </a:cubicBezTo>
                    <a:cubicBezTo>
                      <a:pt x="540000" y="396552"/>
                      <a:pt x="523001" y="344604"/>
                      <a:pt x="493889" y="301511"/>
                    </a:cubicBezTo>
                    <a:lnTo>
                      <a:pt x="488875" y="295435"/>
                    </a:lnTo>
                    <a:lnTo>
                      <a:pt x="270000" y="0"/>
                    </a:lnTo>
                    <a:lnTo>
                      <a:pt x="51126" y="295435"/>
                    </a:lnTo>
                    <a:lnTo>
                      <a:pt x="46111" y="301511"/>
                    </a:lnTo>
                    <a:cubicBezTo>
                      <a:pt x="16999" y="344604"/>
                      <a:pt x="0" y="396552"/>
                      <a:pt x="0" y="452471"/>
                    </a:cubicBezTo>
                    <a:cubicBezTo>
                      <a:pt x="0" y="601588"/>
                      <a:pt x="120883" y="722471"/>
                      <a:pt x="270000" y="722471"/>
                    </a:cubicBezTo>
                    <a:close/>
                  </a:path>
                </a:pathLst>
              </a:custGeom>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52" name="文本框 51"/>
              <p:cNvSpPr txBox="1">
                <a:spLocks noChangeAspect="1"/>
              </p:cNvSpPr>
              <p:nvPr/>
            </p:nvSpPr>
            <p:spPr>
              <a:xfrm>
                <a:off x="3205221" y="2528434"/>
                <a:ext cx="540000" cy="540000"/>
              </a:xfrm>
              <a:prstGeom prst="roundRect">
                <a:avLst>
                  <a:gd name="adj" fmla="val 50000"/>
                </a:avLst>
              </a:prstGeom>
              <a:solidFill>
                <a:schemeClr val="accent1"/>
              </a:solidFill>
            </p:spPr>
            <p:txBody>
              <a:bodyPr wrap="none" lIns="91440" tIns="45720" rIns="91440" bIns="45720" rtlCol="0" anchor="ctr" anchorCtr="1">
                <a:normAutofit/>
              </a:bodyPr>
              <a:lstStyle/>
              <a:p>
                <a:pPr algn="ctr"/>
                <a:r>
                  <a:rPr kumimoji="1" lang="en-US" altLang="zh-CN" b="1" dirty="0">
                    <a:solidFill>
                      <a:srgbClr val="FFFFFF"/>
                    </a:solidFill>
                    <a:latin typeface="Calibri" pitchFamily="34" charset="0"/>
                    <a:ea typeface="宋体" pitchFamily="2" charset="-122"/>
                  </a:rPr>
                  <a:t>01</a:t>
                </a:r>
                <a:endParaRPr kumimoji="1" lang="zh-CN" altLang="en-US" b="1" dirty="0">
                  <a:solidFill>
                    <a:srgbClr val="FFFFFF"/>
                  </a:solidFill>
                  <a:latin typeface="Calibri" pitchFamily="34" charset="0"/>
                  <a:ea typeface="宋体" pitchFamily="2" charset="-122"/>
                </a:endParaRPr>
              </a:p>
            </p:txBody>
          </p:sp>
        </p:grpSp>
        <p:grpSp>
          <p:nvGrpSpPr>
            <p:cNvPr id="72" name="组合 71"/>
            <p:cNvGrpSpPr/>
            <p:nvPr/>
          </p:nvGrpSpPr>
          <p:grpSpPr>
            <a:xfrm>
              <a:off x="4117772" y="3592028"/>
              <a:ext cx="2245250" cy="2473137"/>
              <a:chOff x="4179507" y="3592028"/>
              <a:chExt cx="2245250" cy="2473137"/>
            </a:xfrm>
          </p:grpSpPr>
          <p:sp>
            <p:nvSpPr>
              <p:cNvPr id="53" name="椭圆 52"/>
              <p:cNvSpPr/>
              <p:nvPr/>
            </p:nvSpPr>
            <p:spPr>
              <a:xfrm>
                <a:off x="5246376" y="4384353"/>
                <a:ext cx="111512" cy="111512"/>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4" name="任意多边形: 形状 53"/>
              <p:cNvSpPr/>
              <p:nvPr/>
            </p:nvSpPr>
            <p:spPr>
              <a:xfrm flipV="1">
                <a:off x="5032132" y="3592028"/>
                <a:ext cx="540000" cy="722471"/>
              </a:xfrm>
              <a:custGeom>
                <a:avLst/>
                <a:gdLst>
                  <a:gd name="connsiteX0" fmla="*/ 270000 w 540000"/>
                  <a:gd name="connsiteY0" fmla="*/ 722471 h 722471"/>
                  <a:gd name="connsiteX1" fmla="*/ 540000 w 540000"/>
                  <a:gd name="connsiteY1" fmla="*/ 452471 h 722471"/>
                  <a:gd name="connsiteX2" fmla="*/ 493889 w 540000"/>
                  <a:gd name="connsiteY2" fmla="*/ 301511 h 722471"/>
                  <a:gd name="connsiteX3" fmla="*/ 488875 w 540000"/>
                  <a:gd name="connsiteY3" fmla="*/ 295435 h 722471"/>
                  <a:gd name="connsiteX4" fmla="*/ 270000 w 540000"/>
                  <a:gd name="connsiteY4" fmla="*/ 0 h 722471"/>
                  <a:gd name="connsiteX5" fmla="*/ 51126 w 540000"/>
                  <a:gd name="connsiteY5" fmla="*/ 295435 h 722471"/>
                  <a:gd name="connsiteX6" fmla="*/ 46111 w 540000"/>
                  <a:gd name="connsiteY6" fmla="*/ 301511 h 722471"/>
                  <a:gd name="connsiteX7" fmla="*/ 0 w 540000"/>
                  <a:gd name="connsiteY7" fmla="*/ 452471 h 722471"/>
                  <a:gd name="connsiteX8" fmla="*/ 270000 w 540000"/>
                  <a:gd name="connsiteY8" fmla="*/ 722471 h 722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0000" h="722471">
                    <a:moveTo>
                      <a:pt x="270000" y="722471"/>
                    </a:moveTo>
                    <a:cubicBezTo>
                      <a:pt x="419117" y="722471"/>
                      <a:pt x="540000" y="601588"/>
                      <a:pt x="540000" y="452471"/>
                    </a:cubicBezTo>
                    <a:cubicBezTo>
                      <a:pt x="540000" y="396552"/>
                      <a:pt x="523001" y="344604"/>
                      <a:pt x="493889" y="301511"/>
                    </a:cubicBezTo>
                    <a:lnTo>
                      <a:pt x="488875" y="295435"/>
                    </a:lnTo>
                    <a:lnTo>
                      <a:pt x="270000" y="0"/>
                    </a:lnTo>
                    <a:lnTo>
                      <a:pt x="51126" y="295435"/>
                    </a:lnTo>
                    <a:lnTo>
                      <a:pt x="46111" y="301511"/>
                    </a:lnTo>
                    <a:cubicBezTo>
                      <a:pt x="16999" y="344604"/>
                      <a:pt x="0" y="396552"/>
                      <a:pt x="0" y="452471"/>
                    </a:cubicBezTo>
                    <a:cubicBezTo>
                      <a:pt x="0" y="601588"/>
                      <a:pt x="120883" y="722471"/>
                      <a:pt x="270000" y="722471"/>
                    </a:cubicBezTo>
                    <a:close/>
                  </a:path>
                </a:pathLst>
              </a:cu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55" name="文本框 54"/>
              <p:cNvSpPr txBox="1">
                <a:spLocks noChangeAspect="1"/>
              </p:cNvSpPr>
              <p:nvPr/>
            </p:nvSpPr>
            <p:spPr>
              <a:xfrm>
                <a:off x="5032132" y="3592028"/>
                <a:ext cx="540000" cy="540000"/>
              </a:xfrm>
              <a:prstGeom prst="roundRect">
                <a:avLst>
                  <a:gd name="adj" fmla="val 50000"/>
                </a:avLst>
              </a:prstGeom>
              <a:solidFill>
                <a:schemeClr val="accent3"/>
              </a:solidFill>
            </p:spPr>
            <p:txBody>
              <a:bodyPr wrap="none" lIns="91440" tIns="45720" rIns="91440" bIns="45720" rtlCol="0" anchor="ctr" anchorCtr="1">
                <a:normAutofit/>
              </a:bodyPr>
              <a:lstStyle/>
              <a:p>
                <a:pPr algn="ctr"/>
                <a:r>
                  <a:rPr kumimoji="1" lang="en-US" altLang="zh-CN" b="1" dirty="0">
                    <a:solidFill>
                      <a:srgbClr val="FFFFFF"/>
                    </a:solidFill>
                    <a:latin typeface="Calibri" pitchFamily="34" charset="0"/>
                    <a:ea typeface="宋体" pitchFamily="2" charset="-122"/>
                  </a:rPr>
                  <a:t>02</a:t>
                </a:r>
                <a:endParaRPr kumimoji="1" lang="zh-CN" altLang="en-US" b="1" dirty="0">
                  <a:solidFill>
                    <a:srgbClr val="FFFFFF"/>
                  </a:solidFill>
                  <a:latin typeface="Calibri" pitchFamily="34" charset="0"/>
                  <a:ea typeface="宋体" pitchFamily="2" charset="-122"/>
                </a:endParaRPr>
              </a:p>
            </p:txBody>
          </p:sp>
          <p:sp>
            <p:nvSpPr>
              <p:cNvPr id="57" name="矩形 56"/>
              <p:cNvSpPr/>
              <p:nvPr/>
            </p:nvSpPr>
            <p:spPr>
              <a:xfrm>
                <a:off x="4179507" y="5245339"/>
                <a:ext cx="2245250" cy="819826"/>
              </a:xfrm>
              <a:prstGeom prst="rect">
                <a:avLst/>
              </a:prstGeom>
            </p:spPr>
            <p:txBody>
              <a:bodyPr wrap="square"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lvl="0" algn="ctr">
                  <a:lnSpc>
                    <a:spcPct val="120000"/>
                  </a:lnSpc>
                </a:pPr>
                <a:r>
                  <a:rPr lang="pt-BR" altLang="zh-CN" sz="1200" dirty="0">
                    <a:latin typeface="Calibri" pitchFamily="34" charset="0"/>
                    <a:ea typeface="宋体" pitchFamily="2" charset="-122"/>
                  </a:rPr>
                  <a:t>Gubergren at volutpat erat tempor sed amet iriure zzril sed.</a:t>
                </a:r>
                <a:endParaRPr lang="zh-CN" altLang="en-US" sz="1200" dirty="0">
                  <a:latin typeface="Calibri" pitchFamily="34" charset="0"/>
                  <a:ea typeface="宋体" pitchFamily="2" charset="-122"/>
                </a:endParaRPr>
              </a:p>
            </p:txBody>
          </p:sp>
          <p:sp>
            <p:nvSpPr>
              <p:cNvPr id="58" name="矩形 57"/>
              <p:cNvSpPr/>
              <p:nvPr/>
            </p:nvSpPr>
            <p:spPr>
              <a:xfrm>
                <a:off x="4179507" y="4651561"/>
                <a:ext cx="2245250" cy="568198"/>
              </a:xfrm>
              <a:prstGeom prst="rect">
                <a:avLst/>
              </a:prstGeom>
            </p:spPr>
            <p:txBody>
              <a:bodyPr wrap="square" anchor="b"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lvl="0" algn="ctr"/>
                <a:r>
                  <a:rPr lang="fr-FR" altLang="zh-CN" b="1">
                    <a:latin typeface="Calibri" pitchFamily="34" charset="0"/>
                    <a:ea typeface="宋体" pitchFamily="2" charset="-122"/>
                  </a:rPr>
                  <a:t>Click to add text</a:t>
                </a:r>
                <a:endParaRPr lang="zh-CN" altLang="en-US" b="1" dirty="0">
                  <a:latin typeface="Calibri" pitchFamily="34" charset="0"/>
                  <a:ea typeface="宋体" pitchFamily="2" charset="-122"/>
                </a:endParaRPr>
              </a:p>
            </p:txBody>
          </p:sp>
        </p:grpSp>
        <p:grpSp>
          <p:nvGrpSpPr>
            <p:cNvPr id="73" name="组合 72"/>
            <p:cNvGrpSpPr/>
            <p:nvPr/>
          </p:nvGrpSpPr>
          <p:grpSpPr>
            <a:xfrm>
              <a:off x="6664844" y="3652480"/>
              <a:ext cx="2245250" cy="2412685"/>
              <a:chOff x="7022985" y="3652480"/>
              <a:chExt cx="2245250" cy="2412685"/>
            </a:xfrm>
          </p:grpSpPr>
          <p:sp>
            <p:nvSpPr>
              <p:cNvPr id="59" name="椭圆 58"/>
              <p:cNvSpPr/>
              <p:nvPr/>
            </p:nvSpPr>
            <p:spPr>
              <a:xfrm>
                <a:off x="8089854" y="4444805"/>
                <a:ext cx="111512" cy="111512"/>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1" name="任意多边形: 形状 60"/>
              <p:cNvSpPr/>
              <p:nvPr/>
            </p:nvSpPr>
            <p:spPr>
              <a:xfrm flipV="1">
                <a:off x="7875610" y="3652480"/>
                <a:ext cx="540000" cy="722471"/>
              </a:xfrm>
              <a:custGeom>
                <a:avLst/>
                <a:gdLst>
                  <a:gd name="connsiteX0" fmla="*/ 270000 w 540000"/>
                  <a:gd name="connsiteY0" fmla="*/ 722471 h 722471"/>
                  <a:gd name="connsiteX1" fmla="*/ 540000 w 540000"/>
                  <a:gd name="connsiteY1" fmla="*/ 452471 h 722471"/>
                  <a:gd name="connsiteX2" fmla="*/ 493889 w 540000"/>
                  <a:gd name="connsiteY2" fmla="*/ 301511 h 722471"/>
                  <a:gd name="connsiteX3" fmla="*/ 488875 w 540000"/>
                  <a:gd name="connsiteY3" fmla="*/ 295435 h 722471"/>
                  <a:gd name="connsiteX4" fmla="*/ 270000 w 540000"/>
                  <a:gd name="connsiteY4" fmla="*/ 0 h 722471"/>
                  <a:gd name="connsiteX5" fmla="*/ 51126 w 540000"/>
                  <a:gd name="connsiteY5" fmla="*/ 295435 h 722471"/>
                  <a:gd name="connsiteX6" fmla="*/ 46111 w 540000"/>
                  <a:gd name="connsiteY6" fmla="*/ 301511 h 722471"/>
                  <a:gd name="connsiteX7" fmla="*/ 0 w 540000"/>
                  <a:gd name="connsiteY7" fmla="*/ 452471 h 722471"/>
                  <a:gd name="connsiteX8" fmla="*/ 270000 w 540000"/>
                  <a:gd name="connsiteY8" fmla="*/ 722471 h 722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0000" h="722471">
                    <a:moveTo>
                      <a:pt x="270000" y="722471"/>
                    </a:moveTo>
                    <a:cubicBezTo>
                      <a:pt x="419117" y="722471"/>
                      <a:pt x="540000" y="601588"/>
                      <a:pt x="540000" y="452471"/>
                    </a:cubicBezTo>
                    <a:cubicBezTo>
                      <a:pt x="540000" y="396552"/>
                      <a:pt x="523001" y="344604"/>
                      <a:pt x="493889" y="301511"/>
                    </a:cubicBezTo>
                    <a:lnTo>
                      <a:pt x="488875" y="295435"/>
                    </a:lnTo>
                    <a:lnTo>
                      <a:pt x="270000" y="0"/>
                    </a:lnTo>
                    <a:lnTo>
                      <a:pt x="51126" y="295435"/>
                    </a:lnTo>
                    <a:lnTo>
                      <a:pt x="46111" y="301511"/>
                    </a:lnTo>
                    <a:cubicBezTo>
                      <a:pt x="16999" y="344604"/>
                      <a:pt x="0" y="396552"/>
                      <a:pt x="0" y="452471"/>
                    </a:cubicBezTo>
                    <a:cubicBezTo>
                      <a:pt x="0" y="601588"/>
                      <a:pt x="120883" y="722471"/>
                      <a:pt x="270000" y="722471"/>
                    </a:cubicBezTo>
                    <a:close/>
                  </a:path>
                </a:pathLst>
              </a:custGeom>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62" name="文本框 61"/>
              <p:cNvSpPr txBox="1">
                <a:spLocks noChangeAspect="1"/>
              </p:cNvSpPr>
              <p:nvPr/>
            </p:nvSpPr>
            <p:spPr>
              <a:xfrm>
                <a:off x="7875610" y="3652480"/>
                <a:ext cx="540000" cy="540000"/>
              </a:xfrm>
              <a:prstGeom prst="roundRect">
                <a:avLst>
                  <a:gd name="adj" fmla="val 50000"/>
                </a:avLst>
              </a:prstGeom>
              <a:solidFill>
                <a:schemeClr val="accent1"/>
              </a:solidFill>
            </p:spPr>
            <p:txBody>
              <a:bodyPr wrap="none" lIns="91440" tIns="45720" rIns="91440" bIns="45720" rtlCol="0" anchor="ctr" anchorCtr="1">
                <a:normAutofit/>
              </a:bodyPr>
              <a:lstStyle/>
              <a:p>
                <a:pPr algn="ctr"/>
                <a:r>
                  <a:rPr kumimoji="1" lang="en-US" altLang="zh-CN" b="1" dirty="0">
                    <a:solidFill>
                      <a:srgbClr val="FFFFFF"/>
                    </a:solidFill>
                    <a:latin typeface="Calibri" pitchFamily="34" charset="0"/>
                    <a:ea typeface="宋体" pitchFamily="2" charset="-122"/>
                  </a:rPr>
                  <a:t>03</a:t>
                </a:r>
                <a:endParaRPr kumimoji="1" lang="zh-CN" altLang="en-US" b="1" dirty="0">
                  <a:solidFill>
                    <a:srgbClr val="FFFFFF"/>
                  </a:solidFill>
                  <a:latin typeface="Calibri" pitchFamily="34" charset="0"/>
                  <a:ea typeface="宋体" pitchFamily="2" charset="-122"/>
                </a:endParaRPr>
              </a:p>
            </p:txBody>
          </p:sp>
          <p:sp>
            <p:nvSpPr>
              <p:cNvPr id="63" name="矩形 62"/>
              <p:cNvSpPr/>
              <p:nvPr/>
            </p:nvSpPr>
            <p:spPr>
              <a:xfrm>
                <a:off x="7022985" y="5245339"/>
                <a:ext cx="2245250" cy="819826"/>
              </a:xfrm>
              <a:prstGeom prst="rect">
                <a:avLst/>
              </a:prstGeom>
            </p:spPr>
            <p:txBody>
              <a:bodyPr wrap="square"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lvl="0" algn="ctr">
                  <a:lnSpc>
                    <a:spcPct val="120000"/>
                  </a:lnSpc>
                </a:pPr>
                <a:r>
                  <a:rPr lang="pt-BR" altLang="zh-CN" sz="1200">
                    <a:latin typeface="Calibri" pitchFamily="34" charset="0"/>
                    <a:ea typeface="宋体" pitchFamily="2" charset="-122"/>
                  </a:rPr>
                  <a:t>Gubergren molestie ut elitr et dolores sea sed diam.</a:t>
                </a:r>
                <a:endParaRPr lang="zh-CN" altLang="en-US" sz="1200" dirty="0">
                  <a:latin typeface="Calibri" pitchFamily="34" charset="0"/>
                  <a:ea typeface="宋体" pitchFamily="2" charset="-122"/>
                </a:endParaRPr>
              </a:p>
            </p:txBody>
          </p:sp>
          <p:sp>
            <p:nvSpPr>
              <p:cNvPr id="64" name="矩形 63"/>
              <p:cNvSpPr/>
              <p:nvPr/>
            </p:nvSpPr>
            <p:spPr>
              <a:xfrm>
                <a:off x="7022985" y="4651561"/>
                <a:ext cx="2245250" cy="568198"/>
              </a:xfrm>
              <a:prstGeom prst="rect">
                <a:avLst/>
              </a:prstGeom>
            </p:spPr>
            <p:txBody>
              <a:bodyPr wrap="square" anchor="b"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lvl="0" algn="ctr"/>
                <a:r>
                  <a:rPr lang="fr-FR" altLang="zh-CN" b="1" dirty="0">
                    <a:latin typeface="Calibri" pitchFamily="34" charset="0"/>
                    <a:ea typeface="宋体" pitchFamily="2" charset="-122"/>
                  </a:rPr>
                  <a:t>Click to add text</a:t>
                </a:r>
                <a:endParaRPr lang="zh-CN" altLang="en-US" b="1" dirty="0">
                  <a:latin typeface="Calibri" pitchFamily="34" charset="0"/>
                  <a:ea typeface="宋体" pitchFamily="2" charset="-122"/>
                </a:endParaRPr>
              </a:p>
            </p:txBody>
          </p:sp>
        </p:grpSp>
        <p:grpSp>
          <p:nvGrpSpPr>
            <p:cNvPr id="74" name="组合 73"/>
            <p:cNvGrpSpPr/>
            <p:nvPr/>
          </p:nvGrpSpPr>
          <p:grpSpPr>
            <a:xfrm>
              <a:off x="9211915" y="3592028"/>
              <a:ext cx="2245250" cy="2473137"/>
              <a:chOff x="9273650" y="3592028"/>
              <a:chExt cx="2245250" cy="2473137"/>
            </a:xfrm>
          </p:grpSpPr>
          <p:sp>
            <p:nvSpPr>
              <p:cNvPr id="65" name="椭圆 64"/>
              <p:cNvSpPr/>
              <p:nvPr/>
            </p:nvSpPr>
            <p:spPr>
              <a:xfrm>
                <a:off x="10340519" y="4366547"/>
                <a:ext cx="111512" cy="111512"/>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7" name="任意多边形: 形状 66"/>
              <p:cNvSpPr/>
              <p:nvPr/>
            </p:nvSpPr>
            <p:spPr>
              <a:xfrm flipV="1">
                <a:off x="10126276" y="3592028"/>
                <a:ext cx="540000" cy="722471"/>
              </a:xfrm>
              <a:custGeom>
                <a:avLst/>
                <a:gdLst>
                  <a:gd name="connsiteX0" fmla="*/ 270000 w 540000"/>
                  <a:gd name="connsiteY0" fmla="*/ 722471 h 722471"/>
                  <a:gd name="connsiteX1" fmla="*/ 540000 w 540000"/>
                  <a:gd name="connsiteY1" fmla="*/ 452471 h 722471"/>
                  <a:gd name="connsiteX2" fmla="*/ 493889 w 540000"/>
                  <a:gd name="connsiteY2" fmla="*/ 301511 h 722471"/>
                  <a:gd name="connsiteX3" fmla="*/ 488875 w 540000"/>
                  <a:gd name="connsiteY3" fmla="*/ 295435 h 722471"/>
                  <a:gd name="connsiteX4" fmla="*/ 270000 w 540000"/>
                  <a:gd name="connsiteY4" fmla="*/ 0 h 722471"/>
                  <a:gd name="connsiteX5" fmla="*/ 51126 w 540000"/>
                  <a:gd name="connsiteY5" fmla="*/ 295435 h 722471"/>
                  <a:gd name="connsiteX6" fmla="*/ 46111 w 540000"/>
                  <a:gd name="connsiteY6" fmla="*/ 301511 h 722471"/>
                  <a:gd name="connsiteX7" fmla="*/ 0 w 540000"/>
                  <a:gd name="connsiteY7" fmla="*/ 452471 h 722471"/>
                  <a:gd name="connsiteX8" fmla="*/ 270000 w 540000"/>
                  <a:gd name="connsiteY8" fmla="*/ 722471 h 722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0000" h="722471">
                    <a:moveTo>
                      <a:pt x="270000" y="722471"/>
                    </a:moveTo>
                    <a:cubicBezTo>
                      <a:pt x="419117" y="722471"/>
                      <a:pt x="540000" y="601588"/>
                      <a:pt x="540000" y="452471"/>
                    </a:cubicBezTo>
                    <a:cubicBezTo>
                      <a:pt x="540000" y="396552"/>
                      <a:pt x="523001" y="344604"/>
                      <a:pt x="493889" y="301511"/>
                    </a:cubicBezTo>
                    <a:lnTo>
                      <a:pt x="488875" y="295435"/>
                    </a:lnTo>
                    <a:lnTo>
                      <a:pt x="270000" y="0"/>
                    </a:lnTo>
                    <a:lnTo>
                      <a:pt x="51126" y="295435"/>
                    </a:lnTo>
                    <a:lnTo>
                      <a:pt x="46111" y="301511"/>
                    </a:lnTo>
                    <a:cubicBezTo>
                      <a:pt x="16999" y="344604"/>
                      <a:pt x="0" y="396552"/>
                      <a:pt x="0" y="452471"/>
                    </a:cubicBezTo>
                    <a:cubicBezTo>
                      <a:pt x="0" y="601588"/>
                      <a:pt x="120883" y="722471"/>
                      <a:pt x="270000" y="722471"/>
                    </a:cubicBezTo>
                    <a:close/>
                  </a:path>
                </a:pathLst>
              </a:cu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68" name="文本框 67"/>
              <p:cNvSpPr txBox="1">
                <a:spLocks noChangeAspect="1"/>
              </p:cNvSpPr>
              <p:nvPr/>
            </p:nvSpPr>
            <p:spPr>
              <a:xfrm>
                <a:off x="10126276" y="3592028"/>
                <a:ext cx="540000" cy="540000"/>
              </a:xfrm>
              <a:prstGeom prst="roundRect">
                <a:avLst>
                  <a:gd name="adj" fmla="val 50000"/>
                </a:avLst>
              </a:prstGeom>
              <a:solidFill>
                <a:schemeClr val="accent3"/>
              </a:solidFill>
            </p:spPr>
            <p:txBody>
              <a:bodyPr wrap="none" lIns="91440" tIns="45720" rIns="91440" bIns="45720" rtlCol="0" anchor="ctr" anchorCtr="1">
                <a:normAutofit/>
              </a:bodyPr>
              <a:lstStyle/>
              <a:p>
                <a:pPr algn="ctr"/>
                <a:r>
                  <a:rPr kumimoji="1" lang="en-US" altLang="zh-CN" b="1" dirty="0">
                    <a:solidFill>
                      <a:srgbClr val="FFFFFF"/>
                    </a:solidFill>
                    <a:latin typeface="Calibri" pitchFamily="34" charset="0"/>
                    <a:ea typeface="宋体" pitchFamily="2" charset="-122"/>
                  </a:rPr>
                  <a:t>04</a:t>
                </a:r>
                <a:endParaRPr kumimoji="1" lang="zh-CN" altLang="en-US" b="1" dirty="0">
                  <a:solidFill>
                    <a:srgbClr val="FFFFFF"/>
                  </a:solidFill>
                  <a:latin typeface="Calibri" pitchFamily="34" charset="0"/>
                  <a:ea typeface="宋体" pitchFamily="2" charset="-122"/>
                </a:endParaRPr>
              </a:p>
            </p:txBody>
          </p:sp>
          <p:sp>
            <p:nvSpPr>
              <p:cNvPr id="69" name="矩形 68"/>
              <p:cNvSpPr/>
              <p:nvPr/>
            </p:nvSpPr>
            <p:spPr>
              <a:xfrm>
                <a:off x="9273650" y="5245339"/>
                <a:ext cx="2245250" cy="819826"/>
              </a:xfrm>
              <a:prstGeom prst="rect">
                <a:avLst/>
              </a:prstGeom>
            </p:spPr>
            <p:txBody>
              <a:bodyPr wrap="square"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lvl="0" algn="ctr">
                  <a:lnSpc>
                    <a:spcPct val="120000"/>
                  </a:lnSpc>
                </a:pPr>
                <a:r>
                  <a:rPr lang="nb-NO" altLang="zh-CN" sz="1200">
                    <a:latin typeface="Calibri" pitchFamily="34" charset="0"/>
                    <a:ea typeface="宋体" pitchFamily="2" charset="-122"/>
                  </a:rPr>
                  <a:t>Sanctus commodo nam placerat consetetur suscipit volutpat.</a:t>
                </a:r>
                <a:endParaRPr lang="zh-CN" altLang="en-US" sz="1200" dirty="0">
                  <a:latin typeface="Calibri" pitchFamily="34" charset="0"/>
                  <a:ea typeface="宋体" pitchFamily="2" charset="-122"/>
                </a:endParaRPr>
              </a:p>
            </p:txBody>
          </p:sp>
          <p:sp>
            <p:nvSpPr>
              <p:cNvPr id="70" name="矩形 69"/>
              <p:cNvSpPr/>
              <p:nvPr/>
            </p:nvSpPr>
            <p:spPr>
              <a:xfrm>
                <a:off x="9273650" y="4651561"/>
                <a:ext cx="2245250" cy="568198"/>
              </a:xfrm>
              <a:prstGeom prst="rect">
                <a:avLst/>
              </a:prstGeom>
            </p:spPr>
            <p:txBody>
              <a:bodyPr wrap="square" anchor="b"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lvl="0" algn="ctr"/>
                <a:r>
                  <a:rPr lang="fr-FR" altLang="zh-CN" b="1">
                    <a:latin typeface="Calibri" pitchFamily="34" charset="0"/>
                    <a:ea typeface="宋体" pitchFamily="2" charset="-122"/>
                  </a:rPr>
                  <a:t>Click to add text</a:t>
                </a:r>
                <a:endParaRPr lang="zh-CN" altLang="en-US" b="1" dirty="0">
                  <a:latin typeface="Calibri" pitchFamily="34" charset="0"/>
                  <a:ea typeface="宋体" pitchFamily="2" charset="-122"/>
                </a:endParaRPr>
              </a:p>
            </p:txBody>
          </p:sp>
        </p:grpSp>
      </p:grpSp>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8" name="组合 57"/>
          <p:cNvGrpSpPr/>
          <p:nvPr/>
        </p:nvGrpSpPr>
        <p:grpSpPr>
          <a:xfrm>
            <a:off x="660401" y="1130301"/>
            <a:ext cx="10858500" cy="4654551"/>
            <a:chOff x="660400" y="1130300"/>
            <a:chExt cx="10858500" cy="4654550"/>
          </a:xfrm>
        </p:grpSpPr>
        <p:sp>
          <p:nvSpPr>
            <p:cNvPr id="9" name="文本框 8"/>
            <p:cNvSpPr txBox="1"/>
            <p:nvPr/>
          </p:nvSpPr>
          <p:spPr>
            <a:xfrm>
              <a:off x="660400" y="1130300"/>
              <a:ext cx="10858500" cy="696960"/>
            </a:xfrm>
            <a:prstGeom prst="rect">
              <a:avLst/>
            </a:prstGeom>
            <a:noFill/>
          </p:spPr>
          <p:txBody>
            <a:bodyPr vert="horz" wrap="square" rtlCol="0" anchor="t" anchorCtr="0">
              <a:normAutofit/>
            </a:bodyPr>
            <a:lstStyle/>
            <a:p>
              <a:pPr algn="ctr"/>
              <a:r>
                <a:rPr lang="en-US" altLang="zh-CN" sz="2400" b="1" dirty="0">
                  <a:latin typeface="Calibri" pitchFamily="34" charset="0"/>
                  <a:ea typeface="宋体" pitchFamily="2" charset="-122"/>
                </a:rPr>
                <a:t>Unified fonts make reading more fluent</a:t>
              </a:r>
              <a:endParaRPr lang="zh-CN" altLang="en-US" sz="2400" b="1" dirty="0">
                <a:latin typeface="Calibri" pitchFamily="34" charset="0"/>
                <a:ea typeface="宋体" pitchFamily="2" charset="-122"/>
              </a:endParaRPr>
            </a:p>
          </p:txBody>
        </p:sp>
        <p:grpSp>
          <p:nvGrpSpPr>
            <p:cNvPr id="51" name="组合 50"/>
            <p:cNvGrpSpPr/>
            <p:nvPr/>
          </p:nvGrpSpPr>
          <p:grpSpPr>
            <a:xfrm>
              <a:off x="1784167" y="2061210"/>
              <a:ext cx="4305483" cy="1797050"/>
              <a:chOff x="1784167" y="2061210"/>
              <a:chExt cx="4305483" cy="1797050"/>
            </a:xfrm>
          </p:grpSpPr>
          <p:sp>
            <p:nvSpPr>
              <p:cNvPr id="10" name="矩形: 圆角 9"/>
              <p:cNvSpPr/>
              <p:nvPr/>
            </p:nvSpPr>
            <p:spPr>
              <a:xfrm>
                <a:off x="1784167" y="2084877"/>
                <a:ext cx="3875153" cy="1568029"/>
              </a:xfrm>
              <a:prstGeom prst="roundRect">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文本框 10"/>
              <p:cNvSpPr txBox="1"/>
              <p:nvPr/>
            </p:nvSpPr>
            <p:spPr>
              <a:xfrm>
                <a:off x="1857110" y="2226292"/>
                <a:ext cx="2386447" cy="598540"/>
              </a:xfrm>
              <a:prstGeom prst="rect">
                <a:avLst/>
              </a:prstGeom>
              <a:noFill/>
            </p:spPr>
            <p:txBody>
              <a:bodyPr wrap="square" lIns="91440" tIns="45720" rIns="91440" bIns="45720" rtlCol="0" anchor="b" anchorCtr="0">
                <a:normAutofit/>
              </a:bodyPr>
              <a:lstStyle/>
              <a:p>
                <a:r>
                  <a:rPr lang="en-US" altLang="zh-CN" b="1">
                    <a:latin typeface="Calibri" pitchFamily="34" charset="0"/>
                    <a:ea typeface="宋体" pitchFamily="2" charset="-122"/>
                  </a:rPr>
                  <a:t>Click to add text</a:t>
                </a:r>
                <a:endParaRPr lang="zh-CN" altLang="en-US" b="1" dirty="0">
                  <a:latin typeface="Calibri" pitchFamily="34" charset="0"/>
                  <a:ea typeface="宋体" pitchFamily="2" charset="-122"/>
                </a:endParaRPr>
              </a:p>
            </p:txBody>
          </p:sp>
          <p:sp>
            <p:nvSpPr>
              <p:cNvPr id="12" name="文本框 11"/>
              <p:cNvSpPr txBox="1"/>
              <p:nvPr/>
            </p:nvSpPr>
            <p:spPr>
              <a:xfrm>
                <a:off x="1857110" y="2824834"/>
                <a:ext cx="2386447" cy="686657"/>
              </a:xfrm>
              <a:prstGeom prst="rect">
                <a:avLst/>
              </a:prstGeom>
              <a:noFill/>
            </p:spPr>
            <p:txBody>
              <a:bodyPr wrap="square" lIns="91440" tIns="45720" rIns="91440" bIns="45720" rtlCol="0" anchor="t" anchorCtr="0">
                <a:normAutofit/>
              </a:bodyPr>
              <a:lstStyle/>
              <a:p>
                <a:pPr>
                  <a:lnSpc>
                    <a:spcPct val="120000"/>
                  </a:lnSpc>
                </a:pPr>
                <a:r>
                  <a:rPr lang="fr-FR" altLang="zh-CN" sz="1200">
                    <a:latin typeface="Calibri" pitchFamily="34" charset="0"/>
                    <a:ea typeface="宋体" pitchFamily="2" charset="-122"/>
                  </a:rPr>
                  <a:t>Magna sit tempor consetetur placerat diam kasd amet et et.</a:t>
                </a:r>
                <a:endParaRPr lang="zh-CN" altLang="en-US" sz="1200" dirty="0">
                  <a:latin typeface="Calibri" pitchFamily="34" charset="0"/>
                  <a:ea typeface="宋体" pitchFamily="2" charset="-122"/>
                </a:endParaRPr>
              </a:p>
            </p:txBody>
          </p:sp>
          <p:sp>
            <p:nvSpPr>
              <p:cNvPr id="4" name="任意多边形: 形状 3"/>
              <p:cNvSpPr/>
              <p:nvPr/>
            </p:nvSpPr>
            <p:spPr>
              <a:xfrm>
                <a:off x="4292600" y="2061210"/>
                <a:ext cx="1797050" cy="1797050"/>
              </a:xfrm>
              <a:custGeom>
                <a:avLst/>
                <a:gdLst>
                  <a:gd name="connsiteX0" fmla="*/ 1962150 w 1962150"/>
                  <a:gd name="connsiteY0" fmla="*/ 0 h 1962150"/>
                  <a:gd name="connsiteX1" fmla="*/ 1962150 w 1962150"/>
                  <a:gd name="connsiteY1" fmla="*/ 1962150 h 1962150"/>
                  <a:gd name="connsiteX2" fmla="*/ 0 w 1962150"/>
                  <a:gd name="connsiteY2" fmla="*/ 1962150 h 1962150"/>
                  <a:gd name="connsiteX3" fmla="*/ 1962150 w 1962150"/>
                  <a:gd name="connsiteY3" fmla="*/ 0 h 1962150"/>
                </a:gdLst>
                <a:ahLst/>
                <a:cxnLst>
                  <a:cxn ang="0">
                    <a:pos x="connsiteX0" y="connsiteY0"/>
                  </a:cxn>
                  <a:cxn ang="0">
                    <a:pos x="connsiteX1" y="connsiteY1"/>
                  </a:cxn>
                  <a:cxn ang="0">
                    <a:pos x="connsiteX2" y="connsiteY2"/>
                  </a:cxn>
                  <a:cxn ang="0">
                    <a:pos x="connsiteX3" y="connsiteY3"/>
                  </a:cxn>
                </a:cxnLst>
                <a:rect l="l" t="t" r="r" b="b"/>
                <a:pathLst>
                  <a:path w="1962150" h="1962150">
                    <a:moveTo>
                      <a:pt x="1962150" y="0"/>
                    </a:moveTo>
                    <a:lnTo>
                      <a:pt x="1962150" y="1962150"/>
                    </a:lnTo>
                    <a:lnTo>
                      <a:pt x="0" y="1962150"/>
                    </a:lnTo>
                    <a:cubicBezTo>
                      <a:pt x="0" y="878484"/>
                      <a:pt x="878484" y="0"/>
                      <a:pt x="1962150" y="0"/>
                    </a:cubicBezTo>
                    <a:close/>
                  </a:path>
                </a:pathLst>
              </a:custGeom>
              <a:ln w="44450">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dirty="0"/>
              </a:p>
            </p:txBody>
          </p:sp>
          <p:sp>
            <p:nvSpPr>
              <p:cNvPr id="31" name="任意多边形: 形状 30"/>
              <p:cNvSpPr>
                <a:spLocks noChangeAspect="1"/>
              </p:cNvSpPr>
              <p:nvPr/>
            </p:nvSpPr>
            <p:spPr bwMode="auto">
              <a:xfrm>
                <a:off x="5036036" y="2781709"/>
                <a:ext cx="326532" cy="448456"/>
              </a:xfrm>
              <a:custGeom>
                <a:avLst/>
                <a:gdLst>
                  <a:gd name="connsiteX0" fmla="*/ 267948 w 400050"/>
                  <a:gd name="connsiteY0" fmla="*/ 621 h 533400"/>
                  <a:gd name="connsiteX1" fmla="*/ 296523 w 400050"/>
                  <a:gd name="connsiteY1" fmla="*/ 27291 h 533400"/>
                  <a:gd name="connsiteX2" fmla="*/ 296523 w 400050"/>
                  <a:gd name="connsiteY2" fmla="*/ 29196 h 533400"/>
                  <a:gd name="connsiteX3" fmla="*/ 296523 w 400050"/>
                  <a:gd name="connsiteY3" fmla="*/ 38721 h 533400"/>
                  <a:gd name="connsiteX4" fmla="*/ 363198 w 400050"/>
                  <a:gd name="connsiteY4" fmla="*/ 38721 h 533400"/>
                  <a:gd name="connsiteX5" fmla="*/ 401298 w 400050"/>
                  <a:gd name="connsiteY5" fmla="*/ 74916 h 533400"/>
                  <a:gd name="connsiteX6" fmla="*/ 401298 w 400050"/>
                  <a:gd name="connsiteY6" fmla="*/ 76821 h 533400"/>
                  <a:gd name="connsiteX7" fmla="*/ 401298 w 400050"/>
                  <a:gd name="connsiteY7" fmla="*/ 495921 h 533400"/>
                  <a:gd name="connsiteX8" fmla="*/ 365103 w 400050"/>
                  <a:gd name="connsiteY8" fmla="*/ 534021 h 533400"/>
                  <a:gd name="connsiteX9" fmla="*/ 363198 w 400050"/>
                  <a:gd name="connsiteY9" fmla="*/ 534021 h 533400"/>
                  <a:gd name="connsiteX10" fmla="*/ 39348 w 400050"/>
                  <a:gd name="connsiteY10" fmla="*/ 534021 h 533400"/>
                  <a:gd name="connsiteX11" fmla="*/ 1248 w 400050"/>
                  <a:gd name="connsiteY11" fmla="*/ 497826 h 533400"/>
                  <a:gd name="connsiteX12" fmla="*/ 1248 w 400050"/>
                  <a:gd name="connsiteY12" fmla="*/ 495921 h 533400"/>
                  <a:gd name="connsiteX13" fmla="*/ 1248 w 400050"/>
                  <a:gd name="connsiteY13" fmla="*/ 76821 h 533400"/>
                  <a:gd name="connsiteX14" fmla="*/ 37443 w 400050"/>
                  <a:gd name="connsiteY14" fmla="*/ 38721 h 533400"/>
                  <a:gd name="connsiteX15" fmla="*/ 39348 w 400050"/>
                  <a:gd name="connsiteY15" fmla="*/ 38721 h 533400"/>
                  <a:gd name="connsiteX16" fmla="*/ 106023 w 400050"/>
                  <a:gd name="connsiteY16" fmla="*/ 38721 h 533400"/>
                  <a:gd name="connsiteX17" fmla="*/ 106023 w 400050"/>
                  <a:gd name="connsiteY17" fmla="*/ 29196 h 533400"/>
                  <a:gd name="connsiteX18" fmla="*/ 132693 w 400050"/>
                  <a:gd name="connsiteY18" fmla="*/ 621 h 533400"/>
                  <a:gd name="connsiteX19" fmla="*/ 134598 w 400050"/>
                  <a:gd name="connsiteY19" fmla="*/ 621 h 533400"/>
                  <a:gd name="connsiteX20" fmla="*/ 267948 w 400050"/>
                  <a:gd name="connsiteY20" fmla="*/ 621 h 533400"/>
                  <a:gd name="connsiteX21" fmla="*/ 106023 w 400050"/>
                  <a:gd name="connsiteY21" fmla="*/ 57771 h 533400"/>
                  <a:gd name="connsiteX22" fmla="*/ 39348 w 400050"/>
                  <a:gd name="connsiteY22" fmla="*/ 57771 h 533400"/>
                  <a:gd name="connsiteX23" fmla="*/ 20298 w 400050"/>
                  <a:gd name="connsiteY23" fmla="*/ 75869 h 533400"/>
                  <a:gd name="connsiteX24" fmla="*/ 20298 w 400050"/>
                  <a:gd name="connsiteY24" fmla="*/ 76821 h 533400"/>
                  <a:gd name="connsiteX25" fmla="*/ 20298 w 400050"/>
                  <a:gd name="connsiteY25" fmla="*/ 495921 h 533400"/>
                  <a:gd name="connsiteX26" fmla="*/ 38395 w 400050"/>
                  <a:gd name="connsiteY26" fmla="*/ 514971 h 533400"/>
                  <a:gd name="connsiteX27" fmla="*/ 39348 w 400050"/>
                  <a:gd name="connsiteY27" fmla="*/ 514971 h 533400"/>
                  <a:gd name="connsiteX28" fmla="*/ 363198 w 400050"/>
                  <a:gd name="connsiteY28" fmla="*/ 514971 h 533400"/>
                  <a:gd name="connsiteX29" fmla="*/ 382248 w 400050"/>
                  <a:gd name="connsiteY29" fmla="*/ 496873 h 533400"/>
                  <a:gd name="connsiteX30" fmla="*/ 382248 w 400050"/>
                  <a:gd name="connsiteY30" fmla="*/ 495921 h 533400"/>
                  <a:gd name="connsiteX31" fmla="*/ 382248 w 400050"/>
                  <a:gd name="connsiteY31" fmla="*/ 76821 h 533400"/>
                  <a:gd name="connsiteX32" fmla="*/ 364151 w 400050"/>
                  <a:gd name="connsiteY32" fmla="*/ 57771 h 533400"/>
                  <a:gd name="connsiteX33" fmla="*/ 363198 w 400050"/>
                  <a:gd name="connsiteY33" fmla="*/ 57771 h 533400"/>
                  <a:gd name="connsiteX34" fmla="*/ 296523 w 400050"/>
                  <a:gd name="connsiteY34" fmla="*/ 57771 h 533400"/>
                  <a:gd name="connsiteX35" fmla="*/ 296523 w 400050"/>
                  <a:gd name="connsiteY35" fmla="*/ 67296 h 533400"/>
                  <a:gd name="connsiteX36" fmla="*/ 269853 w 400050"/>
                  <a:gd name="connsiteY36" fmla="*/ 95871 h 533400"/>
                  <a:gd name="connsiteX37" fmla="*/ 267948 w 400050"/>
                  <a:gd name="connsiteY37" fmla="*/ 95871 h 533400"/>
                  <a:gd name="connsiteX38" fmla="*/ 134598 w 400050"/>
                  <a:gd name="connsiteY38" fmla="*/ 95871 h 533400"/>
                  <a:gd name="connsiteX39" fmla="*/ 106023 w 400050"/>
                  <a:gd name="connsiteY39" fmla="*/ 69201 h 533400"/>
                  <a:gd name="connsiteX40" fmla="*/ 106023 w 400050"/>
                  <a:gd name="connsiteY40" fmla="*/ 67296 h 533400"/>
                  <a:gd name="connsiteX41" fmla="*/ 106023 w 400050"/>
                  <a:gd name="connsiteY41" fmla="*/ 57771 h 533400"/>
                  <a:gd name="connsiteX42" fmla="*/ 201273 w 400050"/>
                  <a:gd name="connsiteY42" fmla="*/ 343521 h 533400"/>
                  <a:gd name="connsiteX43" fmla="*/ 201273 w 400050"/>
                  <a:gd name="connsiteY43" fmla="*/ 362571 h 533400"/>
                  <a:gd name="connsiteX44" fmla="*/ 86973 w 400050"/>
                  <a:gd name="connsiteY44" fmla="*/ 362571 h 533400"/>
                  <a:gd name="connsiteX45" fmla="*/ 86973 w 400050"/>
                  <a:gd name="connsiteY45" fmla="*/ 343521 h 533400"/>
                  <a:gd name="connsiteX46" fmla="*/ 201273 w 400050"/>
                  <a:gd name="connsiteY46" fmla="*/ 343521 h 533400"/>
                  <a:gd name="connsiteX47" fmla="*/ 315573 w 400050"/>
                  <a:gd name="connsiteY47" fmla="*/ 267321 h 533400"/>
                  <a:gd name="connsiteX48" fmla="*/ 315573 w 400050"/>
                  <a:gd name="connsiteY48" fmla="*/ 286371 h 533400"/>
                  <a:gd name="connsiteX49" fmla="*/ 86973 w 400050"/>
                  <a:gd name="connsiteY49" fmla="*/ 286371 h 533400"/>
                  <a:gd name="connsiteX50" fmla="*/ 86973 w 400050"/>
                  <a:gd name="connsiteY50" fmla="*/ 267321 h 533400"/>
                  <a:gd name="connsiteX51" fmla="*/ 315573 w 400050"/>
                  <a:gd name="connsiteY51" fmla="*/ 267321 h 533400"/>
                  <a:gd name="connsiteX52" fmla="*/ 315573 w 400050"/>
                  <a:gd name="connsiteY52" fmla="*/ 191121 h 533400"/>
                  <a:gd name="connsiteX53" fmla="*/ 315573 w 400050"/>
                  <a:gd name="connsiteY53" fmla="*/ 210171 h 533400"/>
                  <a:gd name="connsiteX54" fmla="*/ 86973 w 400050"/>
                  <a:gd name="connsiteY54" fmla="*/ 210171 h 533400"/>
                  <a:gd name="connsiteX55" fmla="*/ 86973 w 400050"/>
                  <a:gd name="connsiteY55" fmla="*/ 191121 h 533400"/>
                  <a:gd name="connsiteX56" fmla="*/ 315573 w 400050"/>
                  <a:gd name="connsiteY56" fmla="*/ 191121 h 533400"/>
                  <a:gd name="connsiteX57" fmla="*/ 267948 w 400050"/>
                  <a:gd name="connsiteY57" fmla="*/ 19671 h 533400"/>
                  <a:gd name="connsiteX58" fmla="*/ 134598 w 400050"/>
                  <a:gd name="connsiteY58" fmla="*/ 19671 h 533400"/>
                  <a:gd name="connsiteX59" fmla="*/ 125073 w 400050"/>
                  <a:gd name="connsiteY59" fmla="*/ 28244 h 533400"/>
                  <a:gd name="connsiteX60" fmla="*/ 125073 w 400050"/>
                  <a:gd name="connsiteY60" fmla="*/ 29196 h 533400"/>
                  <a:gd name="connsiteX61" fmla="*/ 125073 w 400050"/>
                  <a:gd name="connsiteY61" fmla="*/ 67296 h 533400"/>
                  <a:gd name="connsiteX62" fmla="*/ 133645 w 400050"/>
                  <a:gd name="connsiteY62" fmla="*/ 76821 h 533400"/>
                  <a:gd name="connsiteX63" fmla="*/ 134598 w 400050"/>
                  <a:gd name="connsiteY63" fmla="*/ 76821 h 533400"/>
                  <a:gd name="connsiteX64" fmla="*/ 267948 w 400050"/>
                  <a:gd name="connsiteY64" fmla="*/ 76821 h 533400"/>
                  <a:gd name="connsiteX65" fmla="*/ 277473 w 400050"/>
                  <a:gd name="connsiteY65" fmla="*/ 68248 h 533400"/>
                  <a:gd name="connsiteX66" fmla="*/ 277473 w 400050"/>
                  <a:gd name="connsiteY66" fmla="*/ 67296 h 533400"/>
                  <a:gd name="connsiteX67" fmla="*/ 277473 w 400050"/>
                  <a:gd name="connsiteY67" fmla="*/ 29196 h 533400"/>
                  <a:gd name="connsiteX68" fmla="*/ 267948 w 400050"/>
                  <a:gd name="connsiteY68" fmla="*/ 19671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400050" h="533400">
                    <a:moveTo>
                      <a:pt x="267948" y="621"/>
                    </a:moveTo>
                    <a:cubicBezTo>
                      <a:pt x="283188" y="621"/>
                      <a:pt x="295570" y="12051"/>
                      <a:pt x="296523" y="27291"/>
                    </a:cubicBezTo>
                    <a:lnTo>
                      <a:pt x="296523" y="29196"/>
                    </a:lnTo>
                    <a:lnTo>
                      <a:pt x="296523" y="38721"/>
                    </a:lnTo>
                    <a:lnTo>
                      <a:pt x="363198" y="38721"/>
                    </a:lnTo>
                    <a:cubicBezTo>
                      <a:pt x="383201" y="38721"/>
                      <a:pt x="400345" y="54914"/>
                      <a:pt x="401298" y="74916"/>
                    </a:cubicBezTo>
                    <a:lnTo>
                      <a:pt x="401298" y="76821"/>
                    </a:lnTo>
                    <a:lnTo>
                      <a:pt x="401298" y="495921"/>
                    </a:lnTo>
                    <a:cubicBezTo>
                      <a:pt x="401298" y="515923"/>
                      <a:pt x="385105" y="533069"/>
                      <a:pt x="365103" y="534021"/>
                    </a:cubicBezTo>
                    <a:lnTo>
                      <a:pt x="363198" y="534021"/>
                    </a:lnTo>
                    <a:lnTo>
                      <a:pt x="39348" y="534021"/>
                    </a:lnTo>
                    <a:cubicBezTo>
                      <a:pt x="19345" y="534021"/>
                      <a:pt x="2201" y="517828"/>
                      <a:pt x="1248" y="497826"/>
                    </a:cubicBezTo>
                    <a:lnTo>
                      <a:pt x="1248" y="495921"/>
                    </a:lnTo>
                    <a:lnTo>
                      <a:pt x="1248" y="76821"/>
                    </a:lnTo>
                    <a:cubicBezTo>
                      <a:pt x="1248" y="56819"/>
                      <a:pt x="17441" y="39673"/>
                      <a:pt x="37443" y="38721"/>
                    </a:cubicBezTo>
                    <a:lnTo>
                      <a:pt x="39348" y="38721"/>
                    </a:lnTo>
                    <a:lnTo>
                      <a:pt x="106023" y="38721"/>
                    </a:lnTo>
                    <a:lnTo>
                      <a:pt x="106023" y="29196"/>
                    </a:lnTo>
                    <a:cubicBezTo>
                      <a:pt x="106023" y="13956"/>
                      <a:pt x="117453" y="1573"/>
                      <a:pt x="132693" y="621"/>
                    </a:cubicBezTo>
                    <a:lnTo>
                      <a:pt x="134598" y="621"/>
                    </a:lnTo>
                    <a:lnTo>
                      <a:pt x="267948" y="621"/>
                    </a:lnTo>
                    <a:close/>
                    <a:moveTo>
                      <a:pt x="106023" y="57771"/>
                    </a:moveTo>
                    <a:lnTo>
                      <a:pt x="39348" y="57771"/>
                    </a:lnTo>
                    <a:cubicBezTo>
                      <a:pt x="28870" y="57771"/>
                      <a:pt x="21251" y="65391"/>
                      <a:pt x="20298" y="75869"/>
                    </a:cubicBezTo>
                    <a:lnTo>
                      <a:pt x="20298" y="76821"/>
                    </a:lnTo>
                    <a:lnTo>
                      <a:pt x="20298" y="495921"/>
                    </a:lnTo>
                    <a:cubicBezTo>
                      <a:pt x="20298" y="506398"/>
                      <a:pt x="27918" y="514019"/>
                      <a:pt x="38395" y="514971"/>
                    </a:cubicBezTo>
                    <a:lnTo>
                      <a:pt x="39348" y="514971"/>
                    </a:lnTo>
                    <a:lnTo>
                      <a:pt x="363198" y="514971"/>
                    </a:lnTo>
                    <a:cubicBezTo>
                      <a:pt x="373676" y="514971"/>
                      <a:pt x="381295" y="507351"/>
                      <a:pt x="382248" y="496873"/>
                    </a:cubicBezTo>
                    <a:lnTo>
                      <a:pt x="382248" y="495921"/>
                    </a:lnTo>
                    <a:lnTo>
                      <a:pt x="382248" y="76821"/>
                    </a:lnTo>
                    <a:cubicBezTo>
                      <a:pt x="382248" y="66344"/>
                      <a:pt x="374628" y="58723"/>
                      <a:pt x="364151" y="57771"/>
                    </a:cubicBezTo>
                    <a:lnTo>
                      <a:pt x="363198" y="57771"/>
                    </a:lnTo>
                    <a:lnTo>
                      <a:pt x="296523" y="57771"/>
                    </a:lnTo>
                    <a:lnTo>
                      <a:pt x="296523" y="67296"/>
                    </a:lnTo>
                    <a:cubicBezTo>
                      <a:pt x="296523" y="82536"/>
                      <a:pt x="285093" y="94919"/>
                      <a:pt x="269853" y="95871"/>
                    </a:cubicBezTo>
                    <a:lnTo>
                      <a:pt x="267948" y="95871"/>
                    </a:lnTo>
                    <a:lnTo>
                      <a:pt x="134598" y="95871"/>
                    </a:lnTo>
                    <a:cubicBezTo>
                      <a:pt x="119358" y="95871"/>
                      <a:pt x="106976" y="84441"/>
                      <a:pt x="106023" y="69201"/>
                    </a:cubicBezTo>
                    <a:lnTo>
                      <a:pt x="106023" y="67296"/>
                    </a:lnTo>
                    <a:lnTo>
                      <a:pt x="106023" y="57771"/>
                    </a:lnTo>
                    <a:close/>
                    <a:moveTo>
                      <a:pt x="201273" y="343521"/>
                    </a:moveTo>
                    <a:lnTo>
                      <a:pt x="201273" y="362571"/>
                    </a:lnTo>
                    <a:lnTo>
                      <a:pt x="86973" y="362571"/>
                    </a:lnTo>
                    <a:lnTo>
                      <a:pt x="86973" y="343521"/>
                    </a:lnTo>
                    <a:lnTo>
                      <a:pt x="201273" y="343521"/>
                    </a:lnTo>
                    <a:close/>
                    <a:moveTo>
                      <a:pt x="315573" y="267321"/>
                    </a:moveTo>
                    <a:lnTo>
                      <a:pt x="315573" y="286371"/>
                    </a:lnTo>
                    <a:lnTo>
                      <a:pt x="86973" y="286371"/>
                    </a:lnTo>
                    <a:lnTo>
                      <a:pt x="86973" y="267321"/>
                    </a:lnTo>
                    <a:lnTo>
                      <a:pt x="315573" y="267321"/>
                    </a:lnTo>
                    <a:close/>
                    <a:moveTo>
                      <a:pt x="315573" y="191121"/>
                    </a:moveTo>
                    <a:lnTo>
                      <a:pt x="315573" y="210171"/>
                    </a:lnTo>
                    <a:lnTo>
                      <a:pt x="86973" y="210171"/>
                    </a:lnTo>
                    <a:lnTo>
                      <a:pt x="86973" y="191121"/>
                    </a:lnTo>
                    <a:lnTo>
                      <a:pt x="315573" y="191121"/>
                    </a:lnTo>
                    <a:close/>
                    <a:moveTo>
                      <a:pt x="267948" y="19671"/>
                    </a:moveTo>
                    <a:lnTo>
                      <a:pt x="134598" y="19671"/>
                    </a:lnTo>
                    <a:cubicBezTo>
                      <a:pt x="129836" y="19671"/>
                      <a:pt x="126026" y="23481"/>
                      <a:pt x="125073" y="28244"/>
                    </a:cubicBezTo>
                    <a:lnTo>
                      <a:pt x="125073" y="29196"/>
                    </a:lnTo>
                    <a:lnTo>
                      <a:pt x="125073" y="67296"/>
                    </a:lnTo>
                    <a:cubicBezTo>
                      <a:pt x="125073" y="72059"/>
                      <a:pt x="128883" y="75869"/>
                      <a:pt x="133645" y="76821"/>
                    </a:cubicBezTo>
                    <a:lnTo>
                      <a:pt x="134598" y="76821"/>
                    </a:lnTo>
                    <a:lnTo>
                      <a:pt x="267948" y="76821"/>
                    </a:lnTo>
                    <a:cubicBezTo>
                      <a:pt x="272711" y="76821"/>
                      <a:pt x="276520" y="73011"/>
                      <a:pt x="277473" y="68248"/>
                    </a:cubicBezTo>
                    <a:lnTo>
                      <a:pt x="277473" y="67296"/>
                    </a:lnTo>
                    <a:lnTo>
                      <a:pt x="277473" y="29196"/>
                    </a:lnTo>
                    <a:cubicBezTo>
                      <a:pt x="277473" y="23481"/>
                      <a:pt x="273663" y="19671"/>
                      <a:pt x="267948" y="19671"/>
                    </a:cubicBezTo>
                    <a:close/>
                  </a:path>
                </a:pathLst>
              </a:custGeom>
              <a:solidFill>
                <a:srgbClr val="FFFFFF"/>
              </a:solidFill>
              <a:ln>
                <a:noFill/>
              </a:ln>
            </p:spPr>
            <p:txBody>
              <a:bodyPr/>
              <a:lstStyle/>
              <a:p>
                <a:endParaRPr lang="zh-CN" altLang="en-US"/>
              </a:p>
            </p:txBody>
          </p:sp>
        </p:grpSp>
        <p:grpSp>
          <p:nvGrpSpPr>
            <p:cNvPr id="53" name="组合 52"/>
            <p:cNvGrpSpPr/>
            <p:nvPr/>
          </p:nvGrpSpPr>
          <p:grpSpPr>
            <a:xfrm>
              <a:off x="6221092" y="2061210"/>
              <a:ext cx="4237308" cy="1797050"/>
              <a:chOff x="6221092" y="2061210"/>
              <a:chExt cx="4237308" cy="1797050"/>
            </a:xfrm>
          </p:grpSpPr>
          <p:sp>
            <p:nvSpPr>
              <p:cNvPr id="13" name="矩形: 圆角 12"/>
              <p:cNvSpPr/>
              <p:nvPr/>
            </p:nvSpPr>
            <p:spPr>
              <a:xfrm>
                <a:off x="6604000" y="2084877"/>
                <a:ext cx="3854400" cy="1568029"/>
              </a:xfrm>
              <a:prstGeom prst="roundRect">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文本框 13"/>
              <p:cNvSpPr txBox="1"/>
              <p:nvPr/>
            </p:nvSpPr>
            <p:spPr>
              <a:xfrm>
                <a:off x="7981612" y="2226292"/>
                <a:ext cx="2386447" cy="598540"/>
              </a:xfrm>
              <a:prstGeom prst="rect">
                <a:avLst/>
              </a:prstGeom>
              <a:noFill/>
            </p:spPr>
            <p:txBody>
              <a:bodyPr wrap="square" lIns="91440" tIns="45720" rIns="91440" bIns="45720" rtlCol="0" anchor="b" anchorCtr="0">
                <a:normAutofit/>
              </a:bodyPr>
              <a:lstStyle/>
              <a:p>
                <a:r>
                  <a:rPr lang="en-US" altLang="zh-CN" b="1">
                    <a:latin typeface="Calibri" pitchFamily="34" charset="0"/>
                    <a:ea typeface="宋体" pitchFamily="2" charset="-122"/>
                  </a:rPr>
                  <a:t>Click to add text</a:t>
                </a:r>
                <a:endParaRPr lang="zh-CN" altLang="en-US" b="1" dirty="0">
                  <a:latin typeface="Calibri" pitchFamily="34" charset="0"/>
                  <a:ea typeface="宋体" pitchFamily="2" charset="-122"/>
                </a:endParaRPr>
              </a:p>
            </p:txBody>
          </p:sp>
          <p:sp>
            <p:nvSpPr>
              <p:cNvPr id="15" name="文本框 14"/>
              <p:cNvSpPr txBox="1"/>
              <p:nvPr/>
            </p:nvSpPr>
            <p:spPr>
              <a:xfrm>
                <a:off x="7981612" y="2824834"/>
                <a:ext cx="2386447" cy="686657"/>
              </a:xfrm>
              <a:prstGeom prst="rect">
                <a:avLst/>
              </a:prstGeom>
              <a:noFill/>
            </p:spPr>
            <p:txBody>
              <a:bodyPr wrap="square" lIns="91440" tIns="45720" rIns="91440" bIns="45720" rtlCol="0" anchor="t" anchorCtr="0">
                <a:normAutofit/>
              </a:bodyPr>
              <a:lstStyle/>
              <a:p>
                <a:pPr>
                  <a:lnSpc>
                    <a:spcPct val="120000"/>
                  </a:lnSpc>
                </a:pPr>
                <a:r>
                  <a:rPr lang="pt-BR" altLang="zh-CN" sz="1200">
                    <a:latin typeface="Calibri" pitchFamily="34" charset="0"/>
                    <a:ea typeface="宋体" pitchFamily="2" charset="-122"/>
                  </a:rPr>
                  <a:t>Aliquyam rebum elitr vero eos no elitr aliquyam lorem duis.</a:t>
                </a:r>
                <a:endParaRPr lang="zh-CN" altLang="en-US" sz="1200" dirty="0">
                  <a:latin typeface="Calibri" pitchFamily="34" charset="0"/>
                  <a:ea typeface="宋体" pitchFamily="2" charset="-122"/>
                </a:endParaRPr>
              </a:p>
            </p:txBody>
          </p:sp>
          <p:sp>
            <p:nvSpPr>
              <p:cNvPr id="5" name="任意多边形: 形状 4"/>
              <p:cNvSpPr/>
              <p:nvPr/>
            </p:nvSpPr>
            <p:spPr>
              <a:xfrm flipH="1">
                <a:off x="6221092" y="2061210"/>
                <a:ext cx="1797050" cy="1797050"/>
              </a:xfrm>
              <a:custGeom>
                <a:avLst/>
                <a:gdLst>
                  <a:gd name="connsiteX0" fmla="*/ 1962150 w 1962150"/>
                  <a:gd name="connsiteY0" fmla="*/ 0 h 1962150"/>
                  <a:gd name="connsiteX1" fmla="*/ 1962150 w 1962150"/>
                  <a:gd name="connsiteY1" fmla="*/ 1962150 h 1962150"/>
                  <a:gd name="connsiteX2" fmla="*/ 0 w 1962150"/>
                  <a:gd name="connsiteY2" fmla="*/ 1962150 h 1962150"/>
                  <a:gd name="connsiteX3" fmla="*/ 1962150 w 1962150"/>
                  <a:gd name="connsiteY3" fmla="*/ 0 h 1962150"/>
                </a:gdLst>
                <a:ahLst/>
                <a:cxnLst>
                  <a:cxn ang="0">
                    <a:pos x="connsiteX0" y="connsiteY0"/>
                  </a:cxn>
                  <a:cxn ang="0">
                    <a:pos x="connsiteX1" y="connsiteY1"/>
                  </a:cxn>
                  <a:cxn ang="0">
                    <a:pos x="connsiteX2" y="connsiteY2"/>
                  </a:cxn>
                  <a:cxn ang="0">
                    <a:pos x="connsiteX3" y="connsiteY3"/>
                  </a:cxn>
                </a:cxnLst>
                <a:rect l="l" t="t" r="r" b="b"/>
                <a:pathLst>
                  <a:path w="1962150" h="1962150">
                    <a:moveTo>
                      <a:pt x="1962150" y="0"/>
                    </a:moveTo>
                    <a:lnTo>
                      <a:pt x="1962150" y="1962150"/>
                    </a:lnTo>
                    <a:lnTo>
                      <a:pt x="0" y="1962150"/>
                    </a:lnTo>
                    <a:cubicBezTo>
                      <a:pt x="0" y="878484"/>
                      <a:pt x="878484" y="0"/>
                      <a:pt x="1962150" y="0"/>
                    </a:cubicBezTo>
                    <a:close/>
                  </a:path>
                </a:pathLst>
              </a:custGeom>
              <a:solidFill>
                <a:schemeClr val="accent2"/>
              </a:solidFill>
              <a:ln w="44450">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32" name="任意多边形: 形状 31"/>
              <p:cNvSpPr>
                <a:spLocks noChangeAspect="1"/>
              </p:cNvSpPr>
              <p:nvPr/>
            </p:nvSpPr>
            <p:spPr bwMode="auto">
              <a:xfrm>
                <a:off x="6902747" y="2717283"/>
                <a:ext cx="439304" cy="452502"/>
              </a:xfrm>
              <a:custGeom>
                <a:avLst/>
                <a:gdLst>
                  <a:gd name="connsiteX0" fmla="*/ 266700 w 533400"/>
                  <a:gd name="connsiteY0" fmla="*/ 285750 h 533400"/>
                  <a:gd name="connsiteX1" fmla="*/ 409575 w 533400"/>
                  <a:gd name="connsiteY1" fmla="*/ 142875 h 533400"/>
                  <a:gd name="connsiteX2" fmla="*/ 266700 w 533400"/>
                  <a:gd name="connsiteY2" fmla="*/ 0 h 533400"/>
                  <a:gd name="connsiteX3" fmla="*/ 123825 w 533400"/>
                  <a:gd name="connsiteY3" fmla="*/ 142875 h 533400"/>
                  <a:gd name="connsiteX4" fmla="*/ 266700 w 533400"/>
                  <a:gd name="connsiteY4" fmla="*/ 285750 h 533400"/>
                  <a:gd name="connsiteX5" fmla="*/ 266700 w 533400"/>
                  <a:gd name="connsiteY5" fmla="*/ 19050 h 533400"/>
                  <a:gd name="connsiteX6" fmla="*/ 390525 w 533400"/>
                  <a:gd name="connsiteY6" fmla="*/ 142875 h 533400"/>
                  <a:gd name="connsiteX7" fmla="*/ 266700 w 533400"/>
                  <a:gd name="connsiteY7" fmla="*/ 266700 h 533400"/>
                  <a:gd name="connsiteX8" fmla="*/ 142875 w 533400"/>
                  <a:gd name="connsiteY8" fmla="*/ 142875 h 533400"/>
                  <a:gd name="connsiteX9" fmla="*/ 266700 w 533400"/>
                  <a:gd name="connsiteY9" fmla="*/ 19050 h 533400"/>
                  <a:gd name="connsiteX10" fmla="*/ 419100 w 533400"/>
                  <a:gd name="connsiteY10" fmla="*/ 333375 h 533400"/>
                  <a:gd name="connsiteX11" fmla="*/ 114300 w 533400"/>
                  <a:gd name="connsiteY11" fmla="*/ 333375 h 533400"/>
                  <a:gd name="connsiteX12" fmla="*/ 0 w 533400"/>
                  <a:gd name="connsiteY12" fmla="*/ 447675 h 533400"/>
                  <a:gd name="connsiteX13" fmla="*/ 0 w 533400"/>
                  <a:gd name="connsiteY13" fmla="*/ 533400 h 533400"/>
                  <a:gd name="connsiteX14" fmla="*/ 19050 w 533400"/>
                  <a:gd name="connsiteY14" fmla="*/ 533400 h 533400"/>
                  <a:gd name="connsiteX15" fmla="*/ 19050 w 533400"/>
                  <a:gd name="connsiteY15" fmla="*/ 447675 h 533400"/>
                  <a:gd name="connsiteX16" fmla="*/ 114300 w 533400"/>
                  <a:gd name="connsiteY16" fmla="*/ 352425 h 533400"/>
                  <a:gd name="connsiteX17" fmla="*/ 419100 w 533400"/>
                  <a:gd name="connsiteY17" fmla="*/ 352425 h 533400"/>
                  <a:gd name="connsiteX18" fmla="*/ 514350 w 533400"/>
                  <a:gd name="connsiteY18" fmla="*/ 447675 h 533400"/>
                  <a:gd name="connsiteX19" fmla="*/ 514350 w 533400"/>
                  <a:gd name="connsiteY19" fmla="*/ 533400 h 533400"/>
                  <a:gd name="connsiteX20" fmla="*/ 533400 w 533400"/>
                  <a:gd name="connsiteY20" fmla="*/ 533400 h 533400"/>
                  <a:gd name="connsiteX21" fmla="*/ 533400 w 533400"/>
                  <a:gd name="connsiteY21" fmla="*/ 447675 h 533400"/>
                  <a:gd name="connsiteX22" fmla="*/ 419100 w 533400"/>
                  <a:gd name="connsiteY22" fmla="*/ 333375 h 533400"/>
                  <a:gd name="connsiteX23" fmla="*/ 342900 w 533400"/>
                  <a:gd name="connsiteY23" fmla="*/ 466725 h 533400"/>
                  <a:gd name="connsiteX24" fmla="*/ 457200 w 533400"/>
                  <a:gd name="connsiteY24" fmla="*/ 466725 h 533400"/>
                  <a:gd name="connsiteX25" fmla="*/ 457200 w 533400"/>
                  <a:gd name="connsiteY25" fmla="*/ 447675 h 533400"/>
                  <a:gd name="connsiteX26" fmla="*/ 342900 w 533400"/>
                  <a:gd name="connsiteY26" fmla="*/ 447675 h 533400"/>
                  <a:gd name="connsiteX27" fmla="*/ 342900 w 533400"/>
                  <a:gd name="connsiteY27" fmla="*/ 466725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33400" h="533400">
                    <a:moveTo>
                      <a:pt x="266700" y="285750"/>
                    </a:moveTo>
                    <a:cubicBezTo>
                      <a:pt x="345758" y="285750"/>
                      <a:pt x="409575" y="221933"/>
                      <a:pt x="409575" y="142875"/>
                    </a:cubicBezTo>
                    <a:cubicBezTo>
                      <a:pt x="409575" y="63818"/>
                      <a:pt x="345758" y="0"/>
                      <a:pt x="266700" y="0"/>
                    </a:cubicBezTo>
                    <a:cubicBezTo>
                      <a:pt x="187643" y="0"/>
                      <a:pt x="123825" y="63818"/>
                      <a:pt x="123825" y="142875"/>
                    </a:cubicBezTo>
                    <a:cubicBezTo>
                      <a:pt x="123825" y="221933"/>
                      <a:pt x="187643" y="285750"/>
                      <a:pt x="266700" y="285750"/>
                    </a:cubicBezTo>
                    <a:close/>
                    <a:moveTo>
                      <a:pt x="266700" y="19050"/>
                    </a:moveTo>
                    <a:cubicBezTo>
                      <a:pt x="335280" y="19050"/>
                      <a:pt x="390525" y="74295"/>
                      <a:pt x="390525" y="142875"/>
                    </a:cubicBezTo>
                    <a:cubicBezTo>
                      <a:pt x="390525" y="211455"/>
                      <a:pt x="335280" y="266700"/>
                      <a:pt x="266700" y="266700"/>
                    </a:cubicBezTo>
                    <a:cubicBezTo>
                      <a:pt x="198120" y="266700"/>
                      <a:pt x="142875" y="211455"/>
                      <a:pt x="142875" y="142875"/>
                    </a:cubicBezTo>
                    <a:cubicBezTo>
                      <a:pt x="142875" y="74295"/>
                      <a:pt x="198120" y="19050"/>
                      <a:pt x="266700" y="19050"/>
                    </a:cubicBezTo>
                    <a:close/>
                    <a:moveTo>
                      <a:pt x="419100" y="333375"/>
                    </a:moveTo>
                    <a:lnTo>
                      <a:pt x="114300" y="333375"/>
                    </a:lnTo>
                    <a:cubicBezTo>
                      <a:pt x="51435" y="333375"/>
                      <a:pt x="0" y="384810"/>
                      <a:pt x="0" y="447675"/>
                    </a:cubicBezTo>
                    <a:lnTo>
                      <a:pt x="0" y="533400"/>
                    </a:lnTo>
                    <a:lnTo>
                      <a:pt x="19050" y="533400"/>
                    </a:lnTo>
                    <a:lnTo>
                      <a:pt x="19050" y="447675"/>
                    </a:lnTo>
                    <a:cubicBezTo>
                      <a:pt x="19050" y="395288"/>
                      <a:pt x="61913" y="352425"/>
                      <a:pt x="114300" y="352425"/>
                    </a:cubicBezTo>
                    <a:lnTo>
                      <a:pt x="419100" y="352425"/>
                    </a:lnTo>
                    <a:cubicBezTo>
                      <a:pt x="471488" y="352425"/>
                      <a:pt x="514350" y="395288"/>
                      <a:pt x="514350" y="447675"/>
                    </a:cubicBezTo>
                    <a:lnTo>
                      <a:pt x="514350" y="533400"/>
                    </a:lnTo>
                    <a:lnTo>
                      <a:pt x="533400" y="533400"/>
                    </a:lnTo>
                    <a:lnTo>
                      <a:pt x="533400" y="447675"/>
                    </a:lnTo>
                    <a:cubicBezTo>
                      <a:pt x="533400" y="384810"/>
                      <a:pt x="481965" y="333375"/>
                      <a:pt x="419100" y="333375"/>
                    </a:cubicBezTo>
                    <a:close/>
                    <a:moveTo>
                      <a:pt x="342900" y="466725"/>
                    </a:moveTo>
                    <a:lnTo>
                      <a:pt x="457200" y="466725"/>
                    </a:lnTo>
                    <a:lnTo>
                      <a:pt x="457200" y="447675"/>
                    </a:lnTo>
                    <a:lnTo>
                      <a:pt x="342900" y="447675"/>
                    </a:lnTo>
                    <a:lnTo>
                      <a:pt x="342900" y="466725"/>
                    </a:lnTo>
                    <a:close/>
                  </a:path>
                </a:pathLst>
              </a:custGeom>
              <a:solidFill>
                <a:srgbClr val="FFFFFF"/>
              </a:solidFill>
              <a:ln>
                <a:noFill/>
              </a:ln>
            </p:spPr>
            <p:txBody>
              <a:bodyPr/>
              <a:lstStyle/>
              <a:p>
                <a:endParaRPr lang="zh-CN" altLang="en-US" dirty="0"/>
              </a:p>
            </p:txBody>
          </p:sp>
        </p:grpSp>
        <p:grpSp>
          <p:nvGrpSpPr>
            <p:cNvPr id="54" name="组合 53"/>
            <p:cNvGrpSpPr/>
            <p:nvPr/>
          </p:nvGrpSpPr>
          <p:grpSpPr>
            <a:xfrm>
              <a:off x="6221092" y="3987800"/>
              <a:ext cx="4237308" cy="1797050"/>
              <a:chOff x="6221092" y="3987800"/>
              <a:chExt cx="4237308" cy="1797050"/>
            </a:xfrm>
          </p:grpSpPr>
          <p:sp>
            <p:nvSpPr>
              <p:cNvPr id="16" name="矩形: 圆角 15"/>
              <p:cNvSpPr/>
              <p:nvPr/>
            </p:nvSpPr>
            <p:spPr>
              <a:xfrm>
                <a:off x="6604000" y="4076505"/>
                <a:ext cx="3854400" cy="1568029"/>
              </a:xfrm>
              <a:prstGeom prst="roundRect">
                <a:avLst/>
              </a:prstGeom>
              <a:noFill/>
              <a:ln>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文本框 16"/>
              <p:cNvSpPr txBox="1"/>
              <p:nvPr/>
            </p:nvSpPr>
            <p:spPr>
              <a:xfrm>
                <a:off x="7981612" y="4218293"/>
                <a:ext cx="2386447" cy="598540"/>
              </a:xfrm>
              <a:prstGeom prst="rect">
                <a:avLst/>
              </a:prstGeom>
              <a:noFill/>
            </p:spPr>
            <p:txBody>
              <a:bodyPr wrap="square" lIns="91440" tIns="45720" rIns="91440" bIns="45720" rtlCol="0" anchor="b" anchorCtr="0">
                <a:normAutofit/>
              </a:bodyPr>
              <a:lstStyle/>
              <a:p>
                <a:r>
                  <a:rPr lang="en-US" altLang="zh-CN" b="1">
                    <a:latin typeface="Calibri" pitchFamily="34" charset="0"/>
                    <a:ea typeface="宋体" pitchFamily="2" charset="-122"/>
                  </a:rPr>
                  <a:t>Click to add text</a:t>
                </a:r>
                <a:endParaRPr lang="zh-CN" altLang="en-US" b="1" dirty="0">
                  <a:latin typeface="Calibri" pitchFamily="34" charset="0"/>
                  <a:ea typeface="宋体" pitchFamily="2" charset="-122"/>
                </a:endParaRPr>
              </a:p>
            </p:txBody>
          </p:sp>
          <p:sp>
            <p:nvSpPr>
              <p:cNvPr id="18" name="文本框 17"/>
              <p:cNvSpPr txBox="1"/>
              <p:nvPr/>
            </p:nvSpPr>
            <p:spPr>
              <a:xfrm>
                <a:off x="7981612" y="4816835"/>
                <a:ext cx="2386447" cy="686657"/>
              </a:xfrm>
              <a:prstGeom prst="rect">
                <a:avLst/>
              </a:prstGeom>
              <a:noFill/>
            </p:spPr>
            <p:txBody>
              <a:bodyPr wrap="square" lIns="91440" tIns="45720" rIns="91440" bIns="45720" rtlCol="0" anchor="t" anchorCtr="0">
                <a:normAutofit/>
              </a:bodyPr>
              <a:lstStyle/>
              <a:p>
                <a:pPr>
                  <a:lnSpc>
                    <a:spcPct val="120000"/>
                  </a:lnSpc>
                </a:pPr>
                <a:r>
                  <a:rPr lang="fr-FR" altLang="zh-CN" sz="1200">
                    <a:latin typeface="Calibri" pitchFamily="34" charset="0"/>
                    <a:ea typeface="宋体" pitchFamily="2" charset="-122"/>
                  </a:rPr>
                  <a:t>Est sit enim commodo dolor dolor lorem labore ipsum.</a:t>
                </a:r>
                <a:endParaRPr lang="zh-CN" altLang="en-US" sz="1200" dirty="0">
                  <a:latin typeface="Calibri" pitchFamily="34" charset="0"/>
                  <a:ea typeface="宋体" pitchFamily="2" charset="-122"/>
                </a:endParaRPr>
              </a:p>
            </p:txBody>
          </p:sp>
          <p:sp>
            <p:nvSpPr>
              <p:cNvPr id="6" name="任意多边形: 形状 5"/>
              <p:cNvSpPr/>
              <p:nvPr/>
            </p:nvSpPr>
            <p:spPr>
              <a:xfrm flipH="1" flipV="1">
                <a:off x="6221092" y="3987800"/>
                <a:ext cx="1797050" cy="1797050"/>
              </a:xfrm>
              <a:custGeom>
                <a:avLst/>
                <a:gdLst>
                  <a:gd name="connsiteX0" fmla="*/ 1962150 w 1962150"/>
                  <a:gd name="connsiteY0" fmla="*/ 0 h 1962150"/>
                  <a:gd name="connsiteX1" fmla="*/ 1962150 w 1962150"/>
                  <a:gd name="connsiteY1" fmla="*/ 1962150 h 1962150"/>
                  <a:gd name="connsiteX2" fmla="*/ 0 w 1962150"/>
                  <a:gd name="connsiteY2" fmla="*/ 1962150 h 1962150"/>
                  <a:gd name="connsiteX3" fmla="*/ 1962150 w 1962150"/>
                  <a:gd name="connsiteY3" fmla="*/ 0 h 1962150"/>
                </a:gdLst>
                <a:ahLst/>
                <a:cxnLst>
                  <a:cxn ang="0">
                    <a:pos x="connsiteX0" y="connsiteY0"/>
                  </a:cxn>
                  <a:cxn ang="0">
                    <a:pos x="connsiteX1" y="connsiteY1"/>
                  </a:cxn>
                  <a:cxn ang="0">
                    <a:pos x="connsiteX2" y="connsiteY2"/>
                  </a:cxn>
                  <a:cxn ang="0">
                    <a:pos x="connsiteX3" y="connsiteY3"/>
                  </a:cxn>
                </a:cxnLst>
                <a:rect l="l" t="t" r="r" b="b"/>
                <a:pathLst>
                  <a:path w="1962150" h="1962150">
                    <a:moveTo>
                      <a:pt x="1962150" y="0"/>
                    </a:moveTo>
                    <a:lnTo>
                      <a:pt x="1962150" y="1962150"/>
                    </a:lnTo>
                    <a:lnTo>
                      <a:pt x="0" y="1962150"/>
                    </a:lnTo>
                    <a:cubicBezTo>
                      <a:pt x="0" y="878484"/>
                      <a:pt x="878484" y="0"/>
                      <a:pt x="1962150" y="0"/>
                    </a:cubicBezTo>
                    <a:close/>
                  </a:path>
                </a:pathLst>
              </a:custGeom>
              <a:solidFill>
                <a:schemeClr val="accent3"/>
              </a:solidFill>
              <a:ln w="44450">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33" name="任意多边形: 形状 32"/>
              <p:cNvSpPr>
                <a:spLocks noChangeAspect="1"/>
              </p:cNvSpPr>
              <p:nvPr/>
            </p:nvSpPr>
            <p:spPr bwMode="auto">
              <a:xfrm>
                <a:off x="6982453" y="4678296"/>
                <a:ext cx="357634" cy="448458"/>
              </a:xfrm>
              <a:custGeom>
                <a:avLst/>
                <a:gdLst>
                  <a:gd name="connsiteX0" fmla="*/ 284197 w 438150"/>
                  <a:gd name="connsiteY0" fmla="*/ 621 h 533400"/>
                  <a:gd name="connsiteX1" fmla="*/ 310867 w 438150"/>
                  <a:gd name="connsiteY1" fmla="*/ 12051 h 533400"/>
                  <a:gd name="connsiteX2" fmla="*/ 310867 w 438150"/>
                  <a:gd name="connsiteY2" fmla="*/ 12051 h 533400"/>
                  <a:gd name="connsiteX3" fmla="*/ 427072 w 438150"/>
                  <a:gd name="connsiteY3" fmla="*/ 128256 h 533400"/>
                  <a:gd name="connsiteX4" fmla="*/ 438502 w 438150"/>
                  <a:gd name="connsiteY4" fmla="*/ 154926 h 533400"/>
                  <a:gd name="connsiteX5" fmla="*/ 438502 w 438150"/>
                  <a:gd name="connsiteY5" fmla="*/ 154926 h 533400"/>
                  <a:gd name="connsiteX6" fmla="*/ 438502 w 438150"/>
                  <a:gd name="connsiteY6" fmla="*/ 495921 h 533400"/>
                  <a:gd name="connsiteX7" fmla="*/ 400402 w 438150"/>
                  <a:gd name="connsiteY7" fmla="*/ 534021 h 533400"/>
                  <a:gd name="connsiteX8" fmla="*/ 400402 w 438150"/>
                  <a:gd name="connsiteY8" fmla="*/ 534021 h 533400"/>
                  <a:gd name="connsiteX9" fmla="*/ 38452 w 438150"/>
                  <a:gd name="connsiteY9" fmla="*/ 534021 h 533400"/>
                  <a:gd name="connsiteX10" fmla="*/ 352 w 438150"/>
                  <a:gd name="connsiteY10" fmla="*/ 495921 h 533400"/>
                  <a:gd name="connsiteX11" fmla="*/ 352 w 438150"/>
                  <a:gd name="connsiteY11" fmla="*/ 495921 h 533400"/>
                  <a:gd name="connsiteX12" fmla="*/ 352 w 438150"/>
                  <a:gd name="connsiteY12" fmla="*/ 38721 h 533400"/>
                  <a:gd name="connsiteX13" fmla="*/ 38452 w 438150"/>
                  <a:gd name="connsiteY13" fmla="*/ 621 h 533400"/>
                  <a:gd name="connsiteX14" fmla="*/ 38452 w 438150"/>
                  <a:gd name="connsiteY14" fmla="*/ 621 h 533400"/>
                  <a:gd name="connsiteX15" fmla="*/ 284197 w 438150"/>
                  <a:gd name="connsiteY15" fmla="*/ 621 h 533400"/>
                  <a:gd name="connsiteX16" fmla="*/ 284197 w 438150"/>
                  <a:gd name="connsiteY16" fmla="*/ 19671 h 533400"/>
                  <a:gd name="connsiteX17" fmla="*/ 38452 w 438150"/>
                  <a:gd name="connsiteY17" fmla="*/ 19671 h 533400"/>
                  <a:gd name="connsiteX18" fmla="*/ 19402 w 438150"/>
                  <a:gd name="connsiteY18" fmla="*/ 38721 h 533400"/>
                  <a:gd name="connsiteX19" fmla="*/ 19402 w 438150"/>
                  <a:gd name="connsiteY19" fmla="*/ 38721 h 533400"/>
                  <a:gd name="connsiteX20" fmla="*/ 19402 w 438150"/>
                  <a:gd name="connsiteY20" fmla="*/ 495921 h 533400"/>
                  <a:gd name="connsiteX21" fmla="*/ 38452 w 438150"/>
                  <a:gd name="connsiteY21" fmla="*/ 514971 h 533400"/>
                  <a:gd name="connsiteX22" fmla="*/ 38452 w 438150"/>
                  <a:gd name="connsiteY22" fmla="*/ 514971 h 533400"/>
                  <a:gd name="connsiteX23" fmla="*/ 400402 w 438150"/>
                  <a:gd name="connsiteY23" fmla="*/ 514971 h 533400"/>
                  <a:gd name="connsiteX24" fmla="*/ 419452 w 438150"/>
                  <a:gd name="connsiteY24" fmla="*/ 495921 h 533400"/>
                  <a:gd name="connsiteX25" fmla="*/ 419452 w 438150"/>
                  <a:gd name="connsiteY25" fmla="*/ 495921 h 533400"/>
                  <a:gd name="connsiteX26" fmla="*/ 419452 w 438150"/>
                  <a:gd name="connsiteY26" fmla="*/ 154926 h 533400"/>
                  <a:gd name="connsiteX27" fmla="*/ 419452 w 438150"/>
                  <a:gd name="connsiteY27" fmla="*/ 153021 h 533400"/>
                  <a:gd name="connsiteX28" fmla="*/ 314677 w 438150"/>
                  <a:gd name="connsiteY28" fmla="*/ 153021 h 533400"/>
                  <a:gd name="connsiteX29" fmla="*/ 286102 w 438150"/>
                  <a:gd name="connsiteY29" fmla="*/ 126351 h 533400"/>
                  <a:gd name="connsiteX30" fmla="*/ 286102 w 438150"/>
                  <a:gd name="connsiteY30" fmla="*/ 124446 h 533400"/>
                  <a:gd name="connsiteX31" fmla="*/ 286102 w 438150"/>
                  <a:gd name="connsiteY31" fmla="*/ 19671 h 533400"/>
                  <a:gd name="connsiteX32" fmla="*/ 284197 w 438150"/>
                  <a:gd name="connsiteY32" fmla="*/ 19671 h 533400"/>
                  <a:gd name="connsiteX33" fmla="*/ 284197 w 438150"/>
                  <a:gd name="connsiteY33" fmla="*/ 19671 h 533400"/>
                  <a:gd name="connsiteX34" fmla="*/ 248002 w 438150"/>
                  <a:gd name="connsiteY34" fmla="*/ 200646 h 533400"/>
                  <a:gd name="connsiteX35" fmla="*/ 305152 w 438150"/>
                  <a:gd name="connsiteY35" fmla="*/ 257796 h 533400"/>
                  <a:gd name="connsiteX36" fmla="*/ 248002 w 438150"/>
                  <a:gd name="connsiteY36" fmla="*/ 314946 h 533400"/>
                  <a:gd name="connsiteX37" fmla="*/ 248002 w 438150"/>
                  <a:gd name="connsiteY37" fmla="*/ 314946 h 533400"/>
                  <a:gd name="connsiteX38" fmla="*/ 171802 w 438150"/>
                  <a:gd name="connsiteY38" fmla="*/ 314946 h 533400"/>
                  <a:gd name="connsiteX39" fmla="*/ 171802 w 438150"/>
                  <a:gd name="connsiteY39" fmla="*/ 410196 h 533400"/>
                  <a:gd name="connsiteX40" fmla="*/ 152752 w 438150"/>
                  <a:gd name="connsiteY40" fmla="*/ 410196 h 533400"/>
                  <a:gd name="connsiteX41" fmla="*/ 152752 w 438150"/>
                  <a:gd name="connsiteY41" fmla="*/ 200646 h 533400"/>
                  <a:gd name="connsiteX42" fmla="*/ 248002 w 438150"/>
                  <a:gd name="connsiteY42" fmla="*/ 200646 h 533400"/>
                  <a:gd name="connsiteX43" fmla="*/ 248002 w 438150"/>
                  <a:gd name="connsiteY43" fmla="*/ 219696 h 533400"/>
                  <a:gd name="connsiteX44" fmla="*/ 171802 w 438150"/>
                  <a:gd name="connsiteY44" fmla="*/ 219696 h 533400"/>
                  <a:gd name="connsiteX45" fmla="*/ 171802 w 438150"/>
                  <a:gd name="connsiteY45" fmla="*/ 295896 h 533400"/>
                  <a:gd name="connsiteX46" fmla="*/ 248002 w 438150"/>
                  <a:gd name="connsiteY46" fmla="*/ 295896 h 533400"/>
                  <a:gd name="connsiteX47" fmla="*/ 286102 w 438150"/>
                  <a:gd name="connsiteY47" fmla="*/ 257796 h 533400"/>
                  <a:gd name="connsiteX48" fmla="*/ 248002 w 438150"/>
                  <a:gd name="connsiteY48" fmla="*/ 219696 h 533400"/>
                  <a:gd name="connsiteX49" fmla="*/ 248002 w 438150"/>
                  <a:gd name="connsiteY49" fmla="*/ 219696 h 533400"/>
                  <a:gd name="connsiteX50" fmla="*/ 305152 w 438150"/>
                  <a:gd name="connsiteY50" fmla="*/ 33006 h 533400"/>
                  <a:gd name="connsiteX51" fmla="*/ 305152 w 438150"/>
                  <a:gd name="connsiteY51" fmla="*/ 124446 h 533400"/>
                  <a:gd name="connsiteX52" fmla="*/ 313724 w 438150"/>
                  <a:gd name="connsiteY52" fmla="*/ 133971 h 533400"/>
                  <a:gd name="connsiteX53" fmla="*/ 314677 w 438150"/>
                  <a:gd name="connsiteY53" fmla="*/ 133971 h 533400"/>
                  <a:gd name="connsiteX54" fmla="*/ 406117 w 438150"/>
                  <a:gd name="connsiteY54" fmla="*/ 133971 h 533400"/>
                  <a:gd name="connsiteX55" fmla="*/ 305152 w 438150"/>
                  <a:gd name="connsiteY55" fmla="*/ 33006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438150" h="533400">
                    <a:moveTo>
                      <a:pt x="284197" y="621"/>
                    </a:moveTo>
                    <a:cubicBezTo>
                      <a:pt x="294674" y="621"/>
                      <a:pt x="304199" y="4431"/>
                      <a:pt x="310867" y="12051"/>
                    </a:cubicBezTo>
                    <a:lnTo>
                      <a:pt x="310867" y="12051"/>
                    </a:lnTo>
                    <a:lnTo>
                      <a:pt x="427072" y="128256"/>
                    </a:lnTo>
                    <a:cubicBezTo>
                      <a:pt x="434692" y="135876"/>
                      <a:pt x="438502" y="145401"/>
                      <a:pt x="438502" y="154926"/>
                    </a:cubicBezTo>
                    <a:lnTo>
                      <a:pt x="438502" y="154926"/>
                    </a:lnTo>
                    <a:lnTo>
                      <a:pt x="438502" y="495921"/>
                    </a:lnTo>
                    <a:cubicBezTo>
                      <a:pt x="438502" y="516876"/>
                      <a:pt x="421357" y="534021"/>
                      <a:pt x="400402" y="534021"/>
                    </a:cubicBezTo>
                    <a:lnTo>
                      <a:pt x="400402" y="534021"/>
                    </a:lnTo>
                    <a:lnTo>
                      <a:pt x="38452" y="534021"/>
                    </a:lnTo>
                    <a:cubicBezTo>
                      <a:pt x="17497" y="534021"/>
                      <a:pt x="352" y="516876"/>
                      <a:pt x="352" y="495921"/>
                    </a:cubicBezTo>
                    <a:lnTo>
                      <a:pt x="352" y="495921"/>
                    </a:lnTo>
                    <a:lnTo>
                      <a:pt x="352" y="38721"/>
                    </a:lnTo>
                    <a:cubicBezTo>
                      <a:pt x="352" y="17766"/>
                      <a:pt x="17497" y="621"/>
                      <a:pt x="38452" y="621"/>
                    </a:cubicBezTo>
                    <a:lnTo>
                      <a:pt x="38452" y="621"/>
                    </a:lnTo>
                    <a:lnTo>
                      <a:pt x="284197" y="621"/>
                    </a:lnTo>
                    <a:close/>
                    <a:moveTo>
                      <a:pt x="284197" y="19671"/>
                    </a:moveTo>
                    <a:lnTo>
                      <a:pt x="38452" y="19671"/>
                    </a:lnTo>
                    <a:cubicBezTo>
                      <a:pt x="27974" y="19671"/>
                      <a:pt x="19402" y="28244"/>
                      <a:pt x="19402" y="38721"/>
                    </a:cubicBezTo>
                    <a:lnTo>
                      <a:pt x="19402" y="38721"/>
                    </a:lnTo>
                    <a:lnTo>
                      <a:pt x="19402" y="495921"/>
                    </a:lnTo>
                    <a:cubicBezTo>
                      <a:pt x="19402" y="506398"/>
                      <a:pt x="27974" y="514971"/>
                      <a:pt x="38452" y="514971"/>
                    </a:cubicBezTo>
                    <a:lnTo>
                      <a:pt x="38452" y="514971"/>
                    </a:lnTo>
                    <a:lnTo>
                      <a:pt x="400402" y="514971"/>
                    </a:lnTo>
                    <a:cubicBezTo>
                      <a:pt x="410880" y="514971"/>
                      <a:pt x="419452" y="506398"/>
                      <a:pt x="419452" y="495921"/>
                    </a:cubicBezTo>
                    <a:lnTo>
                      <a:pt x="419452" y="495921"/>
                    </a:lnTo>
                    <a:lnTo>
                      <a:pt x="419452" y="154926"/>
                    </a:lnTo>
                    <a:cubicBezTo>
                      <a:pt x="419452" y="153973"/>
                      <a:pt x="419452" y="153021"/>
                      <a:pt x="419452" y="153021"/>
                    </a:cubicBezTo>
                    <a:lnTo>
                      <a:pt x="314677" y="153021"/>
                    </a:lnTo>
                    <a:cubicBezTo>
                      <a:pt x="299437" y="153021"/>
                      <a:pt x="287055" y="141591"/>
                      <a:pt x="286102" y="126351"/>
                    </a:cubicBezTo>
                    <a:lnTo>
                      <a:pt x="286102" y="124446"/>
                    </a:lnTo>
                    <a:lnTo>
                      <a:pt x="286102" y="19671"/>
                    </a:lnTo>
                    <a:cubicBezTo>
                      <a:pt x="285149" y="19671"/>
                      <a:pt x="284197" y="19671"/>
                      <a:pt x="284197" y="19671"/>
                    </a:cubicBezTo>
                    <a:lnTo>
                      <a:pt x="284197" y="19671"/>
                    </a:lnTo>
                    <a:close/>
                    <a:moveTo>
                      <a:pt x="248002" y="200646"/>
                    </a:moveTo>
                    <a:cubicBezTo>
                      <a:pt x="279434" y="200646"/>
                      <a:pt x="305152" y="226364"/>
                      <a:pt x="305152" y="257796"/>
                    </a:cubicBezTo>
                    <a:cubicBezTo>
                      <a:pt x="305152" y="289228"/>
                      <a:pt x="279434" y="314946"/>
                      <a:pt x="248002" y="314946"/>
                    </a:cubicBezTo>
                    <a:lnTo>
                      <a:pt x="248002" y="314946"/>
                    </a:lnTo>
                    <a:lnTo>
                      <a:pt x="171802" y="314946"/>
                    </a:lnTo>
                    <a:lnTo>
                      <a:pt x="171802" y="410196"/>
                    </a:lnTo>
                    <a:lnTo>
                      <a:pt x="152752" y="410196"/>
                    </a:lnTo>
                    <a:lnTo>
                      <a:pt x="152752" y="200646"/>
                    </a:lnTo>
                    <a:lnTo>
                      <a:pt x="248002" y="200646"/>
                    </a:lnTo>
                    <a:close/>
                    <a:moveTo>
                      <a:pt x="248002" y="219696"/>
                    </a:moveTo>
                    <a:lnTo>
                      <a:pt x="171802" y="219696"/>
                    </a:lnTo>
                    <a:lnTo>
                      <a:pt x="171802" y="295896"/>
                    </a:lnTo>
                    <a:lnTo>
                      <a:pt x="248002" y="295896"/>
                    </a:lnTo>
                    <a:cubicBezTo>
                      <a:pt x="268957" y="295896"/>
                      <a:pt x="286102" y="278751"/>
                      <a:pt x="286102" y="257796"/>
                    </a:cubicBezTo>
                    <a:cubicBezTo>
                      <a:pt x="286102" y="236841"/>
                      <a:pt x="268957" y="219696"/>
                      <a:pt x="248002" y="219696"/>
                    </a:cubicBezTo>
                    <a:lnTo>
                      <a:pt x="248002" y="219696"/>
                    </a:lnTo>
                    <a:close/>
                    <a:moveTo>
                      <a:pt x="305152" y="33006"/>
                    </a:moveTo>
                    <a:lnTo>
                      <a:pt x="305152" y="124446"/>
                    </a:lnTo>
                    <a:cubicBezTo>
                      <a:pt x="305152" y="129209"/>
                      <a:pt x="308962" y="133019"/>
                      <a:pt x="313724" y="133971"/>
                    </a:cubicBezTo>
                    <a:lnTo>
                      <a:pt x="314677" y="133971"/>
                    </a:lnTo>
                    <a:lnTo>
                      <a:pt x="406117" y="133971"/>
                    </a:lnTo>
                    <a:lnTo>
                      <a:pt x="305152" y="33006"/>
                    </a:lnTo>
                    <a:close/>
                  </a:path>
                </a:pathLst>
              </a:custGeom>
              <a:solidFill>
                <a:srgbClr val="FFFFFF"/>
              </a:solidFill>
              <a:ln>
                <a:noFill/>
              </a:ln>
            </p:spPr>
            <p:txBody>
              <a:bodyPr/>
              <a:lstStyle/>
              <a:p>
                <a:endParaRPr lang="zh-CN" altLang="en-US"/>
              </a:p>
            </p:txBody>
          </p:sp>
        </p:grpSp>
        <p:grpSp>
          <p:nvGrpSpPr>
            <p:cNvPr id="55" name="组合 54"/>
            <p:cNvGrpSpPr/>
            <p:nvPr/>
          </p:nvGrpSpPr>
          <p:grpSpPr>
            <a:xfrm>
              <a:off x="1784167" y="3987800"/>
              <a:ext cx="4305483" cy="1797050"/>
              <a:chOff x="1784167" y="3987800"/>
              <a:chExt cx="4305483" cy="1797050"/>
            </a:xfrm>
          </p:grpSpPr>
          <p:sp>
            <p:nvSpPr>
              <p:cNvPr id="19" name="矩形: 圆角 18"/>
              <p:cNvSpPr/>
              <p:nvPr/>
            </p:nvSpPr>
            <p:spPr>
              <a:xfrm>
                <a:off x="1784167" y="4076505"/>
                <a:ext cx="3875153" cy="1568029"/>
              </a:xfrm>
              <a:prstGeom prst="roundRect">
                <a:avLst/>
              </a:prstGeom>
              <a:no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文本框 19"/>
              <p:cNvSpPr txBox="1"/>
              <p:nvPr/>
            </p:nvSpPr>
            <p:spPr>
              <a:xfrm>
                <a:off x="1857110" y="4218293"/>
                <a:ext cx="2386447" cy="598540"/>
              </a:xfrm>
              <a:prstGeom prst="rect">
                <a:avLst/>
              </a:prstGeom>
              <a:noFill/>
            </p:spPr>
            <p:txBody>
              <a:bodyPr wrap="square" lIns="91440" tIns="45720" rIns="91440" bIns="45720" rtlCol="0" anchor="b" anchorCtr="0">
                <a:normAutofit/>
              </a:bodyPr>
              <a:lstStyle/>
              <a:p>
                <a:r>
                  <a:rPr lang="en-US" altLang="zh-CN" b="1">
                    <a:latin typeface="Calibri" pitchFamily="34" charset="0"/>
                    <a:ea typeface="宋体" pitchFamily="2" charset="-122"/>
                  </a:rPr>
                  <a:t>Click to add text</a:t>
                </a:r>
                <a:endParaRPr lang="zh-CN" altLang="en-US" b="1" dirty="0">
                  <a:latin typeface="Calibri" pitchFamily="34" charset="0"/>
                  <a:ea typeface="宋体" pitchFamily="2" charset="-122"/>
                </a:endParaRPr>
              </a:p>
            </p:txBody>
          </p:sp>
          <p:sp>
            <p:nvSpPr>
              <p:cNvPr id="21" name="文本框 20"/>
              <p:cNvSpPr txBox="1"/>
              <p:nvPr/>
            </p:nvSpPr>
            <p:spPr>
              <a:xfrm>
                <a:off x="1857110" y="4816835"/>
                <a:ext cx="2386447" cy="686657"/>
              </a:xfrm>
              <a:prstGeom prst="rect">
                <a:avLst/>
              </a:prstGeom>
              <a:noFill/>
            </p:spPr>
            <p:txBody>
              <a:bodyPr wrap="square" lIns="91440" tIns="45720" rIns="91440" bIns="45720" rtlCol="0" anchor="t" anchorCtr="0">
                <a:normAutofit/>
              </a:bodyPr>
              <a:lstStyle/>
              <a:p>
                <a:pPr>
                  <a:lnSpc>
                    <a:spcPct val="120000"/>
                  </a:lnSpc>
                </a:pPr>
                <a:r>
                  <a:rPr lang="da-DK" altLang="zh-CN" sz="1200">
                    <a:latin typeface="Calibri" pitchFamily="34" charset="0"/>
                    <a:ea typeface="宋体" pitchFamily="2" charset="-122"/>
                  </a:rPr>
                  <a:t>Rebum sanctus voluptua consetetur stet erat placerat.</a:t>
                </a:r>
                <a:endParaRPr lang="zh-CN" altLang="en-US" sz="1200" dirty="0">
                  <a:latin typeface="Calibri" pitchFamily="34" charset="0"/>
                  <a:ea typeface="宋体" pitchFamily="2" charset="-122"/>
                </a:endParaRPr>
              </a:p>
            </p:txBody>
          </p:sp>
          <p:sp>
            <p:nvSpPr>
              <p:cNvPr id="7" name="任意多边形: 形状 6"/>
              <p:cNvSpPr/>
              <p:nvPr/>
            </p:nvSpPr>
            <p:spPr>
              <a:xfrm flipV="1">
                <a:off x="4292600" y="3987800"/>
                <a:ext cx="1797050" cy="1797050"/>
              </a:xfrm>
              <a:custGeom>
                <a:avLst/>
                <a:gdLst>
                  <a:gd name="connsiteX0" fmla="*/ 1962150 w 1962150"/>
                  <a:gd name="connsiteY0" fmla="*/ 0 h 1962150"/>
                  <a:gd name="connsiteX1" fmla="*/ 1962150 w 1962150"/>
                  <a:gd name="connsiteY1" fmla="*/ 1962150 h 1962150"/>
                  <a:gd name="connsiteX2" fmla="*/ 0 w 1962150"/>
                  <a:gd name="connsiteY2" fmla="*/ 1962150 h 1962150"/>
                  <a:gd name="connsiteX3" fmla="*/ 1962150 w 1962150"/>
                  <a:gd name="connsiteY3" fmla="*/ 0 h 1962150"/>
                </a:gdLst>
                <a:ahLst/>
                <a:cxnLst>
                  <a:cxn ang="0">
                    <a:pos x="connsiteX0" y="connsiteY0"/>
                  </a:cxn>
                  <a:cxn ang="0">
                    <a:pos x="connsiteX1" y="connsiteY1"/>
                  </a:cxn>
                  <a:cxn ang="0">
                    <a:pos x="connsiteX2" y="connsiteY2"/>
                  </a:cxn>
                  <a:cxn ang="0">
                    <a:pos x="connsiteX3" y="connsiteY3"/>
                  </a:cxn>
                </a:cxnLst>
                <a:rect l="l" t="t" r="r" b="b"/>
                <a:pathLst>
                  <a:path w="1962150" h="1962150">
                    <a:moveTo>
                      <a:pt x="1962150" y="0"/>
                    </a:moveTo>
                    <a:lnTo>
                      <a:pt x="1962150" y="1962150"/>
                    </a:lnTo>
                    <a:lnTo>
                      <a:pt x="0" y="1962150"/>
                    </a:lnTo>
                    <a:cubicBezTo>
                      <a:pt x="0" y="878484"/>
                      <a:pt x="878484" y="0"/>
                      <a:pt x="1962150" y="0"/>
                    </a:cubicBezTo>
                    <a:close/>
                  </a:path>
                </a:pathLst>
              </a:custGeom>
              <a:solidFill>
                <a:schemeClr val="accent4"/>
              </a:solidFill>
              <a:ln w="44450">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34" name="任意多边形: 形状 33"/>
              <p:cNvSpPr>
                <a:spLocks noChangeAspect="1"/>
              </p:cNvSpPr>
              <p:nvPr/>
            </p:nvSpPr>
            <p:spPr bwMode="auto">
              <a:xfrm>
                <a:off x="4984694" y="4680321"/>
                <a:ext cx="404280" cy="448456"/>
              </a:xfrm>
              <a:custGeom>
                <a:avLst/>
                <a:gdLst>
                  <a:gd name="connsiteX0" fmla="*/ 362430 w 495300"/>
                  <a:gd name="connsiteY0" fmla="*/ 621 h 533400"/>
                  <a:gd name="connsiteX1" fmla="*/ 400530 w 495300"/>
                  <a:gd name="connsiteY1" fmla="*/ 38721 h 533400"/>
                  <a:gd name="connsiteX2" fmla="*/ 400530 w 495300"/>
                  <a:gd name="connsiteY2" fmla="*/ 38721 h 533400"/>
                  <a:gd name="connsiteX3" fmla="*/ 400530 w 495300"/>
                  <a:gd name="connsiteY3" fmla="*/ 124446 h 533400"/>
                  <a:gd name="connsiteX4" fmla="*/ 362430 w 495300"/>
                  <a:gd name="connsiteY4" fmla="*/ 162546 h 533400"/>
                  <a:gd name="connsiteX5" fmla="*/ 362430 w 495300"/>
                  <a:gd name="connsiteY5" fmla="*/ 162546 h 533400"/>
                  <a:gd name="connsiteX6" fmla="*/ 257655 w 495300"/>
                  <a:gd name="connsiteY6" fmla="*/ 162546 h 533400"/>
                  <a:gd name="connsiteX7" fmla="*/ 257655 w 495300"/>
                  <a:gd name="connsiteY7" fmla="*/ 295896 h 533400"/>
                  <a:gd name="connsiteX8" fmla="*/ 419580 w 495300"/>
                  <a:gd name="connsiteY8" fmla="*/ 295896 h 533400"/>
                  <a:gd name="connsiteX9" fmla="*/ 457680 w 495300"/>
                  <a:gd name="connsiteY9" fmla="*/ 332091 h 533400"/>
                  <a:gd name="connsiteX10" fmla="*/ 457680 w 495300"/>
                  <a:gd name="connsiteY10" fmla="*/ 333996 h 533400"/>
                  <a:gd name="connsiteX11" fmla="*/ 457680 w 495300"/>
                  <a:gd name="connsiteY11" fmla="*/ 438771 h 533400"/>
                  <a:gd name="connsiteX12" fmla="*/ 467205 w 495300"/>
                  <a:gd name="connsiteY12" fmla="*/ 438771 h 533400"/>
                  <a:gd name="connsiteX13" fmla="*/ 495780 w 495300"/>
                  <a:gd name="connsiteY13" fmla="*/ 465441 h 533400"/>
                  <a:gd name="connsiteX14" fmla="*/ 495780 w 495300"/>
                  <a:gd name="connsiteY14" fmla="*/ 467346 h 533400"/>
                  <a:gd name="connsiteX15" fmla="*/ 495780 w 495300"/>
                  <a:gd name="connsiteY15" fmla="*/ 505446 h 533400"/>
                  <a:gd name="connsiteX16" fmla="*/ 467205 w 495300"/>
                  <a:gd name="connsiteY16" fmla="*/ 534021 h 533400"/>
                  <a:gd name="connsiteX17" fmla="*/ 467205 w 495300"/>
                  <a:gd name="connsiteY17" fmla="*/ 534021 h 533400"/>
                  <a:gd name="connsiteX18" fmla="*/ 429105 w 495300"/>
                  <a:gd name="connsiteY18" fmla="*/ 534021 h 533400"/>
                  <a:gd name="connsiteX19" fmla="*/ 400530 w 495300"/>
                  <a:gd name="connsiteY19" fmla="*/ 505446 h 533400"/>
                  <a:gd name="connsiteX20" fmla="*/ 400530 w 495300"/>
                  <a:gd name="connsiteY20" fmla="*/ 505446 h 533400"/>
                  <a:gd name="connsiteX21" fmla="*/ 400530 w 495300"/>
                  <a:gd name="connsiteY21" fmla="*/ 467346 h 533400"/>
                  <a:gd name="connsiteX22" fmla="*/ 429105 w 495300"/>
                  <a:gd name="connsiteY22" fmla="*/ 438771 h 533400"/>
                  <a:gd name="connsiteX23" fmla="*/ 429105 w 495300"/>
                  <a:gd name="connsiteY23" fmla="*/ 438771 h 533400"/>
                  <a:gd name="connsiteX24" fmla="*/ 438630 w 495300"/>
                  <a:gd name="connsiteY24" fmla="*/ 438771 h 533400"/>
                  <a:gd name="connsiteX25" fmla="*/ 438630 w 495300"/>
                  <a:gd name="connsiteY25" fmla="*/ 333996 h 533400"/>
                  <a:gd name="connsiteX26" fmla="*/ 420533 w 495300"/>
                  <a:gd name="connsiteY26" fmla="*/ 314946 h 533400"/>
                  <a:gd name="connsiteX27" fmla="*/ 419580 w 495300"/>
                  <a:gd name="connsiteY27" fmla="*/ 314946 h 533400"/>
                  <a:gd name="connsiteX28" fmla="*/ 257655 w 495300"/>
                  <a:gd name="connsiteY28" fmla="*/ 314946 h 533400"/>
                  <a:gd name="connsiteX29" fmla="*/ 257655 w 495300"/>
                  <a:gd name="connsiteY29" fmla="*/ 438771 h 533400"/>
                  <a:gd name="connsiteX30" fmla="*/ 267180 w 495300"/>
                  <a:gd name="connsiteY30" fmla="*/ 438771 h 533400"/>
                  <a:gd name="connsiteX31" fmla="*/ 295755 w 495300"/>
                  <a:gd name="connsiteY31" fmla="*/ 465441 h 533400"/>
                  <a:gd name="connsiteX32" fmla="*/ 295755 w 495300"/>
                  <a:gd name="connsiteY32" fmla="*/ 467346 h 533400"/>
                  <a:gd name="connsiteX33" fmla="*/ 295755 w 495300"/>
                  <a:gd name="connsiteY33" fmla="*/ 505446 h 533400"/>
                  <a:gd name="connsiteX34" fmla="*/ 267180 w 495300"/>
                  <a:gd name="connsiteY34" fmla="*/ 534021 h 533400"/>
                  <a:gd name="connsiteX35" fmla="*/ 267180 w 495300"/>
                  <a:gd name="connsiteY35" fmla="*/ 534021 h 533400"/>
                  <a:gd name="connsiteX36" fmla="*/ 229080 w 495300"/>
                  <a:gd name="connsiteY36" fmla="*/ 534021 h 533400"/>
                  <a:gd name="connsiteX37" fmla="*/ 200505 w 495300"/>
                  <a:gd name="connsiteY37" fmla="*/ 505446 h 533400"/>
                  <a:gd name="connsiteX38" fmla="*/ 200505 w 495300"/>
                  <a:gd name="connsiteY38" fmla="*/ 505446 h 533400"/>
                  <a:gd name="connsiteX39" fmla="*/ 200505 w 495300"/>
                  <a:gd name="connsiteY39" fmla="*/ 467346 h 533400"/>
                  <a:gd name="connsiteX40" fmla="*/ 229080 w 495300"/>
                  <a:gd name="connsiteY40" fmla="*/ 438771 h 533400"/>
                  <a:gd name="connsiteX41" fmla="*/ 229080 w 495300"/>
                  <a:gd name="connsiteY41" fmla="*/ 438771 h 533400"/>
                  <a:gd name="connsiteX42" fmla="*/ 238605 w 495300"/>
                  <a:gd name="connsiteY42" fmla="*/ 438771 h 533400"/>
                  <a:gd name="connsiteX43" fmla="*/ 238605 w 495300"/>
                  <a:gd name="connsiteY43" fmla="*/ 314946 h 533400"/>
                  <a:gd name="connsiteX44" fmla="*/ 76680 w 495300"/>
                  <a:gd name="connsiteY44" fmla="*/ 314946 h 533400"/>
                  <a:gd name="connsiteX45" fmla="*/ 57630 w 495300"/>
                  <a:gd name="connsiteY45" fmla="*/ 333044 h 533400"/>
                  <a:gd name="connsiteX46" fmla="*/ 57630 w 495300"/>
                  <a:gd name="connsiteY46" fmla="*/ 333996 h 533400"/>
                  <a:gd name="connsiteX47" fmla="*/ 57630 w 495300"/>
                  <a:gd name="connsiteY47" fmla="*/ 438771 h 533400"/>
                  <a:gd name="connsiteX48" fmla="*/ 67155 w 495300"/>
                  <a:gd name="connsiteY48" fmla="*/ 438771 h 533400"/>
                  <a:gd name="connsiteX49" fmla="*/ 95730 w 495300"/>
                  <a:gd name="connsiteY49" fmla="*/ 465441 h 533400"/>
                  <a:gd name="connsiteX50" fmla="*/ 95730 w 495300"/>
                  <a:gd name="connsiteY50" fmla="*/ 467346 h 533400"/>
                  <a:gd name="connsiteX51" fmla="*/ 95730 w 495300"/>
                  <a:gd name="connsiteY51" fmla="*/ 505446 h 533400"/>
                  <a:gd name="connsiteX52" fmla="*/ 67155 w 495300"/>
                  <a:gd name="connsiteY52" fmla="*/ 534021 h 533400"/>
                  <a:gd name="connsiteX53" fmla="*/ 67155 w 495300"/>
                  <a:gd name="connsiteY53" fmla="*/ 534021 h 533400"/>
                  <a:gd name="connsiteX54" fmla="*/ 29055 w 495300"/>
                  <a:gd name="connsiteY54" fmla="*/ 534021 h 533400"/>
                  <a:gd name="connsiteX55" fmla="*/ 480 w 495300"/>
                  <a:gd name="connsiteY55" fmla="*/ 505446 h 533400"/>
                  <a:gd name="connsiteX56" fmla="*/ 480 w 495300"/>
                  <a:gd name="connsiteY56" fmla="*/ 505446 h 533400"/>
                  <a:gd name="connsiteX57" fmla="*/ 480 w 495300"/>
                  <a:gd name="connsiteY57" fmla="*/ 467346 h 533400"/>
                  <a:gd name="connsiteX58" fmla="*/ 29055 w 495300"/>
                  <a:gd name="connsiteY58" fmla="*/ 438771 h 533400"/>
                  <a:gd name="connsiteX59" fmla="*/ 29055 w 495300"/>
                  <a:gd name="connsiteY59" fmla="*/ 438771 h 533400"/>
                  <a:gd name="connsiteX60" fmla="*/ 38580 w 495300"/>
                  <a:gd name="connsiteY60" fmla="*/ 438771 h 533400"/>
                  <a:gd name="connsiteX61" fmla="*/ 38580 w 495300"/>
                  <a:gd name="connsiteY61" fmla="*/ 333996 h 533400"/>
                  <a:gd name="connsiteX62" fmla="*/ 74775 w 495300"/>
                  <a:gd name="connsiteY62" fmla="*/ 295896 h 533400"/>
                  <a:gd name="connsiteX63" fmla="*/ 76680 w 495300"/>
                  <a:gd name="connsiteY63" fmla="*/ 295896 h 533400"/>
                  <a:gd name="connsiteX64" fmla="*/ 238605 w 495300"/>
                  <a:gd name="connsiteY64" fmla="*/ 295896 h 533400"/>
                  <a:gd name="connsiteX65" fmla="*/ 238605 w 495300"/>
                  <a:gd name="connsiteY65" fmla="*/ 162546 h 533400"/>
                  <a:gd name="connsiteX66" fmla="*/ 133830 w 495300"/>
                  <a:gd name="connsiteY66" fmla="*/ 162546 h 533400"/>
                  <a:gd name="connsiteX67" fmla="*/ 95730 w 495300"/>
                  <a:gd name="connsiteY67" fmla="*/ 126351 h 533400"/>
                  <a:gd name="connsiteX68" fmla="*/ 95730 w 495300"/>
                  <a:gd name="connsiteY68" fmla="*/ 124446 h 533400"/>
                  <a:gd name="connsiteX69" fmla="*/ 95730 w 495300"/>
                  <a:gd name="connsiteY69" fmla="*/ 38721 h 533400"/>
                  <a:gd name="connsiteX70" fmla="*/ 133830 w 495300"/>
                  <a:gd name="connsiteY70" fmla="*/ 621 h 533400"/>
                  <a:gd name="connsiteX71" fmla="*/ 133830 w 495300"/>
                  <a:gd name="connsiteY71" fmla="*/ 621 h 533400"/>
                  <a:gd name="connsiteX72" fmla="*/ 362430 w 495300"/>
                  <a:gd name="connsiteY72" fmla="*/ 621 h 533400"/>
                  <a:gd name="connsiteX73" fmla="*/ 67155 w 495300"/>
                  <a:gd name="connsiteY73" fmla="*/ 457821 h 533400"/>
                  <a:gd name="connsiteX74" fmla="*/ 29055 w 495300"/>
                  <a:gd name="connsiteY74" fmla="*/ 457821 h 533400"/>
                  <a:gd name="connsiteX75" fmla="*/ 19530 w 495300"/>
                  <a:gd name="connsiteY75" fmla="*/ 467346 h 533400"/>
                  <a:gd name="connsiteX76" fmla="*/ 19530 w 495300"/>
                  <a:gd name="connsiteY76" fmla="*/ 467346 h 533400"/>
                  <a:gd name="connsiteX77" fmla="*/ 19530 w 495300"/>
                  <a:gd name="connsiteY77" fmla="*/ 505446 h 533400"/>
                  <a:gd name="connsiteX78" fmla="*/ 29055 w 495300"/>
                  <a:gd name="connsiteY78" fmla="*/ 514971 h 533400"/>
                  <a:gd name="connsiteX79" fmla="*/ 29055 w 495300"/>
                  <a:gd name="connsiteY79" fmla="*/ 514971 h 533400"/>
                  <a:gd name="connsiteX80" fmla="*/ 67155 w 495300"/>
                  <a:gd name="connsiteY80" fmla="*/ 514971 h 533400"/>
                  <a:gd name="connsiteX81" fmla="*/ 76680 w 495300"/>
                  <a:gd name="connsiteY81" fmla="*/ 505446 h 533400"/>
                  <a:gd name="connsiteX82" fmla="*/ 76680 w 495300"/>
                  <a:gd name="connsiteY82" fmla="*/ 505446 h 533400"/>
                  <a:gd name="connsiteX83" fmla="*/ 76680 w 495300"/>
                  <a:gd name="connsiteY83" fmla="*/ 467346 h 533400"/>
                  <a:gd name="connsiteX84" fmla="*/ 67155 w 495300"/>
                  <a:gd name="connsiteY84" fmla="*/ 457821 h 533400"/>
                  <a:gd name="connsiteX85" fmla="*/ 67155 w 495300"/>
                  <a:gd name="connsiteY85" fmla="*/ 457821 h 533400"/>
                  <a:gd name="connsiteX86" fmla="*/ 267180 w 495300"/>
                  <a:gd name="connsiteY86" fmla="*/ 457821 h 533400"/>
                  <a:gd name="connsiteX87" fmla="*/ 229080 w 495300"/>
                  <a:gd name="connsiteY87" fmla="*/ 457821 h 533400"/>
                  <a:gd name="connsiteX88" fmla="*/ 219555 w 495300"/>
                  <a:gd name="connsiteY88" fmla="*/ 467346 h 533400"/>
                  <a:gd name="connsiteX89" fmla="*/ 219555 w 495300"/>
                  <a:gd name="connsiteY89" fmla="*/ 467346 h 533400"/>
                  <a:gd name="connsiteX90" fmla="*/ 219555 w 495300"/>
                  <a:gd name="connsiteY90" fmla="*/ 505446 h 533400"/>
                  <a:gd name="connsiteX91" fmla="*/ 229080 w 495300"/>
                  <a:gd name="connsiteY91" fmla="*/ 514971 h 533400"/>
                  <a:gd name="connsiteX92" fmla="*/ 229080 w 495300"/>
                  <a:gd name="connsiteY92" fmla="*/ 514971 h 533400"/>
                  <a:gd name="connsiteX93" fmla="*/ 267180 w 495300"/>
                  <a:gd name="connsiteY93" fmla="*/ 514971 h 533400"/>
                  <a:gd name="connsiteX94" fmla="*/ 276705 w 495300"/>
                  <a:gd name="connsiteY94" fmla="*/ 505446 h 533400"/>
                  <a:gd name="connsiteX95" fmla="*/ 276705 w 495300"/>
                  <a:gd name="connsiteY95" fmla="*/ 505446 h 533400"/>
                  <a:gd name="connsiteX96" fmla="*/ 276705 w 495300"/>
                  <a:gd name="connsiteY96" fmla="*/ 467346 h 533400"/>
                  <a:gd name="connsiteX97" fmla="*/ 267180 w 495300"/>
                  <a:gd name="connsiteY97" fmla="*/ 457821 h 533400"/>
                  <a:gd name="connsiteX98" fmla="*/ 267180 w 495300"/>
                  <a:gd name="connsiteY98" fmla="*/ 457821 h 533400"/>
                  <a:gd name="connsiteX99" fmla="*/ 467205 w 495300"/>
                  <a:gd name="connsiteY99" fmla="*/ 457821 h 533400"/>
                  <a:gd name="connsiteX100" fmla="*/ 429105 w 495300"/>
                  <a:gd name="connsiteY100" fmla="*/ 457821 h 533400"/>
                  <a:gd name="connsiteX101" fmla="*/ 419580 w 495300"/>
                  <a:gd name="connsiteY101" fmla="*/ 467346 h 533400"/>
                  <a:gd name="connsiteX102" fmla="*/ 419580 w 495300"/>
                  <a:gd name="connsiteY102" fmla="*/ 467346 h 533400"/>
                  <a:gd name="connsiteX103" fmla="*/ 419580 w 495300"/>
                  <a:gd name="connsiteY103" fmla="*/ 505446 h 533400"/>
                  <a:gd name="connsiteX104" fmla="*/ 429105 w 495300"/>
                  <a:gd name="connsiteY104" fmla="*/ 514971 h 533400"/>
                  <a:gd name="connsiteX105" fmla="*/ 429105 w 495300"/>
                  <a:gd name="connsiteY105" fmla="*/ 514971 h 533400"/>
                  <a:gd name="connsiteX106" fmla="*/ 467205 w 495300"/>
                  <a:gd name="connsiteY106" fmla="*/ 514971 h 533400"/>
                  <a:gd name="connsiteX107" fmla="*/ 476730 w 495300"/>
                  <a:gd name="connsiteY107" fmla="*/ 505446 h 533400"/>
                  <a:gd name="connsiteX108" fmla="*/ 476730 w 495300"/>
                  <a:gd name="connsiteY108" fmla="*/ 505446 h 533400"/>
                  <a:gd name="connsiteX109" fmla="*/ 476730 w 495300"/>
                  <a:gd name="connsiteY109" fmla="*/ 467346 h 533400"/>
                  <a:gd name="connsiteX110" fmla="*/ 467205 w 495300"/>
                  <a:gd name="connsiteY110" fmla="*/ 457821 h 533400"/>
                  <a:gd name="connsiteX111" fmla="*/ 467205 w 495300"/>
                  <a:gd name="connsiteY111" fmla="*/ 457821 h 533400"/>
                  <a:gd name="connsiteX112" fmla="*/ 362430 w 495300"/>
                  <a:gd name="connsiteY112" fmla="*/ 19671 h 533400"/>
                  <a:gd name="connsiteX113" fmla="*/ 133830 w 495300"/>
                  <a:gd name="connsiteY113" fmla="*/ 19671 h 533400"/>
                  <a:gd name="connsiteX114" fmla="*/ 114780 w 495300"/>
                  <a:gd name="connsiteY114" fmla="*/ 38721 h 533400"/>
                  <a:gd name="connsiteX115" fmla="*/ 114780 w 495300"/>
                  <a:gd name="connsiteY115" fmla="*/ 38721 h 533400"/>
                  <a:gd name="connsiteX116" fmla="*/ 114780 w 495300"/>
                  <a:gd name="connsiteY116" fmla="*/ 124446 h 533400"/>
                  <a:gd name="connsiteX117" fmla="*/ 133830 w 495300"/>
                  <a:gd name="connsiteY117" fmla="*/ 143496 h 533400"/>
                  <a:gd name="connsiteX118" fmla="*/ 133830 w 495300"/>
                  <a:gd name="connsiteY118" fmla="*/ 143496 h 533400"/>
                  <a:gd name="connsiteX119" fmla="*/ 362430 w 495300"/>
                  <a:gd name="connsiteY119" fmla="*/ 143496 h 533400"/>
                  <a:gd name="connsiteX120" fmla="*/ 381480 w 495300"/>
                  <a:gd name="connsiteY120" fmla="*/ 124446 h 533400"/>
                  <a:gd name="connsiteX121" fmla="*/ 381480 w 495300"/>
                  <a:gd name="connsiteY121" fmla="*/ 124446 h 533400"/>
                  <a:gd name="connsiteX122" fmla="*/ 381480 w 495300"/>
                  <a:gd name="connsiteY122" fmla="*/ 38721 h 533400"/>
                  <a:gd name="connsiteX123" fmla="*/ 362430 w 495300"/>
                  <a:gd name="connsiteY123" fmla="*/ 19671 h 533400"/>
                  <a:gd name="connsiteX124" fmla="*/ 362430 w 495300"/>
                  <a:gd name="connsiteY124" fmla="*/ 19671 h 533400"/>
                  <a:gd name="connsiteX125" fmla="*/ 157643 w 495300"/>
                  <a:gd name="connsiteY125" fmla="*/ 86346 h 533400"/>
                  <a:gd name="connsiteX126" fmla="*/ 171930 w 495300"/>
                  <a:gd name="connsiteY126" fmla="*/ 100634 h 533400"/>
                  <a:gd name="connsiteX127" fmla="*/ 157643 w 495300"/>
                  <a:gd name="connsiteY127" fmla="*/ 114921 h 533400"/>
                  <a:gd name="connsiteX128" fmla="*/ 143355 w 495300"/>
                  <a:gd name="connsiteY128" fmla="*/ 100634 h 533400"/>
                  <a:gd name="connsiteX129" fmla="*/ 157643 w 495300"/>
                  <a:gd name="connsiteY129" fmla="*/ 86346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Lst>
                <a:rect l="l" t="t" r="r" b="b"/>
                <a:pathLst>
                  <a:path w="495300" h="533400">
                    <a:moveTo>
                      <a:pt x="362430" y="621"/>
                    </a:moveTo>
                    <a:cubicBezTo>
                      <a:pt x="383385" y="621"/>
                      <a:pt x="400530" y="17766"/>
                      <a:pt x="400530" y="38721"/>
                    </a:cubicBezTo>
                    <a:lnTo>
                      <a:pt x="400530" y="38721"/>
                    </a:lnTo>
                    <a:lnTo>
                      <a:pt x="400530" y="124446"/>
                    </a:lnTo>
                    <a:cubicBezTo>
                      <a:pt x="400530" y="145401"/>
                      <a:pt x="383385" y="162546"/>
                      <a:pt x="362430" y="162546"/>
                    </a:cubicBezTo>
                    <a:lnTo>
                      <a:pt x="362430" y="162546"/>
                    </a:lnTo>
                    <a:lnTo>
                      <a:pt x="257655" y="162546"/>
                    </a:lnTo>
                    <a:lnTo>
                      <a:pt x="257655" y="295896"/>
                    </a:lnTo>
                    <a:lnTo>
                      <a:pt x="419580" y="295896"/>
                    </a:lnTo>
                    <a:cubicBezTo>
                      <a:pt x="439583" y="295896"/>
                      <a:pt x="456727" y="312089"/>
                      <a:pt x="457680" y="332091"/>
                    </a:cubicBezTo>
                    <a:lnTo>
                      <a:pt x="457680" y="333996"/>
                    </a:lnTo>
                    <a:lnTo>
                      <a:pt x="457680" y="438771"/>
                    </a:lnTo>
                    <a:lnTo>
                      <a:pt x="467205" y="438771"/>
                    </a:lnTo>
                    <a:cubicBezTo>
                      <a:pt x="482445" y="438771"/>
                      <a:pt x="494827" y="450201"/>
                      <a:pt x="495780" y="465441"/>
                    </a:cubicBezTo>
                    <a:lnTo>
                      <a:pt x="495780" y="467346"/>
                    </a:lnTo>
                    <a:lnTo>
                      <a:pt x="495780" y="505446"/>
                    </a:lnTo>
                    <a:cubicBezTo>
                      <a:pt x="495780" y="521639"/>
                      <a:pt x="483398" y="534021"/>
                      <a:pt x="467205" y="534021"/>
                    </a:cubicBezTo>
                    <a:lnTo>
                      <a:pt x="467205" y="534021"/>
                    </a:lnTo>
                    <a:lnTo>
                      <a:pt x="429105" y="534021"/>
                    </a:lnTo>
                    <a:cubicBezTo>
                      <a:pt x="412912" y="534021"/>
                      <a:pt x="400530" y="521639"/>
                      <a:pt x="400530" y="505446"/>
                    </a:cubicBezTo>
                    <a:lnTo>
                      <a:pt x="400530" y="505446"/>
                    </a:lnTo>
                    <a:lnTo>
                      <a:pt x="400530" y="467346"/>
                    </a:lnTo>
                    <a:cubicBezTo>
                      <a:pt x="400530" y="451153"/>
                      <a:pt x="412912" y="438771"/>
                      <a:pt x="429105" y="438771"/>
                    </a:cubicBezTo>
                    <a:lnTo>
                      <a:pt x="429105" y="438771"/>
                    </a:lnTo>
                    <a:lnTo>
                      <a:pt x="438630" y="438771"/>
                    </a:lnTo>
                    <a:lnTo>
                      <a:pt x="438630" y="333996"/>
                    </a:lnTo>
                    <a:cubicBezTo>
                      <a:pt x="438630" y="323519"/>
                      <a:pt x="431010" y="315898"/>
                      <a:pt x="420533" y="314946"/>
                    </a:cubicBezTo>
                    <a:lnTo>
                      <a:pt x="419580" y="314946"/>
                    </a:lnTo>
                    <a:lnTo>
                      <a:pt x="257655" y="314946"/>
                    </a:lnTo>
                    <a:lnTo>
                      <a:pt x="257655" y="438771"/>
                    </a:lnTo>
                    <a:lnTo>
                      <a:pt x="267180" y="438771"/>
                    </a:lnTo>
                    <a:cubicBezTo>
                      <a:pt x="282420" y="438771"/>
                      <a:pt x="294802" y="450201"/>
                      <a:pt x="295755" y="465441"/>
                    </a:cubicBezTo>
                    <a:lnTo>
                      <a:pt x="295755" y="467346"/>
                    </a:lnTo>
                    <a:lnTo>
                      <a:pt x="295755" y="505446"/>
                    </a:lnTo>
                    <a:cubicBezTo>
                      <a:pt x="295755" y="521639"/>
                      <a:pt x="283373" y="534021"/>
                      <a:pt x="267180" y="534021"/>
                    </a:cubicBezTo>
                    <a:lnTo>
                      <a:pt x="267180" y="534021"/>
                    </a:lnTo>
                    <a:lnTo>
                      <a:pt x="229080" y="534021"/>
                    </a:lnTo>
                    <a:cubicBezTo>
                      <a:pt x="212887" y="534021"/>
                      <a:pt x="200505" y="521639"/>
                      <a:pt x="200505" y="505446"/>
                    </a:cubicBezTo>
                    <a:lnTo>
                      <a:pt x="200505" y="505446"/>
                    </a:lnTo>
                    <a:lnTo>
                      <a:pt x="200505" y="467346"/>
                    </a:lnTo>
                    <a:cubicBezTo>
                      <a:pt x="200505" y="451153"/>
                      <a:pt x="212887" y="438771"/>
                      <a:pt x="229080" y="438771"/>
                    </a:cubicBezTo>
                    <a:lnTo>
                      <a:pt x="229080" y="438771"/>
                    </a:lnTo>
                    <a:lnTo>
                      <a:pt x="238605" y="438771"/>
                    </a:lnTo>
                    <a:lnTo>
                      <a:pt x="238605" y="314946"/>
                    </a:lnTo>
                    <a:lnTo>
                      <a:pt x="76680" y="314946"/>
                    </a:lnTo>
                    <a:cubicBezTo>
                      <a:pt x="66202" y="314946"/>
                      <a:pt x="58583" y="322566"/>
                      <a:pt x="57630" y="333044"/>
                    </a:cubicBezTo>
                    <a:lnTo>
                      <a:pt x="57630" y="333996"/>
                    </a:lnTo>
                    <a:lnTo>
                      <a:pt x="57630" y="438771"/>
                    </a:lnTo>
                    <a:lnTo>
                      <a:pt x="67155" y="438771"/>
                    </a:lnTo>
                    <a:cubicBezTo>
                      <a:pt x="82395" y="438771"/>
                      <a:pt x="94777" y="450201"/>
                      <a:pt x="95730" y="465441"/>
                    </a:cubicBezTo>
                    <a:lnTo>
                      <a:pt x="95730" y="467346"/>
                    </a:lnTo>
                    <a:lnTo>
                      <a:pt x="95730" y="505446"/>
                    </a:lnTo>
                    <a:cubicBezTo>
                      <a:pt x="95730" y="521639"/>
                      <a:pt x="83348" y="534021"/>
                      <a:pt x="67155" y="534021"/>
                    </a:cubicBezTo>
                    <a:lnTo>
                      <a:pt x="67155" y="534021"/>
                    </a:lnTo>
                    <a:lnTo>
                      <a:pt x="29055" y="534021"/>
                    </a:lnTo>
                    <a:cubicBezTo>
                      <a:pt x="12862" y="534021"/>
                      <a:pt x="480" y="521639"/>
                      <a:pt x="480" y="505446"/>
                    </a:cubicBezTo>
                    <a:lnTo>
                      <a:pt x="480" y="505446"/>
                    </a:lnTo>
                    <a:lnTo>
                      <a:pt x="480" y="467346"/>
                    </a:lnTo>
                    <a:cubicBezTo>
                      <a:pt x="480" y="451153"/>
                      <a:pt x="12862" y="438771"/>
                      <a:pt x="29055" y="438771"/>
                    </a:cubicBezTo>
                    <a:lnTo>
                      <a:pt x="29055" y="438771"/>
                    </a:lnTo>
                    <a:lnTo>
                      <a:pt x="38580" y="438771"/>
                    </a:lnTo>
                    <a:lnTo>
                      <a:pt x="38580" y="333996"/>
                    </a:lnTo>
                    <a:cubicBezTo>
                      <a:pt x="38580" y="313994"/>
                      <a:pt x="54773" y="296848"/>
                      <a:pt x="74775" y="295896"/>
                    </a:cubicBezTo>
                    <a:lnTo>
                      <a:pt x="76680" y="295896"/>
                    </a:lnTo>
                    <a:lnTo>
                      <a:pt x="238605" y="295896"/>
                    </a:lnTo>
                    <a:lnTo>
                      <a:pt x="238605" y="162546"/>
                    </a:lnTo>
                    <a:lnTo>
                      <a:pt x="133830" y="162546"/>
                    </a:lnTo>
                    <a:cubicBezTo>
                      <a:pt x="113827" y="162546"/>
                      <a:pt x="96683" y="146353"/>
                      <a:pt x="95730" y="126351"/>
                    </a:cubicBezTo>
                    <a:lnTo>
                      <a:pt x="95730" y="124446"/>
                    </a:lnTo>
                    <a:lnTo>
                      <a:pt x="95730" y="38721"/>
                    </a:lnTo>
                    <a:cubicBezTo>
                      <a:pt x="95730" y="17766"/>
                      <a:pt x="112875" y="621"/>
                      <a:pt x="133830" y="621"/>
                    </a:cubicBezTo>
                    <a:lnTo>
                      <a:pt x="133830" y="621"/>
                    </a:lnTo>
                    <a:lnTo>
                      <a:pt x="362430" y="621"/>
                    </a:lnTo>
                    <a:close/>
                    <a:moveTo>
                      <a:pt x="67155" y="457821"/>
                    </a:moveTo>
                    <a:lnTo>
                      <a:pt x="29055" y="457821"/>
                    </a:lnTo>
                    <a:cubicBezTo>
                      <a:pt x="23340" y="457821"/>
                      <a:pt x="19530" y="461631"/>
                      <a:pt x="19530" y="467346"/>
                    </a:cubicBezTo>
                    <a:lnTo>
                      <a:pt x="19530" y="467346"/>
                    </a:lnTo>
                    <a:lnTo>
                      <a:pt x="19530" y="505446"/>
                    </a:lnTo>
                    <a:cubicBezTo>
                      <a:pt x="19530" y="511161"/>
                      <a:pt x="23340" y="514971"/>
                      <a:pt x="29055" y="514971"/>
                    </a:cubicBezTo>
                    <a:lnTo>
                      <a:pt x="29055" y="514971"/>
                    </a:lnTo>
                    <a:lnTo>
                      <a:pt x="67155" y="514971"/>
                    </a:lnTo>
                    <a:cubicBezTo>
                      <a:pt x="72870" y="514971"/>
                      <a:pt x="76680" y="511161"/>
                      <a:pt x="76680" y="505446"/>
                    </a:cubicBezTo>
                    <a:lnTo>
                      <a:pt x="76680" y="505446"/>
                    </a:lnTo>
                    <a:lnTo>
                      <a:pt x="76680" y="467346"/>
                    </a:lnTo>
                    <a:cubicBezTo>
                      <a:pt x="76680" y="461631"/>
                      <a:pt x="72870" y="457821"/>
                      <a:pt x="67155" y="457821"/>
                    </a:cubicBezTo>
                    <a:lnTo>
                      <a:pt x="67155" y="457821"/>
                    </a:lnTo>
                    <a:close/>
                    <a:moveTo>
                      <a:pt x="267180" y="457821"/>
                    </a:moveTo>
                    <a:lnTo>
                      <a:pt x="229080" y="457821"/>
                    </a:lnTo>
                    <a:cubicBezTo>
                      <a:pt x="223365" y="457821"/>
                      <a:pt x="219555" y="461631"/>
                      <a:pt x="219555" y="467346"/>
                    </a:cubicBezTo>
                    <a:lnTo>
                      <a:pt x="219555" y="467346"/>
                    </a:lnTo>
                    <a:lnTo>
                      <a:pt x="219555" y="505446"/>
                    </a:lnTo>
                    <a:cubicBezTo>
                      <a:pt x="219555" y="511161"/>
                      <a:pt x="223365" y="514971"/>
                      <a:pt x="229080" y="514971"/>
                    </a:cubicBezTo>
                    <a:lnTo>
                      <a:pt x="229080" y="514971"/>
                    </a:lnTo>
                    <a:lnTo>
                      <a:pt x="267180" y="514971"/>
                    </a:lnTo>
                    <a:cubicBezTo>
                      <a:pt x="272895" y="514971"/>
                      <a:pt x="276705" y="511161"/>
                      <a:pt x="276705" y="505446"/>
                    </a:cubicBezTo>
                    <a:lnTo>
                      <a:pt x="276705" y="505446"/>
                    </a:lnTo>
                    <a:lnTo>
                      <a:pt x="276705" y="467346"/>
                    </a:lnTo>
                    <a:cubicBezTo>
                      <a:pt x="276705" y="461631"/>
                      <a:pt x="272895" y="457821"/>
                      <a:pt x="267180" y="457821"/>
                    </a:cubicBezTo>
                    <a:lnTo>
                      <a:pt x="267180" y="457821"/>
                    </a:lnTo>
                    <a:close/>
                    <a:moveTo>
                      <a:pt x="467205" y="457821"/>
                    </a:moveTo>
                    <a:lnTo>
                      <a:pt x="429105" y="457821"/>
                    </a:lnTo>
                    <a:cubicBezTo>
                      <a:pt x="423390" y="457821"/>
                      <a:pt x="419580" y="461631"/>
                      <a:pt x="419580" y="467346"/>
                    </a:cubicBezTo>
                    <a:lnTo>
                      <a:pt x="419580" y="467346"/>
                    </a:lnTo>
                    <a:lnTo>
                      <a:pt x="419580" y="505446"/>
                    </a:lnTo>
                    <a:cubicBezTo>
                      <a:pt x="419580" y="511161"/>
                      <a:pt x="423390" y="514971"/>
                      <a:pt x="429105" y="514971"/>
                    </a:cubicBezTo>
                    <a:lnTo>
                      <a:pt x="429105" y="514971"/>
                    </a:lnTo>
                    <a:lnTo>
                      <a:pt x="467205" y="514971"/>
                    </a:lnTo>
                    <a:cubicBezTo>
                      <a:pt x="472920" y="514971"/>
                      <a:pt x="476730" y="511161"/>
                      <a:pt x="476730" y="505446"/>
                    </a:cubicBezTo>
                    <a:lnTo>
                      <a:pt x="476730" y="505446"/>
                    </a:lnTo>
                    <a:lnTo>
                      <a:pt x="476730" y="467346"/>
                    </a:lnTo>
                    <a:cubicBezTo>
                      <a:pt x="476730" y="461631"/>
                      <a:pt x="472920" y="457821"/>
                      <a:pt x="467205" y="457821"/>
                    </a:cubicBezTo>
                    <a:lnTo>
                      <a:pt x="467205" y="457821"/>
                    </a:lnTo>
                    <a:close/>
                    <a:moveTo>
                      <a:pt x="362430" y="19671"/>
                    </a:moveTo>
                    <a:lnTo>
                      <a:pt x="133830" y="19671"/>
                    </a:lnTo>
                    <a:cubicBezTo>
                      <a:pt x="123352" y="19671"/>
                      <a:pt x="114780" y="28244"/>
                      <a:pt x="114780" y="38721"/>
                    </a:cubicBezTo>
                    <a:lnTo>
                      <a:pt x="114780" y="38721"/>
                    </a:lnTo>
                    <a:lnTo>
                      <a:pt x="114780" y="124446"/>
                    </a:lnTo>
                    <a:cubicBezTo>
                      <a:pt x="114780" y="134923"/>
                      <a:pt x="123352" y="143496"/>
                      <a:pt x="133830" y="143496"/>
                    </a:cubicBezTo>
                    <a:lnTo>
                      <a:pt x="133830" y="143496"/>
                    </a:lnTo>
                    <a:lnTo>
                      <a:pt x="362430" y="143496"/>
                    </a:lnTo>
                    <a:cubicBezTo>
                      <a:pt x="372908" y="143496"/>
                      <a:pt x="381480" y="134923"/>
                      <a:pt x="381480" y="124446"/>
                    </a:cubicBezTo>
                    <a:lnTo>
                      <a:pt x="381480" y="124446"/>
                    </a:lnTo>
                    <a:lnTo>
                      <a:pt x="381480" y="38721"/>
                    </a:lnTo>
                    <a:cubicBezTo>
                      <a:pt x="381480" y="28244"/>
                      <a:pt x="372908" y="19671"/>
                      <a:pt x="362430" y="19671"/>
                    </a:cubicBezTo>
                    <a:lnTo>
                      <a:pt x="362430" y="19671"/>
                    </a:lnTo>
                    <a:close/>
                    <a:moveTo>
                      <a:pt x="157643" y="86346"/>
                    </a:moveTo>
                    <a:cubicBezTo>
                      <a:pt x="165262" y="86346"/>
                      <a:pt x="171930" y="93014"/>
                      <a:pt x="171930" y="100634"/>
                    </a:cubicBezTo>
                    <a:cubicBezTo>
                      <a:pt x="171930" y="108253"/>
                      <a:pt x="165262" y="114921"/>
                      <a:pt x="157643" y="114921"/>
                    </a:cubicBezTo>
                    <a:cubicBezTo>
                      <a:pt x="150023" y="114921"/>
                      <a:pt x="143355" y="108253"/>
                      <a:pt x="143355" y="100634"/>
                    </a:cubicBezTo>
                    <a:cubicBezTo>
                      <a:pt x="143355" y="93014"/>
                      <a:pt x="150023" y="86346"/>
                      <a:pt x="157643" y="86346"/>
                    </a:cubicBezTo>
                    <a:close/>
                  </a:path>
                </a:pathLst>
              </a:custGeom>
              <a:solidFill>
                <a:srgbClr val="FFFFFF"/>
              </a:solidFill>
              <a:ln>
                <a:noFill/>
              </a:ln>
            </p:spPr>
            <p:txBody>
              <a:bodyPr/>
              <a:lstStyle/>
              <a:p>
                <a:endParaRPr lang="zh-CN" altLang="en-US"/>
              </a:p>
            </p:txBody>
          </p:sp>
        </p:grpSp>
        <p:sp>
          <p:nvSpPr>
            <p:cNvPr id="26" name="椭圆 25"/>
            <p:cNvSpPr/>
            <p:nvPr/>
          </p:nvSpPr>
          <p:spPr>
            <a:xfrm>
              <a:off x="5235877" y="3003536"/>
              <a:ext cx="1838988" cy="1838988"/>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sz="2800" b="1" dirty="0">
                  <a:solidFill>
                    <a:schemeClr val="tx1"/>
                  </a:solidFill>
                  <a:latin typeface="Calibri" pitchFamily="34" charset="0"/>
                  <a:ea typeface="宋体" pitchFamily="2" charset="-122"/>
                </a:rPr>
                <a:t>PDCA</a:t>
              </a:r>
              <a:endParaRPr lang="zh-CN" altLang="en-US" sz="2800" b="1" dirty="0">
                <a:solidFill>
                  <a:schemeClr val="tx1"/>
                </a:solidFill>
                <a:latin typeface="Calibri" pitchFamily="34" charset="0"/>
                <a:ea typeface="宋体" pitchFamily="2" charset="-122"/>
              </a:endParaRPr>
            </a:p>
          </p:txBody>
        </p:sp>
        <p:grpSp>
          <p:nvGrpSpPr>
            <p:cNvPr id="50" name="组合 49"/>
            <p:cNvGrpSpPr/>
            <p:nvPr/>
          </p:nvGrpSpPr>
          <p:grpSpPr>
            <a:xfrm>
              <a:off x="4495067" y="2280199"/>
              <a:ext cx="3348771" cy="3364334"/>
              <a:chOff x="4495067" y="2280199"/>
              <a:chExt cx="3348771" cy="3364334"/>
            </a:xfrm>
          </p:grpSpPr>
          <p:sp>
            <p:nvSpPr>
              <p:cNvPr id="22" name="箭头: 下 21"/>
              <p:cNvSpPr/>
              <p:nvPr/>
            </p:nvSpPr>
            <p:spPr>
              <a:xfrm>
                <a:off x="7524629" y="3782446"/>
                <a:ext cx="319209" cy="369874"/>
              </a:xfrm>
              <a:prstGeom prst="downArrow">
                <a:avLst>
                  <a:gd name="adj1" fmla="val 50000"/>
                  <a:gd name="adj2" fmla="val 49889"/>
                </a:avLst>
              </a:prstGeom>
              <a:solidFill>
                <a:schemeClr val="accent2"/>
              </a:solidFill>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 name="箭头: 下 22"/>
              <p:cNvSpPr/>
              <p:nvPr/>
            </p:nvSpPr>
            <p:spPr>
              <a:xfrm flipV="1">
                <a:off x="4495067" y="3679643"/>
                <a:ext cx="319209" cy="369874"/>
              </a:xfrm>
              <a:prstGeom prst="downArrow">
                <a:avLst>
                  <a:gd name="adj1" fmla="val 50000"/>
                  <a:gd name="adj2" fmla="val 49889"/>
                </a:avLst>
              </a:prstGeom>
              <a:solidFill>
                <a:schemeClr val="accent4"/>
              </a:solidFill>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箭头: 下 23"/>
              <p:cNvSpPr/>
              <p:nvPr/>
            </p:nvSpPr>
            <p:spPr>
              <a:xfrm rot="16200000">
                <a:off x="6038983" y="2254867"/>
                <a:ext cx="319209" cy="369874"/>
              </a:xfrm>
              <a:prstGeom prst="downArrow">
                <a:avLst>
                  <a:gd name="adj1" fmla="val 50000"/>
                  <a:gd name="adj2" fmla="val 49889"/>
                </a:avLst>
              </a:prstGeom>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箭头: 下 24"/>
              <p:cNvSpPr/>
              <p:nvPr/>
            </p:nvSpPr>
            <p:spPr>
              <a:xfrm rot="5400000" flipH="1">
                <a:off x="5936395" y="5299992"/>
                <a:ext cx="319209" cy="369874"/>
              </a:xfrm>
              <a:prstGeom prst="downArrow">
                <a:avLst>
                  <a:gd name="adj1" fmla="val 50000"/>
                  <a:gd name="adj2" fmla="val 49889"/>
                </a:avLst>
              </a:prstGeom>
              <a:solidFill>
                <a:schemeClr val="accent3"/>
              </a:solidFill>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组合 2"/>
          <p:cNvGrpSpPr/>
          <p:nvPr/>
        </p:nvGrpSpPr>
        <p:grpSpPr>
          <a:xfrm>
            <a:off x="660401" y="1130299"/>
            <a:ext cx="10858500" cy="5646132"/>
            <a:chOff x="660400" y="1130299"/>
            <a:chExt cx="10858500" cy="5646132"/>
          </a:xfrm>
        </p:grpSpPr>
        <p:sp>
          <p:nvSpPr>
            <p:cNvPr id="13" name="任意多边形: 形状 12"/>
            <p:cNvSpPr/>
            <p:nvPr/>
          </p:nvSpPr>
          <p:spPr>
            <a:xfrm>
              <a:off x="660400" y="1585004"/>
              <a:ext cx="9602249" cy="5191427"/>
            </a:xfrm>
            <a:custGeom>
              <a:avLst/>
              <a:gdLst>
                <a:gd name="connsiteX0" fmla="*/ 9095627 w 9602249"/>
                <a:gd name="connsiteY0" fmla="*/ 1876495 h 5191427"/>
                <a:gd name="connsiteX1" fmla="*/ 8994027 w 9602249"/>
                <a:gd name="connsiteY1" fmla="*/ 1978095 h 5191427"/>
                <a:gd name="connsiteX2" fmla="*/ 9095627 w 9602249"/>
                <a:gd name="connsiteY2" fmla="*/ 2079695 h 5191427"/>
                <a:gd name="connsiteX3" fmla="*/ 9197227 w 9602249"/>
                <a:gd name="connsiteY3" fmla="*/ 1978095 h 5191427"/>
                <a:gd name="connsiteX4" fmla="*/ 9095627 w 9602249"/>
                <a:gd name="connsiteY4" fmla="*/ 1876495 h 5191427"/>
                <a:gd name="connsiteX5" fmla="*/ 8219327 w 9602249"/>
                <a:gd name="connsiteY5" fmla="*/ 1328663 h 5191427"/>
                <a:gd name="connsiteX6" fmla="*/ 8193429 w 9602249"/>
                <a:gd name="connsiteY6" fmla="*/ 1344397 h 5191427"/>
                <a:gd name="connsiteX7" fmla="*/ 7802474 w 9602249"/>
                <a:gd name="connsiteY7" fmla="*/ 2079694 h 5191427"/>
                <a:gd name="connsiteX8" fmla="*/ 8193429 w 9602249"/>
                <a:gd name="connsiteY8" fmla="*/ 2814992 h 5191427"/>
                <a:gd name="connsiteX9" fmla="*/ 8219327 w 9602249"/>
                <a:gd name="connsiteY9" fmla="*/ 2830726 h 5191427"/>
                <a:gd name="connsiteX10" fmla="*/ 8197641 w 9602249"/>
                <a:gd name="connsiteY10" fmla="*/ 2807838 h 5191427"/>
                <a:gd name="connsiteX11" fmla="*/ 7937922 w 9602249"/>
                <a:gd name="connsiteY11" fmla="*/ 2079694 h 5191427"/>
                <a:gd name="connsiteX12" fmla="*/ 8197641 w 9602249"/>
                <a:gd name="connsiteY12" fmla="*/ 1351551 h 5191427"/>
                <a:gd name="connsiteX13" fmla="*/ 4763502 w 9602249"/>
                <a:gd name="connsiteY13" fmla="*/ 0 h 5191427"/>
                <a:gd name="connsiteX14" fmla="*/ 5607408 w 9602249"/>
                <a:gd name="connsiteY14" fmla="*/ 669499 h 5191427"/>
                <a:gd name="connsiteX15" fmla="*/ 5905588 w 9602249"/>
                <a:gd name="connsiteY15" fmla="*/ 715212 h 5191427"/>
                <a:gd name="connsiteX16" fmla="*/ 9602249 w 9602249"/>
                <a:gd name="connsiteY16" fmla="*/ 2205758 h 5191427"/>
                <a:gd name="connsiteX17" fmla="*/ 8611715 w 9602249"/>
                <a:gd name="connsiteY17" fmla="*/ 2976174 h 5191427"/>
                <a:gd name="connsiteX18" fmla="*/ 6951327 w 9602249"/>
                <a:gd name="connsiteY18" fmla="*/ 3168866 h 5191427"/>
                <a:gd name="connsiteX19" fmla="*/ 6020217 w 9602249"/>
                <a:gd name="connsiteY19" fmla="*/ 3560932 h 5191427"/>
                <a:gd name="connsiteX20" fmla="*/ 5930905 w 9602249"/>
                <a:gd name="connsiteY20" fmla="*/ 3560932 h 5191427"/>
                <a:gd name="connsiteX21" fmla="*/ 6099336 w 9602249"/>
                <a:gd name="connsiteY21" fmla="*/ 3237435 h 5191427"/>
                <a:gd name="connsiteX22" fmla="*/ 4900989 w 9602249"/>
                <a:gd name="connsiteY22" fmla="*/ 3210006 h 5191427"/>
                <a:gd name="connsiteX23" fmla="*/ 3814107 w 9602249"/>
                <a:gd name="connsiteY23" fmla="*/ 3586249 h 5191427"/>
                <a:gd name="connsiteX24" fmla="*/ 4061653 w 9602249"/>
                <a:gd name="connsiteY24" fmla="*/ 3099947 h 5191427"/>
                <a:gd name="connsiteX25" fmla="*/ 1777480 w 9602249"/>
                <a:gd name="connsiteY25" fmla="*/ 3223720 h 5191427"/>
                <a:gd name="connsiteX26" fmla="*/ 1392095 w 9602249"/>
                <a:gd name="connsiteY26" fmla="*/ 5191427 h 5191427"/>
                <a:gd name="connsiteX27" fmla="*/ 0 w 9602249"/>
                <a:gd name="connsiteY27" fmla="*/ 3657276 h 5191427"/>
                <a:gd name="connsiteX28" fmla="*/ 1585138 w 9602249"/>
                <a:gd name="connsiteY28" fmla="*/ 3050018 h 5191427"/>
                <a:gd name="connsiteX29" fmla="*/ 3841532 w 9602249"/>
                <a:gd name="connsiteY29" fmla="*/ 931110 h 5191427"/>
                <a:gd name="connsiteX30" fmla="*/ 4763502 w 9602249"/>
                <a:gd name="connsiteY30" fmla="*/ 0 h 5191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602249" h="5191427">
                  <a:moveTo>
                    <a:pt x="9095627" y="1876495"/>
                  </a:moveTo>
                  <a:cubicBezTo>
                    <a:pt x="9039515" y="1876495"/>
                    <a:pt x="8994027" y="1921983"/>
                    <a:pt x="8994027" y="1978095"/>
                  </a:cubicBezTo>
                  <a:cubicBezTo>
                    <a:pt x="8994027" y="2034207"/>
                    <a:pt x="9039515" y="2079695"/>
                    <a:pt x="9095627" y="2079695"/>
                  </a:cubicBezTo>
                  <a:cubicBezTo>
                    <a:pt x="9151739" y="2079695"/>
                    <a:pt x="9197227" y="2034207"/>
                    <a:pt x="9197227" y="1978095"/>
                  </a:cubicBezTo>
                  <a:cubicBezTo>
                    <a:pt x="9197227" y="1921983"/>
                    <a:pt x="9151739" y="1876495"/>
                    <a:pt x="9095627" y="1876495"/>
                  </a:cubicBezTo>
                  <a:close/>
                  <a:moveTo>
                    <a:pt x="8219327" y="1328663"/>
                  </a:moveTo>
                  <a:lnTo>
                    <a:pt x="8193429" y="1344397"/>
                  </a:lnTo>
                  <a:cubicBezTo>
                    <a:pt x="7957555" y="1503750"/>
                    <a:pt x="7802474" y="1773612"/>
                    <a:pt x="7802474" y="2079694"/>
                  </a:cubicBezTo>
                  <a:cubicBezTo>
                    <a:pt x="7802474" y="2385777"/>
                    <a:pt x="7957555" y="2655639"/>
                    <a:pt x="8193429" y="2814992"/>
                  </a:cubicBezTo>
                  <a:lnTo>
                    <a:pt x="8219327" y="2830726"/>
                  </a:lnTo>
                  <a:lnTo>
                    <a:pt x="8197641" y="2807838"/>
                  </a:lnTo>
                  <a:cubicBezTo>
                    <a:pt x="8037173" y="2621490"/>
                    <a:pt x="7937922" y="2364052"/>
                    <a:pt x="7937922" y="2079694"/>
                  </a:cubicBezTo>
                  <a:cubicBezTo>
                    <a:pt x="7937922" y="1795337"/>
                    <a:pt x="8037173" y="1537899"/>
                    <a:pt x="8197641" y="1351551"/>
                  </a:cubicBezTo>
                  <a:close/>
                  <a:moveTo>
                    <a:pt x="4763502" y="0"/>
                  </a:moveTo>
                  <a:cubicBezTo>
                    <a:pt x="4951623" y="59775"/>
                    <a:pt x="5364432" y="284466"/>
                    <a:pt x="5607408" y="669499"/>
                  </a:cubicBezTo>
                  <a:cubicBezTo>
                    <a:pt x="5662613" y="719782"/>
                    <a:pt x="5827525" y="715212"/>
                    <a:pt x="5905588" y="715212"/>
                  </a:cubicBezTo>
                  <a:cubicBezTo>
                    <a:pt x="5983648" y="715212"/>
                    <a:pt x="9134586" y="875905"/>
                    <a:pt x="9602249" y="2205758"/>
                  </a:cubicBezTo>
                  <a:cubicBezTo>
                    <a:pt x="9556539" y="2481083"/>
                    <a:pt x="9143726" y="2856972"/>
                    <a:pt x="8611715" y="2976174"/>
                  </a:cubicBezTo>
                  <a:cubicBezTo>
                    <a:pt x="8079703" y="3095377"/>
                    <a:pt x="7171447" y="3058808"/>
                    <a:pt x="6951327" y="3168866"/>
                  </a:cubicBezTo>
                  <a:cubicBezTo>
                    <a:pt x="6731210" y="3278925"/>
                    <a:pt x="6807863" y="3523307"/>
                    <a:pt x="6020217" y="3560932"/>
                  </a:cubicBezTo>
                  <a:cubicBezTo>
                    <a:pt x="5930905" y="3560932"/>
                    <a:pt x="5930905" y="3560932"/>
                    <a:pt x="5930905" y="3560932"/>
                  </a:cubicBezTo>
                  <a:cubicBezTo>
                    <a:pt x="5930905" y="3560932"/>
                    <a:pt x="6102850" y="3371754"/>
                    <a:pt x="6099336" y="3237435"/>
                  </a:cubicBezTo>
                  <a:cubicBezTo>
                    <a:pt x="5937587" y="3244467"/>
                    <a:pt x="5098251" y="3200865"/>
                    <a:pt x="4900989" y="3210006"/>
                  </a:cubicBezTo>
                  <a:cubicBezTo>
                    <a:pt x="4703723" y="3219150"/>
                    <a:pt x="4648869" y="3604534"/>
                    <a:pt x="3814107" y="3586249"/>
                  </a:cubicBezTo>
                  <a:cubicBezTo>
                    <a:pt x="3974800" y="3411842"/>
                    <a:pt x="4075367" y="3164296"/>
                    <a:pt x="4061653" y="3099947"/>
                  </a:cubicBezTo>
                  <a:cubicBezTo>
                    <a:pt x="4047938" y="3035599"/>
                    <a:pt x="2392124" y="2627711"/>
                    <a:pt x="1777480" y="3223720"/>
                  </a:cubicBezTo>
                  <a:cubicBezTo>
                    <a:pt x="1850969" y="3586600"/>
                    <a:pt x="1919537" y="4645351"/>
                    <a:pt x="1392095" y="5191427"/>
                  </a:cubicBezTo>
                  <a:cubicBezTo>
                    <a:pt x="1392095" y="5191427"/>
                    <a:pt x="1651244" y="3347844"/>
                    <a:pt x="0" y="3657276"/>
                  </a:cubicBezTo>
                  <a:cubicBezTo>
                    <a:pt x="420196" y="3355231"/>
                    <a:pt x="734550" y="3123507"/>
                    <a:pt x="1585138" y="3050018"/>
                  </a:cubicBezTo>
                  <a:cubicBezTo>
                    <a:pt x="1585138" y="3050018"/>
                    <a:pt x="2162863" y="1371347"/>
                    <a:pt x="3841532" y="931110"/>
                  </a:cubicBezTo>
                  <a:cubicBezTo>
                    <a:pt x="4290914" y="765846"/>
                    <a:pt x="4662583" y="357959"/>
                    <a:pt x="4763502" y="0"/>
                  </a:cubicBezTo>
                  <a:close/>
                </a:path>
              </a:pathLst>
            </a:custGeom>
            <a:solidFill>
              <a:schemeClr val="accent3">
                <a:alpha val="10000"/>
              </a:schemeClr>
            </a:solidFill>
            <a:ln w="9525" cap="flat">
              <a:noFill/>
              <a:prstDash val="solid"/>
              <a:miter/>
            </a:ln>
          </p:spPr>
          <p:txBody>
            <a:bodyPr rtlCol="0" anchor="ctr"/>
            <a:lstStyle/>
            <a:p>
              <a:endParaRPr lang="zh-CN" altLang="en-US"/>
            </a:p>
          </p:txBody>
        </p:sp>
        <p:sp>
          <p:nvSpPr>
            <p:cNvPr id="7" name="文本框 6"/>
            <p:cNvSpPr txBox="1"/>
            <p:nvPr/>
          </p:nvSpPr>
          <p:spPr>
            <a:xfrm>
              <a:off x="7416800" y="1130299"/>
              <a:ext cx="4102100" cy="1383027"/>
            </a:xfrm>
            <a:prstGeom prst="rect">
              <a:avLst/>
            </a:prstGeom>
            <a:noFill/>
          </p:spPr>
          <p:txBody>
            <a:bodyPr vert="horz" wrap="square" rtlCol="0" anchor="t" anchorCtr="0">
              <a:normAutofit/>
            </a:bodyPr>
            <a:lstStyle/>
            <a:p>
              <a:pPr algn="r"/>
              <a:r>
                <a:rPr lang="en-US" altLang="zh-CN" sz="2400" b="1" dirty="0">
                  <a:latin typeface="Calibri" pitchFamily="34" charset="0"/>
                  <a:ea typeface="宋体" pitchFamily="2" charset="-122"/>
                </a:rPr>
                <a:t>Unified fonts make reading more fluent</a:t>
              </a:r>
              <a:endParaRPr lang="zh-CN" altLang="en-US" sz="2400" b="1" dirty="0">
                <a:latin typeface="Calibri" pitchFamily="34" charset="0"/>
                <a:ea typeface="宋体" pitchFamily="2" charset="-122"/>
              </a:endParaRPr>
            </a:p>
          </p:txBody>
        </p:sp>
        <p:cxnSp>
          <p:nvCxnSpPr>
            <p:cNvPr id="15" name="直接连接符 14"/>
            <p:cNvCxnSpPr/>
            <p:nvPr/>
          </p:nvCxnSpPr>
          <p:spPr>
            <a:xfrm>
              <a:off x="4128025" y="3664698"/>
              <a:ext cx="4180758" cy="0"/>
            </a:xfrm>
            <a:prstGeom prst="line">
              <a:avLst/>
            </a:prstGeom>
            <a:ln w="19050">
              <a:solidFill>
                <a:schemeClr val="accent3">
                  <a:alpha val="50000"/>
                </a:schemeClr>
              </a:solidFill>
            </a:ln>
          </p:spPr>
          <p:style>
            <a:lnRef idx="1">
              <a:schemeClr val="accent1"/>
            </a:lnRef>
            <a:fillRef idx="0">
              <a:schemeClr val="accent1"/>
            </a:fillRef>
            <a:effectRef idx="0">
              <a:schemeClr val="accent1"/>
            </a:effectRef>
            <a:fontRef idx="minor">
              <a:schemeClr val="tx1"/>
            </a:fontRef>
          </p:style>
        </p:cxnSp>
        <p:sp>
          <p:nvSpPr>
            <p:cNvPr id="48" name="椭圆 47"/>
            <p:cNvSpPr/>
            <p:nvPr/>
          </p:nvSpPr>
          <p:spPr>
            <a:xfrm>
              <a:off x="3422311" y="4346804"/>
              <a:ext cx="71020" cy="71018"/>
            </a:xfrm>
            <a:prstGeom prst="ellipse">
              <a:avLst/>
            </a:prstGeom>
            <a:solidFill>
              <a:schemeClr val="accent3"/>
            </a:solidFill>
            <a:ln w="254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9" name="椭圆 48"/>
            <p:cNvSpPr/>
            <p:nvPr/>
          </p:nvSpPr>
          <p:spPr>
            <a:xfrm>
              <a:off x="5552605" y="4346804"/>
              <a:ext cx="71020" cy="71018"/>
            </a:xfrm>
            <a:prstGeom prst="ellipse">
              <a:avLst/>
            </a:prstGeom>
            <a:solidFill>
              <a:schemeClr val="accent3"/>
            </a:solidFill>
            <a:ln w="254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0" name="椭圆 49"/>
            <p:cNvSpPr/>
            <p:nvPr/>
          </p:nvSpPr>
          <p:spPr>
            <a:xfrm>
              <a:off x="7682897" y="4346804"/>
              <a:ext cx="71020" cy="71018"/>
            </a:xfrm>
            <a:prstGeom prst="ellipse">
              <a:avLst/>
            </a:prstGeom>
            <a:solidFill>
              <a:schemeClr val="accent3"/>
            </a:solidFill>
            <a:ln w="254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8" name="椭圆 57"/>
            <p:cNvSpPr/>
            <p:nvPr/>
          </p:nvSpPr>
          <p:spPr>
            <a:xfrm flipV="1">
              <a:off x="4462725" y="2849520"/>
              <a:ext cx="71020" cy="71018"/>
            </a:xfrm>
            <a:prstGeom prst="ellipse">
              <a:avLst/>
            </a:prstGeom>
            <a:solidFill>
              <a:schemeClr val="accent3"/>
            </a:solidFill>
            <a:ln w="254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9" name="椭圆 58"/>
            <p:cNvSpPr/>
            <p:nvPr/>
          </p:nvSpPr>
          <p:spPr>
            <a:xfrm flipV="1">
              <a:off x="6593017" y="2849520"/>
              <a:ext cx="71020" cy="71018"/>
            </a:xfrm>
            <a:prstGeom prst="ellipse">
              <a:avLst/>
            </a:prstGeom>
            <a:solidFill>
              <a:schemeClr val="accent3"/>
            </a:solidFill>
            <a:ln w="254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84" name="组合 83"/>
            <p:cNvGrpSpPr/>
            <p:nvPr/>
          </p:nvGrpSpPr>
          <p:grpSpPr>
            <a:xfrm>
              <a:off x="771735" y="3611653"/>
              <a:ext cx="3329508" cy="2301467"/>
              <a:chOff x="771735" y="3611653"/>
              <a:chExt cx="3329508" cy="2301467"/>
            </a:xfrm>
          </p:grpSpPr>
          <p:sp>
            <p:nvSpPr>
              <p:cNvPr id="18" name="椭圆 17"/>
              <p:cNvSpPr/>
              <p:nvPr/>
            </p:nvSpPr>
            <p:spPr>
              <a:xfrm>
                <a:off x="3995151" y="3611653"/>
                <a:ext cx="106092" cy="106090"/>
              </a:xfrm>
              <a:prstGeom prst="ellipse">
                <a:avLst/>
              </a:prstGeom>
              <a:solidFill>
                <a:schemeClr val="bg1"/>
              </a:solidFill>
              <a:ln w="3492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29" name="直接连接符 28"/>
              <p:cNvCxnSpPr/>
              <p:nvPr/>
            </p:nvCxnSpPr>
            <p:spPr>
              <a:xfrm flipH="1">
                <a:off x="2844068" y="3721145"/>
                <a:ext cx="1173041" cy="1383030"/>
              </a:xfrm>
              <a:prstGeom prst="line">
                <a:avLst/>
              </a:prstGeom>
              <a:ln w="19050">
                <a:solidFill>
                  <a:schemeClr val="accent3">
                    <a:alpha val="50000"/>
                  </a:schemeClr>
                </a:solidFill>
              </a:ln>
            </p:spPr>
            <p:style>
              <a:lnRef idx="1">
                <a:schemeClr val="accent1"/>
              </a:lnRef>
              <a:fillRef idx="0">
                <a:schemeClr val="accent1"/>
              </a:fillRef>
              <a:effectRef idx="0">
                <a:schemeClr val="accent1"/>
              </a:effectRef>
              <a:fontRef idx="minor">
                <a:schemeClr val="tx1"/>
              </a:fontRef>
            </p:style>
          </p:cxnSp>
          <p:sp>
            <p:nvSpPr>
              <p:cNvPr id="51" name="椭圆 50"/>
              <p:cNvSpPr/>
              <p:nvPr/>
            </p:nvSpPr>
            <p:spPr>
              <a:xfrm>
                <a:off x="2776394" y="5024438"/>
                <a:ext cx="159478" cy="159474"/>
              </a:xfrm>
              <a:prstGeom prst="ellipse">
                <a:avLst/>
              </a:prstGeom>
              <a:solidFill>
                <a:schemeClr val="accent3"/>
              </a:solidFill>
              <a:ln w="3492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4" name="矩形: 圆角 63"/>
              <p:cNvSpPr/>
              <p:nvPr/>
            </p:nvSpPr>
            <p:spPr>
              <a:xfrm>
                <a:off x="2852308" y="3937465"/>
                <a:ext cx="543820" cy="482153"/>
              </a:xfrm>
              <a:prstGeom prst="roundRect">
                <a:avLst>
                  <a:gd name="adj" fmla="val 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b" anchorCtr="0">
                <a:normAutofit/>
              </a:bodyPr>
              <a:lstStyle/>
              <a:p>
                <a:r>
                  <a:rPr lang="en-US" altLang="zh-CN" sz="2400" b="1" i="1" dirty="0">
                    <a:solidFill>
                      <a:schemeClr val="tx1"/>
                    </a:solidFill>
                    <a:latin typeface="Calibri" pitchFamily="34" charset="0"/>
                    <a:ea typeface="宋体" pitchFamily="2" charset="-122"/>
                  </a:rPr>
                  <a:t>01</a:t>
                </a:r>
                <a:endParaRPr lang="zh-CN" altLang="en-US" sz="2400" b="1" i="1" dirty="0">
                  <a:solidFill>
                    <a:schemeClr val="tx1"/>
                  </a:solidFill>
                  <a:latin typeface="Calibri" pitchFamily="34" charset="0"/>
                  <a:ea typeface="宋体" pitchFamily="2" charset="-122"/>
                </a:endParaRPr>
              </a:p>
            </p:txBody>
          </p:sp>
          <p:sp>
            <p:nvSpPr>
              <p:cNvPr id="66" name="矩形: 圆角 65"/>
              <p:cNvSpPr/>
              <p:nvPr/>
            </p:nvSpPr>
            <p:spPr>
              <a:xfrm>
                <a:off x="771735" y="4908337"/>
                <a:ext cx="1953251" cy="344914"/>
              </a:xfrm>
              <a:prstGeom prst="roundRect">
                <a:avLst>
                  <a:gd name="adj" fmla="val 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b" anchorCtr="0">
                <a:normAutofit fontScale="92500" lnSpcReduction="10000"/>
              </a:bodyPr>
              <a:lstStyle/>
              <a:p>
                <a:pPr algn="r"/>
                <a:r>
                  <a:rPr lang="en-US" altLang="zh-CN" b="1" dirty="0">
                    <a:solidFill>
                      <a:schemeClr val="tx1"/>
                    </a:solidFill>
                    <a:latin typeface="Calibri" pitchFamily="34" charset="0"/>
                    <a:ea typeface="宋体" pitchFamily="2" charset="-122"/>
                  </a:rPr>
                  <a:t>Click to add text</a:t>
                </a:r>
                <a:endParaRPr lang="zh-CN" altLang="en-US" b="1" dirty="0">
                  <a:solidFill>
                    <a:schemeClr val="tx1"/>
                  </a:solidFill>
                  <a:latin typeface="Calibri" pitchFamily="34" charset="0"/>
                  <a:ea typeface="宋体" pitchFamily="2" charset="-122"/>
                </a:endParaRPr>
              </a:p>
            </p:txBody>
          </p:sp>
          <p:sp>
            <p:nvSpPr>
              <p:cNvPr id="67" name="矩形 66"/>
              <p:cNvSpPr/>
              <p:nvPr/>
            </p:nvSpPr>
            <p:spPr>
              <a:xfrm>
                <a:off x="771735" y="5260572"/>
                <a:ext cx="1953251" cy="65254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t" anchorCtr="0">
                <a:normAutofit fontScale="92500" lnSpcReduction="10000"/>
              </a:bodyPr>
              <a:lstStyle/>
              <a:p>
                <a:pPr algn="r">
                  <a:lnSpc>
                    <a:spcPct val="120000"/>
                  </a:lnSpc>
                </a:pPr>
                <a:r>
                  <a:rPr lang="en-US" altLang="zh-CN" sz="1200">
                    <a:solidFill>
                      <a:schemeClr val="tx1"/>
                    </a:solidFill>
                    <a:latin typeface="Calibri" pitchFamily="34" charset="0"/>
                    <a:ea typeface="宋体" pitchFamily="2" charset="-122"/>
                  </a:rPr>
                  <a:t>Et at sadipscing rebum consetetur vero duis sea dolor et.</a:t>
                </a:r>
                <a:endParaRPr lang="zh-CN" altLang="en-US" sz="1200" dirty="0">
                  <a:solidFill>
                    <a:schemeClr val="tx1"/>
                  </a:solidFill>
                  <a:latin typeface="Calibri" pitchFamily="34" charset="0"/>
                  <a:ea typeface="宋体" pitchFamily="2" charset="-122"/>
                </a:endParaRPr>
              </a:p>
            </p:txBody>
          </p:sp>
        </p:grpSp>
        <p:grpSp>
          <p:nvGrpSpPr>
            <p:cNvPr id="85" name="组合 84"/>
            <p:cNvGrpSpPr/>
            <p:nvPr/>
          </p:nvGrpSpPr>
          <p:grpSpPr>
            <a:xfrm>
              <a:off x="1649004" y="1340304"/>
              <a:ext cx="3517386" cy="2377439"/>
              <a:chOff x="1649004" y="1340304"/>
              <a:chExt cx="3517386" cy="2377439"/>
            </a:xfrm>
          </p:grpSpPr>
          <p:sp>
            <p:nvSpPr>
              <p:cNvPr id="19" name="椭圆 18"/>
              <p:cNvSpPr/>
              <p:nvPr/>
            </p:nvSpPr>
            <p:spPr>
              <a:xfrm>
                <a:off x="5060298" y="3611653"/>
                <a:ext cx="106092" cy="106090"/>
              </a:xfrm>
              <a:prstGeom prst="ellipse">
                <a:avLst/>
              </a:prstGeom>
              <a:solidFill>
                <a:schemeClr val="bg1"/>
              </a:solidFill>
              <a:ln w="3492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56" name="直接连接符 55"/>
              <p:cNvCxnSpPr/>
              <p:nvPr/>
            </p:nvCxnSpPr>
            <p:spPr>
              <a:xfrm flipH="1" flipV="1">
                <a:off x="3935096" y="2222882"/>
                <a:ext cx="1173041" cy="1383030"/>
              </a:xfrm>
              <a:prstGeom prst="line">
                <a:avLst/>
              </a:prstGeom>
              <a:ln w="19050">
                <a:solidFill>
                  <a:schemeClr val="accent3">
                    <a:alpha val="50000"/>
                  </a:schemeClr>
                </a:solidFill>
              </a:ln>
            </p:spPr>
            <p:style>
              <a:lnRef idx="1">
                <a:schemeClr val="accent1"/>
              </a:lnRef>
              <a:fillRef idx="0">
                <a:schemeClr val="accent1"/>
              </a:fillRef>
              <a:effectRef idx="0">
                <a:schemeClr val="accent1"/>
              </a:effectRef>
              <a:fontRef idx="minor">
                <a:schemeClr val="tx1"/>
              </a:fontRef>
            </p:style>
          </p:cxnSp>
          <p:sp>
            <p:nvSpPr>
              <p:cNvPr id="62" name="椭圆 61"/>
              <p:cNvSpPr/>
              <p:nvPr/>
            </p:nvSpPr>
            <p:spPr>
              <a:xfrm>
                <a:off x="3859192" y="2143145"/>
                <a:ext cx="159478" cy="159474"/>
              </a:xfrm>
              <a:prstGeom prst="ellipse">
                <a:avLst/>
              </a:prstGeom>
              <a:solidFill>
                <a:schemeClr val="accent3"/>
              </a:solidFill>
              <a:ln w="3492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8" name="矩形: 圆角 77"/>
              <p:cNvSpPr/>
              <p:nvPr/>
            </p:nvSpPr>
            <p:spPr>
              <a:xfrm>
                <a:off x="3819350" y="2946845"/>
                <a:ext cx="643375" cy="482153"/>
              </a:xfrm>
              <a:prstGeom prst="roundRect">
                <a:avLst>
                  <a:gd name="adj" fmla="val 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b" anchorCtr="0">
                <a:normAutofit/>
              </a:bodyPr>
              <a:lstStyle/>
              <a:p>
                <a:r>
                  <a:rPr lang="en-US" altLang="zh-CN" sz="2400" b="1" i="1" dirty="0">
                    <a:solidFill>
                      <a:schemeClr val="tx1"/>
                    </a:solidFill>
                    <a:latin typeface="Calibri" pitchFamily="34" charset="0"/>
                    <a:ea typeface="宋体" pitchFamily="2" charset="-122"/>
                  </a:rPr>
                  <a:t>02</a:t>
                </a:r>
                <a:endParaRPr lang="zh-CN" altLang="en-US" sz="2400" b="1" i="1" dirty="0">
                  <a:solidFill>
                    <a:schemeClr val="tx1"/>
                  </a:solidFill>
                  <a:latin typeface="Calibri" pitchFamily="34" charset="0"/>
                  <a:ea typeface="宋体" pitchFamily="2" charset="-122"/>
                </a:endParaRPr>
              </a:p>
            </p:txBody>
          </p:sp>
          <p:sp>
            <p:nvSpPr>
              <p:cNvPr id="80" name="矩形: 圆角 79"/>
              <p:cNvSpPr/>
              <p:nvPr/>
            </p:nvSpPr>
            <p:spPr>
              <a:xfrm>
                <a:off x="1649004" y="1340304"/>
                <a:ext cx="2091878" cy="344914"/>
              </a:xfrm>
              <a:prstGeom prst="roundRect">
                <a:avLst>
                  <a:gd name="adj" fmla="val 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b" anchorCtr="0">
                <a:normAutofit fontScale="92500" lnSpcReduction="10000"/>
              </a:bodyPr>
              <a:lstStyle/>
              <a:p>
                <a:pPr algn="r"/>
                <a:r>
                  <a:rPr lang="en-US" altLang="zh-CN" b="1" dirty="0">
                    <a:solidFill>
                      <a:schemeClr val="tx1"/>
                    </a:solidFill>
                    <a:latin typeface="Calibri" pitchFamily="34" charset="0"/>
                    <a:ea typeface="宋体" pitchFamily="2" charset="-122"/>
                  </a:rPr>
                  <a:t>Click to add text</a:t>
                </a:r>
                <a:endParaRPr lang="zh-CN" altLang="en-US" b="1" dirty="0">
                  <a:solidFill>
                    <a:schemeClr val="tx1"/>
                  </a:solidFill>
                  <a:latin typeface="Calibri" pitchFamily="34" charset="0"/>
                  <a:ea typeface="宋体" pitchFamily="2" charset="-122"/>
                </a:endParaRPr>
              </a:p>
            </p:txBody>
          </p:sp>
          <p:sp>
            <p:nvSpPr>
              <p:cNvPr id="81" name="矩形 80"/>
              <p:cNvSpPr/>
              <p:nvPr/>
            </p:nvSpPr>
            <p:spPr>
              <a:xfrm>
                <a:off x="1649004" y="1692539"/>
                <a:ext cx="2091878" cy="65254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t" anchorCtr="0">
                <a:normAutofit/>
              </a:bodyPr>
              <a:lstStyle/>
              <a:p>
                <a:pPr algn="r">
                  <a:lnSpc>
                    <a:spcPct val="120000"/>
                  </a:lnSpc>
                </a:pPr>
                <a:r>
                  <a:rPr lang="en-US" altLang="zh-CN" sz="1200">
                    <a:solidFill>
                      <a:schemeClr val="tx1"/>
                    </a:solidFill>
                    <a:latin typeface="Calibri" pitchFamily="34" charset="0"/>
                    <a:ea typeface="宋体" pitchFamily="2" charset="-122"/>
                  </a:rPr>
                  <a:t>Consetetur kasd kasd est adipiscing ea et duis diam.</a:t>
                </a:r>
                <a:endParaRPr lang="zh-CN" altLang="en-US" sz="1200" dirty="0">
                  <a:solidFill>
                    <a:schemeClr val="tx1"/>
                  </a:solidFill>
                  <a:latin typeface="Calibri" pitchFamily="34" charset="0"/>
                  <a:ea typeface="宋体" pitchFamily="2" charset="-122"/>
                </a:endParaRPr>
              </a:p>
            </p:txBody>
          </p:sp>
        </p:grpSp>
        <p:grpSp>
          <p:nvGrpSpPr>
            <p:cNvPr id="86" name="组合 85"/>
            <p:cNvGrpSpPr/>
            <p:nvPr/>
          </p:nvGrpSpPr>
          <p:grpSpPr>
            <a:xfrm>
              <a:off x="2852308" y="3611653"/>
              <a:ext cx="3379229" cy="2301467"/>
              <a:chOff x="2852308" y="3611653"/>
              <a:chExt cx="3379229" cy="2301467"/>
            </a:xfrm>
          </p:grpSpPr>
          <p:sp>
            <p:nvSpPr>
              <p:cNvPr id="20" name="椭圆 19"/>
              <p:cNvSpPr/>
              <p:nvPr/>
            </p:nvSpPr>
            <p:spPr>
              <a:xfrm>
                <a:off x="6125445" y="3611653"/>
                <a:ext cx="106092" cy="106090"/>
              </a:xfrm>
              <a:prstGeom prst="ellipse">
                <a:avLst/>
              </a:prstGeom>
              <a:solidFill>
                <a:schemeClr val="bg1"/>
              </a:solidFill>
              <a:ln w="3492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31" name="直接连接符 30"/>
              <p:cNvCxnSpPr/>
              <p:nvPr/>
            </p:nvCxnSpPr>
            <p:spPr>
              <a:xfrm flipH="1">
                <a:off x="4982592" y="3721145"/>
                <a:ext cx="1173041" cy="1383030"/>
              </a:xfrm>
              <a:prstGeom prst="line">
                <a:avLst/>
              </a:prstGeom>
              <a:ln w="19050">
                <a:solidFill>
                  <a:schemeClr val="accent3">
                    <a:alpha val="50000"/>
                  </a:schemeClr>
                </a:solidFill>
              </a:ln>
            </p:spPr>
            <p:style>
              <a:lnRef idx="1">
                <a:schemeClr val="accent1"/>
              </a:lnRef>
              <a:fillRef idx="0">
                <a:schemeClr val="accent1"/>
              </a:fillRef>
              <a:effectRef idx="0">
                <a:schemeClr val="accent1"/>
              </a:effectRef>
              <a:fontRef idx="minor">
                <a:schemeClr val="tx1"/>
              </a:fontRef>
            </p:style>
          </p:cxnSp>
          <p:sp>
            <p:nvSpPr>
              <p:cNvPr id="52" name="椭圆 51"/>
              <p:cNvSpPr/>
              <p:nvPr/>
            </p:nvSpPr>
            <p:spPr>
              <a:xfrm>
                <a:off x="4906688" y="5024438"/>
                <a:ext cx="159478" cy="159474"/>
              </a:xfrm>
              <a:prstGeom prst="ellipse">
                <a:avLst/>
              </a:prstGeom>
              <a:solidFill>
                <a:schemeClr val="accent3"/>
              </a:solidFill>
              <a:ln w="3492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8" name="矩形: 圆角 67"/>
              <p:cNvSpPr/>
              <p:nvPr/>
            </p:nvSpPr>
            <p:spPr>
              <a:xfrm>
                <a:off x="4932881" y="3937465"/>
                <a:ext cx="543820" cy="482153"/>
              </a:xfrm>
              <a:prstGeom prst="roundRect">
                <a:avLst>
                  <a:gd name="adj" fmla="val 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b" anchorCtr="0">
                <a:normAutofit/>
              </a:bodyPr>
              <a:lstStyle/>
              <a:p>
                <a:r>
                  <a:rPr lang="en-US" altLang="zh-CN" sz="2400" b="1" i="1" dirty="0">
                    <a:solidFill>
                      <a:schemeClr val="tx1"/>
                    </a:solidFill>
                    <a:latin typeface="Calibri" pitchFamily="34" charset="0"/>
                    <a:ea typeface="宋体" pitchFamily="2" charset="-122"/>
                  </a:rPr>
                  <a:t>03</a:t>
                </a:r>
                <a:endParaRPr lang="zh-CN" altLang="en-US" sz="2400" b="1" i="1" dirty="0">
                  <a:solidFill>
                    <a:schemeClr val="tx1"/>
                  </a:solidFill>
                  <a:latin typeface="Calibri" pitchFamily="34" charset="0"/>
                  <a:ea typeface="宋体" pitchFamily="2" charset="-122"/>
                </a:endParaRPr>
              </a:p>
            </p:txBody>
          </p:sp>
          <p:sp>
            <p:nvSpPr>
              <p:cNvPr id="70" name="矩形: 圆角 69"/>
              <p:cNvSpPr/>
              <p:nvPr/>
            </p:nvSpPr>
            <p:spPr>
              <a:xfrm>
                <a:off x="2852308" y="4908337"/>
                <a:ext cx="1953251" cy="344914"/>
              </a:xfrm>
              <a:prstGeom prst="roundRect">
                <a:avLst>
                  <a:gd name="adj" fmla="val 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b" anchorCtr="0">
                <a:normAutofit fontScale="92500" lnSpcReduction="10000"/>
              </a:bodyPr>
              <a:lstStyle/>
              <a:p>
                <a:pPr algn="r"/>
                <a:r>
                  <a:rPr lang="en-US" altLang="zh-CN" b="1" dirty="0">
                    <a:solidFill>
                      <a:schemeClr val="tx1"/>
                    </a:solidFill>
                    <a:latin typeface="Calibri" pitchFamily="34" charset="0"/>
                    <a:ea typeface="宋体" pitchFamily="2" charset="-122"/>
                  </a:rPr>
                  <a:t>Click to add text</a:t>
                </a:r>
                <a:endParaRPr lang="zh-CN" altLang="en-US" b="1" dirty="0">
                  <a:solidFill>
                    <a:schemeClr val="tx1"/>
                  </a:solidFill>
                  <a:latin typeface="Calibri" pitchFamily="34" charset="0"/>
                  <a:ea typeface="宋体" pitchFamily="2" charset="-122"/>
                </a:endParaRPr>
              </a:p>
            </p:txBody>
          </p:sp>
          <p:sp>
            <p:nvSpPr>
              <p:cNvPr id="71" name="矩形 70"/>
              <p:cNvSpPr/>
              <p:nvPr/>
            </p:nvSpPr>
            <p:spPr>
              <a:xfrm>
                <a:off x="2852308" y="5260572"/>
                <a:ext cx="1953251" cy="65254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t" anchorCtr="0">
                <a:normAutofit fontScale="92500"/>
              </a:bodyPr>
              <a:lstStyle/>
              <a:p>
                <a:pPr algn="r">
                  <a:lnSpc>
                    <a:spcPct val="120000"/>
                  </a:lnSpc>
                </a:pPr>
                <a:r>
                  <a:rPr lang="en-US" altLang="zh-CN" sz="1200">
                    <a:solidFill>
                      <a:schemeClr val="tx1"/>
                    </a:solidFill>
                    <a:latin typeface="Calibri" pitchFamily="34" charset="0"/>
                    <a:ea typeface="宋体" pitchFamily="2" charset="-122"/>
                  </a:rPr>
                  <a:t>Eirmod dolor et nonumy aliquyam ipsum ut at tempor.</a:t>
                </a:r>
                <a:endParaRPr lang="zh-CN" altLang="en-US" sz="1200" dirty="0">
                  <a:solidFill>
                    <a:schemeClr val="tx1"/>
                  </a:solidFill>
                  <a:latin typeface="Calibri" pitchFamily="34" charset="0"/>
                  <a:ea typeface="宋体" pitchFamily="2" charset="-122"/>
                </a:endParaRPr>
              </a:p>
            </p:txBody>
          </p:sp>
        </p:grpSp>
        <p:grpSp>
          <p:nvGrpSpPr>
            <p:cNvPr id="87" name="组合 86"/>
            <p:cNvGrpSpPr/>
            <p:nvPr/>
          </p:nvGrpSpPr>
          <p:grpSpPr>
            <a:xfrm>
              <a:off x="3897606" y="1340304"/>
              <a:ext cx="3399078" cy="2377439"/>
              <a:chOff x="3897606" y="1340304"/>
              <a:chExt cx="3399078" cy="2377439"/>
            </a:xfrm>
          </p:grpSpPr>
          <p:sp>
            <p:nvSpPr>
              <p:cNvPr id="21" name="椭圆 20"/>
              <p:cNvSpPr/>
              <p:nvPr/>
            </p:nvSpPr>
            <p:spPr>
              <a:xfrm>
                <a:off x="7190592" y="3611653"/>
                <a:ext cx="106092" cy="106090"/>
              </a:xfrm>
              <a:prstGeom prst="ellipse">
                <a:avLst/>
              </a:prstGeom>
              <a:solidFill>
                <a:schemeClr val="bg1"/>
              </a:solidFill>
              <a:ln w="3492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57" name="直接连接符 56"/>
              <p:cNvCxnSpPr/>
              <p:nvPr/>
            </p:nvCxnSpPr>
            <p:spPr>
              <a:xfrm flipH="1" flipV="1">
                <a:off x="6070597" y="2222882"/>
                <a:ext cx="1173041" cy="1383030"/>
              </a:xfrm>
              <a:prstGeom prst="line">
                <a:avLst/>
              </a:prstGeom>
              <a:ln w="19050">
                <a:solidFill>
                  <a:schemeClr val="accent3">
                    <a:alpha val="50000"/>
                  </a:schemeClr>
                </a:solidFill>
              </a:ln>
            </p:spPr>
            <p:style>
              <a:lnRef idx="1">
                <a:schemeClr val="accent1"/>
              </a:lnRef>
              <a:fillRef idx="0">
                <a:schemeClr val="accent1"/>
              </a:fillRef>
              <a:effectRef idx="0">
                <a:schemeClr val="accent1"/>
              </a:effectRef>
              <a:fontRef idx="minor">
                <a:schemeClr val="tx1"/>
              </a:fontRef>
            </p:style>
          </p:cxnSp>
          <p:sp>
            <p:nvSpPr>
              <p:cNvPr id="63" name="椭圆 62"/>
              <p:cNvSpPr/>
              <p:nvPr/>
            </p:nvSpPr>
            <p:spPr>
              <a:xfrm>
                <a:off x="5989484" y="2143145"/>
                <a:ext cx="159478" cy="159474"/>
              </a:xfrm>
              <a:prstGeom prst="ellipse">
                <a:avLst/>
              </a:prstGeom>
              <a:solidFill>
                <a:schemeClr val="accent3"/>
              </a:solidFill>
              <a:ln w="3492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9" name="矩形: 圆角 78"/>
              <p:cNvSpPr/>
              <p:nvPr/>
            </p:nvSpPr>
            <p:spPr>
              <a:xfrm>
                <a:off x="5928658" y="2946845"/>
                <a:ext cx="643375" cy="482153"/>
              </a:xfrm>
              <a:prstGeom prst="roundRect">
                <a:avLst>
                  <a:gd name="adj" fmla="val 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b" anchorCtr="0">
                <a:normAutofit/>
              </a:bodyPr>
              <a:lstStyle/>
              <a:p>
                <a:r>
                  <a:rPr lang="en-US" altLang="zh-CN" sz="2400" b="1" i="1" dirty="0">
                    <a:solidFill>
                      <a:schemeClr val="tx1"/>
                    </a:solidFill>
                    <a:latin typeface="Calibri" pitchFamily="34" charset="0"/>
                    <a:ea typeface="宋体" pitchFamily="2" charset="-122"/>
                  </a:rPr>
                  <a:t>04</a:t>
                </a:r>
                <a:endParaRPr lang="zh-CN" altLang="en-US" sz="2400" b="1" i="1" dirty="0">
                  <a:solidFill>
                    <a:schemeClr val="tx1"/>
                  </a:solidFill>
                  <a:latin typeface="Calibri" pitchFamily="34" charset="0"/>
                  <a:ea typeface="宋体" pitchFamily="2" charset="-122"/>
                </a:endParaRPr>
              </a:p>
            </p:txBody>
          </p:sp>
          <p:sp>
            <p:nvSpPr>
              <p:cNvPr id="82" name="矩形: 圆角 81"/>
              <p:cNvSpPr/>
              <p:nvPr/>
            </p:nvSpPr>
            <p:spPr>
              <a:xfrm>
                <a:off x="3897606" y="1340304"/>
                <a:ext cx="2091878" cy="344914"/>
              </a:xfrm>
              <a:prstGeom prst="roundRect">
                <a:avLst>
                  <a:gd name="adj" fmla="val 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b" anchorCtr="0">
                <a:normAutofit fontScale="92500" lnSpcReduction="10000"/>
              </a:bodyPr>
              <a:lstStyle/>
              <a:p>
                <a:pPr algn="r"/>
                <a:r>
                  <a:rPr lang="en-US" altLang="zh-CN" b="1" dirty="0">
                    <a:solidFill>
                      <a:schemeClr val="tx1"/>
                    </a:solidFill>
                    <a:latin typeface="Calibri" pitchFamily="34" charset="0"/>
                    <a:ea typeface="宋体" pitchFamily="2" charset="-122"/>
                  </a:rPr>
                  <a:t>Click to add text</a:t>
                </a:r>
                <a:endParaRPr lang="zh-CN" altLang="en-US" b="1" dirty="0">
                  <a:solidFill>
                    <a:schemeClr val="tx1"/>
                  </a:solidFill>
                  <a:latin typeface="Calibri" pitchFamily="34" charset="0"/>
                  <a:ea typeface="宋体" pitchFamily="2" charset="-122"/>
                </a:endParaRPr>
              </a:p>
            </p:txBody>
          </p:sp>
          <p:sp>
            <p:nvSpPr>
              <p:cNvPr id="83" name="矩形 82"/>
              <p:cNvSpPr/>
              <p:nvPr/>
            </p:nvSpPr>
            <p:spPr>
              <a:xfrm>
                <a:off x="3897606" y="1692539"/>
                <a:ext cx="2091878" cy="65254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t" anchorCtr="0">
                <a:normAutofit/>
              </a:bodyPr>
              <a:lstStyle/>
              <a:p>
                <a:pPr algn="r">
                  <a:lnSpc>
                    <a:spcPct val="120000"/>
                  </a:lnSpc>
                </a:pPr>
                <a:r>
                  <a:rPr lang="en-US" altLang="zh-CN" sz="1200">
                    <a:solidFill>
                      <a:schemeClr val="tx1"/>
                    </a:solidFill>
                    <a:latin typeface="Calibri" pitchFamily="34" charset="0"/>
                    <a:ea typeface="宋体" pitchFamily="2" charset="-122"/>
                  </a:rPr>
                  <a:t>Ex gubergren gubergren dolor amet duo gubergren wisi et.</a:t>
                </a:r>
                <a:endParaRPr lang="zh-CN" altLang="en-US" sz="1200" dirty="0">
                  <a:solidFill>
                    <a:schemeClr val="tx1"/>
                  </a:solidFill>
                  <a:latin typeface="Calibri" pitchFamily="34" charset="0"/>
                  <a:ea typeface="宋体" pitchFamily="2" charset="-122"/>
                </a:endParaRPr>
              </a:p>
            </p:txBody>
          </p:sp>
        </p:grpSp>
        <p:grpSp>
          <p:nvGrpSpPr>
            <p:cNvPr id="88" name="组合 87"/>
            <p:cNvGrpSpPr/>
            <p:nvPr/>
          </p:nvGrpSpPr>
          <p:grpSpPr>
            <a:xfrm>
              <a:off x="4961616" y="3611653"/>
              <a:ext cx="3400212" cy="2301467"/>
              <a:chOff x="4961616" y="3611653"/>
              <a:chExt cx="3400212" cy="2301467"/>
            </a:xfrm>
          </p:grpSpPr>
          <p:sp>
            <p:nvSpPr>
              <p:cNvPr id="22" name="椭圆 21"/>
              <p:cNvSpPr/>
              <p:nvPr/>
            </p:nvSpPr>
            <p:spPr>
              <a:xfrm>
                <a:off x="8255736" y="3611653"/>
                <a:ext cx="106092" cy="106090"/>
              </a:xfrm>
              <a:prstGeom prst="ellipse">
                <a:avLst/>
              </a:prstGeom>
              <a:solidFill>
                <a:schemeClr val="bg1"/>
              </a:solidFill>
              <a:ln w="3492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32" name="直接连接符 31"/>
              <p:cNvCxnSpPr/>
              <p:nvPr/>
            </p:nvCxnSpPr>
            <p:spPr>
              <a:xfrm flipH="1">
                <a:off x="7118093" y="3721145"/>
                <a:ext cx="1173041" cy="1383030"/>
              </a:xfrm>
              <a:prstGeom prst="line">
                <a:avLst/>
              </a:prstGeom>
              <a:ln w="19050">
                <a:solidFill>
                  <a:schemeClr val="accent3">
                    <a:alpha val="50000"/>
                  </a:schemeClr>
                </a:solidFill>
              </a:ln>
            </p:spPr>
            <p:style>
              <a:lnRef idx="1">
                <a:schemeClr val="accent1"/>
              </a:lnRef>
              <a:fillRef idx="0">
                <a:schemeClr val="accent1"/>
              </a:fillRef>
              <a:effectRef idx="0">
                <a:schemeClr val="accent1"/>
              </a:effectRef>
              <a:fontRef idx="minor">
                <a:schemeClr val="tx1"/>
              </a:fontRef>
            </p:style>
          </p:cxnSp>
          <p:sp>
            <p:nvSpPr>
              <p:cNvPr id="53" name="椭圆 52"/>
              <p:cNvSpPr/>
              <p:nvPr/>
            </p:nvSpPr>
            <p:spPr>
              <a:xfrm>
                <a:off x="7036980" y="5024438"/>
                <a:ext cx="159478" cy="159474"/>
              </a:xfrm>
              <a:prstGeom prst="ellipse">
                <a:avLst/>
              </a:prstGeom>
              <a:solidFill>
                <a:schemeClr val="accent3"/>
              </a:solidFill>
              <a:ln w="3492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2" name="矩形: 圆角 71"/>
              <p:cNvSpPr/>
              <p:nvPr/>
            </p:nvSpPr>
            <p:spPr>
              <a:xfrm>
                <a:off x="7042189" y="3937465"/>
                <a:ext cx="543820" cy="482153"/>
              </a:xfrm>
              <a:prstGeom prst="roundRect">
                <a:avLst>
                  <a:gd name="adj" fmla="val 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b" anchorCtr="0">
                <a:normAutofit/>
              </a:bodyPr>
              <a:lstStyle/>
              <a:p>
                <a:r>
                  <a:rPr lang="en-US" altLang="zh-CN" sz="2400" b="1" i="1" dirty="0">
                    <a:solidFill>
                      <a:schemeClr val="tx1"/>
                    </a:solidFill>
                    <a:latin typeface="Calibri" pitchFamily="34" charset="0"/>
                    <a:ea typeface="宋体" pitchFamily="2" charset="-122"/>
                  </a:rPr>
                  <a:t>05</a:t>
                </a:r>
                <a:endParaRPr lang="zh-CN" altLang="en-US" sz="2400" b="1" i="1" dirty="0">
                  <a:solidFill>
                    <a:schemeClr val="tx1"/>
                  </a:solidFill>
                  <a:latin typeface="Calibri" pitchFamily="34" charset="0"/>
                  <a:ea typeface="宋体" pitchFamily="2" charset="-122"/>
                </a:endParaRPr>
              </a:p>
            </p:txBody>
          </p:sp>
          <p:sp>
            <p:nvSpPr>
              <p:cNvPr id="74" name="矩形: 圆角 73"/>
              <p:cNvSpPr/>
              <p:nvPr/>
            </p:nvSpPr>
            <p:spPr>
              <a:xfrm>
                <a:off x="4961616" y="4908337"/>
                <a:ext cx="1953251" cy="344914"/>
              </a:xfrm>
              <a:prstGeom prst="roundRect">
                <a:avLst>
                  <a:gd name="adj" fmla="val 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b" anchorCtr="0">
                <a:normAutofit fontScale="92500" lnSpcReduction="10000"/>
              </a:bodyPr>
              <a:lstStyle/>
              <a:p>
                <a:pPr algn="r"/>
                <a:r>
                  <a:rPr lang="en-US" altLang="zh-CN" b="1" dirty="0">
                    <a:solidFill>
                      <a:schemeClr val="tx1"/>
                    </a:solidFill>
                    <a:latin typeface="Calibri" pitchFamily="34" charset="0"/>
                    <a:ea typeface="宋体" pitchFamily="2" charset="-122"/>
                  </a:rPr>
                  <a:t>Click to add text</a:t>
                </a:r>
                <a:endParaRPr lang="zh-CN" altLang="en-US" b="1" dirty="0">
                  <a:solidFill>
                    <a:schemeClr val="tx1"/>
                  </a:solidFill>
                  <a:latin typeface="Calibri" pitchFamily="34" charset="0"/>
                  <a:ea typeface="宋体" pitchFamily="2" charset="-122"/>
                </a:endParaRPr>
              </a:p>
            </p:txBody>
          </p:sp>
          <p:sp>
            <p:nvSpPr>
              <p:cNvPr id="75" name="矩形 74"/>
              <p:cNvSpPr/>
              <p:nvPr/>
            </p:nvSpPr>
            <p:spPr>
              <a:xfrm>
                <a:off x="4961616" y="5260572"/>
                <a:ext cx="1953251" cy="65254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t" anchorCtr="0">
                <a:normAutofit fontScale="92500"/>
              </a:bodyPr>
              <a:lstStyle/>
              <a:p>
                <a:pPr algn="r">
                  <a:lnSpc>
                    <a:spcPct val="120000"/>
                  </a:lnSpc>
                </a:pPr>
                <a:r>
                  <a:rPr lang="en-US" altLang="zh-CN" sz="1200">
                    <a:solidFill>
                      <a:schemeClr val="tx1"/>
                    </a:solidFill>
                    <a:latin typeface="Calibri" pitchFamily="34" charset="0"/>
                    <a:ea typeface="宋体" pitchFamily="2" charset="-122"/>
                  </a:rPr>
                  <a:t>Clita et dolores consetetur accusam nulla dolores sed ea.</a:t>
                </a:r>
                <a:endParaRPr lang="zh-CN" altLang="en-US" sz="1200" dirty="0">
                  <a:solidFill>
                    <a:schemeClr val="tx1"/>
                  </a:solidFill>
                  <a:latin typeface="Calibri" pitchFamily="34" charset="0"/>
                  <a:ea typeface="宋体" pitchFamily="2" charset="-122"/>
                </a:endParaRPr>
              </a:p>
            </p:txBody>
          </p:sp>
        </p:grpSp>
      </p:grpSp>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1" name="组合 50"/>
          <p:cNvGrpSpPr/>
          <p:nvPr/>
        </p:nvGrpSpPr>
        <p:grpSpPr>
          <a:xfrm>
            <a:off x="859054" y="1130301"/>
            <a:ext cx="10659847" cy="5003801"/>
            <a:chOff x="859053" y="1130299"/>
            <a:chExt cx="10659846" cy="5003801"/>
          </a:xfrm>
        </p:grpSpPr>
        <p:sp>
          <p:nvSpPr>
            <p:cNvPr id="36" name="任意多边形: 形状 35"/>
            <p:cNvSpPr/>
            <p:nvPr/>
          </p:nvSpPr>
          <p:spPr>
            <a:xfrm>
              <a:off x="9053842" y="2544749"/>
              <a:ext cx="2223917" cy="2903114"/>
            </a:xfrm>
            <a:custGeom>
              <a:avLst/>
              <a:gdLst>
                <a:gd name="connsiteX0" fmla="*/ 1868364 w 2223917"/>
                <a:gd name="connsiteY0" fmla="*/ 1177139 h 2903114"/>
                <a:gd name="connsiteX1" fmla="*/ 1785608 w 2223917"/>
                <a:gd name="connsiteY1" fmla="*/ 1259895 h 2903114"/>
                <a:gd name="connsiteX2" fmla="*/ 1868364 w 2223917"/>
                <a:gd name="connsiteY2" fmla="*/ 1342651 h 2903114"/>
                <a:gd name="connsiteX3" fmla="*/ 1951120 w 2223917"/>
                <a:gd name="connsiteY3" fmla="*/ 1259895 h 2903114"/>
                <a:gd name="connsiteX4" fmla="*/ 1868364 w 2223917"/>
                <a:gd name="connsiteY4" fmla="*/ 1177139 h 2903114"/>
                <a:gd name="connsiteX5" fmla="*/ 590582 w 2223917"/>
                <a:gd name="connsiteY5" fmla="*/ 0 h 2903114"/>
                <a:gd name="connsiteX6" fmla="*/ 1585230 w 2223917"/>
                <a:gd name="connsiteY6" fmla="*/ 645897 h 2903114"/>
                <a:gd name="connsiteX7" fmla="*/ 2223917 w 2223917"/>
                <a:gd name="connsiteY7" fmla="*/ 1451555 h 2903114"/>
                <a:gd name="connsiteX8" fmla="*/ 1563218 w 2223917"/>
                <a:gd name="connsiteY8" fmla="*/ 2249627 h 2903114"/>
                <a:gd name="connsiteX9" fmla="*/ 590582 w 2223917"/>
                <a:gd name="connsiteY9" fmla="*/ 2903114 h 2903114"/>
                <a:gd name="connsiteX10" fmla="*/ 195 w 2223917"/>
                <a:gd name="connsiteY10" fmla="*/ 1441925 h 2903114"/>
                <a:gd name="connsiteX11" fmla="*/ 590582 w 2223917"/>
                <a:gd name="connsiteY11" fmla="*/ 0 h 2903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23917" h="2903114">
                  <a:moveTo>
                    <a:pt x="1868364" y="1177139"/>
                  </a:moveTo>
                  <a:cubicBezTo>
                    <a:pt x="1822659" y="1177139"/>
                    <a:pt x="1785608" y="1214190"/>
                    <a:pt x="1785608" y="1259895"/>
                  </a:cubicBezTo>
                  <a:cubicBezTo>
                    <a:pt x="1785608" y="1305600"/>
                    <a:pt x="1822659" y="1342651"/>
                    <a:pt x="1868364" y="1342651"/>
                  </a:cubicBezTo>
                  <a:cubicBezTo>
                    <a:pt x="1914069" y="1342651"/>
                    <a:pt x="1951120" y="1305600"/>
                    <a:pt x="1951120" y="1259895"/>
                  </a:cubicBezTo>
                  <a:cubicBezTo>
                    <a:pt x="1951120" y="1214190"/>
                    <a:pt x="1914069" y="1177139"/>
                    <a:pt x="1868364" y="1177139"/>
                  </a:cubicBezTo>
                  <a:close/>
                  <a:moveTo>
                    <a:pt x="590582" y="0"/>
                  </a:moveTo>
                  <a:cubicBezTo>
                    <a:pt x="811504" y="84341"/>
                    <a:pt x="1216742" y="302837"/>
                    <a:pt x="1585230" y="645897"/>
                  </a:cubicBezTo>
                  <a:cubicBezTo>
                    <a:pt x="1896036" y="935068"/>
                    <a:pt x="2140405" y="1259646"/>
                    <a:pt x="2223917" y="1451555"/>
                  </a:cubicBezTo>
                  <a:cubicBezTo>
                    <a:pt x="2126743" y="1662310"/>
                    <a:pt x="1872127" y="1965011"/>
                    <a:pt x="1563218" y="2249627"/>
                  </a:cubicBezTo>
                  <a:cubicBezTo>
                    <a:pt x="1206116" y="2578648"/>
                    <a:pt x="821959" y="2814255"/>
                    <a:pt x="590582" y="2903114"/>
                  </a:cubicBezTo>
                  <a:cubicBezTo>
                    <a:pt x="422972" y="2732185"/>
                    <a:pt x="-10542" y="2254592"/>
                    <a:pt x="195" y="1441925"/>
                  </a:cubicBezTo>
                  <a:cubicBezTo>
                    <a:pt x="11741" y="567991"/>
                    <a:pt x="384114" y="193770"/>
                    <a:pt x="590582" y="0"/>
                  </a:cubicBezTo>
                  <a:close/>
                </a:path>
              </a:pathLst>
            </a:custGeom>
            <a:solidFill>
              <a:schemeClr val="accent1">
                <a:alpha val="15000"/>
              </a:schemeClr>
            </a:solidFill>
            <a:ln w="9525" cap="flat">
              <a:noFill/>
              <a:prstDash val="solid"/>
              <a:miter/>
            </a:ln>
          </p:spPr>
          <p:txBody>
            <a:bodyPr wrap="square" rtlCol="0" anchor="ctr">
              <a:noAutofit/>
            </a:bodyPr>
            <a:lstStyle/>
            <a:p>
              <a:endParaRPr lang="zh-CN" altLang="en-US"/>
            </a:p>
          </p:txBody>
        </p:sp>
        <p:sp>
          <p:nvSpPr>
            <p:cNvPr id="4" name="任意多边形: 形状 3"/>
            <p:cNvSpPr/>
            <p:nvPr/>
          </p:nvSpPr>
          <p:spPr>
            <a:xfrm>
              <a:off x="859053" y="2995108"/>
              <a:ext cx="853006" cy="2002392"/>
            </a:xfrm>
            <a:custGeom>
              <a:avLst/>
              <a:gdLst>
                <a:gd name="connsiteX0" fmla="*/ 0 w 305657"/>
                <a:gd name="connsiteY0" fmla="*/ 0 h 717518"/>
                <a:gd name="connsiteX1" fmla="*/ 42863 w 305657"/>
                <a:gd name="connsiteY1" fmla="*/ 357854 h 717518"/>
                <a:gd name="connsiteX2" fmla="*/ 0 w 305657"/>
                <a:gd name="connsiteY2" fmla="*/ 717518 h 717518"/>
                <a:gd name="connsiteX3" fmla="*/ 193834 w 305657"/>
                <a:gd name="connsiteY3" fmla="*/ 555403 h 717518"/>
                <a:gd name="connsiteX4" fmla="*/ 305657 w 305657"/>
                <a:gd name="connsiteY4" fmla="*/ 358807 h 717518"/>
                <a:gd name="connsiteX5" fmla="*/ 192024 w 305657"/>
                <a:gd name="connsiteY5" fmla="*/ 169640 h 717518"/>
                <a:gd name="connsiteX6" fmla="*/ 0 w 305657"/>
                <a:gd name="connsiteY6" fmla="*/ 0 h 717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5657" h="717518">
                  <a:moveTo>
                    <a:pt x="0" y="0"/>
                  </a:moveTo>
                  <a:cubicBezTo>
                    <a:pt x="22289" y="92012"/>
                    <a:pt x="42767" y="213932"/>
                    <a:pt x="42863" y="357854"/>
                  </a:cubicBezTo>
                  <a:cubicBezTo>
                    <a:pt x="42958" y="502539"/>
                    <a:pt x="22384" y="625126"/>
                    <a:pt x="0" y="717518"/>
                  </a:cubicBezTo>
                  <a:cubicBezTo>
                    <a:pt x="49244" y="690086"/>
                    <a:pt x="124587" y="639985"/>
                    <a:pt x="193834" y="555403"/>
                  </a:cubicBezTo>
                  <a:cubicBezTo>
                    <a:pt x="254318" y="481394"/>
                    <a:pt x="287465" y="408813"/>
                    <a:pt x="305657" y="358807"/>
                  </a:cubicBezTo>
                  <a:cubicBezTo>
                    <a:pt x="283940" y="307467"/>
                    <a:pt x="248793" y="239554"/>
                    <a:pt x="192024" y="169640"/>
                  </a:cubicBezTo>
                  <a:cubicBezTo>
                    <a:pt x="124111" y="86201"/>
                    <a:pt x="51816" y="32576"/>
                    <a:pt x="0" y="0"/>
                  </a:cubicBezTo>
                  <a:close/>
                </a:path>
              </a:pathLst>
            </a:custGeom>
            <a:solidFill>
              <a:schemeClr val="accent1">
                <a:alpha val="15000"/>
              </a:schemeClr>
            </a:solidFill>
            <a:ln w="9525" cap="flat">
              <a:noFill/>
              <a:prstDash val="solid"/>
              <a:miter/>
            </a:ln>
          </p:spPr>
          <p:txBody>
            <a:bodyPr rtlCol="0" anchor="ctr"/>
            <a:lstStyle/>
            <a:p>
              <a:endParaRPr lang="zh-CN" altLang="en-US"/>
            </a:p>
          </p:txBody>
        </p:sp>
        <p:cxnSp>
          <p:nvCxnSpPr>
            <p:cNvPr id="5" name="直接连接符 4"/>
            <p:cNvCxnSpPr/>
            <p:nvPr/>
          </p:nvCxnSpPr>
          <p:spPr>
            <a:xfrm>
              <a:off x="1712059" y="3996304"/>
              <a:ext cx="7341783" cy="0"/>
            </a:xfrm>
            <a:prstGeom prst="line">
              <a:avLst/>
            </a:prstGeom>
            <a:ln w="190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6" name="椭圆 5"/>
            <p:cNvSpPr/>
            <p:nvPr/>
          </p:nvSpPr>
          <p:spPr>
            <a:xfrm>
              <a:off x="7137359" y="2132115"/>
              <a:ext cx="159478" cy="159474"/>
            </a:xfrm>
            <a:prstGeom prst="ellipse">
              <a:avLst/>
            </a:prstGeom>
            <a:solidFill>
              <a:schemeClr val="accent1"/>
            </a:solidFill>
            <a:ln w="3492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7" name="直接连接符 6"/>
            <p:cNvCxnSpPr/>
            <p:nvPr/>
          </p:nvCxnSpPr>
          <p:spPr>
            <a:xfrm flipH="1" flipV="1">
              <a:off x="7251094" y="2271457"/>
              <a:ext cx="1252999" cy="1671802"/>
            </a:xfrm>
            <a:prstGeom prst="line">
              <a:avLst/>
            </a:prstGeom>
            <a:ln w="190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cxnSp>
          <p:nvCxnSpPr>
            <p:cNvPr id="8" name="直接连接符 7"/>
            <p:cNvCxnSpPr/>
            <p:nvPr/>
          </p:nvCxnSpPr>
          <p:spPr>
            <a:xfrm flipH="1">
              <a:off x="7255857" y="4050805"/>
              <a:ext cx="1252999" cy="1678266"/>
            </a:xfrm>
            <a:prstGeom prst="line">
              <a:avLst/>
            </a:prstGeom>
            <a:ln w="190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9" name="椭圆 8"/>
            <p:cNvSpPr/>
            <p:nvPr/>
          </p:nvSpPr>
          <p:spPr>
            <a:xfrm>
              <a:off x="7137359" y="5701020"/>
              <a:ext cx="159478" cy="159474"/>
            </a:xfrm>
            <a:prstGeom prst="ellipse">
              <a:avLst/>
            </a:prstGeom>
            <a:solidFill>
              <a:schemeClr val="accent1"/>
            </a:solidFill>
            <a:ln w="3492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椭圆 9"/>
            <p:cNvSpPr/>
            <p:nvPr/>
          </p:nvSpPr>
          <p:spPr>
            <a:xfrm>
              <a:off x="3774826" y="2132115"/>
              <a:ext cx="159478" cy="159474"/>
            </a:xfrm>
            <a:prstGeom prst="ellipse">
              <a:avLst/>
            </a:prstGeom>
            <a:solidFill>
              <a:schemeClr val="accent1"/>
            </a:solidFill>
            <a:ln w="3492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椭圆 10"/>
            <p:cNvSpPr/>
            <p:nvPr/>
          </p:nvSpPr>
          <p:spPr>
            <a:xfrm>
              <a:off x="3774826" y="5701020"/>
              <a:ext cx="159478" cy="159474"/>
            </a:xfrm>
            <a:prstGeom prst="ellipse">
              <a:avLst/>
            </a:prstGeom>
            <a:solidFill>
              <a:schemeClr val="accent1"/>
            </a:solidFill>
            <a:ln w="3492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2" name="直接连接符 11"/>
            <p:cNvCxnSpPr/>
            <p:nvPr/>
          </p:nvCxnSpPr>
          <p:spPr>
            <a:xfrm flipH="1" flipV="1">
              <a:off x="3877627" y="2274272"/>
              <a:ext cx="1263931" cy="1675452"/>
            </a:xfrm>
            <a:prstGeom prst="line">
              <a:avLst/>
            </a:prstGeom>
            <a:ln w="190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p:nvPr/>
          </p:nvCxnSpPr>
          <p:spPr>
            <a:xfrm flipH="1">
              <a:off x="3882390" y="4050805"/>
              <a:ext cx="1263931" cy="1675452"/>
            </a:xfrm>
            <a:prstGeom prst="line">
              <a:avLst/>
            </a:prstGeom>
            <a:ln w="190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33" name="椭圆 32"/>
            <p:cNvSpPr/>
            <p:nvPr/>
          </p:nvSpPr>
          <p:spPr>
            <a:xfrm>
              <a:off x="8437129" y="3930692"/>
              <a:ext cx="133928" cy="133928"/>
            </a:xfrm>
            <a:prstGeom prst="ellipse">
              <a:avLst/>
            </a:prstGeom>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4" name="椭圆 33"/>
            <p:cNvSpPr/>
            <p:nvPr/>
          </p:nvSpPr>
          <p:spPr>
            <a:xfrm>
              <a:off x="5074594" y="3930692"/>
              <a:ext cx="133928" cy="133928"/>
            </a:xfrm>
            <a:prstGeom prst="ellipse">
              <a:avLst/>
            </a:prstGeom>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7" name="文本框 36"/>
            <p:cNvSpPr txBox="1"/>
            <p:nvPr/>
          </p:nvSpPr>
          <p:spPr>
            <a:xfrm>
              <a:off x="7997370" y="1130299"/>
              <a:ext cx="3521529" cy="1383027"/>
            </a:xfrm>
            <a:prstGeom prst="rect">
              <a:avLst/>
            </a:prstGeom>
            <a:noFill/>
          </p:spPr>
          <p:txBody>
            <a:bodyPr vert="horz" wrap="square" rtlCol="0" anchor="t" anchorCtr="0">
              <a:normAutofit/>
            </a:bodyPr>
            <a:lstStyle/>
            <a:p>
              <a:pPr algn="r"/>
              <a:r>
                <a:rPr lang="en-US" altLang="zh-CN" sz="2400" b="1" dirty="0">
                  <a:latin typeface="Calibri" pitchFamily="34" charset="0"/>
                  <a:ea typeface="宋体" pitchFamily="2" charset="-122"/>
                </a:rPr>
                <a:t>Unified fonts make reading more fluent</a:t>
              </a:r>
              <a:endParaRPr lang="zh-CN" altLang="en-US" sz="2400" b="1" dirty="0">
                <a:latin typeface="Calibri" pitchFamily="34" charset="0"/>
                <a:ea typeface="宋体" pitchFamily="2" charset="-122"/>
              </a:endParaRPr>
            </a:p>
          </p:txBody>
        </p:sp>
        <p:sp>
          <p:nvSpPr>
            <p:cNvPr id="38" name="椭圆 37"/>
            <p:cNvSpPr/>
            <p:nvPr/>
          </p:nvSpPr>
          <p:spPr>
            <a:xfrm>
              <a:off x="4424378" y="3024884"/>
              <a:ext cx="82348" cy="82348"/>
            </a:xfrm>
            <a:prstGeom prst="ellipse">
              <a:avLst/>
            </a:prstGeom>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椭圆 38"/>
            <p:cNvSpPr/>
            <p:nvPr/>
          </p:nvSpPr>
          <p:spPr>
            <a:xfrm>
              <a:off x="7796080" y="3024884"/>
              <a:ext cx="82348" cy="82348"/>
            </a:xfrm>
            <a:prstGeom prst="ellipse">
              <a:avLst/>
            </a:prstGeom>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椭圆 39"/>
            <p:cNvSpPr/>
            <p:nvPr/>
          </p:nvSpPr>
          <p:spPr>
            <a:xfrm>
              <a:off x="4424378" y="4912083"/>
              <a:ext cx="82348" cy="82348"/>
            </a:xfrm>
            <a:prstGeom prst="ellipse">
              <a:avLst/>
            </a:prstGeom>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椭圆 40"/>
            <p:cNvSpPr/>
            <p:nvPr/>
          </p:nvSpPr>
          <p:spPr>
            <a:xfrm>
              <a:off x="7796080" y="4912083"/>
              <a:ext cx="82348" cy="82348"/>
            </a:xfrm>
            <a:prstGeom prst="ellipse">
              <a:avLst/>
            </a:prstGeom>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46" name="组合 45"/>
            <p:cNvGrpSpPr/>
            <p:nvPr/>
          </p:nvGrpSpPr>
          <p:grpSpPr>
            <a:xfrm>
              <a:off x="1697995" y="1533189"/>
              <a:ext cx="2062765" cy="1067298"/>
              <a:chOff x="1697995" y="1533189"/>
              <a:chExt cx="2062765" cy="1067298"/>
            </a:xfrm>
          </p:grpSpPr>
          <p:sp>
            <p:nvSpPr>
              <p:cNvPr id="23" name="矩形: 圆角 22"/>
              <p:cNvSpPr/>
              <p:nvPr/>
            </p:nvSpPr>
            <p:spPr>
              <a:xfrm>
                <a:off x="1697995" y="1533189"/>
                <a:ext cx="2062765" cy="482861"/>
              </a:xfrm>
              <a:prstGeom prst="roundRect">
                <a:avLst>
                  <a:gd name="adj" fmla="val 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b" anchorCtr="0">
                <a:normAutofit/>
              </a:bodyPr>
              <a:lstStyle/>
              <a:p>
                <a:pPr algn="r"/>
                <a:r>
                  <a:rPr lang="en-US" altLang="zh-CN" b="1">
                    <a:solidFill>
                      <a:schemeClr val="tx1"/>
                    </a:solidFill>
                    <a:latin typeface="Calibri" pitchFamily="34" charset="0"/>
                    <a:ea typeface="宋体" pitchFamily="2" charset="-122"/>
                  </a:rPr>
                  <a:t>Click to add text</a:t>
                </a:r>
                <a:endParaRPr lang="zh-CN" altLang="en-US" b="1" dirty="0">
                  <a:solidFill>
                    <a:schemeClr val="tx1"/>
                  </a:solidFill>
                  <a:latin typeface="Calibri" pitchFamily="34" charset="0"/>
                  <a:ea typeface="宋体" pitchFamily="2" charset="-122"/>
                </a:endParaRPr>
              </a:p>
            </p:txBody>
          </p:sp>
          <p:sp>
            <p:nvSpPr>
              <p:cNvPr id="24" name="矩形 23"/>
              <p:cNvSpPr/>
              <p:nvPr/>
            </p:nvSpPr>
            <p:spPr>
              <a:xfrm>
                <a:off x="1697995" y="2016051"/>
                <a:ext cx="2062765" cy="58443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t" anchorCtr="0">
                <a:normAutofit/>
              </a:bodyPr>
              <a:lstStyle/>
              <a:p>
                <a:pPr algn="r">
                  <a:lnSpc>
                    <a:spcPct val="120000"/>
                  </a:lnSpc>
                </a:pPr>
                <a:r>
                  <a:rPr lang="it-IT" altLang="zh-CN" sz="1200">
                    <a:solidFill>
                      <a:schemeClr val="tx1"/>
                    </a:solidFill>
                    <a:latin typeface="Calibri" pitchFamily="34" charset="0"/>
                    <a:ea typeface="宋体" pitchFamily="2" charset="-122"/>
                  </a:rPr>
                  <a:t>Iusto nisl dolore tempor et in magna nibh ea amet luptatum.</a:t>
                </a:r>
                <a:endParaRPr lang="zh-CN" altLang="en-US" sz="1200" dirty="0">
                  <a:solidFill>
                    <a:schemeClr val="tx1"/>
                  </a:solidFill>
                  <a:latin typeface="Calibri" pitchFamily="34" charset="0"/>
                  <a:ea typeface="宋体" pitchFamily="2" charset="-122"/>
                </a:endParaRPr>
              </a:p>
            </p:txBody>
          </p:sp>
        </p:grpSp>
        <p:grpSp>
          <p:nvGrpSpPr>
            <p:cNvPr id="42" name="组合 41"/>
            <p:cNvGrpSpPr/>
            <p:nvPr/>
          </p:nvGrpSpPr>
          <p:grpSpPr>
            <a:xfrm>
              <a:off x="2222088" y="2737346"/>
              <a:ext cx="2062765" cy="1067298"/>
              <a:chOff x="2222088" y="2737346"/>
              <a:chExt cx="2062765" cy="1067298"/>
            </a:xfrm>
          </p:grpSpPr>
          <p:sp>
            <p:nvSpPr>
              <p:cNvPr id="14" name="矩形: 圆角 13"/>
              <p:cNvSpPr/>
              <p:nvPr/>
            </p:nvSpPr>
            <p:spPr>
              <a:xfrm>
                <a:off x="2222088" y="2737346"/>
                <a:ext cx="2062765" cy="482861"/>
              </a:xfrm>
              <a:prstGeom prst="roundRect">
                <a:avLst>
                  <a:gd name="adj" fmla="val 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b" anchorCtr="0">
                <a:normAutofit/>
              </a:bodyPr>
              <a:lstStyle/>
              <a:p>
                <a:pPr algn="r"/>
                <a:r>
                  <a:rPr lang="en-US" altLang="zh-CN" b="1">
                    <a:solidFill>
                      <a:schemeClr val="tx1"/>
                    </a:solidFill>
                    <a:latin typeface="Calibri" pitchFamily="34" charset="0"/>
                    <a:ea typeface="宋体" pitchFamily="2" charset="-122"/>
                  </a:rPr>
                  <a:t>Click to add text</a:t>
                </a:r>
                <a:endParaRPr lang="zh-CN" altLang="en-US" b="1" dirty="0">
                  <a:solidFill>
                    <a:schemeClr val="tx1"/>
                  </a:solidFill>
                  <a:latin typeface="Calibri" pitchFamily="34" charset="0"/>
                  <a:ea typeface="宋体" pitchFamily="2" charset="-122"/>
                </a:endParaRPr>
              </a:p>
            </p:txBody>
          </p:sp>
          <p:sp>
            <p:nvSpPr>
              <p:cNvPr id="15" name="矩形 14"/>
              <p:cNvSpPr/>
              <p:nvPr/>
            </p:nvSpPr>
            <p:spPr>
              <a:xfrm>
                <a:off x="2222088" y="3220208"/>
                <a:ext cx="2062765" cy="58443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t" anchorCtr="0">
                <a:normAutofit/>
              </a:bodyPr>
              <a:lstStyle/>
              <a:p>
                <a:pPr algn="r">
                  <a:lnSpc>
                    <a:spcPct val="120000"/>
                  </a:lnSpc>
                </a:pPr>
                <a:r>
                  <a:rPr lang="en-US" altLang="zh-CN" sz="1200">
                    <a:solidFill>
                      <a:schemeClr val="tx1"/>
                    </a:solidFill>
                    <a:latin typeface="Calibri" pitchFamily="34" charset="0"/>
                    <a:ea typeface="宋体" pitchFamily="2" charset="-122"/>
                  </a:rPr>
                  <a:t>Tempor et lorem mazim amet facilisis ipsum vero lorem.</a:t>
                </a:r>
                <a:endParaRPr lang="zh-CN" altLang="en-US" sz="1200" dirty="0">
                  <a:solidFill>
                    <a:schemeClr val="tx1"/>
                  </a:solidFill>
                  <a:latin typeface="Calibri" pitchFamily="34" charset="0"/>
                  <a:ea typeface="宋体" pitchFamily="2" charset="-122"/>
                </a:endParaRPr>
              </a:p>
            </p:txBody>
          </p:sp>
        </p:grpSp>
        <p:grpSp>
          <p:nvGrpSpPr>
            <p:cNvPr id="44" name="组合 43"/>
            <p:cNvGrpSpPr/>
            <p:nvPr/>
          </p:nvGrpSpPr>
          <p:grpSpPr>
            <a:xfrm>
              <a:off x="2222088" y="4010836"/>
              <a:ext cx="2062765" cy="1067298"/>
              <a:chOff x="2222088" y="4010836"/>
              <a:chExt cx="2062765" cy="1067298"/>
            </a:xfrm>
          </p:grpSpPr>
          <p:sp>
            <p:nvSpPr>
              <p:cNvPr id="18" name="矩形: 圆角 17"/>
              <p:cNvSpPr/>
              <p:nvPr/>
            </p:nvSpPr>
            <p:spPr>
              <a:xfrm>
                <a:off x="2222088" y="4010836"/>
                <a:ext cx="2062765" cy="482861"/>
              </a:xfrm>
              <a:prstGeom prst="roundRect">
                <a:avLst>
                  <a:gd name="adj" fmla="val 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b" anchorCtr="0">
                <a:normAutofit/>
              </a:bodyPr>
              <a:lstStyle/>
              <a:p>
                <a:pPr algn="r"/>
                <a:r>
                  <a:rPr lang="en-US" altLang="zh-CN" b="1">
                    <a:solidFill>
                      <a:schemeClr val="tx1"/>
                    </a:solidFill>
                    <a:latin typeface="Calibri" pitchFamily="34" charset="0"/>
                    <a:ea typeface="宋体" pitchFamily="2" charset="-122"/>
                  </a:rPr>
                  <a:t>Click to add text</a:t>
                </a:r>
                <a:endParaRPr lang="zh-CN" altLang="en-US" b="1" dirty="0">
                  <a:solidFill>
                    <a:schemeClr val="tx1"/>
                  </a:solidFill>
                  <a:latin typeface="Calibri" pitchFamily="34" charset="0"/>
                  <a:ea typeface="宋体" pitchFamily="2" charset="-122"/>
                </a:endParaRPr>
              </a:p>
            </p:txBody>
          </p:sp>
          <p:sp>
            <p:nvSpPr>
              <p:cNvPr id="19" name="矩形 18"/>
              <p:cNvSpPr/>
              <p:nvPr/>
            </p:nvSpPr>
            <p:spPr>
              <a:xfrm>
                <a:off x="2222088" y="4493698"/>
                <a:ext cx="2062765" cy="58443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t" anchorCtr="0">
                <a:normAutofit/>
              </a:bodyPr>
              <a:lstStyle/>
              <a:p>
                <a:pPr algn="r">
                  <a:lnSpc>
                    <a:spcPct val="120000"/>
                  </a:lnSpc>
                </a:pPr>
                <a:r>
                  <a:rPr lang="en-US" altLang="zh-CN" sz="1200">
                    <a:solidFill>
                      <a:schemeClr val="tx1"/>
                    </a:solidFill>
                    <a:latin typeface="Calibri" pitchFamily="34" charset="0"/>
                    <a:ea typeface="宋体" pitchFamily="2" charset="-122"/>
                  </a:rPr>
                  <a:t>Takimata doming lorem facilisi sea eros erat augue.</a:t>
                </a:r>
                <a:endParaRPr lang="zh-CN" altLang="en-US" sz="1200" dirty="0">
                  <a:solidFill>
                    <a:schemeClr val="tx1"/>
                  </a:solidFill>
                  <a:latin typeface="Calibri" pitchFamily="34" charset="0"/>
                  <a:ea typeface="宋体" pitchFamily="2" charset="-122"/>
                </a:endParaRPr>
              </a:p>
            </p:txBody>
          </p:sp>
        </p:grpSp>
        <p:grpSp>
          <p:nvGrpSpPr>
            <p:cNvPr id="48" name="组合 47"/>
            <p:cNvGrpSpPr/>
            <p:nvPr/>
          </p:nvGrpSpPr>
          <p:grpSpPr>
            <a:xfrm>
              <a:off x="1697995" y="5066802"/>
              <a:ext cx="2062765" cy="1067298"/>
              <a:chOff x="1697995" y="5066802"/>
              <a:chExt cx="2062765" cy="1067298"/>
            </a:xfrm>
          </p:grpSpPr>
          <p:sp>
            <p:nvSpPr>
              <p:cNvPr id="27" name="矩形: 圆角 26"/>
              <p:cNvSpPr/>
              <p:nvPr/>
            </p:nvSpPr>
            <p:spPr>
              <a:xfrm>
                <a:off x="1697995" y="5066802"/>
                <a:ext cx="2062765" cy="482861"/>
              </a:xfrm>
              <a:prstGeom prst="roundRect">
                <a:avLst>
                  <a:gd name="adj" fmla="val 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b" anchorCtr="0">
                <a:normAutofit/>
              </a:bodyPr>
              <a:lstStyle/>
              <a:p>
                <a:pPr algn="r"/>
                <a:r>
                  <a:rPr lang="en-US" altLang="zh-CN" b="1">
                    <a:solidFill>
                      <a:schemeClr val="tx1"/>
                    </a:solidFill>
                    <a:latin typeface="Calibri" pitchFamily="34" charset="0"/>
                    <a:ea typeface="宋体" pitchFamily="2" charset="-122"/>
                  </a:rPr>
                  <a:t>Click to add text</a:t>
                </a:r>
                <a:endParaRPr lang="zh-CN" altLang="en-US" b="1" dirty="0">
                  <a:solidFill>
                    <a:schemeClr val="tx1"/>
                  </a:solidFill>
                  <a:latin typeface="Calibri" pitchFamily="34" charset="0"/>
                  <a:ea typeface="宋体" pitchFamily="2" charset="-122"/>
                </a:endParaRPr>
              </a:p>
            </p:txBody>
          </p:sp>
          <p:sp>
            <p:nvSpPr>
              <p:cNvPr id="28" name="矩形 27"/>
              <p:cNvSpPr/>
              <p:nvPr/>
            </p:nvSpPr>
            <p:spPr>
              <a:xfrm>
                <a:off x="1697995" y="5549664"/>
                <a:ext cx="2062765" cy="58443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t" anchorCtr="0">
                <a:normAutofit fontScale="85000" lnSpcReduction="10000"/>
              </a:bodyPr>
              <a:lstStyle/>
              <a:p>
                <a:pPr algn="r">
                  <a:lnSpc>
                    <a:spcPct val="120000"/>
                  </a:lnSpc>
                </a:pPr>
                <a:r>
                  <a:rPr lang="en-US" altLang="zh-CN" sz="1200">
                    <a:solidFill>
                      <a:schemeClr val="tx1"/>
                    </a:solidFill>
                    <a:latin typeface="Calibri" pitchFamily="34" charset="0"/>
                    <a:ea typeface="宋体" pitchFamily="2" charset="-122"/>
                  </a:rPr>
                  <a:t>Vero ipsum gubergren vero aliquyam nisl nonumy ut ea veniam.</a:t>
                </a:r>
                <a:endParaRPr lang="zh-CN" altLang="en-US" sz="1200" dirty="0">
                  <a:solidFill>
                    <a:schemeClr val="tx1"/>
                  </a:solidFill>
                  <a:latin typeface="Calibri" pitchFamily="34" charset="0"/>
                  <a:ea typeface="宋体" pitchFamily="2" charset="-122"/>
                </a:endParaRPr>
              </a:p>
            </p:txBody>
          </p:sp>
        </p:grpSp>
        <p:grpSp>
          <p:nvGrpSpPr>
            <p:cNvPr id="47" name="组合 46"/>
            <p:cNvGrpSpPr/>
            <p:nvPr/>
          </p:nvGrpSpPr>
          <p:grpSpPr>
            <a:xfrm>
              <a:off x="5074594" y="1533189"/>
              <a:ext cx="2062765" cy="1067298"/>
              <a:chOff x="5074594" y="1533189"/>
              <a:chExt cx="2062765" cy="1067298"/>
            </a:xfrm>
          </p:grpSpPr>
          <p:sp>
            <p:nvSpPr>
              <p:cNvPr id="25" name="矩形: 圆角 24"/>
              <p:cNvSpPr/>
              <p:nvPr/>
            </p:nvSpPr>
            <p:spPr>
              <a:xfrm>
                <a:off x="5074594" y="1533189"/>
                <a:ext cx="2062765" cy="482861"/>
              </a:xfrm>
              <a:prstGeom prst="roundRect">
                <a:avLst>
                  <a:gd name="adj" fmla="val 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b" anchorCtr="0">
                <a:normAutofit/>
              </a:bodyPr>
              <a:lstStyle/>
              <a:p>
                <a:pPr algn="r"/>
                <a:r>
                  <a:rPr lang="en-US" altLang="zh-CN" b="1">
                    <a:solidFill>
                      <a:schemeClr val="tx1"/>
                    </a:solidFill>
                    <a:latin typeface="Calibri" pitchFamily="34" charset="0"/>
                    <a:ea typeface="宋体" pitchFamily="2" charset="-122"/>
                  </a:rPr>
                  <a:t>Click to add text</a:t>
                </a:r>
                <a:endParaRPr lang="zh-CN" altLang="en-US" b="1" dirty="0">
                  <a:solidFill>
                    <a:schemeClr val="tx1"/>
                  </a:solidFill>
                  <a:latin typeface="Calibri" pitchFamily="34" charset="0"/>
                  <a:ea typeface="宋体" pitchFamily="2" charset="-122"/>
                </a:endParaRPr>
              </a:p>
            </p:txBody>
          </p:sp>
          <p:sp>
            <p:nvSpPr>
              <p:cNvPr id="26" name="矩形 25"/>
              <p:cNvSpPr/>
              <p:nvPr/>
            </p:nvSpPr>
            <p:spPr>
              <a:xfrm>
                <a:off x="5074594" y="2016051"/>
                <a:ext cx="2062765" cy="58443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t" anchorCtr="0">
                <a:normAutofit/>
              </a:bodyPr>
              <a:lstStyle/>
              <a:p>
                <a:pPr algn="r">
                  <a:lnSpc>
                    <a:spcPct val="120000"/>
                  </a:lnSpc>
                </a:pPr>
                <a:r>
                  <a:rPr lang="en-US" altLang="zh-CN" sz="1200" dirty="0">
                    <a:solidFill>
                      <a:schemeClr val="tx1"/>
                    </a:solidFill>
                    <a:latin typeface="Calibri" pitchFamily="34" charset="0"/>
                    <a:ea typeface="宋体" pitchFamily="2" charset="-122"/>
                  </a:rPr>
                  <a:t>Ut qui </a:t>
                </a:r>
                <a:r>
                  <a:rPr lang="en-US" altLang="zh-CN" sz="1200" dirty="0" err="1">
                    <a:solidFill>
                      <a:schemeClr val="tx1"/>
                    </a:solidFill>
                    <a:latin typeface="Calibri" pitchFamily="34" charset="0"/>
                    <a:ea typeface="宋体" pitchFamily="2" charset="-122"/>
                  </a:rPr>
                  <a:t>eirmod</a:t>
                </a:r>
                <a:r>
                  <a:rPr lang="en-US" altLang="zh-CN" sz="1200" dirty="0">
                    <a:solidFill>
                      <a:schemeClr val="tx1"/>
                    </a:solidFill>
                    <a:latin typeface="Calibri" pitchFamily="34" charset="0"/>
                    <a:ea typeface="宋体" pitchFamily="2" charset="-122"/>
                  </a:rPr>
                  <a:t> no </a:t>
                </a:r>
                <a:r>
                  <a:rPr lang="en-US" altLang="zh-CN" sz="1200" dirty="0" err="1">
                    <a:solidFill>
                      <a:schemeClr val="tx1"/>
                    </a:solidFill>
                    <a:latin typeface="Calibri" pitchFamily="34" charset="0"/>
                    <a:ea typeface="宋体" pitchFamily="2" charset="-122"/>
                  </a:rPr>
                  <a:t>vulputate</a:t>
                </a:r>
                <a:r>
                  <a:rPr lang="en-US" altLang="zh-CN" sz="1200" dirty="0">
                    <a:solidFill>
                      <a:schemeClr val="tx1"/>
                    </a:solidFill>
                    <a:latin typeface="Calibri" pitchFamily="34" charset="0"/>
                    <a:ea typeface="宋体" pitchFamily="2" charset="-122"/>
                  </a:rPr>
                  <a:t> </a:t>
                </a:r>
                <a:r>
                  <a:rPr lang="en-US" altLang="zh-CN" sz="1200" dirty="0" err="1">
                    <a:solidFill>
                      <a:schemeClr val="tx1"/>
                    </a:solidFill>
                    <a:latin typeface="Calibri" pitchFamily="34" charset="0"/>
                    <a:ea typeface="宋体" pitchFamily="2" charset="-122"/>
                  </a:rPr>
                  <a:t>vulputate</a:t>
                </a:r>
                <a:r>
                  <a:rPr lang="en-US" altLang="zh-CN" sz="1200" dirty="0">
                    <a:solidFill>
                      <a:schemeClr val="tx1"/>
                    </a:solidFill>
                    <a:latin typeface="Calibri" pitchFamily="34" charset="0"/>
                    <a:ea typeface="宋体" pitchFamily="2" charset="-122"/>
                  </a:rPr>
                  <a:t> </a:t>
                </a:r>
                <a:r>
                  <a:rPr lang="en-US" altLang="zh-CN" sz="1200" dirty="0" err="1">
                    <a:solidFill>
                      <a:schemeClr val="tx1"/>
                    </a:solidFill>
                    <a:latin typeface="Calibri" pitchFamily="34" charset="0"/>
                    <a:ea typeface="宋体" pitchFamily="2" charset="-122"/>
                  </a:rPr>
                  <a:t>eos</a:t>
                </a:r>
                <a:r>
                  <a:rPr lang="en-US" altLang="zh-CN" sz="1200" dirty="0">
                    <a:solidFill>
                      <a:schemeClr val="tx1"/>
                    </a:solidFill>
                    <a:latin typeface="Calibri" pitchFamily="34" charset="0"/>
                    <a:ea typeface="宋体" pitchFamily="2" charset="-122"/>
                  </a:rPr>
                  <a:t> </a:t>
                </a:r>
                <a:r>
                  <a:rPr lang="en-US" altLang="zh-CN" sz="1200" dirty="0" err="1">
                    <a:solidFill>
                      <a:schemeClr val="tx1"/>
                    </a:solidFill>
                    <a:latin typeface="Calibri" pitchFamily="34" charset="0"/>
                    <a:ea typeface="宋体" pitchFamily="2" charset="-122"/>
                  </a:rPr>
                  <a:t>gubergren</a:t>
                </a:r>
                <a:r>
                  <a:rPr lang="en-US" altLang="zh-CN" sz="1200" dirty="0">
                    <a:solidFill>
                      <a:schemeClr val="tx1"/>
                    </a:solidFill>
                    <a:latin typeface="Calibri" pitchFamily="34" charset="0"/>
                    <a:ea typeface="宋体" pitchFamily="2" charset="-122"/>
                  </a:rPr>
                  <a:t>.</a:t>
                </a:r>
                <a:endParaRPr lang="zh-CN" altLang="en-US" sz="1200" dirty="0">
                  <a:solidFill>
                    <a:schemeClr val="tx1"/>
                  </a:solidFill>
                  <a:latin typeface="Calibri" pitchFamily="34" charset="0"/>
                  <a:ea typeface="宋体" pitchFamily="2" charset="-122"/>
                </a:endParaRPr>
              </a:p>
            </p:txBody>
          </p:sp>
        </p:grpSp>
        <p:grpSp>
          <p:nvGrpSpPr>
            <p:cNvPr id="43" name="组合 42"/>
            <p:cNvGrpSpPr/>
            <p:nvPr/>
          </p:nvGrpSpPr>
          <p:grpSpPr>
            <a:xfrm>
              <a:off x="5598687" y="2737346"/>
              <a:ext cx="2062765" cy="1067298"/>
              <a:chOff x="5598687" y="2737346"/>
              <a:chExt cx="2062765" cy="1067298"/>
            </a:xfrm>
          </p:grpSpPr>
          <p:sp>
            <p:nvSpPr>
              <p:cNvPr id="16" name="矩形: 圆角 15"/>
              <p:cNvSpPr/>
              <p:nvPr/>
            </p:nvSpPr>
            <p:spPr>
              <a:xfrm>
                <a:off x="5598687" y="2737346"/>
                <a:ext cx="2062765" cy="482861"/>
              </a:xfrm>
              <a:prstGeom prst="roundRect">
                <a:avLst>
                  <a:gd name="adj" fmla="val 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b" anchorCtr="0">
                <a:normAutofit/>
              </a:bodyPr>
              <a:lstStyle/>
              <a:p>
                <a:pPr algn="r"/>
                <a:r>
                  <a:rPr lang="en-US" altLang="zh-CN" b="1" dirty="0">
                    <a:solidFill>
                      <a:schemeClr val="tx1"/>
                    </a:solidFill>
                    <a:latin typeface="Calibri" pitchFamily="34" charset="0"/>
                    <a:ea typeface="宋体" pitchFamily="2" charset="-122"/>
                  </a:rPr>
                  <a:t>Click to add text</a:t>
                </a:r>
                <a:endParaRPr lang="zh-CN" altLang="en-US" b="1" dirty="0">
                  <a:solidFill>
                    <a:schemeClr val="tx1"/>
                  </a:solidFill>
                  <a:latin typeface="Calibri" pitchFamily="34" charset="0"/>
                  <a:ea typeface="宋体" pitchFamily="2" charset="-122"/>
                </a:endParaRPr>
              </a:p>
            </p:txBody>
          </p:sp>
          <p:sp>
            <p:nvSpPr>
              <p:cNvPr id="17" name="矩形 16"/>
              <p:cNvSpPr/>
              <p:nvPr/>
            </p:nvSpPr>
            <p:spPr>
              <a:xfrm>
                <a:off x="5598687" y="3220208"/>
                <a:ext cx="2062765" cy="58443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t" anchorCtr="0">
                <a:normAutofit/>
              </a:bodyPr>
              <a:lstStyle/>
              <a:p>
                <a:pPr algn="r">
                  <a:lnSpc>
                    <a:spcPct val="120000"/>
                  </a:lnSpc>
                </a:pPr>
                <a:r>
                  <a:rPr lang="en-US" altLang="zh-CN" sz="1200">
                    <a:solidFill>
                      <a:schemeClr val="tx1"/>
                    </a:solidFill>
                    <a:latin typeface="Calibri" pitchFamily="34" charset="0"/>
                    <a:ea typeface="宋体" pitchFamily="2" charset="-122"/>
                  </a:rPr>
                  <a:t>Ipsum stet cum dolores dolor tation aliquyam sed esse.</a:t>
                </a:r>
                <a:endParaRPr lang="zh-CN" altLang="en-US" sz="1200" dirty="0">
                  <a:solidFill>
                    <a:schemeClr val="tx1"/>
                  </a:solidFill>
                  <a:latin typeface="Calibri" pitchFamily="34" charset="0"/>
                  <a:ea typeface="宋体" pitchFamily="2" charset="-122"/>
                </a:endParaRPr>
              </a:p>
            </p:txBody>
          </p:sp>
        </p:grpSp>
        <p:grpSp>
          <p:nvGrpSpPr>
            <p:cNvPr id="45" name="组合 44"/>
            <p:cNvGrpSpPr/>
            <p:nvPr/>
          </p:nvGrpSpPr>
          <p:grpSpPr>
            <a:xfrm>
              <a:off x="5598687" y="4010836"/>
              <a:ext cx="2062765" cy="1067298"/>
              <a:chOff x="5598687" y="4010836"/>
              <a:chExt cx="2062765" cy="1067298"/>
            </a:xfrm>
          </p:grpSpPr>
          <p:sp>
            <p:nvSpPr>
              <p:cNvPr id="20" name="矩形: 圆角 19"/>
              <p:cNvSpPr/>
              <p:nvPr/>
            </p:nvSpPr>
            <p:spPr>
              <a:xfrm>
                <a:off x="5598687" y="4010836"/>
                <a:ext cx="2062765" cy="482861"/>
              </a:xfrm>
              <a:prstGeom prst="roundRect">
                <a:avLst>
                  <a:gd name="adj" fmla="val 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b" anchorCtr="0">
                <a:normAutofit/>
              </a:bodyPr>
              <a:lstStyle/>
              <a:p>
                <a:pPr algn="r"/>
                <a:r>
                  <a:rPr lang="en-US" altLang="zh-CN" b="1">
                    <a:solidFill>
                      <a:schemeClr val="tx1"/>
                    </a:solidFill>
                    <a:latin typeface="Calibri" pitchFamily="34" charset="0"/>
                    <a:ea typeface="宋体" pitchFamily="2" charset="-122"/>
                  </a:rPr>
                  <a:t>Click to add text</a:t>
                </a:r>
                <a:endParaRPr lang="zh-CN" altLang="en-US" b="1" dirty="0">
                  <a:solidFill>
                    <a:schemeClr val="tx1"/>
                  </a:solidFill>
                  <a:latin typeface="Calibri" pitchFamily="34" charset="0"/>
                  <a:ea typeface="宋体" pitchFamily="2" charset="-122"/>
                </a:endParaRPr>
              </a:p>
            </p:txBody>
          </p:sp>
          <p:sp>
            <p:nvSpPr>
              <p:cNvPr id="21" name="矩形 20"/>
              <p:cNvSpPr/>
              <p:nvPr/>
            </p:nvSpPr>
            <p:spPr>
              <a:xfrm>
                <a:off x="5598687" y="4493698"/>
                <a:ext cx="2062765" cy="58443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t" anchorCtr="0">
                <a:normAutofit/>
              </a:bodyPr>
              <a:lstStyle/>
              <a:p>
                <a:pPr algn="r">
                  <a:lnSpc>
                    <a:spcPct val="120000"/>
                  </a:lnSpc>
                </a:pPr>
                <a:r>
                  <a:rPr lang="pt-BR" altLang="zh-CN" sz="1200">
                    <a:solidFill>
                      <a:schemeClr val="tx1"/>
                    </a:solidFill>
                    <a:latin typeface="Calibri" pitchFamily="34" charset="0"/>
                    <a:ea typeface="宋体" pitchFamily="2" charset="-122"/>
                  </a:rPr>
                  <a:t>Eirmod nobis justo justo sed nisl erat justo ipsum facilisi.</a:t>
                </a:r>
                <a:endParaRPr lang="zh-CN" altLang="en-US" sz="1200" dirty="0">
                  <a:solidFill>
                    <a:schemeClr val="tx1"/>
                  </a:solidFill>
                  <a:latin typeface="Calibri" pitchFamily="34" charset="0"/>
                  <a:ea typeface="宋体" pitchFamily="2" charset="-122"/>
                </a:endParaRPr>
              </a:p>
            </p:txBody>
          </p:sp>
        </p:grpSp>
        <p:grpSp>
          <p:nvGrpSpPr>
            <p:cNvPr id="49" name="组合 48"/>
            <p:cNvGrpSpPr/>
            <p:nvPr/>
          </p:nvGrpSpPr>
          <p:grpSpPr>
            <a:xfrm>
              <a:off x="5074594" y="5066802"/>
              <a:ext cx="2062765" cy="1067298"/>
              <a:chOff x="5074594" y="5066802"/>
              <a:chExt cx="2062765" cy="1067298"/>
            </a:xfrm>
          </p:grpSpPr>
          <p:sp>
            <p:nvSpPr>
              <p:cNvPr id="29" name="矩形: 圆角 28"/>
              <p:cNvSpPr/>
              <p:nvPr/>
            </p:nvSpPr>
            <p:spPr>
              <a:xfrm>
                <a:off x="5074594" y="5066802"/>
                <a:ext cx="2062765" cy="482861"/>
              </a:xfrm>
              <a:prstGeom prst="roundRect">
                <a:avLst>
                  <a:gd name="adj" fmla="val 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b" anchorCtr="0">
                <a:normAutofit/>
              </a:bodyPr>
              <a:lstStyle/>
              <a:p>
                <a:pPr algn="r"/>
                <a:r>
                  <a:rPr lang="en-US" altLang="zh-CN" b="1">
                    <a:solidFill>
                      <a:schemeClr val="tx1"/>
                    </a:solidFill>
                    <a:latin typeface="Calibri" pitchFamily="34" charset="0"/>
                    <a:ea typeface="宋体" pitchFamily="2" charset="-122"/>
                  </a:rPr>
                  <a:t>Click to add text</a:t>
                </a:r>
                <a:endParaRPr lang="zh-CN" altLang="en-US" b="1" dirty="0">
                  <a:solidFill>
                    <a:schemeClr val="tx1"/>
                  </a:solidFill>
                  <a:latin typeface="Calibri" pitchFamily="34" charset="0"/>
                  <a:ea typeface="宋体" pitchFamily="2" charset="-122"/>
                </a:endParaRPr>
              </a:p>
            </p:txBody>
          </p:sp>
          <p:sp>
            <p:nvSpPr>
              <p:cNvPr id="30" name="矩形 29"/>
              <p:cNvSpPr/>
              <p:nvPr/>
            </p:nvSpPr>
            <p:spPr>
              <a:xfrm>
                <a:off x="5074594" y="5549664"/>
                <a:ext cx="2062765" cy="58443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t" anchorCtr="0">
                <a:normAutofit/>
              </a:bodyPr>
              <a:lstStyle/>
              <a:p>
                <a:pPr algn="r">
                  <a:lnSpc>
                    <a:spcPct val="120000"/>
                  </a:lnSpc>
                </a:pPr>
                <a:r>
                  <a:rPr lang="it-IT" altLang="zh-CN" sz="1200">
                    <a:solidFill>
                      <a:schemeClr val="tx1"/>
                    </a:solidFill>
                    <a:latin typeface="Calibri" pitchFamily="34" charset="0"/>
                    <a:ea typeface="宋体" pitchFamily="2" charset="-122"/>
                  </a:rPr>
                  <a:t>Et nisl soluta magna magna sanctus iusto erat justo.</a:t>
                </a:r>
                <a:endParaRPr lang="zh-CN" altLang="en-US" sz="1200" dirty="0">
                  <a:solidFill>
                    <a:schemeClr val="tx1"/>
                  </a:solidFill>
                  <a:latin typeface="Calibri" pitchFamily="34" charset="0"/>
                  <a:ea typeface="宋体" pitchFamily="2" charset="-122"/>
                </a:endParaRPr>
              </a:p>
            </p:txBody>
          </p:sp>
        </p:grpSp>
      </p:gr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extBox 6"/>
          <p:cNvSpPr txBox="1"/>
          <p:nvPr/>
        </p:nvSpPr>
        <p:spPr>
          <a:xfrm>
            <a:off x="547832" y="187607"/>
            <a:ext cx="5548168" cy="461665"/>
          </a:xfrm>
          <a:prstGeom prst="rect">
            <a:avLst/>
          </a:prstGeom>
        </p:spPr>
        <p:txBody>
          <a:bodyPr vert="horz" wrap="square" lIns="0" tIns="0" rIns="0" bIns="0" rtlCol="0" anchor="ctr">
            <a:noAutofit/>
          </a:bodyPr>
          <a:lstStyle>
            <a:defPPr>
              <a:defRPr lang="zh-CN"/>
            </a:defPPr>
            <a:lvl1pPr marL="12700" marR="0" lvl="0" indent="0" fontAlgn="auto">
              <a:lnSpc>
                <a:spcPct val="100000"/>
              </a:lnSpc>
              <a:spcBef>
                <a:spcPts val="100"/>
              </a:spcBef>
              <a:spcAft>
                <a:spcPts val="0"/>
              </a:spcAft>
              <a:buClrTx/>
              <a:buSzTx/>
              <a:buFontTx/>
              <a:buNone/>
              <a:defRPr kumimoji="0" sz="3200" b="1" i="0" u="none" strike="noStrike" cap="none" spc="0" normalizeH="0" baseline="0">
                <a:ln>
                  <a:noFill/>
                </a:ln>
                <a:solidFill>
                  <a:srgbClr val="F05A23"/>
                </a:solidFill>
                <a:effectLst/>
                <a:uLnTx/>
                <a:uFillTx/>
                <a:latin typeface="Arial" panose="020B0604020202090204"/>
                <a:ea typeface="华文楷体" panose="02010600040101010101" pitchFamily="2" charset="-122"/>
              </a:defRPr>
            </a:lvl1pPr>
          </a:lstStyle>
          <a:p>
            <a:pPr marL="12700" marR="0" lvl="0" indent="0" algn="l" defTabSz="914400" rtl="0" eaLnBrk="1" fontAlgn="auto" latinLnBrk="0" hangingPunct="1">
              <a:lnSpc>
                <a:spcPct val="100000"/>
              </a:lnSpc>
              <a:spcBef>
                <a:spcPts val="100"/>
              </a:spcBef>
              <a:spcAft>
                <a:spcPts val="0"/>
              </a:spcAft>
              <a:buClrTx/>
              <a:buSzTx/>
              <a:buFontTx/>
              <a:buNone/>
              <a:defRPr/>
            </a:pPr>
            <a:r>
              <a:rPr kumimoji="0" lang="en-US" altLang="zh-CN" sz="2400" b="1" i="0" u="none" strike="noStrike" kern="1200" cap="none" spc="0" normalizeH="0" baseline="0" noProof="0" dirty="0">
                <a:ln>
                  <a:noFill/>
                </a:ln>
                <a:solidFill>
                  <a:srgbClr val="F05A23"/>
                </a:solidFill>
                <a:effectLst/>
                <a:uLnTx/>
                <a:uFillTx/>
                <a:latin typeface="Arial" panose="020B0604020202090204"/>
                <a:ea typeface="华文楷体" panose="02010600040101010101" pitchFamily="2" charset="-122"/>
                <a:cs typeface="+mn-cs"/>
              </a:rPr>
              <a:t>1</a:t>
            </a:r>
            <a:r>
              <a:rPr kumimoji="0" lang="zh-CN" altLang="en-US" sz="2400" b="1" i="0" u="none" strike="noStrike" kern="1200" cap="none" spc="0" normalizeH="0" baseline="0" noProof="0" dirty="0">
                <a:ln>
                  <a:noFill/>
                </a:ln>
                <a:solidFill>
                  <a:srgbClr val="F05A23"/>
                </a:solidFill>
                <a:effectLst/>
                <a:uLnTx/>
                <a:uFillTx/>
                <a:latin typeface="Arial" panose="020B0604020202090204"/>
                <a:ea typeface="华文楷体" panose="02010600040101010101" pitchFamily="2" charset="-122"/>
                <a:cs typeface="+mn-cs"/>
              </a:rPr>
              <a:t>、</a:t>
            </a:r>
            <a:endParaRPr kumimoji="0" lang="en-US" sz="2400" b="1" i="0" u="none" strike="noStrike" kern="1200" cap="none" spc="0" normalizeH="0" baseline="0" noProof="0" dirty="0">
              <a:ln>
                <a:noFill/>
              </a:ln>
              <a:solidFill>
                <a:srgbClr val="F05A23"/>
              </a:solidFill>
              <a:effectLst/>
              <a:uLnTx/>
              <a:uFillTx/>
              <a:latin typeface="Arial" panose="020B0604020202090204"/>
              <a:ea typeface="华文楷体" panose="02010600040101010101" pitchFamily="2" charset="-122"/>
              <a:cs typeface="+mn-cs"/>
            </a:endParaRPr>
          </a:p>
        </p:txBody>
      </p:sp>
      <p:pic>
        <p:nvPicPr>
          <p:cNvPr id="40" name="图片 39"/>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9949418" y="253211"/>
            <a:ext cx="1837445" cy="501494"/>
          </a:xfrm>
          <a:prstGeom prst="rect">
            <a:avLst/>
          </a:prstGeom>
        </p:spPr>
      </p:pic>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组合 28"/>
          <p:cNvGrpSpPr/>
          <p:nvPr/>
        </p:nvGrpSpPr>
        <p:grpSpPr>
          <a:xfrm>
            <a:off x="666751" y="1130301"/>
            <a:ext cx="10858500" cy="4780420"/>
            <a:chOff x="666750" y="1130300"/>
            <a:chExt cx="10858500" cy="4780420"/>
          </a:xfrm>
        </p:grpSpPr>
        <p:grpSp>
          <p:nvGrpSpPr>
            <p:cNvPr id="28" name="组合 27"/>
            <p:cNvGrpSpPr/>
            <p:nvPr/>
          </p:nvGrpSpPr>
          <p:grpSpPr>
            <a:xfrm>
              <a:off x="673100" y="2298700"/>
              <a:ext cx="10845800" cy="3612020"/>
              <a:chOff x="673100" y="2222500"/>
              <a:chExt cx="10845800" cy="3612020"/>
            </a:xfrm>
          </p:grpSpPr>
          <p:grpSp>
            <p:nvGrpSpPr>
              <p:cNvPr id="2" name="组合 1"/>
              <p:cNvGrpSpPr/>
              <p:nvPr/>
            </p:nvGrpSpPr>
            <p:grpSpPr>
              <a:xfrm>
                <a:off x="4297086" y="2222500"/>
                <a:ext cx="3597829" cy="3581585"/>
                <a:chOff x="4764937" y="1638207"/>
                <a:chExt cx="3597829" cy="3581585"/>
              </a:xfrm>
            </p:grpSpPr>
            <p:grpSp>
              <p:nvGrpSpPr>
                <p:cNvPr id="3" name="组合 2"/>
                <p:cNvGrpSpPr/>
                <p:nvPr/>
              </p:nvGrpSpPr>
              <p:grpSpPr>
                <a:xfrm>
                  <a:off x="4764937" y="3538357"/>
                  <a:ext cx="1681435" cy="1681435"/>
                  <a:chOff x="3253549" y="4037893"/>
                  <a:chExt cx="1280351" cy="1280351"/>
                </a:xfrm>
              </p:grpSpPr>
              <p:sp>
                <p:nvSpPr>
                  <p:cNvPr id="13" name="泪滴形 12"/>
                  <p:cNvSpPr/>
                  <p:nvPr/>
                </p:nvSpPr>
                <p:spPr>
                  <a:xfrm>
                    <a:off x="3253549" y="4037893"/>
                    <a:ext cx="1280351" cy="1280351"/>
                  </a:xfrm>
                  <a:prstGeom prst="teardrop">
                    <a:avLst/>
                  </a:prstGeom>
                  <a:solidFill>
                    <a:schemeClr val="accent1"/>
                  </a:solidFill>
                  <a:ln w="12700" cap="rnd">
                    <a:noFill/>
                    <a:prstDash val="solid"/>
                    <a:round/>
                  </a:ln>
                  <a:effectLst>
                    <a:outerShdw blurRad="254000" dist="127000" algn="ctr" rotWithShape="0">
                      <a:schemeClr val="accent1">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a:bodyPr>
                  <a:lstStyle/>
                  <a:p>
                    <a:pPr algn="ctr" defTabSz="914400"/>
                    <a:endParaRPr lang="zh-CN" altLang="en-US" sz="2000" b="1">
                      <a:solidFill>
                        <a:schemeClr val="bg1"/>
                      </a:solidFill>
                    </a:endParaRPr>
                  </a:p>
                </p:txBody>
              </p:sp>
              <p:sp>
                <p:nvSpPr>
                  <p:cNvPr id="14" name="椭圆 13"/>
                  <p:cNvSpPr/>
                  <p:nvPr/>
                </p:nvSpPr>
                <p:spPr>
                  <a:xfrm>
                    <a:off x="3432462" y="4216806"/>
                    <a:ext cx="922525" cy="922525"/>
                  </a:xfrm>
                  <a:prstGeom prst="ellipse">
                    <a:avLst/>
                  </a:prstGeom>
                  <a:solidFill>
                    <a:schemeClr val="l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b="1" dirty="0">
                        <a:solidFill>
                          <a:schemeClr val="accent2"/>
                        </a:solidFill>
                        <a:latin typeface="Calibri" pitchFamily="34" charset="0"/>
                        <a:ea typeface="宋体" pitchFamily="2" charset="-122"/>
                      </a:rPr>
                      <a:t>02</a:t>
                    </a:r>
                    <a:endParaRPr lang="zh-CN" altLang="en-US" sz="2400" b="1" dirty="0">
                      <a:solidFill>
                        <a:schemeClr val="accent2"/>
                      </a:solidFill>
                      <a:latin typeface="Calibri" pitchFamily="34" charset="0"/>
                      <a:ea typeface="宋体" pitchFamily="2" charset="-122"/>
                    </a:endParaRPr>
                  </a:p>
                </p:txBody>
              </p:sp>
            </p:grpSp>
            <p:grpSp>
              <p:nvGrpSpPr>
                <p:cNvPr id="4" name="组合 3"/>
                <p:cNvGrpSpPr/>
                <p:nvPr/>
              </p:nvGrpSpPr>
              <p:grpSpPr>
                <a:xfrm flipH="1">
                  <a:off x="6681331" y="3538357"/>
                  <a:ext cx="1681435" cy="1681435"/>
                  <a:chOff x="3253549" y="4037893"/>
                  <a:chExt cx="1280351" cy="1280351"/>
                </a:xfrm>
              </p:grpSpPr>
              <p:sp>
                <p:nvSpPr>
                  <p:cNvPr id="11" name="泪滴形 10"/>
                  <p:cNvSpPr/>
                  <p:nvPr/>
                </p:nvSpPr>
                <p:spPr>
                  <a:xfrm>
                    <a:off x="3253549" y="4037893"/>
                    <a:ext cx="1280351" cy="1280351"/>
                  </a:xfrm>
                  <a:prstGeom prst="teardrop">
                    <a:avLst/>
                  </a:prstGeom>
                  <a:solidFill>
                    <a:schemeClr val="accent2"/>
                  </a:solidFill>
                  <a:ln w="12700" cap="rnd">
                    <a:noFill/>
                    <a:prstDash val="solid"/>
                    <a:round/>
                  </a:ln>
                  <a:effectLst>
                    <a:outerShdw blurRad="254000" dist="127000" algn="ctr" rotWithShape="0">
                      <a:schemeClr val="accent2">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a:bodyPr>
                  <a:lstStyle/>
                  <a:p>
                    <a:pPr algn="ctr" defTabSz="914400"/>
                    <a:endParaRPr lang="zh-CN" altLang="en-US" sz="2000" b="1">
                      <a:solidFill>
                        <a:schemeClr val="bg1"/>
                      </a:solidFill>
                    </a:endParaRPr>
                  </a:p>
                </p:txBody>
              </p:sp>
              <p:sp>
                <p:nvSpPr>
                  <p:cNvPr id="12" name="椭圆 11"/>
                  <p:cNvSpPr/>
                  <p:nvPr/>
                </p:nvSpPr>
                <p:spPr>
                  <a:xfrm>
                    <a:off x="3432462" y="4216806"/>
                    <a:ext cx="922525" cy="922525"/>
                  </a:xfrm>
                  <a:prstGeom prst="ellipse">
                    <a:avLst/>
                  </a:prstGeom>
                  <a:solidFill>
                    <a:schemeClr val="l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b="1" dirty="0">
                        <a:solidFill>
                          <a:schemeClr val="accent2"/>
                        </a:solidFill>
                        <a:latin typeface="Calibri" pitchFamily="34" charset="0"/>
                        <a:ea typeface="宋体" pitchFamily="2" charset="-122"/>
                      </a:rPr>
                      <a:t>04</a:t>
                    </a:r>
                    <a:endParaRPr lang="zh-CN" altLang="en-US" sz="2400" b="1" dirty="0">
                      <a:solidFill>
                        <a:schemeClr val="accent2"/>
                      </a:solidFill>
                      <a:latin typeface="Calibri" pitchFamily="34" charset="0"/>
                      <a:ea typeface="宋体" pitchFamily="2" charset="-122"/>
                    </a:endParaRPr>
                  </a:p>
                </p:txBody>
              </p:sp>
            </p:grpSp>
            <p:grpSp>
              <p:nvGrpSpPr>
                <p:cNvPr id="5" name="组合 4"/>
                <p:cNvGrpSpPr/>
                <p:nvPr/>
              </p:nvGrpSpPr>
              <p:grpSpPr>
                <a:xfrm flipV="1">
                  <a:off x="4764937" y="1638207"/>
                  <a:ext cx="1681435" cy="1681435"/>
                  <a:chOff x="3253549" y="4037893"/>
                  <a:chExt cx="1280351" cy="1280351"/>
                </a:xfrm>
              </p:grpSpPr>
              <p:sp>
                <p:nvSpPr>
                  <p:cNvPr id="9" name="泪滴形 8"/>
                  <p:cNvSpPr/>
                  <p:nvPr/>
                </p:nvSpPr>
                <p:spPr>
                  <a:xfrm>
                    <a:off x="3253549" y="4037893"/>
                    <a:ext cx="1280351" cy="1280351"/>
                  </a:xfrm>
                  <a:prstGeom prst="teardrop">
                    <a:avLst/>
                  </a:prstGeom>
                  <a:solidFill>
                    <a:schemeClr val="accent2"/>
                  </a:solidFill>
                  <a:ln w="12700" cap="rnd">
                    <a:noFill/>
                    <a:prstDash val="solid"/>
                    <a:round/>
                  </a:ln>
                  <a:effectLst>
                    <a:outerShdw blurRad="254000" dist="127000" algn="ctr" rotWithShape="0">
                      <a:schemeClr val="accent2">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a:bodyPr>
                  <a:lstStyle/>
                  <a:p>
                    <a:pPr algn="ctr" defTabSz="914400"/>
                    <a:endParaRPr lang="zh-CN" altLang="en-US" sz="2000" b="1">
                      <a:solidFill>
                        <a:schemeClr val="bg1"/>
                      </a:solidFill>
                    </a:endParaRPr>
                  </a:p>
                </p:txBody>
              </p:sp>
              <p:sp>
                <p:nvSpPr>
                  <p:cNvPr id="10" name="椭圆 9"/>
                  <p:cNvSpPr/>
                  <p:nvPr/>
                </p:nvSpPr>
                <p:spPr>
                  <a:xfrm flipV="1">
                    <a:off x="3432462" y="4216806"/>
                    <a:ext cx="922525" cy="922525"/>
                  </a:xfrm>
                  <a:prstGeom prst="ellipse">
                    <a:avLst/>
                  </a:prstGeom>
                  <a:solidFill>
                    <a:schemeClr val="l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b="1" dirty="0">
                        <a:solidFill>
                          <a:schemeClr val="accent2"/>
                        </a:solidFill>
                        <a:latin typeface="Calibri" pitchFamily="34" charset="0"/>
                        <a:ea typeface="宋体" pitchFamily="2" charset="-122"/>
                      </a:rPr>
                      <a:t>01</a:t>
                    </a:r>
                    <a:endParaRPr lang="zh-CN" altLang="en-US" sz="2400" b="1" dirty="0">
                      <a:solidFill>
                        <a:schemeClr val="accent2"/>
                      </a:solidFill>
                      <a:latin typeface="Calibri" pitchFamily="34" charset="0"/>
                      <a:ea typeface="宋体" pitchFamily="2" charset="-122"/>
                    </a:endParaRPr>
                  </a:p>
                </p:txBody>
              </p:sp>
            </p:grpSp>
            <p:grpSp>
              <p:nvGrpSpPr>
                <p:cNvPr id="6" name="组合 5"/>
                <p:cNvGrpSpPr/>
                <p:nvPr/>
              </p:nvGrpSpPr>
              <p:grpSpPr>
                <a:xfrm flipH="1" flipV="1">
                  <a:off x="6681331" y="1638207"/>
                  <a:ext cx="1681435" cy="1681435"/>
                  <a:chOff x="3253549" y="4037893"/>
                  <a:chExt cx="1280351" cy="1280351"/>
                </a:xfrm>
              </p:grpSpPr>
              <p:sp>
                <p:nvSpPr>
                  <p:cNvPr id="7" name="泪滴形 6"/>
                  <p:cNvSpPr/>
                  <p:nvPr/>
                </p:nvSpPr>
                <p:spPr>
                  <a:xfrm>
                    <a:off x="3253549" y="4037893"/>
                    <a:ext cx="1280351" cy="1280351"/>
                  </a:xfrm>
                  <a:prstGeom prst="teardrop">
                    <a:avLst/>
                  </a:prstGeom>
                  <a:solidFill>
                    <a:schemeClr val="accent1"/>
                  </a:solidFill>
                  <a:ln w="12700" cap="rnd">
                    <a:noFill/>
                    <a:prstDash val="solid"/>
                    <a:round/>
                  </a:ln>
                  <a:effectLst>
                    <a:outerShdw blurRad="254000" dist="127000" algn="ctr" rotWithShape="0">
                      <a:schemeClr val="accent1">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a:bodyPr>
                  <a:lstStyle/>
                  <a:p>
                    <a:pPr algn="ctr" defTabSz="914400"/>
                    <a:endParaRPr lang="zh-CN" altLang="en-US" sz="2000" b="1">
                      <a:solidFill>
                        <a:schemeClr val="bg1"/>
                      </a:solidFill>
                    </a:endParaRPr>
                  </a:p>
                </p:txBody>
              </p:sp>
              <p:sp>
                <p:nvSpPr>
                  <p:cNvPr id="8" name="椭圆 7"/>
                  <p:cNvSpPr/>
                  <p:nvPr/>
                </p:nvSpPr>
                <p:spPr>
                  <a:xfrm flipV="1">
                    <a:off x="3432462" y="4216806"/>
                    <a:ext cx="922525" cy="922525"/>
                  </a:xfrm>
                  <a:prstGeom prst="ellipse">
                    <a:avLst/>
                  </a:prstGeom>
                  <a:solidFill>
                    <a:schemeClr val="l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b="1" dirty="0">
                        <a:solidFill>
                          <a:schemeClr val="accent2"/>
                        </a:solidFill>
                        <a:latin typeface="Calibri" pitchFamily="34" charset="0"/>
                        <a:ea typeface="宋体" pitchFamily="2" charset="-122"/>
                      </a:rPr>
                      <a:t>03</a:t>
                    </a:r>
                    <a:endParaRPr lang="zh-CN" altLang="en-US" sz="2400" b="1" dirty="0">
                      <a:solidFill>
                        <a:schemeClr val="accent2"/>
                      </a:solidFill>
                      <a:latin typeface="Calibri" pitchFamily="34" charset="0"/>
                      <a:ea typeface="宋体" pitchFamily="2" charset="-122"/>
                    </a:endParaRPr>
                  </a:p>
                </p:txBody>
              </p:sp>
            </p:grpSp>
          </p:grpSp>
          <p:grpSp>
            <p:nvGrpSpPr>
              <p:cNvPr id="17" name="组合 16"/>
              <p:cNvGrpSpPr/>
              <p:nvPr/>
            </p:nvGrpSpPr>
            <p:grpSpPr>
              <a:xfrm>
                <a:off x="8129874" y="2247900"/>
                <a:ext cx="3389026" cy="1552356"/>
                <a:chOff x="8129874" y="2247900"/>
                <a:chExt cx="3389026" cy="1552356"/>
              </a:xfrm>
            </p:grpSpPr>
            <p:sp>
              <p:nvSpPr>
                <p:cNvPr id="15" name="文本框 14"/>
                <p:cNvSpPr txBox="1"/>
                <p:nvPr/>
              </p:nvSpPr>
              <p:spPr>
                <a:xfrm flipH="1">
                  <a:off x="8129874" y="2247900"/>
                  <a:ext cx="3389026" cy="705051"/>
                </a:xfrm>
                <a:prstGeom prst="rect">
                  <a:avLst/>
                </a:prstGeom>
              </p:spPr>
              <p:txBody>
                <a:bodyPr wrap="square" anchor="b" anchorCtr="0">
                  <a:normAutofit/>
                </a:bodyPr>
                <a:lstStyle/>
                <a:p>
                  <a:r>
                    <a:rPr lang="en-US" altLang="zh-CN" b="1">
                      <a:latin typeface="Calibri" pitchFamily="34" charset="0"/>
                      <a:ea typeface="宋体" pitchFamily="2" charset="-122"/>
                    </a:rPr>
                    <a:t>Click to add text</a:t>
                  </a:r>
                  <a:endParaRPr lang="en-US" altLang="zh-CN" b="1" dirty="0">
                    <a:latin typeface="Calibri" pitchFamily="34" charset="0"/>
                    <a:ea typeface="宋体" pitchFamily="2" charset="-122"/>
                  </a:endParaRPr>
                </a:p>
              </p:txBody>
            </p:sp>
            <p:sp>
              <p:nvSpPr>
                <p:cNvPr id="16" name="矩形 15"/>
                <p:cNvSpPr/>
                <p:nvPr/>
              </p:nvSpPr>
              <p:spPr>
                <a:xfrm flipH="1">
                  <a:off x="8129874" y="3019960"/>
                  <a:ext cx="3389026" cy="780296"/>
                </a:xfrm>
                <a:prstGeom prst="rect">
                  <a:avLst/>
                </a:prstGeom>
                <a:ln>
                  <a:noFill/>
                </a:ln>
              </p:spPr>
              <p:txBody>
                <a:bodyPr wrap="square" lIns="91440" tIns="45720" rIns="91440" bIns="45720" anchor="t">
                  <a:normAutofit/>
                </a:bodyPr>
                <a:lstStyle/>
                <a:p>
                  <a:pPr>
                    <a:lnSpc>
                      <a:spcPct val="120000"/>
                    </a:lnSpc>
                  </a:pPr>
                  <a:r>
                    <a:rPr lang="fr-FR" altLang="zh-CN" sz="1200">
                      <a:latin typeface="Calibri" pitchFamily="34" charset="0"/>
                      <a:ea typeface="宋体" pitchFamily="2" charset="-122"/>
                    </a:rPr>
                    <a:t>Sed sea luptatum sit enim facilisi imperdiet sed nonumy.</a:t>
                  </a:r>
                  <a:endParaRPr lang="en-US" altLang="zh-CN" sz="1200" dirty="0">
                    <a:latin typeface="Calibri" pitchFamily="34" charset="0"/>
                    <a:ea typeface="宋体" pitchFamily="2" charset="-122"/>
                  </a:endParaRPr>
                </a:p>
              </p:txBody>
            </p:sp>
          </p:grpSp>
          <p:grpSp>
            <p:nvGrpSpPr>
              <p:cNvPr id="18" name="组合 17"/>
              <p:cNvGrpSpPr/>
              <p:nvPr/>
            </p:nvGrpSpPr>
            <p:grpSpPr>
              <a:xfrm>
                <a:off x="8129874" y="4282164"/>
                <a:ext cx="3389026" cy="1552356"/>
                <a:chOff x="8129874" y="2247900"/>
                <a:chExt cx="3389026" cy="1552356"/>
              </a:xfrm>
            </p:grpSpPr>
            <p:sp>
              <p:nvSpPr>
                <p:cNvPr id="19" name="文本框 18"/>
                <p:cNvSpPr txBox="1"/>
                <p:nvPr/>
              </p:nvSpPr>
              <p:spPr>
                <a:xfrm flipH="1">
                  <a:off x="8129874" y="2247900"/>
                  <a:ext cx="3389026" cy="705051"/>
                </a:xfrm>
                <a:prstGeom prst="rect">
                  <a:avLst/>
                </a:prstGeom>
              </p:spPr>
              <p:txBody>
                <a:bodyPr wrap="square" anchor="b" anchorCtr="0">
                  <a:normAutofit/>
                </a:bodyPr>
                <a:lstStyle/>
                <a:p>
                  <a:r>
                    <a:rPr lang="en-US" altLang="zh-CN" b="1">
                      <a:latin typeface="Calibri" pitchFamily="34" charset="0"/>
                      <a:ea typeface="宋体" pitchFamily="2" charset="-122"/>
                    </a:rPr>
                    <a:t>Click to add text</a:t>
                  </a:r>
                  <a:endParaRPr lang="en-US" altLang="zh-CN" b="1" dirty="0">
                    <a:latin typeface="Calibri" pitchFamily="34" charset="0"/>
                    <a:ea typeface="宋体" pitchFamily="2" charset="-122"/>
                  </a:endParaRPr>
                </a:p>
              </p:txBody>
            </p:sp>
            <p:sp>
              <p:nvSpPr>
                <p:cNvPr id="20" name="矩形 19"/>
                <p:cNvSpPr/>
                <p:nvPr/>
              </p:nvSpPr>
              <p:spPr>
                <a:xfrm flipH="1">
                  <a:off x="8129874" y="3019960"/>
                  <a:ext cx="3389026" cy="780296"/>
                </a:xfrm>
                <a:prstGeom prst="rect">
                  <a:avLst/>
                </a:prstGeom>
                <a:ln>
                  <a:noFill/>
                </a:ln>
              </p:spPr>
              <p:txBody>
                <a:bodyPr wrap="square" lIns="91440" tIns="45720" rIns="91440" bIns="45720" anchor="t">
                  <a:normAutofit/>
                </a:bodyPr>
                <a:lstStyle/>
                <a:p>
                  <a:pPr>
                    <a:lnSpc>
                      <a:spcPct val="120000"/>
                    </a:lnSpc>
                  </a:pPr>
                  <a:r>
                    <a:rPr lang="fr-FR" altLang="zh-CN" sz="1200">
                      <a:latin typeface="Calibri" pitchFamily="34" charset="0"/>
                      <a:ea typeface="宋体" pitchFamily="2" charset="-122"/>
                    </a:rPr>
                    <a:t>Sed sea luptatum sit enim facilisi imperdiet sed nonumy.</a:t>
                  </a:r>
                  <a:endParaRPr lang="en-US" altLang="zh-CN" sz="1200" dirty="0">
                    <a:latin typeface="Calibri" pitchFamily="34" charset="0"/>
                    <a:ea typeface="宋体" pitchFamily="2" charset="-122"/>
                  </a:endParaRPr>
                </a:p>
              </p:txBody>
            </p:sp>
          </p:grpSp>
          <p:grpSp>
            <p:nvGrpSpPr>
              <p:cNvPr id="21" name="组合 20"/>
              <p:cNvGrpSpPr/>
              <p:nvPr/>
            </p:nvGrpSpPr>
            <p:grpSpPr>
              <a:xfrm>
                <a:off x="673100" y="2247900"/>
                <a:ext cx="3389026" cy="1552356"/>
                <a:chOff x="8129874" y="2247900"/>
                <a:chExt cx="3389026" cy="1552356"/>
              </a:xfrm>
            </p:grpSpPr>
            <p:sp>
              <p:nvSpPr>
                <p:cNvPr id="22" name="文本框 21"/>
                <p:cNvSpPr txBox="1"/>
                <p:nvPr/>
              </p:nvSpPr>
              <p:spPr>
                <a:xfrm flipH="1">
                  <a:off x="8129874" y="2247900"/>
                  <a:ext cx="3389026" cy="705051"/>
                </a:xfrm>
                <a:prstGeom prst="rect">
                  <a:avLst/>
                </a:prstGeom>
              </p:spPr>
              <p:txBody>
                <a:bodyPr wrap="square" anchor="b" anchorCtr="0">
                  <a:normAutofit/>
                </a:bodyPr>
                <a:lstStyle/>
                <a:p>
                  <a:pPr algn="r"/>
                  <a:r>
                    <a:rPr lang="en-US" altLang="zh-CN" b="1">
                      <a:latin typeface="Calibri" pitchFamily="34" charset="0"/>
                      <a:ea typeface="宋体" pitchFamily="2" charset="-122"/>
                    </a:rPr>
                    <a:t>Click to add text</a:t>
                  </a:r>
                  <a:endParaRPr lang="en-US" altLang="zh-CN" b="1" dirty="0">
                    <a:latin typeface="Calibri" pitchFamily="34" charset="0"/>
                    <a:ea typeface="宋体" pitchFamily="2" charset="-122"/>
                  </a:endParaRPr>
                </a:p>
              </p:txBody>
            </p:sp>
            <p:sp>
              <p:nvSpPr>
                <p:cNvPr id="23" name="矩形 22"/>
                <p:cNvSpPr/>
                <p:nvPr/>
              </p:nvSpPr>
              <p:spPr>
                <a:xfrm flipH="1">
                  <a:off x="8129874" y="3019960"/>
                  <a:ext cx="3389026" cy="780296"/>
                </a:xfrm>
                <a:prstGeom prst="rect">
                  <a:avLst/>
                </a:prstGeom>
                <a:ln>
                  <a:noFill/>
                </a:ln>
              </p:spPr>
              <p:txBody>
                <a:bodyPr wrap="square" lIns="91440" tIns="45720" rIns="91440" bIns="45720" anchor="t">
                  <a:normAutofit/>
                </a:bodyPr>
                <a:lstStyle/>
                <a:p>
                  <a:pPr algn="r">
                    <a:lnSpc>
                      <a:spcPct val="120000"/>
                    </a:lnSpc>
                  </a:pPr>
                  <a:r>
                    <a:rPr lang="fr-FR" altLang="zh-CN" sz="1200">
                      <a:latin typeface="Calibri" pitchFamily="34" charset="0"/>
                      <a:ea typeface="宋体" pitchFamily="2" charset="-122"/>
                    </a:rPr>
                    <a:t>Sed sea luptatum sit enim facilisi imperdiet sed nonumy.</a:t>
                  </a:r>
                  <a:endParaRPr lang="en-US" altLang="zh-CN" sz="1200" dirty="0">
                    <a:latin typeface="Calibri" pitchFamily="34" charset="0"/>
                    <a:ea typeface="宋体" pitchFamily="2" charset="-122"/>
                  </a:endParaRPr>
                </a:p>
              </p:txBody>
            </p:sp>
          </p:grpSp>
          <p:grpSp>
            <p:nvGrpSpPr>
              <p:cNvPr id="24" name="组合 23"/>
              <p:cNvGrpSpPr/>
              <p:nvPr/>
            </p:nvGrpSpPr>
            <p:grpSpPr>
              <a:xfrm>
                <a:off x="673100" y="4282164"/>
                <a:ext cx="3389026" cy="1552356"/>
                <a:chOff x="8129874" y="2247900"/>
                <a:chExt cx="3389026" cy="1552356"/>
              </a:xfrm>
            </p:grpSpPr>
            <p:sp>
              <p:nvSpPr>
                <p:cNvPr id="25" name="文本框 24"/>
                <p:cNvSpPr txBox="1"/>
                <p:nvPr/>
              </p:nvSpPr>
              <p:spPr>
                <a:xfrm flipH="1">
                  <a:off x="8129874" y="2247900"/>
                  <a:ext cx="3389026" cy="705051"/>
                </a:xfrm>
                <a:prstGeom prst="rect">
                  <a:avLst/>
                </a:prstGeom>
              </p:spPr>
              <p:txBody>
                <a:bodyPr wrap="square" anchor="b" anchorCtr="0">
                  <a:normAutofit/>
                </a:bodyPr>
                <a:lstStyle/>
                <a:p>
                  <a:pPr algn="r"/>
                  <a:r>
                    <a:rPr lang="en-US" altLang="zh-CN" b="1">
                      <a:latin typeface="Calibri" pitchFamily="34" charset="0"/>
                      <a:ea typeface="宋体" pitchFamily="2" charset="-122"/>
                    </a:rPr>
                    <a:t>Click to add text</a:t>
                  </a:r>
                  <a:endParaRPr lang="en-US" altLang="zh-CN" b="1" dirty="0">
                    <a:latin typeface="Calibri" pitchFamily="34" charset="0"/>
                    <a:ea typeface="宋体" pitchFamily="2" charset="-122"/>
                  </a:endParaRPr>
                </a:p>
              </p:txBody>
            </p:sp>
            <p:sp>
              <p:nvSpPr>
                <p:cNvPr id="26" name="矩形 25"/>
                <p:cNvSpPr/>
                <p:nvPr/>
              </p:nvSpPr>
              <p:spPr>
                <a:xfrm flipH="1">
                  <a:off x="8129874" y="3019960"/>
                  <a:ext cx="3389026" cy="780296"/>
                </a:xfrm>
                <a:prstGeom prst="rect">
                  <a:avLst/>
                </a:prstGeom>
                <a:ln>
                  <a:noFill/>
                </a:ln>
              </p:spPr>
              <p:txBody>
                <a:bodyPr wrap="square" lIns="91440" tIns="45720" rIns="91440" bIns="45720" anchor="t">
                  <a:normAutofit/>
                </a:bodyPr>
                <a:lstStyle/>
                <a:p>
                  <a:pPr algn="r">
                    <a:lnSpc>
                      <a:spcPct val="120000"/>
                    </a:lnSpc>
                  </a:pPr>
                  <a:r>
                    <a:rPr lang="fr-FR" altLang="zh-CN" sz="1200">
                      <a:latin typeface="Calibri" pitchFamily="34" charset="0"/>
                      <a:ea typeface="宋体" pitchFamily="2" charset="-122"/>
                    </a:rPr>
                    <a:t>Sed sea luptatum sit enim facilisi imperdiet sed nonumy.</a:t>
                  </a:r>
                  <a:endParaRPr lang="en-US" altLang="zh-CN" sz="1200" dirty="0">
                    <a:latin typeface="Calibri" pitchFamily="34" charset="0"/>
                    <a:ea typeface="宋体" pitchFamily="2" charset="-122"/>
                  </a:endParaRPr>
                </a:p>
              </p:txBody>
            </p:sp>
          </p:grpSp>
        </p:grpSp>
        <p:sp>
          <p:nvSpPr>
            <p:cNvPr id="27" name="矩形 26"/>
            <p:cNvSpPr/>
            <p:nvPr/>
          </p:nvSpPr>
          <p:spPr>
            <a:xfrm>
              <a:off x="666750" y="1130300"/>
              <a:ext cx="10858500" cy="610292"/>
            </a:xfrm>
            <a:prstGeom prst="rect">
              <a:avLst/>
            </a:prstGeom>
          </p:spPr>
          <p:txBody>
            <a:bodyPr wrap="square" anchor="b" anchorCtr="0">
              <a:normAutofit/>
            </a:bodyPr>
            <a:lstStyle/>
            <a:p>
              <a:pPr algn="ctr">
                <a:buSzPct val="25000"/>
              </a:pPr>
              <a:r>
                <a:rPr lang="en-US" altLang="zh-CN" sz="2400" b="1" dirty="0">
                  <a:latin typeface="Calibri" pitchFamily="34" charset="0"/>
                  <a:ea typeface="宋体" pitchFamily="2" charset="-122"/>
                </a:rPr>
                <a:t>Unified fonts</a:t>
              </a:r>
              <a:r>
                <a:rPr lang="zh-CN" altLang="en-US" sz="2400" b="1" dirty="0">
                  <a:latin typeface="Calibri" pitchFamily="34" charset="0"/>
                  <a:ea typeface="宋体" pitchFamily="2" charset="-122"/>
                </a:rPr>
                <a:t> </a:t>
              </a:r>
              <a:r>
                <a:rPr lang="en-US" altLang="zh-CN" sz="2400" b="1" dirty="0">
                  <a:latin typeface="Calibri" pitchFamily="34" charset="0"/>
                  <a:ea typeface="宋体" pitchFamily="2" charset="-122"/>
                </a:rPr>
                <a:t>make reading more fluent.</a:t>
              </a:r>
              <a:endParaRPr lang="en-US" altLang="zh-CN" sz="2400" b="1" dirty="0">
                <a:latin typeface="Calibri" pitchFamily="34" charset="0"/>
                <a:ea typeface="宋体" pitchFamily="2" charset="-122"/>
              </a:endParaRPr>
            </a:p>
          </p:txBody>
        </p:sp>
      </p:grpSp>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组合 17"/>
          <p:cNvGrpSpPr/>
          <p:nvPr/>
        </p:nvGrpSpPr>
        <p:grpSpPr>
          <a:xfrm>
            <a:off x="0" y="2"/>
            <a:ext cx="12192000" cy="6857999"/>
            <a:chOff x="0" y="1"/>
            <a:chExt cx="12192000" cy="6857999"/>
          </a:xfrm>
        </p:grpSpPr>
        <p:grpSp>
          <p:nvGrpSpPr>
            <p:cNvPr id="9" name="组合 8"/>
            <p:cNvGrpSpPr/>
            <p:nvPr/>
          </p:nvGrpSpPr>
          <p:grpSpPr>
            <a:xfrm>
              <a:off x="0" y="1"/>
              <a:ext cx="12192000" cy="6857999"/>
              <a:chOff x="0" y="1"/>
              <a:chExt cx="12192000" cy="6857999"/>
            </a:xfrm>
          </p:grpSpPr>
          <p:sp>
            <p:nvSpPr>
              <p:cNvPr id="5" name="任意多边形: 形状 4"/>
              <p:cNvSpPr/>
              <p:nvPr/>
            </p:nvSpPr>
            <p:spPr>
              <a:xfrm>
                <a:off x="10438850" y="1"/>
                <a:ext cx="1753150" cy="1662979"/>
              </a:xfrm>
              <a:custGeom>
                <a:avLst/>
                <a:gdLst>
                  <a:gd name="connsiteX0" fmla="*/ 439941 w 1753150"/>
                  <a:gd name="connsiteY0" fmla="*/ 0 h 1662979"/>
                  <a:gd name="connsiteX1" fmla="*/ 1753150 w 1753150"/>
                  <a:gd name="connsiteY1" fmla="*/ 0 h 1662979"/>
                  <a:gd name="connsiteX2" fmla="*/ 1753150 w 1753150"/>
                  <a:gd name="connsiteY2" fmla="*/ 1132867 h 1662979"/>
                  <a:gd name="connsiteX3" fmla="*/ 1223038 w 1753150"/>
                  <a:gd name="connsiteY3" fmla="*/ 1662979 h 1662979"/>
                  <a:gd name="connsiteX4" fmla="*/ 0 w 1753150"/>
                  <a:gd name="connsiteY4" fmla="*/ 439941 h 1662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3150" h="1662979">
                    <a:moveTo>
                      <a:pt x="439941" y="0"/>
                    </a:moveTo>
                    <a:lnTo>
                      <a:pt x="1753150" y="0"/>
                    </a:lnTo>
                    <a:lnTo>
                      <a:pt x="1753150" y="1132867"/>
                    </a:lnTo>
                    <a:lnTo>
                      <a:pt x="1223038" y="1662979"/>
                    </a:lnTo>
                    <a:lnTo>
                      <a:pt x="0" y="439941"/>
                    </a:lnTo>
                    <a:close/>
                  </a:path>
                </a:pathLst>
              </a:custGeom>
              <a:solidFill>
                <a:schemeClr val="accent1">
                  <a:alpha val="15000"/>
                </a:schemeClr>
              </a:solidFill>
              <a:ln w="6055" cap="flat">
                <a:noFill/>
                <a:prstDash val="solid"/>
                <a:miter/>
              </a:ln>
            </p:spPr>
            <p:txBody>
              <a:bodyPr wrap="square" rtlCol="0" anchor="ctr">
                <a:noAutofit/>
              </a:bodyPr>
              <a:lstStyle/>
              <a:p>
                <a:endParaRPr lang="zh-CN" altLang="en-US"/>
              </a:p>
            </p:txBody>
          </p:sp>
          <p:sp>
            <p:nvSpPr>
              <p:cNvPr id="6" name="菱形 5"/>
              <p:cNvSpPr/>
              <p:nvPr/>
            </p:nvSpPr>
            <p:spPr>
              <a:xfrm>
                <a:off x="10558724" y="1274213"/>
                <a:ext cx="960176" cy="960176"/>
              </a:xfrm>
              <a:prstGeom prst="diamond">
                <a:avLst/>
              </a:prstGeom>
              <a:solidFill>
                <a:schemeClr val="accent1">
                  <a:alpha val="15000"/>
                </a:schemeClr>
              </a:solidFill>
              <a:ln w="6055" cap="flat">
                <a:noFill/>
                <a:prstDash val="solid"/>
                <a:miter/>
              </a:ln>
            </p:spPr>
            <p:txBody>
              <a:bodyPr rtlCol="0" anchor="ctr"/>
              <a:lstStyle/>
              <a:p>
                <a:endParaRPr lang="zh-CN" altLang="en-US"/>
              </a:p>
            </p:txBody>
          </p:sp>
          <p:sp>
            <p:nvSpPr>
              <p:cNvPr id="7" name="任意多边形: 形状 6"/>
              <p:cNvSpPr/>
              <p:nvPr/>
            </p:nvSpPr>
            <p:spPr>
              <a:xfrm flipH="1" flipV="1">
                <a:off x="0" y="5787310"/>
                <a:ext cx="1128746" cy="1070690"/>
              </a:xfrm>
              <a:custGeom>
                <a:avLst/>
                <a:gdLst>
                  <a:gd name="connsiteX0" fmla="*/ 439941 w 1753150"/>
                  <a:gd name="connsiteY0" fmla="*/ 0 h 1662979"/>
                  <a:gd name="connsiteX1" fmla="*/ 1753150 w 1753150"/>
                  <a:gd name="connsiteY1" fmla="*/ 0 h 1662979"/>
                  <a:gd name="connsiteX2" fmla="*/ 1753150 w 1753150"/>
                  <a:gd name="connsiteY2" fmla="*/ 1132867 h 1662979"/>
                  <a:gd name="connsiteX3" fmla="*/ 1223038 w 1753150"/>
                  <a:gd name="connsiteY3" fmla="*/ 1662979 h 1662979"/>
                  <a:gd name="connsiteX4" fmla="*/ 0 w 1753150"/>
                  <a:gd name="connsiteY4" fmla="*/ 439941 h 1662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3150" h="1662979">
                    <a:moveTo>
                      <a:pt x="439941" y="0"/>
                    </a:moveTo>
                    <a:lnTo>
                      <a:pt x="1753150" y="0"/>
                    </a:lnTo>
                    <a:lnTo>
                      <a:pt x="1753150" y="1132867"/>
                    </a:lnTo>
                    <a:lnTo>
                      <a:pt x="1223038" y="1662979"/>
                    </a:lnTo>
                    <a:lnTo>
                      <a:pt x="0" y="439941"/>
                    </a:lnTo>
                    <a:close/>
                  </a:path>
                </a:pathLst>
              </a:custGeom>
              <a:solidFill>
                <a:schemeClr val="accent1">
                  <a:alpha val="15000"/>
                </a:schemeClr>
              </a:solidFill>
              <a:ln w="6055" cap="flat">
                <a:noFill/>
                <a:prstDash val="solid"/>
                <a:miter/>
              </a:ln>
            </p:spPr>
            <p:txBody>
              <a:bodyPr wrap="square" rtlCol="0" anchor="ctr">
                <a:noAutofit/>
              </a:bodyPr>
              <a:lstStyle/>
              <a:p>
                <a:endParaRPr lang="zh-CN" altLang="en-US"/>
              </a:p>
            </p:txBody>
          </p:sp>
          <p:sp>
            <p:nvSpPr>
              <p:cNvPr id="8" name="菱形 7"/>
              <p:cNvSpPr/>
              <p:nvPr/>
            </p:nvSpPr>
            <p:spPr>
              <a:xfrm flipH="1" flipV="1">
                <a:off x="433368" y="5419414"/>
                <a:ext cx="618199" cy="618199"/>
              </a:xfrm>
              <a:prstGeom prst="diamond">
                <a:avLst/>
              </a:prstGeom>
              <a:solidFill>
                <a:schemeClr val="accent1">
                  <a:alpha val="15000"/>
                </a:schemeClr>
              </a:solidFill>
              <a:ln w="6055" cap="flat">
                <a:noFill/>
                <a:prstDash val="solid"/>
                <a:miter/>
              </a:ln>
            </p:spPr>
            <p:txBody>
              <a:bodyPr rtlCol="0" anchor="ctr"/>
              <a:lstStyle/>
              <a:p>
                <a:endParaRPr lang="zh-CN" altLang="en-US"/>
              </a:p>
            </p:txBody>
          </p:sp>
        </p:grpSp>
        <p:grpSp>
          <p:nvGrpSpPr>
            <p:cNvPr id="17" name="组合 16"/>
            <p:cNvGrpSpPr/>
            <p:nvPr/>
          </p:nvGrpSpPr>
          <p:grpSpPr>
            <a:xfrm>
              <a:off x="660400" y="1293488"/>
              <a:ext cx="10870487" cy="4594438"/>
              <a:chOff x="660400" y="1293488"/>
              <a:chExt cx="10870487" cy="4594438"/>
            </a:xfrm>
          </p:grpSpPr>
          <p:grpSp>
            <p:nvGrpSpPr>
              <p:cNvPr id="16" name="组合 15"/>
              <p:cNvGrpSpPr/>
              <p:nvPr/>
            </p:nvGrpSpPr>
            <p:grpSpPr>
              <a:xfrm>
                <a:off x="660400" y="1293488"/>
                <a:ext cx="8762767" cy="4594438"/>
                <a:chOff x="660400" y="1293488"/>
                <a:chExt cx="8762767" cy="4594438"/>
              </a:xfrm>
            </p:grpSpPr>
            <p:grpSp>
              <p:nvGrpSpPr>
                <p:cNvPr id="10" name="组合 9"/>
                <p:cNvGrpSpPr/>
                <p:nvPr/>
              </p:nvGrpSpPr>
              <p:grpSpPr>
                <a:xfrm>
                  <a:off x="660400" y="1293488"/>
                  <a:ext cx="3892984" cy="4296710"/>
                  <a:chOff x="660400" y="1293488"/>
                  <a:chExt cx="3892984" cy="4296710"/>
                </a:xfrm>
              </p:grpSpPr>
              <p:grpSp>
                <p:nvGrpSpPr>
                  <p:cNvPr id="48" name="组合 47"/>
                  <p:cNvGrpSpPr/>
                  <p:nvPr/>
                </p:nvGrpSpPr>
                <p:grpSpPr>
                  <a:xfrm>
                    <a:off x="660400" y="4598562"/>
                    <a:ext cx="886570" cy="991636"/>
                    <a:chOff x="6680433" y="4688700"/>
                    <a:chExt cx="886570" cy="991636"/>
                  </a:xfrm>
                </p:grpSpPr>
                <p:sp>
                  <p:nvSpPr>
                    <p:cNvPr id="49" name="任意多边形: 形状 48"/>
                    <p:cNvSpPr/>
                    <p:nvPr/>
                  </p:nvSpPr>
                  <p:spPr>
                    <a:xfrm>
                      <a:off x="6680433" y="4749002"/>
                      <a:ext cx="782788" cy="931334"/>
                    </a:xfrm>
                    <a:custGeom>
                      <a:avLst/>
                      <a:gdLst>
                        <a:gd name="connsiteX0" fmla="*/ 782788 w 782788"/>
                        <a:gd name="connsiteY0" fmla="*/ 451625 h 931334"/>
                        <a:gd name="connsiteX1" fmla="*/ 782075 w 782788"/>
                        <a:gd name="connsiteY1" fmla="*/ 931334 h 931334"/>
                        <a:gd name="connsiteX2" fmla="*/ 0 w 782788"/>
                        <a:gd name="connsiteY2" fmla="*/ 479709 h 931334"/>
                        <a:gd name="connsiteX3" fmla="*/ 713 w 782788"/>
                        <a:gd name="connsiteY3" fmla="*/ 0 h 931334"/>
                      </a:gdLst>
                      <a:ahLst/>
                      <a:cxnLst>
                        <a:cxn ang="0">
                          <a:pos x="connsiteX0" y="connsiteY0"/>
                        </a:cxn>
                        <a:cxn ang="0">
                          <a:pos x="connsiteX1" y="connsiteY1"/>
                        </a:cxn>
                        <a:cxn ang="0">
                          <a:pos x="connsiteX2" y="connsiteY2"/>
                        </a:cxn>
                        <a:cxn ang="0">
                          <a:pos x="connsiteX3" y="connsiteY3"/>
                        </a:cxn>
                      </a:cxnLst>
                      <a:rect l="l" t="t" r="r" b="b"/>
                      <a:pathLst>
                        <a:path w="782788" h="931334">
                          <a:moveTo>
                            <a:pt x="782788" y="451625"/>
                          </a:moveTo>
                          <a:lnTo>
                            <a:pt x="782075" y="931334"/>
                          </a:lnTo>
                          <a:lnTo>
                            <a:pt x="0" y="479709"/>
                          </a:lnTo>
                          <a:lnTo>
                            <a:pt x="713" y="0"/>
                          </a:lnTo>
                          <a:close/>
                        </a:path>
                      </a:pathLst>
                    </a:custGeom>
                    <a:solidFill>
                      <a:srgbClr val="F0F3FA"/>
                    </a:solidFill>
                    <a:ln w="14247" cap="flat">
                      <a:noFill/>
                      <a:prstDash val="solid"/>
                      <a:miter/>
                    </a:ln>
                  </p:spPr>
                  <p:txBody>
                    <a:bodyPr rtlCol="0" anchor="ctr"/>
                    <a:lstStyle/>
                    <a:p>
                      <a:endParaRPr lang="zh-CN" altLang="en-US"/>
                    </a:p>
                  </p:txBody>
                </p:sp>
                <p:sp>
                  <p:nvSpPr>
                    <p:cNvPr id="50" name="任意多边形: 形状 49"/>
                    <p:cNvSpPr/>
                    <p:nvPr/>
                  </p:nvSpPr>
                  <p:spPr>
                    <a:xfrm>
                      <a:off x="7462508" y="5140325"/>
                      <a:ext cx="104495" cy="540011"/>
                    </a:xfrm>
                    <a:custGeom>
                      <a:avLst/>
                      <a:gdLst>
                        <a:gd name="connsiteX0" fmla="*/ 713 w 104495"/>
                        <a:gd name="connsiteY0" fmla="*/ 60302 h 540011"/>
                        <a:gd name="connsiteX1" fmla="*/ 104495 w 104495"/>
                        <a:gd name="connsiteY1" fmla="*/ 0 h 540011"/>
                        <a:gd name="connsiteX2" fmla="*/ 103782 w 104495"/>
                        <a:gd name="connsiteY2" fmla="*/ 479709 h 540011"/>
                        <a:gd name="connsiteX3" fmla="*/ 0 w 104495"/>
                        <a:gd name="connsiteY3" fmla="*/ 540011 h 540011"/>
                      </a:gdLst>
                      <a:ahLst/>
                      <a:cxnLst>
                        <a:cxn ang="0">
                          <a:pos x="connsiteX0" y="connsiteY0"/>
                        </a:cxn>
                        <a:cxn ang="0">
                          <a:pos x="connsiteX1" y="connsiteY1"/>
                        </a:cxn>
                        <a:cxn ang="0">
                          <a:pos x="connsiteX2" y="connsiteY2"/>
                        </a:cxn>
                        <a:cxn ang="0">
                          <a:pos x="connsiteX3" y="connsiteY3"/>
                        </a:cxn>
                      </a:cxnLst>
                      <a:rect l="l" t="t" r="r" b="b"/>
                      <a:pathLst>
                        <a:path w="104495" h="540011">
                          <a:moveTo>
                            <a:pt x="713" y="60302"/>
                          </a:moveTo>
                          <a:lnTo>
                            <a:pt x="104495" y="0"/>
                          </a:lnTo>
                          <a:lnTo>
                            <a:pt x="103782" y="479709"/>
                          </a:lnTo>
                          <a:lnTo>
                            <a:pt x="0" y="540011"/>
                          </a:lnTo>
                          <a:close/>
                        </a:path>
                      </a:pathLst>
                    </a:custGeom>
                    <a:solidFill>
                      <a:srgbClr val="EAECF3"/>
                    </a:solidFill>
                    <a:ln w="14247" cap="flat">
                      <a:noFill/>
                      <a:prstDash val="solid"/>
                      <a:miter/>
                    </a:ln>
                  </p:spPr>
                  <p:txBody>
                    <a:bodyPr rtlCol="0" anchor="ctr"/>
                    <a:lstStyle/>
                    <a:p>
                      <a:endParaRPr lang="zh-CN" altLang="en-US"/>
                    </a:p>
                  </p:txBody>
                </p:sp>
                <p:sp>
                  <p:nvSpPr>
                    <p:cNvPr id="51" name="任意多边形: 形状 50"/>
                    <p:cNvSpPr/>
                    <p:nvPr/>
                  </p:nvSpPr>
                  <p:spPr>
                    <a:xfrm>
                      <a:off x="6681146" y="4688700"/>
                      <a:ext cx="885857" cy="511927"/>
                    </a:xfrm>
                    <a:custGeom>
                      <a:avLst/>
                      <a:gdLst>
                        <a:gd name="connsiteX0" fmla="*/ 0 w 885857"/>
                        <a:gd name="connsiteY0" fmla="*/ 60302 h 511927"/>
                        <a:gd name="connsiteX1" fmla="*/ 103640 w 885857"/>
                        <a:gd name="connsiteY1" fmla="*/ 0 h 511927"/>
                        <a:gd name="connsiteX2" fmla="*/ 885858 w 885857"/>
                        <a:gd name="connsiteY2" fmla="*/ 451625 h 511927"/>
                        <a:gd name="connsiteX3" fmla="*/ 782075 w 885857"/>
                        <a:gd name="connsiteY3" fmla="*/ 511927 h 511927"/>
                      </a:gdLst>
                      <a:ahLst/>
                      <a:cxnLst>
                        <a:cxn ang="0">
                          <a:pos x="connsiteX0" y="connsiteY0"/>
                        </a:cxn>
                        <a:cxn ang="0">
                          <a:pos x="connsiteX1" y="connsiteY1"/>
                        </a:cxn>
                        <a:cxn ang="0">
                          <a:pos x="connsiteX2" y="connsiteY2"/>
                        </a:cxn>
                        <a:cxn ang="0">
                          <a:pos x="connsiteX3" y="connsiteY3"/>
                        </a:cxn>
                      </a:cxnLst>
                      <a:rect l="l" t="t" r="r" b="b"/>
                      <a:pathLst>
                        <a:path w="885857" h="511927">
                          <a:moveTo>
                            <a:pt x="0" y="60302"/>
                          </a:moveTo>
                          <a:lnTo>
                            <a:pt x="103640" y="0"/>
                          </a:lnTo>
                          <a:lnTo>
                            <a:pt x="885858" y="451625"/>
                          </a:lnTo>
                          <a:lnTo>
                            <a:pt x="782075" y="511927"/>
                          </a:lnTo>
                          <a:close/>
                        </a:path>
                      </a:pathLst>
                    </a:custGeom>
                    <a:solidFill>
                      <a:srgbClr val="EAECF3"/>
                    </a:solidFill>
                    <a:ln w="14247" cap="flat">
                      <a:noFill/>
                      <a:prstDash val="solid"/>
                      <a:miter/>
                    </a:ln>
                  </p:spPr>
                  <p:txBody>
                    <a:bodyPr rtlCol="0" anchor="ctr"/>
                    <a:lstStyle/>
                    <a:p>
                      <a:endParaRPr lang="zh-CN" altLang="en-US"/>
                    </a:p>
                  </p:txBody>
                </p:sp>
              </p:grpSp>
              <p:grpSp>
                <p:nvGrpSpPr>
                  <p:cNvPr id="58" name="组合 57"/>
                  <p:cNvGrpSpPr/>
                  <p:nvPr/>
                </p:nvGrpSpPr>
                <p:grpSpPr>
                  <a:xfrm>
                    <a:off x="660685" y="3667228"/>
                    <a:ext cx="1663798" cy="1443261"/>
                    <a:chOff x="6680718" y="3757366"/>
                    <a:chExt cx="1663798" cy="1443261"/>
                  </a:xfrm>
                </p:grpSpPr>
                <p:grpSp>
                  <p:nvGrpSpPr>
                    <p:cNvPr id="59" name="组合 58"/>
                    <p:cNvGrpSpPr/>
                    <p:nvPr/>
                  </p:nvGrpSpPr>
                  <p:grpSpPr>
                    <a:xfrm>
                      <a:off x="7457946" y="3757366"/>
                      <a:ext cx="886570" cy="991636"/>
                      <a:chOff x="7457946" y="3757366"/>
                      <a:chExt cx="886570" cy="991636"/>
                    </a:xfrm>
                  </p:grpSpPr>
                  <p:sp>
                    <p:nvSpPr>
                      <p:cNvPr id="60" name="任意多边形: 形状 59"/>
                      <p:cNvSpPr/>
                      <p:nvPr/>
                    </p:nvSpPr>
                    <p:spPr>
                      <a:xfrm>
                        <a:off x="7457946" y="3817668"/>
                        <a:ext cx="782787" cy="931334"/>
                      </a:xfrm>
                      <a:custGeom>
                        <a:avLst/>
                        <a:gdLst>
                          <a:gd name="connsiteX0" fmla="*/ 782788 w 782787"/>
                          <a:gd name="connsiteY0" fmla="*/ 451625 h 931334"/>
                          <a:gd name="connsiteX1" fmla="*/ 782075 w 782787"/>
                          <a:gd name="connsiteY1" fmla="*/ 931334 h 931334"/>
                          <a:gd name="connsiteX2" fmla="*/ 0 w 782787"/>
                          <a:gd name="connsiteY2" fmla="*/ 479709 h 931334"/>
                          <a:gd name="connsiteX3" fmla="*/ 570 w 782787"/>
                          <a:gd name="connsiteY3" fmla="*/ 0 h 931334"/>
                        </a:gdLst>
                        <a:ahLst/>
                        <a:cxnLst>
                          <a:cxn ang="0">
                            <a:pos x="connsiteX0" y="connsiteY0"/>
                          </a:cxn>
                          <a:cxn ang="0">
                            <a:pos x="connsiteX1" y="connsiteY1"/>
                          </a:cxn>
                          <a:cxn ang="0">
                            <a:pos x="connsiteX2" y="connsiteY2"/>
                          </a:cxn>
                          <a:cxn ang="0">
                            <a:pos x="connsiteX3" y="connsiteY3"/>
                          </a:cxn>
                        </a:cxnLst>
                        <a:rect l="l" t="t" r="r" b="b"/>
                        <a:pathLst>
                          <a:path w="782787" h="931334">
                            <a:moveTo>
                              <a:pt x="782788" y="451625"/>
                            </a:moveTo>
                            <a:lnTo>
                              <a:pt x="782075" y="931334"/>
                            </a:lnTo>
                            <a:lnTo>
                              <a:pt x="0" y="479709"/>
                            </a:lnTo>
                            <a:lnTo>
                              <a:pt x="570" y="0"/>
                            </a:lnTo>
                            <a:close/>
                          </a:path>
                        </a:pathLst>
                      </a:custGeom>
                      <a:solidFill>
                        <a:srgbClr val="F0F3FA"/>
                      </a:solidFill>
                      <a:ln w="14247" cap="flat">
                        <a:noFill/>
                        <a:prstDash val="solid"/>
                        <a:miter/>
                      </a:ln>
                    </p:spPr>
                    <p:txBody>
                      <a:bodyPr rtlCol="0" anchor="ctr"/>
                      <a:lstStyle/>
                      <a:p>
                        <a:endParaRPr lang="zh-CN" altLang="en-US"/>
                      </a:p>
                    </p:txBody>
                  </p:sp>
                  <p:sp>
                    <p:nvSpPr>
                      <p:cNvPr id="61" name="任意多边形: 形状 60"/>
                      <p:cNvSpPr/>
                      <p:nvPr/>
                    </p:nvSpPr>
                    <p:spPr>
                      <a:xfrm>
                        <a:off x="8240022" y="4208991"/>
                        <a:ext cx="104495" cy="540011"/>
                      </a:xfrm>
                      <a:custGeom>
                        <a:avLst/>
                        <a:gdLst>
                          <a:gd name="connsiteX0" fmla="*/ 713 w 104495"/>
                          <a:gd name="connsiteY0" fmla="*/ 60302 h 540011"/>
                          <a:gd name="connsiteX1" fmla="*/ 104495 w 104495"/>
                          <a:gd name="connsiteY1" fmla="*/ 0 h 540011"/>
                          <a:gd name="connsiteX2" fmla="*/ 103782 w 104495"/>
                          <a:gd name="connsiteY2" fmla="*/ 479709 h 540011"/>
                          <a:gd name="connsiteX3" fmla="*/ 0 w 104495"/>
                          <a:gd name="connsiteY3" fmla="*/ 540011 h 540011"/>
                        </a:gdLst>
                        <a:ahLst/>
                        <a:cxnLst>
                          <a:cxn ang="0">
                            <a:pos x="connsiteX0" y="connsiteY0"/>
                          </a:cxn>
                          <a:cxn ang="0">
                            <a:pos x="connsiteX1" y="connsiteY1"/>
                          </a:cxn>
                          <a:cxn ang="0">
                            <a:pos x="connsiteX2" y="connsiteY2"/>
                          </a:cxn>
                          <a:cxn ang="0">
                            <a:pos x="connsiteX3" y="connsiteY3"/>
                          </a:cxn>
                        </a:cxnLst>
                        <a:rect l="l" t="t" r="r" b="b"/>
                        <a:pathLst>
                          <a:path w="104495" h="540011">
                            <a:moveTo>
                              <a:pt x="713" y="60302"/>
                            </a:moveTo>
                            <a:lnTo>
                              <a:pt x="104495" y="0"/>
                            </a:lnTo>
                            <a:lnTo>
                              <a:pt x="103782" y="479709"/>
                            </a:lnTo>
                            <a:lnTo>
                              <a:pt x="0" y="540011"/>
                            </a:lnTo>
                            <a:close/>
                          </a:path>
                        </a:pathLst>
                      </a:custGeom>
                      <a:solidFill>
                        <a:srgbClr val="EAECF3"/>
                      </a:solidFill>
                      <a:ln w="14247" cap="flat">
                        <a:noFill/>
                        <a:prstDash val="solid"/>
                        <a:miter/>
                      </a:ln>
                    </p:spPr>
                    <p:txBody>
                      <a:bodyPr rtlCol="0" anchor="ctr"/>
                      <a:lstStyle/>
                      <a:p>
                        <a:endParaRPr lang="zh-CN" altLang="en-US"/>
                      </a:p>
                    </p:txBody>
                  </p:sp>
                  <p:sp>
                    <p:nvSpPr>
                      <p:cNvPr id="62" name="任意多边形: 形状 61"/>
                      <p:cNvSpPr/>
                      <p:nvPr/>
                    </p:nvSpPr>
                    <p:spPr>
                      <a:xfrm>
                        <a:off x="7458517" y="3757366"/>
                        <a:ext cx="886000" cy="511927"/>
                      </a:xfrm>
                      <a:custGeom>
                        <a:avLst/>
                        <a:gdLst>
                          <a:gd name="connsiteX0" fmla="*/ 0 w 886000"/>
                          <a:gd name="connsiteY0" fmla="*/ 60302 h 511927"/>
                          <a:gd name="connsiteX1" fmla="*/ 103782 w 886000"/>
                          <a:gd name="connsiteY1" fmla="*/ 0 h 511927"/>
                          <a:gd name="connsiteX2" fmla="*/ 886000 w 886000"/>
                          <a:gd name="connsiteY2" fmla="*/ 451625 h 511927"/>
                          <a:gd name="connsiteX3" fmla="*/ 782218 w 886000"/>
                          <a:gd name="connsiteY3" fmla="*/ 511927 h 511927"/>
                        </a:gdLst>
                        <a:ahLst/>
                        <a:cxnLst>
                          <a:cxn ang="0">
                            <a:pos x="connsiteX0" y="connsiteY0"/>
                          </a:cxn>
                          <a:cxn ang="0">
                            <a:pos x="connsiteX1" y="connsiteY1"/>
                          </a:cxn>
                          <a:cxn ang="0">
                            <a:pos x="connsiteX2" y="connsiteY2"/>
                          </a:cxn>
                          <a:cxn ang="0">
                            <a:pos x="connsiteX3" y="connsiteY3"/>
                          </a:cxn>
                        </a:cxnLst>
                        <a:rect l="l" t="t" r="r" b="b"/>
                        <a:pathLst>
                          <a:path w="886000" h="511927">
                            <a:moveTo>
                              <a:pt x="0" y="60302"/>
                            </a:moveTo>
                            <a:lnTo>
                              <a:pt x="103782" y="0"/>
                            </a:lnTo>
                            <a:lnTo>
                              <a:pt x="886000" y="451625"/>
                            </a:lnTo>
                            <a:lnTo>
                              <a:pt x="782218" y="511927"/>
                            </a:lnTo>
                            <a:close/>
                          </a:path>
                        </a:pathLst>
                      </a:custGeom>
                      <a:solidFill>
                        <a:srgbClr val="EAECF3"/>
                      </a:solidFill>
                      <a:ln w="14247" cap="flat">
                        <a:noFill/>
                        <a:prstDash val="solid"/>
                        <a:miter/>
                      </a:ln>
                    </p:spPr>
                    <p:txBody>
                      <a:bodyPr rtlCol="0" anchor="ctr"/>
                      <a:lstStyle/>
                      <a:p>
                        <a:endParaRPr lang="zh-CN" altLang="en-US"/>
                      </a:p>
                    </p:txBody>
                  </p:sp>
                </p:grpSp>
                <p:grpSp>
                  <p:nvGrpSpPr>
                    <p:cNvPr id="63" name="组合 62"/>
                    <p:cNvGrpSpPr/>
                    <p:nvPr/>
                  </p:nvGrpSpPr>
                  <p:grpSpPr>
                    <a:xfrm>
                      <a:off x="6680718" y="4177343"/>
                      <a:ext cx="1559588" cy="1023283"/>
                      <a:chOff x="6680718" y="4177343"/>
                      <a:chExt cx="1559588" cy="1023283"/>
                    </a:xfrm>
                  </p:grpSpPr>
                  <p:grpSp>
                    <p:nvGrpSpPr>
                      <p:cNvPr id="64" name="组合 63"/>
                      <p:cNvGrpSpPr/>
                      <p:nvPr/>
                    </p:nvGrpSpPr>
                    <p:grpSpPr>
                      <a:xfrm>
                        <a:off x="6681146" y="4177343"/>
                        <a:ext cx="1559161" cy="903250"/>
                        <a:chOff x="6681146" y="4177343"/>
                        <a:chExt cx="1559161" cy="903250"/>
                      </a:xfrm>
                    </p:grpSpPr>
                    <p:sp>
                      <p:nvSpPr>
                        <p:cNvPr id="65" name="任意多边形: 形状 64"/>
                        <p:cNvSpPr/>
                        <p:nvPr/>
                      </p:nvSpPr>
                      <p:spPr>
                        <a:xfrm>
                          <a:off x="6681146" y="4177343"/>
                          <a:ext cx="1559161" cy="903250"/>
                        </a:xfrm>
                        <a:custGeom>
                          <a:avLst/>
                          <a:gdLst>
                            <a:gd name="connsiteX0" fmla="*/ 1559161 w 1559161"/>
                            <a:gd name="connsiteY0" fmla="*/ 451625 h 903250"/>
                            <a:gd name="connsiteX1" fmla="*/ 782075 w 1559161"/>
                            <a:gd name="connsiteY1" fmla="*/ 903250 h 903250"/>
                            <a:gd name="connsiteX2" fmla="*/ 0 w 1559161"/>
                            <a:gd name="connsiteY2" fmla="*/ 451625 h 903250"/>
                            <a:gd name="connsiteX3" fmla="*/ 777086 w 1559161"/>
                            <a:gd name="connsiteY3" fmla="*/ 0 h 903250"/>
                          </a:gdLst>
                          <a:ahLst/>
                          <a:cxnLst>
                            <a:cxn ang="0">
                              <a:pos x="connsiteX0" y="connsiteY0"/>
                            </a:cxn>
                            <a:cxn ang="0">
                              <a:pos x="connsiteX1" y="connsiteY1"/>
                            </a:cxn>
                            <a:cxn ang="0">
                              <a:pos x="connsiteX2" y="connsiteY2"/>
                            </a:cxn>
                            <a:cxn ang="0">
                              <a:pos x="connsiteX3" y="connsiteY3"/>
                            </a:cxn>
                          </a:cxnLst>
                          <a:rect l="l" t="t" r="r" b="b"/>
                          <a:pathLst>
                            <a:path w="1559161" h="903250">
                              <a:moveTo>
                                <a:pt x="1559161" y="451625"/>
                              </a:moveTo>
                              <a:lnTo>
                                <a:pt x="782075" y="903250"/>
                              </a:lnTo>
                              <a:lnTo>
                                <a:pt x="0" y="451625"/>
                              </a:lnTo>
                              <a:lnTo>
                                <a:pt x="777086" y="0"/>
                              </a:lnTo>
                              <a:close/>
                            </a:path>
                          </a:pathLst>
                        </a:custGeom>
                        <a:gradFill>
                          <a:gsLst>
                            <a:gs pos="0">
                              <a:schemeClr val="accent1">
                                <a:lumMod val="60000"/>
                                <a:lumOff val="40000"/>
                              </a:schemeClr>
                            </a:gs>
                            <a:gs pos="50000">
                              <a:schemeClr val="accent1"/>
                            </a:gs>
                          </a:gsLst>
                          <a:lin ang="2700000" scaled="0"/>
                        </a:gradFill>
                        <a:ln w="25400" cap="flat"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noAutofit/>
                        </a:bodyPr>
                        <a:lstStyle/>
                        <a:p>
                          <a:pPr algn="ctr"/>
                          <a:endParaRPr lang="zh-CN" altLang="en-US" sz="2000" b="1"/>
                        </a:p>
                      </p:txBody>
                    </p:sp>
                    <p:sp>
                      <p:nvSpPr>
                        <p:cNvPr id="66" name="任意多边形: 形状 65"/>
                        <p:cNvSpPr/>
                        <p:nvPr/>
                      </p:nvSpPr>
                      <p:spPr>
                        <a:xfrm>
                          <a:off x="6974816" y="4347557"/>
                          <a:ext cx="971820" cy="562820"/>
                        </a:xfrm>
                        <a:custGeom>
                          <a:avLst/>
                          <a:gdLst>
                            <a:gd name="connsiteX0" fmla="*/ 0 w 971820"/>
                            <a:gd name="connsiteY0" fmla="*/ 280983 h 562820"/>
                            <a:gd name="connsiteX1" fmla="*/ 483558 w 971820"/>
                            <a:gd name="connsiteY1" fmla="*/ 0 h 562820"/>
                            <a:gd name="connsiteX2" fmla="*/ 971820 w 971820"/>
                            <a:gd name="connsiteY2" fmla="*/ 281838 h 562820"/>
                            <a:gd name="connsiteX3" fmla="*/ 488263 w 971820"/>
                            <a:gd name="connsiteY3" fmla="*/ 562821 h 562820"/>
                          </a:gdLst>
                          <a:ahLst/>
                          <a:cxnLst>
                            <a:cxn ang="0">
                              <a:pos x="connsiteX0" y="connsiteY0"/>
                            </a:cxn>
                            <a:cxn ang="0">
                              <a:pos x="connsiteX1" y="connsiteY1"/>
                            </a:cxn>
                            <a:cxn ang="0">
                              <a:pos x="connsiteX2" y="connsiteY2"/>
                            </a:cxn>
                            <a:cxn ang="0">
                              <a:pos x="connsiteX3" y="connsiteY3"/>
                            </a:cxn>
                          </a:cxnLst>
                          <a:rect l="l" t="t" r="r" b="b"/>
                          <a:pathLst>
                            <a:path w="971820" h="562820">
                              <a:moveTo>
                                <a:pt x="0" y="280983"/>
                              </a:moveTo>
                              <a:lnTo>
                                <a:pt x="483558" y="0"/>
                              </a:lnTo>
                              <a:lnTo>
                                <a:pt x="971820" y="281838"/>
                              </a:lnTo>
                              <a:lnTo>
                                <a:pt x="488263" y="562821"/>
                              </a:lnTo>
                              <a:close/>
                            </a:path>
                          </a:pathLst>
                        </a:custGeom>
                        <a:solidFill>
                          <a:srgbClr val="FFFFFF"/>
                        </a:solidFill>
                        <a:ln w="14247" cap="flat">
                          <a:noFill/>
                          <a:prstDash val="solid"/>
                          <a:miter/>
                        </a:ln>
                      </p:spPr>
                      <p:txBody>
                        <a:bodyPr rtlCol="0" anchor="ctr"/>
                        <a:lstStyle/>
                        <a:p>
                          <a:endParaRPr lang="zh-CN" altLang="en-US"/>
                        </a:p>
                      </p:txBody>
                    </p:sp>
                  </p:grpSp>
                  <p:sp>
                    <p:nvSpPr>
                      <p:cNvPr id="67" name="任意多边形: 形状 66"/>
                      <p:cNvSpPr/>
                      <p:nvPr/>
                    </p:nvSpPr>
                    <p:spPr>
                      <a:xfrm>
                        <a:off x="7462936" y="4628968"/>
                        <a:ext cx="777370" cy="571659"/>
                      </a:xfrm>
                      <a:custGeom>
                        <a:avLst/>
                        <a:gdLst>
                          <a:gd name="connsiteX0" fmla="*/ 777371 w 777370"/>
                          <a:gd name="connsiteY0" fmla="*/ 0 h 571659"/>
                          <a:gd name="connsiteX1" fmla="*/ 777086 w 777370"/>
                          <a:gd name="connsiteY1" fmla="*/ 120034 h 571659"/>
                          <a:gd name="connsiteX2" fmla="*/ 0 w 777370"/>
                          <a:gd name="connsiteY2" fmla="*/ 571659 h 571659"/>
                          <a:gd name="connsiteX3" fmla="*/ 285 w 777370"/>
                          <a:gd name="connsiteY3" fmla="*/ 451625 h 571659"/>
                        </a:gdLst>
                        <a:ahLst/>
                        <a:cxnLst>
                          <a:cxn ang="0">
                            <a:pos x="connsiteX0" y="connsiteY0"/>
                          </a:cxn>
                          <a:cxn ang="0">
                            <a:pos x="connsiteX1" y="connsiteY1"/>
                          </a:cxn>
                          <a:cxn ang="0">
                            <a:pos x="connsiteX2" y="connsiteY2"/>
                          </a:cxn>
                          <a:cxn ang="0">
                            <a:pos x="connsiteX3" y="connsiteY3"/>
                          </a:cxn>
                        </a:cxnLst>
                        <a:rect l="l" t="t" r="r" b="b"/>
                        <a:pathLst>
                          <a:path w="777370" h="571659">
                            <a:moveTo>
                              <a:pt x="777371" y="0"/>
                            </a:moveTo>
                            <a:lnTo>
                              <a:pt x="777086" y="120034"/>
                            </a:lnTo>
                            <a:lnTo>
                              <a:pt x="0" y="571659"/>
                            </a:lnTo>
                            <a:lnTo>
                              <a:pt x="285" y="451625"/>
                            </a:lnTo>
                            <a:close/>
                          </a:path>
                        </a:pathLst>
                      </a:custGeom>
                      <a:solidFill>
                        <a:srgbClr val="EAECF3"/>
                      </a:solidFill>
                      <a:ln w="14247" cap="flat">
                        <a:noFill/>
                        <a:prstDash val="solid"/>
                        <a:miter/>
                      </a:ln>
                    </p:spPr>
                    <p:txBody>
                      <a:bodyPr rtlCol="0" anchor="ctr"/>
                      <a:lstStyle/>
                      <a:p>
                        <a:endParaRPr lang="zh-CN" altLang="en-US"/>
                      </a:p>
                    </p:txBody>
                  </p:sp>
                  <p:sp>
                    <p:nvSpPr>
                      <p:cNvPr id="68" name="任意多边形: 形状 67"/>
                      <p:cNvSpPr/>
                      <p:nvPr/>
                    </p:nvSpPr>
                    <p:spPr>
                      <a:xfrm>
                        <a:off x="6680718" y="4628968"/>
                        <a:ext cx="782503" cy="571659"/>
                      </a:xfrm>
                      <a:custGeom>
                        <a:avLst/>
                        <a:gdLst>
                          <a:gd name="connsiteX0" fmla="*/ 782503 w 782503"/>
                          <a:gd name="connsiteY0" fmla="*/ 451625 h 571659"/>
                          <a:gd name="connsiteX1" fmla="*/ 782218 w 782503"/>
                          <a:gd name="connsiteY1" fmla="*/ 571659 h 571659"/>
                          <a:gd name="connsiteX2" fmla="*/ 0 w 782503"/>
                          <a:gd name="connsiteY2" fmla="*/ 120034 h 571659"/>
                          <a:gd name="connsiteX3" fmla="*/ 428 w 782503"/>
                          <a:gd name="connsiteY3" fmla="*/ 0 h 571659"/>
                        </a:gdLst>
                        <a:ahLst/>
                        <a:cxnLst>
                          <a:cxn ang="0">
                            <a:pos x="connsiteX0" y="connsiteY0"/>
                          </a:cxn>
                          <a:cxn ang="0">
                            <a:pos x="connsiteX1" y="connsiteY1"/>
                          </a:cxn>
                          <a:cxn ang="0">
                            <a:pos x="connsiteX2" y="connsiteY2"/>
                          </a:cxn>
                          <a:cxn ang="0">
                            <a:pos x="connsiteX3" y="connsiteY3"/>
                          </a:cxn>
                        </a:cxnLst>
                        <a:rect l="l" t="t" r="r" b="b"/>
                        <a:pathLst>
                          <a:path w="782503" h="571659">
                            <a:moveTo>
                              <a:pt x="782503" y="451625"/>
                            </a:moveTo>
                            <a:lnTo>
                              <a:pt x="782218" y="571659"/>
                            </a:lnTo>
                            <a:lnTo>
                              <a:pt x="0" y="120034"/>
                            </a:lnTo>
                            <a:lnTo>
                              <a:pt x="428" y="0"/>
                            </a:lnTo>
                            <a:close/>
                          </a:path>
                        </a:pathLst>
                      </a:custGeom>
                      <a:solidFill>
                        <a:srgbClr val="F0F3FA"/>
                      </a:solidFill>
                      <a:ln w="14247" cap="flat">
                        <a:noFill/>
                        <a:prstDash val="solid"/>
                        <a:miter/>
                      </a:ln>
                    </p:spPr>
                    <p:txBody>
                      <a:bodyPr rtlCol="0" anchor="ctr"/>
                      <a:lstStyle/>
                      <a:p>
                        <a:endParaRPr lang="zh-CN" altLang="en-US"/>
                      </a:p>
                    </p:txBody>
                  </p:sp>
                </p:grpSp>
              </p:grpSp>
              <p:grpSp>
                <p:nvGrpSpPr>
                  <p:cNvPr id="69" name="组合 68"/>
                  <p:cNvGrpSpPr/>
                  <p:nvPr/>
                </p:nvGrpSpPr>
                <p:grpSpPr>
                  <a:xfrm>
                    <a:off x="1438341" y="2736036"/>
                    <a:ext cx="1663799" cy="1443118"/>
                    <a:chOff x="7458374" y="2826174"/>
                    <a:chExt cx="1663799" cy="1443118"/>
                  </a:xfrm>
                </p:grpSpPr>
                <p:grpSp>
                  <p:nvGrpSpPr>
                    <p:cNvPr id="70" name="组合 69"/>
                    <p:cNvGrpSpPr/>
                    <p:nvPr/>
                  </p:nvGrpSpPr>
                  <p:grpSpPr>
                    <a:xfrm>
                      <a:off x="8235603" y="2826174"/>
                      <a:ext cx="886570" cy="991493"/>
                      <a:chOff x="8235603" y="2826174"/>
                      <a:chExt cx="886570" cy="991493"/>
                    </a:xfrm>
                  </p:grpSpPr>
                  <p:sp>
                    <p:nvSpPr>
                      <p:cNvPr id="71" name="任意多边形: 形状 70"/>
                      <p:cNvSpPr/>
                      <p:nvPr/>
                    </p:nvSpPr>
                    <p:spPr>
                      <a:xfrm>
                        <a:off x="8235603" y="2886477"/>
                        <a:ext cx="782788" cy="931191"/>
                      </a:xfrm>
                      <a:custGeom>
                        <a:avLst/>
                        <a:gdLst>
                          <a:gd name="connsiteX0" fmla="*/ 782788 w 782788"/>
                          <a:gd name="connsiteY0" fmla="*/ 451482 h 931191"/>
                          <a:gd name="connsiteX1" fmla="*/ 782075 w 782788"/>
                          <a:gd name="connsiteY1" fmla="*/ 931191 h 931191"/>
                          <a:gd name="connsiteX2" fmla="*/ 0 w 782788"/>
                          <a:gd name="connsiteY2" fmla="*/ 479709 h 931191"/>
                          <a:gd name="connsiteX3" fmla="*/ 713 w 782788"/>
                          <a:gd name="connsiteY3" fmla="*/ 0 h 931191"/>
                        </a:gdLst>
                        <a:ahLst/>
                        <a:cxnLst>
                          <a:cxn ang="0">
                            <a:pos x="connsiteX0" y="connsiteY0"/>
                          </a:cxn>
                          <a:cxn ang="0">
                            <a:pos x="connsiteX1" y="connsiteY1"/>
                          </a:cxn>
                          <a:cxn ang="0">
                            <a:pos x="connsiteX2" y="connsiteY2"/>
                          </a:cxn>
                          <a:cxn ang="0">
                            <a:pos x="connsiteX3" y="connsiteY3"/>
                          </a:cxn>
                        </a:cxnLst>
                        <a:rect l="l" t="t" r="r" b="b"/>
                        <a:pathLst>
                          <a:path w="782788" h="931191">
                            <a:moveTo>
                              <a:pt x="782788" y="451482"/>
                            </a:moveTo>
                            <a:lnTo>
                              <a:pt x="782075" y="931191"/>
                            </a:lnTo>
                            <a:lnTo>
                              <a:pt x="0" y="479709"/>
                            </a:lnTo>
                            <a:lnTo>
                              <a:pt x="713" y="0"/>
                            </a:lnTo>
                            <a:close/>
                          </a:path>
                        </a:pathLst>
                      </a:custGeom>
                      <a:solidFill>
                        <a:srgbClr val="F0F3FA"/>
                      </a:solidFill>
                      <a:ln w="14247" cap="flat">
                        <a:noFill/>
                        <a:prstDash val="solid"/>
                        <a:miter/>
                      </a:ln>
                    </p:spPr>
                    <p:txBody>
                      <a:bodyPr rtlCol="0" anchor="ctr"/>
                      <a:lstStyle/>
                      <a:p>
                        <a:endParaRPr lang="zh-CN" altLang="en-US"/>
                      </a:p>
                    </p:txBody>
                  </p:sp>
                  <p:sp>
                    <p:nvSpPr>
                      <p:cNvPr id="72" name="任意多边形: 形状 71"/>
                      <p:cNvSpPr/>
                      <p:nvPr/>
                    </p:nvSpPr>
                    <p:spPr>
                      <a:xfrm>
                        <a:off x="9017678" y="3277657"/>
                        <a:ext cx="104495" cy="540011"/>
                      </a:xfrm>
                      <a:custGeom>
                        <a:avLst/>
                        <a:gdLst>
                          <a:gd name="connsiteX0" fmla="*/ 713 w 104495"/>
                          <a:gd name="connsiteY0" fmla="*/ 60302 h 540011"/>
                          <a:gd name="connsiteX1" fmla="*/ 104496 w 104495"/>
                          <a:gd name="connsiteY1" fmla="*/ 0 h 540011"/>
                          <a:gd name="connsiteX2" fmla="*/ 103782 w 104495"/>
                          <a:gd name="connsiteY2" fmla="*/ 479709 h 540011"/>
                          <a:gd name="connsiteX3" fmla="*/ 0 w 104495"/>
                          <a:gd name="connsiteY3" fmla="*/ 540011 h 540011"/>
                        </a:gdLst>
                        <a:ahLst/>
                        <a:cxnLst>
                          <a:cxn ang="0">
                            <a:pos x="connsiteX0" y="connsiteY0"/>
                          </a:cxn>
                          <a:cxn ang="0">
                            <a:pos x="connsiteX1" y="connsiteY1"/>
                          </a:cxn>
                          <a:cxn ang="0">
                            <a:pos x="connsiteX2" y="connsiteY2"/>
                          </a:cxn>
                          <a:cxn ang="0">
                            <a:pos x="connsiteX3" y="connsiteY3"/>
                          </a:cxn>
                        </a:cxnLst>
                        <a:rect l="l" t="t" r="r" b="b"/>
                        <a:pathLst>
                          <a:path w="104495" h="540011">
                            <a:moveTo>
                              <a:pt x="713" y="60302"/>
                            </a:moveTo>
                            <a:lnTo>
                              <a:pt x="104496" y="0"/>
                            </a:lnTo>
                            <a:lnTo>
                              <a:pt x="103782" y="479709"/>
                            </a:lnTo>
                            <a:lnTo>
                              <a:pt x="0" y="540011"/>
                            </a:lnTo>
                            <a:close/>
                          </a:path>
                        </a:pathLst>
                      </a:custGeom>
                      <a:solidFill>
                        <a:srgbClr val="EAECF3"/>
                      </a:solidFill>
                      <a:ln w="14247" cap="flat">
                        <a:noFill/>
                        <a:prstDash val="solid"/>
                        <a:miter/>
                      </a:ln>
                    </p:spPr>
                    <p:txBody>
                      <a:bodyPr rtlCol="0" anchor="ctr"/>
                      <a:lstStyle/>
                      <a:p>
                        <a:endParaRPr lang="zh-CN" altLang="en-US"/>
                      </a:p>
                    </p:txBody>
                  </p:sp>
                  <p:sp>
                    <p:nvSpPr>
                      <p:cNvPr id="73" name="任意多边形: 形状 72"/>
                      <p:cNvSpPr/>
                      <p:nvPr/>
                    </p:nvSpPr>
                    <p:spPr>
                      <a:xfrm>
                        <a:off x="8236315" y="2826174"/>
                        <a:ext cx="885858" cy="511784"/>
                      </a:xfrm>
                      <a:custGeom>
                        <a:avLst/>
                        <a:gdLst>
                          <a:gd name="connsiteX0" fmla="*/ 0 w 885858"/>
                          <a:gd name="connsiteY0" fmla="*/ 60302 h 511784"/>
                          <a:gd name="connsiteX1" fmla="*/ 103640 w 885858"/>
                          <a:gd name="connsiteY1" fmla="*/ 0 h 511784"/>
                          <a:gd name="connsiteX2" fmla="*/ 885858 w 885858"/>
                          <a:gd name="connsiteY2" fmla="*/ 451483 h 511784"/>
                          <a:gd name="connsiteX3" fmla="*/ 782076 w 885858"/>
                          <a:gd name="connsiteY3" fmla="*/ 511785 h 511784"/>
                        </a:gdLst>
                        <a:ahLst/>
                        <a:cxnLst>
                          <a:cxn ang="0">
                            <a:pos x="connsiteX0" y="connsiteY0"/>
                          </a:cxn>
                          <a:cxn ang="0">
                            <a:pos x="connsiteX1" y="connsiteY1"/>
                          </a:cxn>
                          <a:cxn ang="0">
                            <a:pos x="connsiteX2" y="connsiteY2"/>
                          </a:cxn>
                          <a:cxn ang="0">
                            <a:pos x="connsiteX3" y="connsiteY3"/>
                          </a:cxn>
                        </a:cxnLst>
                        <a:rect l="l" t="t" r="r" b="b"/>
                        <a:pathLst>
                          <a:path w="885858" h="511784">
                            <a:moveTo>
                              <a:pt x="0" y="60302"/>
                            </a:moveTo>
                            <a:lnTo>
                              <a:pt x="103640" y="0"/>
                            </a:lnTo>
                            <a:lnTo>
                              <a:pt x="885858" y="451483"/>
                            </a:lnTo>
                            <a:lnTo>
                              <a:pt x="782076" y="511785"/>
                            </a:lnTo>
                            <a:close/>
                          </a:path>
                        </a:pathLst>
                      </a:custGeom>
                      <a:solidFill>
                        <a:srgbClr val="EAECF3"/>
                      </a:solidFill>
                      <a:ln w="14247" cap="flat">
                        <a:noFill/>
                        <a:prstDash val="solid"/>
                        <a:miter/>
                      </a:ln>
                    </p:spPr>
                    <p:txBody>
                      <a:bodyPr rtlCol="0" anchor="ctr"/>
                      <a:lstStyle/>
                      <a:p>
                        <a:endParaRPr lang="zh-CN" altLang="en-US"/>
                      </a:p>
                    </p:txBody>
                  </p:sp>
                </p:grpSp>
                <p:grpSp>
                  <p:nvGrpSpPr>
                    <p:cNvPr id="74" name="组合 73"/>
                    <p:cNvGrpSpPr/>
                    <p:nvPr/>
                  </p:nvGrpSpPr>
                  <p:grpSpPr>
                    <a:xfrm>
                      <a:off x="7458374" y="3246151"/>
                      <a:ext cx="1559588" cy="1023141"/>
                      <a:chOff x="7458374" y="3246151"/>
                      <a:chExt cx="1559588" cy="1023141"/>
                    </a:xfrm>
                  </p:grpSpPr>
                  <p:grpSp>
                    <p:nvGrpSpPr>
                      <p:cNvPr id="75" name="组合 74"/>
                      <p:cNvGrpSpPr/>
                      <p:nvPr/>
                    </p:nvGrpSpPr>
                    <p:grpSpPr>
                      <a:xfrm>
                        <a:off x="7458802" y="3246151"/>
                        <a:ext cx="1559161" cy="903107"/>
                        <a:chOff x="7458802" y="3246151"/>
                        <a:chExt cx="1559161" cy="903107"/>
                      </a:xfrm>
                    </p:grpSpPr>
                    <p:sp>
                      <p:nvSpPr>
                        <p:cNvPr id="76" name="任意多边形: 形状 75"/>
                        <p:cNvSpPr/>
                        <p:nvPr/>
                      </p:nvSpPr>
                      <p:spPr>
                        <a:xfrm>
                          <a:off x="7458802" y="3246151"/>
                          <a:ext cx="1559161" cy="903107"/>
                        </a:xfrm>
                        <a:custGeom>
                          <a:avLst/>
                          <a:gdLst>
                            <a:gd name="connsiteX0" fmla="*/ 1559161 w 1559161"/>
                            <a:gd name="connsiteY0" fmla="*/ 451482 h 903107"/>
                            <a:gd name="connsiteX1" fmla="*/ 782075 w 1559161"/>
                            <a:gd name="connsiteY1" fmla="*/ 903108 h 903107"/>
                            <a:gd name="connsiteX2" fmla="*/ 0 w 1559161"/>
                            <a:gd name="connsiteY2" fmla="*/ 451482 h 903107"/>
                            <a:gd name="connsiteX3" fmla="*/ 777086 w 1559161"/>
                            <a:gd name="connsiteY3" fmla="*/ 0 h 903107"/>
                          </a:gdLst>
                          <a:ahLst/>
                          <a:cxnLst>
                            <a:cxn ang="0">
                              <a:pos x="connsiteX0" y="connsiteY0"/>
                            </a:cxn>
                            <a:cxn ang="0">
                              <a:pos x="connsiteX1" y="connsiteY1"/>
                            </a:cxn>
                            <a:cxn ang="0">
                              <a:pos x="connsiteX2" y="connsiteY2"/>
                            </a:cxn>
                            <a:cxn ang="0">
                              <a:pos x="connsiteX3" y="connsiteY3"/>
                            </a:cxn>
                          </a:cxnLst>
                          <a:rect l="l" t="t" r="r" b="b"/>
                          <a:pathLst>
                            <a:path w="1559161" h="903107">
                              <a:moveTo>
                                <a:pt x="1559161" y="451482"/>
                              </a:moveTo>
                              <a:lnTo>
                                <a:pt x="782075" y="903108"/>
                              </a:lnTo>
                              <a:lnTo>
                                <a:pt x="0" y="451482"/>
                              </a:lnTo>
                              <a:lnTo>
                                <a:pt x="777086" y="0"/>
                              </a:lnTo>
                              <a:close/>
                            </a:path>
                          </a:pathLst>
                        </a:custGeom>
                        <a:gradFill>
                          <a:gsLst>
                            <a:gs pos="0">
                              <a:schemeClr val="accent2">
                                <a:lumMod val="60000"/>
                                <a:lumOff val="40000"/>
                              </a:schemeClr>
                            </a:gs>
                            <a:gs pos="50000">
                              <a:schemeClr val="accent2"/>
                            </a:gs>
                          </a:gsLst>
                          <a:lin ang="2700000" scaled="0"/>
                        </a:gradFill>
                        <a:ln w="25400" cap="flat"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noAutofit/>
                        </a:bodyPr>
                        <a:lstStyle/>
                        <a:p>
                          <a:pPr algn="ctr"/>
                          <a:endParaRPr lang="zh-CN" altLang="en-US" sz="2000" b="1"/>
                        </a:p>
                      </p:txBody>
                    </p:sp>
                    <p:sp>
                      <p:nvSpPr>
                        <p:cNvPr id="77" name="任意多边形: 形状 76"/>
                        <p:cNvSpPr/>
                        <p:nvPr/>
                      </p:nvSpPr>
                      <p:spPr>
                        <a:xfrm>
                          <a:off x="7752472" y="3416224"/>
                          <a:ext cx="971820" cy="562963"/>
                        </a:xfrm>
                        <a:custGeom>
                          <a:avLst/>
                          <a:gdLst>
                            <a:gd name="connsiteX0" fmla="*/ 0 w 971820"/>
                            <a:gd name="connsiteY0" fmla="*/ 281125 h 562963"/>
                            <a:gd name="connsiteX1" fmla="*/ 483558 w 971820"/>
                            <a:gd name="connsiteY1" fmla="*/ 0 h 562963"/>
                            <a:gd name="connsiteX2" fmla="*/ 971821 w 971820"/>
                            <a:gd name="connsiteY2" fmla="*/ 281838 h 562963"/>
                            <a:gd name="connsiteX3" fmla="*/ 488263 w 971820"/>
                            <a:gd name="connsiteY3" fmla="*/ 562963 h 562963"/>
                          </a:gdLst>
                          <a:ahLst/>
                          <a:cxnLst>
                            <a:cxn ang="0">
                              <a:pos x="connsiteX0" y="connsiteY0"/>
                            </a:cxn>
                            <a:cxn ang="0">
                              <a:pos x="connsiteX1" y="connsiteY1"/>
                            </a:cxn>
                            <a:cxn ang="0">
                              <a:pos x="connsiteX2" y="connsiteY2"/>
                            </a:cxn>
                            <a:cxn ang="0">
                              <a:pos x="connsiteX3" y="connsiteY3"/>
                            </a:cxn>
                          </a:cxnLst>
                          <a:rect l="l" t="t" r="r" b="b"/>
                          <a:pathLst>
                            <a:path w="971820" h="562963">
                              <a:moveTo>
                                <a:pt x="0" y="281125"/>
                              </a:moveTo>
                              <a:lnTo>
                                <a:pt x="483558" y="0"/>
                              </a:lnTo>
                              <a:lnTo>
                                <a:pt x="971821" y="281838"/>
                              </a:lnTo>
                              <a:lnTo>
                                <a:pt x="488263" y="562963"/>
                              </a:lnTo>
                              <a:close/>
                            </a:path>
                          </a:pathLst>
                        </a:custGeom>
                        <a:solidFill>
                          <a:srgbClr val="FFFFFF"/>
                        </a:solidFill>
                        <a:ln w="14247" cap="flat">
                          <a:noFill/>
                          <a:prstDash val="solid"/>
                          <a:miter/>
                        </a:ln>
                      </p:spPr>
                      <p:txBody>
                        <a:bodyPr rtlCol="0" anchor="ctr"/>
                        <a:lstStyle/>
                        <a:p>
                          <a:endParaRPr lang="zh-CN" altLang="en-US"/>
                        </a:p>
                      </p:txBody>
                    </p:sp>
                  </p:grpSp>
                  <p:sp>
                    <p:nvSpPr>
                      <p:cNvPr id="78" name="任意多边形: 形状 77"/>
                      <p:cNvSpPr/>
                      <p:nvPr/>
                    </p:nvSpPr>
                    <p:spPr>
                      <a:xfrm>
                        <a:off x="8240592" y="3697634"/>
                        <a:ext cx="777371" cy="571659"/>
                      </a:xfrm>
                      <a:custGeom>
                        <a:avLst/>
                        <a:gdLst>
                          <a:gd name="connsiteX0" fmla="*/ 777371 w 777371"/>
                          <a:gd name="connsiteY0" fmla="*/ 0 h 571659"/>
                          <a:gd name="connsiteX1" fmla="*/ 777086 w 777371"/>
                          <a:gd name="connsiteY1" fmla="*/ 120034 h 571659"/>
                          <a:gd name="connsiteX2" fmla="*/ 0 w 777371"/>
                          <a:gd name="connsiteY2" fmla="*/ 571659 h 571659"/>
                          <a:gd name="connsiteX3" fmla="*/ 285 w 777371"/>
                          <a:gd name="connsiteY3" fmla="*/ 451625 h 571659"/>
                        </a:gdLst>
                        <a:ahLst/>
                        <a:cxnLst>
                          <a:cxn ang="0">
                            <a:pos x="connsiteX0" y="connsiteY0"/>
                          </a:cxn>
                          <a:cxn ang="0">
                            <a:pos x="connsiteX1" y="connsiteY1"/>
                          </a:cxn>
                          <a:cxn ang="0">
                            <a:pos x="connsiteX2" y="connsiteY2"/>
                          </a:cxn>
                          <a:cxn ang="0">
                            <a:pos x="connsiteX3" y="connsiteY3"/>
                          </a:cxn>
                        </a:cxnLst>
                        <a:rect l="l" t="t" r="r" b="b"/>
                        <a:pathLst>
                          <a:path w="777371" h="571659">
                            <a:moveTo>
                              <a:pt x="777371" y="0"/>
                            </a:moveTo>
                            <a:lnTo>
                              <a:pt x="777086" y="120034"/>
                            </a:lnTo>
                            <a:lnTo>
                              <a:pt x="0" y="571659"/>
                            </a:lnTo>
                            <a:lnTo>
                              <a:pt x="285" y="451625"/>
                            </a:lnTo>
                            <a:close/>
                          </a:path>
                        </a:pathLst>
                      </a:custGeom>
                      <a:solidFill>
                        <a:srgbClr val="EAECF3"/>
                      </a:solidFill>
                      <a:ln w="14247" cap="flat">
                        <a:noFill/>
                        <a:prstDash val="solid"/>
                        <a:miter/>
                      </a:ln>
                    </p:spPr>
                    <p:txBody>
                      <a:bodyPr rtlCol="0" anchor="ctr"/>
                      <a:lstStyle/>
                      <a:p>
                        <a:endParaRPr lang="zh-CN" altLang="en-US"/>
                      </a:p>
                    </p:txBody>
                  </p:sp>
                  <p:sp>
                    <p:nvSpPr>
                      <p:cNvPr id="79" name="任意多边形: 形状 78"/>
                      <p:cNvSpPr/>
                      <p:nvPr/>
                    </p:nvSpPr>
                    <p:spPr>
                      <a:xfrm>
                        <a:off x="7458374" y="3697634"/>
                        <a:ext cx="782503" cy="571659"/>
                      </a:xfrm>
                      <a:custGeom>
                        <a:avLst/>
                        <a:gdLst>
                          <a:gd name="connsiteX0" fmla="*/ 782503 w 782503"/>
                          <a:gd name="connsiteY0" fmla="*/ 451625 h 571659"/>
                          <a:gd name="connsiteX1" fmla="*/ 782218 w 782503"/>
                          <a:gd name="connsiteY1" fmla="*/ 571659 h 571659"/>
                          <a:gd name="connsiteX2" fmla="*/ 0 w 782503"/>
                          <a:gd name="connsiteY2" fmla="*/ 120034 h 571659"/>
                          <a:gd name="connsiteX3" fmla="*/ 428 w 782503"/>
                          <a:gd name="connsiteY3" fmla="*/ 0 h 571659"/>
                        </a:gdLst>
                        <a:ahLst/>
                        <a:cxnLst>
                          <a:cxn ang="0">
                            <a:pos x="connsiteX0" y="connsiteY0"/>
                          </a:cxn>
                          <a:cxn ang="0">
                            <a:pos x="connsiteX1" y="connsiteY1"/>
                          </a:cxn>
                          <a:cxn ang="0">
                            <a:pos x="connsiteX2" y="connsiteY2"/>
                          </a:cxn>
                          <a:cxn ang="0">
                            <a:pos x="connsiteX3" y="connsiteY3"/>
                          </a:cxn>
                        </a:cxnLst>
                        <a:rect l="l" t="t" r="r" b="b"/>
                        <a:pathLst>
                          <a:path w="782503" h="571659">
                            <a:moveTo>
                              <a:pt x="782503" y="451625"/>
                            </a:moveTo>
                            <a:lnTo>
                              <a:pt x="782218" y="571659"/>
                            </a:lnTo>
                            <a:lnTo>
                              <a:pt x="0" y="120034"/>
                            </a:lnTo>
                            <a:lnTo>
                              <a:pt x="428" y="0"/>
                            </a:lnTo>
                            <a:close/>
                          </a:path>
                        </a:pathLst>
                      </a:custGeom>
                      <a:solidFill>
                        <a:srgbClr val="F0F3FA"/>
                      </a:solidFill>
                      <a:ln w="14247" cap="flat">
                        <a:noFill/>
                        <a:prstDash val="solid"/>
                        <a:miter/>
                      </a:ln>
                    </p:spPr>
                    <p:txBody>
                      <a:bodyPr rtlCol="0" anchor="ctr"/>
                      <a:lstStyle/>
                      <a:p>
                        <a:endParaRPr lang="zh-CN" altLang="en-US"/>
                      </a:p>
                    </p:txBody>
                  </p:sp>
                </p:grpSp>
              </p:grpSp>
              <p:grpSp>
                <p:nvGrpSpPr>
                  <p:cNvPr id="80" name="组合 79"/>
                  <p:cNvGrpSpPr/>
                  <p:nvPr/>
                </p:nvGrpSpPr>
                <p:grpSpPr>
                  <a:xfrm>
                    <a:off x="2216139" y="1804702"/>
                    <a:ext cx="1663656" cy="1443118"/>
                    <a:chOff x="8236172" y="1894840"/>
                    <a:chExt cx="1663656" cy="1443118"/>
                  </a:xfrm>
                </p:grpSpPr>
                <p:grpSp>
                  <p:nvGrpSpPr>
                    <p:cNvPr id="81" name="组合 80"/>
                    <p:cNvGrpSpPr/>
                    <p:nvPr/>
                  </p:nvGrpSpPr>
                  <p:grpSpPr>
                    <a:xfrm>
                      <a:off x="9013258" y="1894840"/>
                      <a:ext cx="886570" cy="991636"/>
                      <a:chOff x="9013258" y="1894840"/>
                      <a:chExt cx="886570" cy="991636"/>
                    </a:xfrm>
                  </p:grpSpPr>
                  <p:sp>
                    <p:nvSpPr>
                      <p:cNvPr id="82" name="任意多边形: 形状 81"/>
                      <p:cNvSpPr/>
                      <p:nvPr/>
                    </p:nvSpPr>
                    <p:spPr>
                      <a:xfrm>
                        <a:off x="9013258" y="1955142"/>
                        <a:ext cx="782930" cy="931334"/>
                      </a:xfrm>
                      <a:custGeom>
                        <a:avLst/>
                        <a:gdLst>
                          <a:gd name="connsiteX0" fmla="*/ 782931 w 782930"/>
                          <a:gd name="connsiteY0" fmla="*/ 451625 h 931334"/>
                          <a:gd name="connsiteX1" fmla="*/ 782218 w 782930"/>
                          <a:gd name="connsiteY1" fmla="*/ 931334 h 931334"/>
                          <a:gd name="connsiteX2" fmla="*/ 0 w 782930"/>
                          <a:gd name="connsiteY2" fmla="*/ 479709 h 931334"/>
                          <a:gd name="connsiteX3" fmla="*/ 713 w 782930"/>
                          <a:gd name="connsiteY3" fmla="*/ 0 h 931334"/>
                        </a:gdLst>
                        <a:ahLst/>
                        <a:cxnLst>
                          <a:cxn ang="0">
                            <a:pos x="connsiteX0" y="connsiteY0"/>
                          </a:cxn>
                          <a:cxn ang="0">
                            <a:pos x="connsiteX1" y="connsiteY1"/>
                          </a:cxn>
                          <a:cxn ang="0">
                            <a:pos x="connsiteX2" y="connsiteY2"/>
                          </a:cxn>
                          <a:cxn ang="0">
                            <a:pos x="connsiteX3" y="connsiteY3"/>
                          </a:cxn>
                        </a:cxnLst>
                        <a:rect l="l" t="t" r="r" b="b"/>
                        <a:pathLst>
                          <a:path w="782930" h="931334">
                            <a:moveTo>
                              <a:pt x="782931" y="451625"/>
                            </a:moveTo>
                            <a:lnTo>
                              <a:pt x="782218" y="931334"/>
                            </a:lnTo>
                            <a:lnTo>
                              <a:pt x="0" y="479709"/>
                            </a:lnTo>
                            <a:lnTo>
                              <a:pt x="713" y="0"/>
                            </a:lnTo>
                            <a:close/>
                          </a:path>
                        </a:pathLst>
                      </a:custGeom>
                      <a:solidFill>
                        <a:srgbClr val="F0F3FA"/>
                      </a:solidFill>
                      <a:ln w="14247" cap="flat">
                        <a:noFill/>
                        <a:prstDash val="solid"/>
                        <a:miter/>
                      </a:ln>
                    </p:spPr>
                    <p:txBody>
                      <a:bodyPr rtlCol="0" anchor="ctr"/>
                      <a:lstStyle/>
                      <a:p>
                        <a:endParaRPr lang="zh-CN" altLang="en-US"/>
                      </a:p>
                    </p:txBody>
                  </p:sp>
                  <p:sp>
                    <p:nvSpPr>
                      <p:cNvPr id="83" name="任意多边形: 形状 82"/>
                      <p:cNvSpPr/>
                      <p:nvPr/>
                    </p:nvSpPr>
                    <p:spPr>
                      <a:xfrm>
                        <a:off x="9795476" y="2346465"/>
                        <a:ext cx="104352" cy="540011"/>
                      </a:xfrm>
                      <a:custGeom>
                        <a:avLst/>
                        <a:gdLst>
                          <a:gd name="connsiteX0" fmla="*/ 713 w 104352"/>
                          <a:gd name="connsiteY0" fmla="*/ 60302 h 540011"/>
                          <a:gd name="connsiteX1" fmla="*/ 104353 w 104352"/>
                          <a:gd name="connsiteY1" fmla="*/ 0 h 540011"/>
                          <a:gd name="connsiteX2" fmla="*/ 103640 w 104352"/>
                          <a:gd name="connsiteY2" fmla="*/ 479709 h 540011"/>
                          <a:gd name="connsiteX3" fmla="*/ 0 w 104352"/>
                          <a:gd name="connsiteY3" fmla="*/ 540011 h 540011"/>
                        </a:gdLst>
                        <a:ahLst/>
                        <a:cxnLst>
                          <a:cxn ang="0">
                            <a:pos x="connsiteX0" y="connsiteY0"/>
                          </a:cxn>
                          <a:cxn ang="0">
                            <a:pos x="connsiteX1" y="connsiteY1"/>
                          </a:cxn>
                          <a:cxn ang="0">
                            <a:pos x="connsiteX2" y="connsiteY2"/>
                          </a:cxn>
                          <a:cxn ang="0">
                            <a:pos x="connsiteX3" y="connsiteY3"/>
                          </a:cxn>
                        </a:cxnLst>
                        <a:rect l="l" t="t" r="r" b="b"/>
                        <a:pathLst>
                          <a:path w="104352" h="540011">
                            <a:moveTo>
                              <a:pt x="713" y="60302"/>
                            </a:moveTo>
                            <a:lnTo>
                              <a:pt x="104353" y="0"/>
                            </a:lnTo>
                            <a:lnTo>
                              <a:pt x="103640" y="479709"/>
                            </a:lnTo>
                            <a:lnTo>
                              <a:pt x="0" y="540011"/>
                            </a:lnTo>
                            <a:close/>
                          </a:path>
                        </a:pathLst>
                      </a:custGeom>
                      <a:solidFill>
                        <a:srgbClr val="EAECF3"/>
                      </a:solidFill>
                      <a:ln w="14247" cap="flat">
                        <a:noFill/>
                        <a:prstDash val="solid"/>
                        <a:miter/>
                      </a:ln>
                    </p:spPr>
                    <p:txBody>
                      <a:bodyPr rtlCol="0" anchor="ctr"/>
                      <a:lstStyle/>
                      <a:p>
                        <a:endParaRPr lang="zh-CN" altLang="en-US"/>
                      </a:p>
                    </p:txBody>
                  </p:sp>
                  <p:sp>
                    <p:nvSpPr>
                      <p:cNvPr id="84" name="任意多边形: 形状 83"/>
                      <p:cNvSpPr/>
                      <p:nvPr/>
                    </p:nvSpPr>
                    <p:spPr>
                      <a:xfrm>
                        <a:off x="9013971" y="1894840"/>
                        <a:ext cx="885858" cy="511927"/>
                      </a:xfrm>
                      <a:custGeom>
                        <a:avLst/>
                        <a:gdLst>
                          <a:gd name="connsiteX0" fmla="*/ 0 w 885858"/>
                          <a:gd name="connsiteY0" fmla="*/ 60302 h 511927"/>
                          <a:gd name="connsiteX1" fmla="*/ 103783 w 885858"/>
                          <a:gd name="connsiteY1" fmla="*/ 0 h 511927"/>
                          <a:gd name="connsiteX2" fmla="*/ 885858 w 885858"/>
                          <a:gd name="connsiteY2" fmla="*/ 451625 h 511927"/>
                          <a:gd name="connsiteX3" fmla="*/ 782218 w 885858"/>
                          <a:gd name="connsiteY3" fmla="*/ 511927 h 511927"/>
                        </a:gdLst>
                        <a:ahLst/>
                        <a:cxnLst>
                          <a:cxn ang="0">
                            <a:pos x="connsiteX0" y="connsiteY0"/>
                          </a:cxn>
                          <a:cxn ang="0">
                            <a:pos x="connsiteX1" y="connsiteY1"/>
                          </a:cxn>
                          <a:cxn ang="0">
                            <a:pos x="connsiteX2" y="connsiteY2"/>
                          </a:cxn>
                          <a:cxn ang="0">
                            <a:pos x="connsiteX3" y="connsiteY3"/>
                          </a:cxn>
                        </a:cxnLst>
                        <a:rect l="l" t="t" r="r" b="b"/>
                        <a:pathLst>
                          <a:path w="885858" h="511927">
                            <a:moveTo>
                              <a:pt x="0" y="60302"/>
                            </a:moveTo>
                            <a:lnTo>
                              <a:pt x="103783" y="0"/>
                            </a:lnTo>
                            <a:lnTo>
                              <a:pt x="885858" y="451625"/>
                            </a:lnTo>
                            <a:lnTo>
                              <a:pt x="782218" y="511927"/>
                            </a:lnTo>
                            <a:close/>
                          </a:path>
                        </a:pathLst>
                      </a:custGeom>
                      <a:solidFill>
                        <a:srgbClr val="EAECF3"/>
                      </a:solidFill>
                      <a:ln w="14247" cap="flat">
                        <a:noFill/>
                        <a:prstDash val="solid"/>
                        <a:miter/>
                      </a:ln>
                    </p:spPr>
                    <p:txBody>
                      <a:bodyPr rtlCol="0" anchor="ctr"/>
                      <a:lstStyle/>
                      <a:p>
                        <a:endParaRPr lang="zh-CN" altLang="en-US"/>
                      </a:p>
                    </p:txBody>
                  </p:sp>
                </p:grpSp>
                <p:grpSp>
                  <p:nvGrpSpPr>
                    <p:cNvPr id="85" name="组合 84"/>
                    <p:cNvGrpSpPr/>
                    <p:nvPr/>
                  </p:nvGrpSpPr>
                  <p:grpSpPr>
                    <a:xfrm>
                      <a:off x="8236172" y="2314817"/>
                      <a:ext cx="1559589" cy="1023141"/>
                      <a:chOff x="8236172" y="2314817"/>
                      <a:chExt cx="1559589" cy="1023141"/>
                    </a:xfrm>
                  </p:grpSpPr>
                  <p:grpSp>
                    <p:nvGrpSpPr>
                      <p:cNvPr id="86" name="组合 85"/>
                      <p:cNvGrpSpPr/>
                      <p:nvPr/>
                    </p:nvGrpSpPr>
                    <p:grpSpPr>
                      <a:xfrm>
                        <a:off x="8236458" y="2314817"/>
                        <a:ext cx="1559303" cy="903250"/>
                        <a:chOff x="8236458" y="2314817"/>
                        <a:chExt cx="1559303" cy="903250"/>
                      </a:xfrm>
                    </p:grpSpPr>
                    <p:sp>
                      <p:nvSpPr>
                        <p:cNvPr id="87" name="任意多边形: 形状 86"/>
                        <p:cNvSpPr/>
                        <p:nvPr/>
                      </p:nvSpPr>
                      <p:spPr>
                        <a:xfrm>
                          <a:off x="8236458" y="2314817"/>
                          <a:ext cx="1559303" cy="903250"/>
                        </a:xfrm>
                        <a:custGeom>
                          <a:avLst/>
                          <a:gdLst>
                            <a:gd name="connsiteX0" fmla="*/ 1559304 w 1559303"/>
                            <a:gd name="connsiteY0" fmla="*/ 451625 h 903250"/>
                            <a:gd name="connsiteX1" fmla="*/ 782218 w 1559303"/>
                            <a:gd name="connsiteY1" fmla="*/ 903250 h 903250"/>
                            <a:gd name="connsiteX2" fmla="*/ 0 w 1559303"/>
                            <a:gd name="connsiteY2" fmla="*/ 451625 h 903250"/>
                            <a:gd name="connsiteX3" fmla="*/ 777086 w 1559303"/>
                            <a:gd name="connsiteY3" fmla="*/ 0 h 903250"/>
                          </a:gdLst>
                          <a:ahLst/>
                          <a:cxnLst>
                            <a:cxn ang="0">
                              <a:pos x="connsiteX0" y="connsiteY0"/>
                            </a:cxn>
                            <a:cxn ang="0">
                              <a:pos x="connsiteX1" y="connsiteY1"/>
                            </a:cxn>
                            <a:cxn ang="0">
                              <a:pos x="connsiteX2" y="connsiteY2"/>
                            </a:cxn>
                            <a:cxn ang="0">
                              <a:pos x="connsiteX3" y="connsiteY3"/>
                            </a:cxn>
                          </a:cxnLst>
                          <a:rect l="l" t="t" r="r" b="b"/>
                          <a:pathLst>
                            <a:path w="1559303" h="903250">
                              <a:moveTo>
                                <a:pt x="1559304" y="451625"/>
                              </a:moveTo>
                              <a:lnTo>
                                <a:pt x="782218" y="903250"/>
                              </a:lnTo>
                              <a:lnTo>
                                <a:pt x="0" y="451625"/>
                              </a:lnTo>
                              <a:lnTo>
                                <a:pt x="777086" y="0"/>
                              </a:lnTo>
                              <a:close/>
                            </a:path>
                          </a:pathLst>
                        </a:custGeom>
                        <a:gradFill>
                          <a:gsLst>
                            <a:gs pos="0">
                              <a:schemeClr val="accent1">
                                <a:lumMod val="60000"/>
                                <a:lumOff val="40000"/>
                              </a:schemeClr>
                            </a:gs>
                            <a:gs pos="50000">
                              <a:schemeClr val="accent1"/>
                            </a:gs>
                          </a:gsLst>
                          <a:lin ang="2700000" scaled="0"/>
                        </a:gradFill>
                        <a:ln w="25400" cap="flat"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noAutofit/>
                        </a:bodyPr>
                        <a:lstStyle/>
                        <a:p>
                          <a:pPr algn="ctr"/>
                          <a:endParaRPr lang="zh-CN" altLang="en-US" sz="2000" b="1"/>
                        </a:p>
                      </p:txBody>
                    </p:sp>
                    <p:sp>
                      <p:nvSpPr>
                        <p:cNvPr id="88" name="任意多边形: 形状 87"/>
                        <p:cNvSpPr/>
                        <p:nvPr/>
                      </p:nvSpPr>
                      <p:spPr>
                        <a:xfrm>
                          <a:off x="8530128" y="2484889"/>
                          <a:ext cx="971963" cy="562963"/>
                        </a:xfrm>
                        <a:custGeom>
                          <a:avLst/>
                          <a:gdLst>
                            <a:gd name="connsiteX0" fmla="*/ 0 w 971963"/>
                            <a:gd name="connsiteY0" fmla="*/ 281125 h 562963"/>
                            <a:gd name="connsiteX1" fmla="*/ 483701 w 971963"/>
                            <a:gd name="connsiteY1" fmla="*/ 0 h 562963"/>
                            <a:gd name="connsiteX2" fmla="*/ 971963 w 971963"/>
                            <a:gd name="connsiteY2" fmla="*/ 281981 h 562963"/>
                            <a:gd name="connsiteX3" fmla="*/ 488263 w 971963"/>
                            <a:gd name="connsiteY3" fmla="*/ 562963 h 562963"/>
                          </a:gdLst>
                          <a:ahLst/>
                          <a:cxnLst>
                            <a:cxn ang="0">
                              <a:pos x="connsiteX0" y="connsiteY0"/>
                            </a:cxn>
                            <a:cxn ang="0">
                              <a:pos x="connsiteX1" y="connsiteY1"/>
                            </a:cxn>
                            <a:cxn ang="0">
                              <a:pos x="connsiteX2" y="connsiteY2"/>
                            </a:cxn>
                            <a:cxn ang="0">
                              <a:pos x="connsiteX3" y="connsiteY3"/>
                            </a:cxn>
                          </a:cxnLst>
                          <a:rect l="l" t="t" r="r" b="b"/>
                          <a:pathLst>
                            <a:path w="971963" h="562963">
                              <a:moveTo>
                                <a:pt x="0" y="281125"/>
                              </a:moveTo>
                              <a:lnTo>
                                <a:pt x="483701" y="0"/>
                              </a:lnTo>
                              <a:lnTo>
                                <a:pt x="971963" y="281981"/>
                              </a:lnTo>
                              <a:lnTo>
                                <a:pt x="488263" y="562963"/>
                              </a:lnTo>
                              <a:close/>
                            </a:path>
                          </a:pathLst>
                        </a:custGeom>
                        <a:solidFill>
                          <a:srgbClr val="FFFFFF"/>
                        </a:solidFill>
                        <a:ln w="14247" cap="flat">
                          <a:noFill/>
                          <a:prstDash val="solid"/>
                          <a:miter/>
                        </a:ln>
                      </p:spPr>
                      <p:txBody>
                        <a:bodyPr rtlCol="0" anchor="ctr"/>
                        <a:lstStyle/>
                        <a:p>
                          <a:endParaRPr lang="zh-CN" altLang="en-US"/>
                        </a:p>
                      </p:txBody>
                    </p:sp>
                  </p:grpSp>
                  <p:sp>
                    <p:nvSpPr>
                      <p:cNvPr id="89" name="任意多边形: 形状 88"/>
                      <p:cNvSpPr/>
                      <p:nvPr/>
                    </p:nvSpPr>
                    <p:spPr>
                      <a:xfrm>
                        <a:off x="9018248" y="2766442"/>
                        <a:ext cx="777513" cy="571516"/>
                      </a:xfrm>
                      <a:custGeom>
                        <a:avLst/>
                        <a:gdLst>
                          <a:gd name="connsiteX0" fmla="*/ 777514 w 777513"/>
                          <a:gd name="connsiteY0" fmla="*/ 0 h 571516"/>
                          <a:gd name="connsiteX1" fmla="*/ 777086 w 777513"/>
                          <a:gd name="connsiteY1" fmla="*/ 120034 h 571516"/>
                          <a:gd name="connsiteX2" fmla="*/ 0 w 777513"/>
                          <a:gd name="connsiteY2" fmla="*/ 571517 h 571516"/>
                          <a:gd name="connsiteX3" fmla="*/ 428 w 777513"/>
                          <a:gd name="connsiteY3" fmla="*/ 451625 h 571516"/>
                        </a:gdLst>
                        <a:ahLst/>
                        <a:cxnLst>
                          <a:cxn ang="0">
                            <a:pos x="connsiteX0" y="connsiteY0"/>
                          </a:cxn>
                          <a:cxn ang="0">
                            <a:pos x="connsiteX1" y="connsiteY1"/>
                          </a:cxn>
                          <a:cxn ang="0">
                            <a:pos x="connsiteX2" y="connsiteY2"/>
                          </a:cxn>
                          <a:cxn ang="0">
                            <a:pos x="connsiteX3" y="connsiteY3"/>
                          </a:cxn>
                        </a:cxnLst>
                        <a:rect l="l" t="t" r="r" b="b"/>
                        <a:pathLst>
                          <a:path w="777513" h="571516">
                            <a:moveTo>
                              <a:pt x="777514" y="0"/>
                            </a:moveTo>
                            <a:lnTo>
                              <a:pt x="777086" y="120034"/>
                            </a:lnTo>
                            <a:lnTo>
                              <a:pt x="0" y="571517"/>
                            </a:lnTo>
                            <a:lnTo>
                              <a:pt x="428" y="451625"/>
                            </a:lnTo>
                            <a:close/>
                          </a:path>
                        </a:pathLst>
                      </a:custGeom>
                      <a:solidFill>
                        <a:srgbClr val="EAECF3"/>
                      </a:solidFill>
                      <a:ln w="14247" cap="flat">
                        <a:noFill/>
                        <a:prstDash val="solid"/>
                        <a:miter/>
                      </a:ln>
                    </p:spPr>
                    <p:txBody>
                      <a:bodyPr rtlCol="0" anchor="ctr"/>
                      <a:lstStyle/>
                      <a:p>
                        <a:endParaRPr lang="zh-CN" altLang="en-US"/>
                      </a:p>
                    </p:txBody>
                  </p:sp>
                  <p:sp>
                    <p:nvSpPr>
                      <p:cNvPr id="90" name="任意多边形: 形状 89"/>
                      <p:cNvSpPr/>
                      <p:nvPr/>
                    </p:nvSpPr>
                    <p:spPr>
                      <a:xfrm>
                        <a:off x="8236172" y="2766442"/>
                        <a:ext cx="782503" cy="571516"/>
                      </a:xfrm>
                      <a:custGeom>
                        <a:avLst/>
                        <a:gdLst>
                          <a:gd name="connsiteX0" fmla="*/ 782503 w 782503"/>
                          <a:gd name="connsiteY0" fmla="*/ 451625 h 571516"/>
                          <a:gd name="connsiteX1" fmla="*/ 782076 w 782503"/>
                          <a:gd name="connsiteY1" fmla="*/ 571517 h 571516"/>
                          <a:gd name="connsiteX2" fmla="*/ 0 w 782503"/>
                          <a:gd name="connsiteY2" fmla="*/ 120034 h 571516"/>
                          <a:gd name="connsiteX3" fmla="*/ 285 w 782503"/>
                          <a:gd name="connsiteY3" fmla="*/ 0 h 571516"/>
                        </a:gdLst>
                        <a:ahLst/>
                        <a:cxnLst>
                          <a:cxn ang="0">
                            <a:pos x="connsiteX0" y="connsiteY0"/>
                          </a:cxn>
                          <a:cxn ang="0">
                            <a:pos x="connsiteX1" y="connsiteY1"/>
                          </a:cxn>
                          <a:cxn ang="0">
                            <a:pos x="connsiteX2" y="connsiteY2"/>
                          </a:cxn>
                          <a:cxn ang="0">
                            <a:pos x="connsiteX3" y="connsiteY3"/>
                          </a:cxn>
                        </a:cxnLst>
                        <a:rect l="l" t="t" r="r" b="b"/>
                        <a:pathLst>
                          <a:path w="782503" h="571516">
                            <a:moveTo>
                              <a:pt x="782503" y="451625"/>
                            </a:moveTo>
                            <a:lnTo>
                              <a:pt x="782076" y="571517"/>
                            </a:lnTo>
                            <a:lnTo>
                              <a:pt x="0" y="120034"/>
                            </a:lnTo>
                            <a:lnTo>
                              <a:pt x="285" y="0"/>
                            </a:lnTo>
                            <a:close/>
                          </a:path>
                        </a:pathLst>
                      </a:custGeom>
                      <a:solidFill>
                        <a:srgbClr val="F0F3FA"/>
                      </a:solidFill>
                      <a:ln w="14247" cap="flat">
                        <a:noFill/>
                        <a:prstDash val="solid"/>
                        <a:miter/>
                      </a:ln>
                    </p:spPr>
                    <p:txBody>
                      <a:bodyPr rtlCol="0" anchor="ctr"/>
                      <a:lstStyle/>
                      <a:p>
                        <a:endParaRPr lang="zh-CN" altLang="en-US"/>
                      </a:p>
                    </p:txBody>
                  </p:sp>
                </p:grpSp>
              </p:grpSp>
              <p:grpSp>
                <p:nvGrpSpPr>
                  <p:cNvPr id="91" name="组合 90"/>
                  <p:cNvGrpSpPr/>
                  <p:nvPr/>
                </p:nvGrpSpPr>
                <p:grpSpPr>
                  <a:xfrm>
                    <a:off x="2993796" y="1293488"/>
                    <a:ext cx="1559588" cy="1023141"/>
                    <a:chOff x="9013829" y="1383626"/>
                    <a:chExt cx="1559588" cy="1023141"/>
                  </a:xfrm>
                </p:grpSpPr>
                <p:grpSp>
                  <p:nvGrpSpPr>
                    <p:cNvPr id="92" name="组合 91"/>
                    <p:cNvGrpSpPr/>
                    <p:nvPr/>
                  </p:nvGrpSpPr>
                  <p:grpSpPr>
                    <a:xfrm>
                      <a:off x="9014256" y="1383626"/>
                      <a:ext cx="1559161" cy="903107"/>
                      <a:chOff x="9014256" y="1383626"/>
                      <a:chExt cx="1559161" cy="903107"/>
                    </a:xfrm>
                  </p:grpSpPr>
                  <p:sp>
                    <p:nvSpPr>
                      <p:cNvPr id="93" name="任意多边形: 形状 92"/>
                      <p:cNvSpPr/>
                      <p:nvPr/>
                    </p:nvSpPr>
                    <p:spPr>
                      <a:xfrm>
                        <a:off x="9014256" y="1383626"/>
                        <a:ext cx="1559161" cy="903107"/>
                      </a:xfrm>
                      <a:custGeom>
                        <a:avLst/>
                        <a:gdLst>
                          <a:gd name="connsiteX0" fmla="*/ 1559161 w 1559161"/>
                          <a:gd name="connsiteY0" fmla="*/ 451482 h 903107"/>
                          <a:gd name="connsiteX1" fmla="*/ 782075 w 1559161"/>
                          <a:gd name="connsiteY1" fmla="*/ 903108 h 903107"/>
                          <a:gd name="connsiteX2" fmla="*/ 0 w 1559161"/>
                          <a:gd name="connsiteY2" fmla="*/ 451482 h 903107"/>
                          <a:gd name="connsiteX3" fmla="*/ 777086 w 1559161"/>
                          <a:gd name="connsiteY3" fmla="*/ 0 h 903107"/>
                        </a:gdLst>
                        <a:ahLst/>
                        <a:cxnLst>
                          <a:cxn ang="0">
                            <a:pos x="connsiteX0" y="connsiteY0"/>
                          </a:cxn>
                          <a:cxn ang="0">
                            <a:pos x="connsiteX1" y="connsiteY1"/>
                          </a:cxn>
                          <a:cxn ang="0">
                            <a:pos x="connsiteX2" y="connsiteY2"/>
                          </a:cxn>
                          <a:cxn ang="0">
                            <a:pos x="connsiteX3" y="connsiteY3"/>
                          </a:cxn>
                        </a:cxnLst>
                        <a:rect l="l" t="t" r="r" b="b"/>
                        <a:pathLst>
                          <a:path w="1559161" h="903107">
                            <a:moveTo>
                              <a:pt x="1559161" y="451482"/>
                            </a:moveTo>
                            <a:lnTo>
                              <a:pt x="782075" y="903108"/>
                            </a:lnTo>
                            <a:lnTo>
                              <a:pt x="0" y="451482"/>
                            </a:lnTo>
                            <a:lnTo>
                              <a:pt x="777086" y="0"/>
                            </a:lnTo>
                            <a:close/>
                          </a:path>
                        </a:pathLst>
                      </a:custGeom>
                      <a:gradFill>
                        <a:gsLst>
                          <a:gs pos="0">
                            <a:schemeClr val="accent2">
                              <a:lumMod val="60000"/>
                              <a:lumOff val="40000"/>
                            </a:schemeClr>
                          </a:gs>
                          <a:gs pos="50000">
                            <a:schemeClr val="accent2"/>
                          </a:gs>
                        </a:gsLst>
                        <a:lin ang="2700000" scaled="0"/>
                      </a:gradFill>
                      <a:ln w="25400" cap="flat"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noAutofit/>
                      </a:bodyPr>
                      <a:lstStyle/>
                      <a:p>
                        <a:pPr algn="ctr"/>
                        <a:endParaRPr lang="zh-CN" altLang="en-US" sz="2000" b="1"/>
                      </a:p>
                    </p:txBody>
                  </p:sp>
                  <p:sp>
                    <p:nvSpPr>
                      <p:cNvPr id="94" name="任意多边形: 形状 93"/>
                      <p:cNvSpPr/>
                      <p:nvPr/>
                    </p:nvSpPr>
                    <p:spPr>
                      <a:xfrm>
                        <a:off x="9307927" y="1553698"/>
                        <a:ext cx="971820" cy="562963"/>
                      </a:xfrm>
                      <a:custGeom>
                        <a:avLst/>
                        <a:gdLst>
                          <a:gd name="connsiteX0" fmla="*/ 0 w 971820"/>
                          <a:gd name="connsiteY0" fmla="*/ 280983 h 562963"/>
                          <a:gd name="connsiteX1" fmla="*/ 483558 w 971820"/>
                          <a:gd name="connsiteY1" fmla="*/ 0 h 562963"/>
                          <a:gd name="connsiteX2" fmla="*/ 971820 w 971820"/>
                          <a:gd name="connsiteY2" fmla="*/ 281838 h 562963"/>
                          <a:gd name="connsiteX3" fmla="*/ 488263 w 971820"/>
                          <a:gd name="connsiteY3" fmla="*/ 562963 h 562963"/>
                        </a:gdLst>
                        <a:ahLst/>
                        <a:cxnLst>
                          <a:cxn ang="0">
                            <a:pos x="connsiteX0" y="connsiteY0"/>
                          </a:cxn>
                          <a:cxn ang="0">
                            <a:pos x="connsiteX1" y="connsiteY1"/>
                          </a:cxn>
                          <a:cxn ang="0">
                            <a:pos x="connsiteX2" y="connsiteY2"/>
                          </a:cxn>
                          <a:cxn ang="0">
                            <a:pos x="connsiteX3" y="connsiteY3"/>
                          </a:cxn>
                        </a:cxnLst>
                        <a:rect l="l" t="t" r="r" b="b"/>
                        <a:pathLst>
                          <a:path w="971820" h="562963">
                            <a:moveTo>
                              <a:pt x="0" y="280983"/>
                            </a:moveTo>
                            <a:lnTo>
                              <a:pt x="483558" y="0"/>
                            </a:lnTo>
                            <a:lnTo>
                              <a:pt x="971820" y="281838"/>
                            </a:lnTo>
                            <a:lnTo>
                              <a:pt x="488263" y="562963"/>
                            </a:lnTo>
                            <a:close/>
                          </a:path>
                        </a:pathLst>
                      </a:custGeom>
                      <a:solidFill>
                        <a:srgbClr val="FFFFFF"/>
                      </a:solidFill>
                      <a:ln w="14247" cap="flat">
                        <a:noFill/>
                        <a:prstDash val="solid"/>
                        <a:miter/>
                      </a:ln>
                    </p:spPr>
                    <p:txBody>
                      <a:bodyPr rtlCol="0" anchor="ctr"/>
                      <a:lstStyle/>
                      <a:p>
                        <a:endParaRPr lang="zh-CN" altLang="en-US"/>
                      </a:p>
                    </p:txBody>
                  </p:sp>
                </p:grpSp>
                <p:sp>
                  <p:nvSpPr>
                    <p:cNvPr id="95" name="任意多边形: 形状 94"/>
                    <p:cNvSpPr/>
                    <p:nvPr/>
                  </p:nvSpPr>
                  <p:spPr>
                    <a:xfrm>
                      <a:off x="9796047" y="1835108"/>
                      <a:ext cx="777370" cy="571659"/>
                    </a:xfrm>
                    <a:custGeom>
                      <a:avLst/>
                      <a:gdLst>
                        <a:gd name="connsiteX0" fmla="*/ 777371 w 777370"/>
                        <a:gd name="connsiteY0" fmla="*/ 0 h 571659"/>
                        <a:gd name="connsiteX1" fmla="*/ 777086 w 777370"/>
                        <a:gd name="connsiteY1" fmla="*/ 120034 h 571659"/>
                        <a:gd name="connsiteX2" fmla="*/ 0 w 777370"/>
                        <a:gd name="connsiteY2" fmla="*/ 571659 h 571659"/>
                        <a:gd name="connsiteX3" fmla="*/ 285 w 777370"/>
                        <a:gd name="connsiteY3" fmla="*/ 451625 h 571659"/>
                      </a:gdLst>
                      <a:ahLst/>
                      <a:cxnLst>
                        <a:cxn ang="0">
                          <a:pos x="connsiteX0" y="connsiteY0"/>
                        </a:cxn>
                        <a:cxn ang="0">
                          <a:pos x="connsiteX1" y="connsiteY1"/>
                        </a:cxn>
                        <a:cxn ang="0">
                          <a:pos x="connsiteX2" y="connsiteY2"/>
                        </a:cxn>
                        <a:cxn ang="0">
                          <a:pos x="connsiteX3" y="connsiteY3"/>
                        </a:cxn>
                      </a:cxnLst>
                      <a:rect l="l" t="t" r="r" b="b"/>
                      <a:pathLst>
                        <a:path w="777370" h="571659">
                          <a:moveTo>
                            <a:pt x="777371" y="0"/>
                          </a:moveTo>
                          <a:lnTo>
                            <a:pt x="777086" y="120034"/>
                          </a:lnTo>
                          <a:lnTo>
                            <a:pt x="0" y="571659"/>
                          </a:lnTo>
                          <a:lnTo>
                            <a:pt x="285" y="451625"/>
                          </a:lnTo>
                          <a:close/>
                        </a:path>
                      </a:pathLst>
                    </a:custGeom>
                    <a:solidFill>
                      <a:srgbClr val="EAECF3"/>
                    </a:solidFill>
                    <a:ln w="14247" cap="flat">
                      <a:noFill/>
                      <a:prstDash val="solid"/>
                      <a:miter/>
                    </a:ln>
                  </p:spPr>
                  <p:txBody>
                    <a:bodyPr rtlCol="0" anchor="ctr"/>
                    <a:lstStyle/>
                    <a:p>
                      <a:endParaRPr lang="zh-CN" altLang="en-US"/>
                    </a:p>
                  </p:txBody>
                </p:sp>
                <p:sp>
                  <p:nvSpPr>
                    <p:cNvPr id="96" name="任意多边形: 形状 95"/>
                    <p:cNvSpPr/>
                    <p:nvPr/>
                  </p:nvSpPr>
                  <p:spPr>
                    <a:xfrm>
                      <a:off x="9013829" y="1835108"/>
                      <a:ext cx="782502" cy="571659"/>
                    </a:xfrm>
                    <a:custGeom>
                      <a:avLst/>
                      <a:gdLst>
                        <a:gd name="connsiteX0" fmla="*/ 782503 w 782502"/>
                        <a:gd name="connsiteY0" fmla="*/ 451625 h 571659"/>
                        <a:gd name="connsiteX1" fmla="*/ 782218 w 782502"/>
                        <a:gd name="connsiteY1" fmla="*/ 571659 h 571659"/>
                        <a:gd name="connsiteX2" fmla="*/ 0 w 782502"/>
                        <a:gd name="connsiteY2" fmla="*/ 120034 h 571659"/>
                        <a:gd name="connsiteX3" fmla="*/ 428 w 782502"/>
                        <a:gd name="connsiteY3" fmla="*/ 0 h 571659"/>
                      </a:gdLst>
                      <a:ahLst/>
                      <a:cxnLst>
                        <a:cxn ang="0">
                          <a:pos x="connsiteX0" y="connsiteY0"/>
                        </a:cxn>
                        <a:cxn ang="0">
                          <a:pos x="connsiteX1" y="connsiteY1"/>
                        </a:cxn>
                        <a:cxn ang="0">
                          <a:pos x="connsiteX2" y="connsiteY2"/>
                        </a:cxn>
                        <a:cxn ang="0">
                          <a:pos x="connsiteX3" y="connsiteY3"/>
                        </a:cxn>
                      </a:cxnLst>
                      <a:rect l="l" t="t" r="r" b="b"/>
                      <a:pathLst>
                        <a:path w="782502" h="571659">
                          <a:moveTo>
                            <a:pt x="782503" y="451625"/>
                          </a:moveTo>
                          <a:lnTo>
                            <a:pt x="782218" y="571659"/>
                          </a:lnTo>
                          <a:lnTo>
                            <a:pt x="0" y="120034"/>
                          </a:lnTo>
                          <a:lnTo>
                            <a:pt x="428" y="0"/>
                          </a:lnTo>
                          <a:close/>
                        </a:path>
                      </a:pathLst>
                    </a:custGeom>
                    <a:solidFill>
                      <a:srgbClr val="F0F3FA"/>
                    </a:solidFill>
                    <a:ln w="14247" cap="flat">
                      <a:noFill/>
                      <a:prstDash val="solid"/>
                      <a:miter/>
                    </a:ln>
                  </p:spPr>
                  <p:txBody>
                    <a:bodyPr rtlCol="0" anchor="ctr"/>
                    <a:lstStyle/>
                    <a:p>
                      <a:endParaRPr lang="zh-CN" altLang="en-US"/>
                    </a:p>
                  </p:txBody>
                </p:sp>
              </p:grpSp>
            </p:grpSp>
            <p:grpSp>
              <p:nvGrpSpPr>
                <p:cNvPr id="15" name="组合 14"/>
                <p:cNvGrpSpPr/>
                <p:nvPr/>
              </p:nvGrpSpPr>
              <p:grpSpPr>
                <a:xfrm>
                  <a:off x="1247740" y="1463560"/>
                  <a:ext cx="8175427" cy="4424366"/>
                  <a:chOff x="1247740" y="1463560"/>
                  <a:chExt cx="8175427" cy="4424366"/>
                </a:xfrm>
              </p:grpSpPr>
              <p:grpSp>
                <p:nvGrpSpPr>
                  <p:cNvPr id="14" name="组合 13"/>
                  <p:cNvGrpSpPr/>
                  <p:nvPr/>
                </p:nvGrpSpPr>
                <p:grpSpPr>
                  <a:xfrm>
                    <a:off x="3630998" y="1463560"/>
                    <a:ext cx="5792169" cy="846725"/>
                    <a:chOff x="3630998" y="1463560"/>
                    <a:chExt cx="5792169" cy="846725"/>
                  </a:xfrm>
                </p:grpSpPr>
                <p:sp>
                  <p:nvSpPr>
                    <p:cNvPr id="115" name="任意多边形: 形状 114"/>
                    <p:cNvSpPr/>
                    <p:nvPr/>
                  </p:nvSpPr>
                  <p:spPr>
                    <a:xfrm>
                      <a:off x="3630998" y="1541539"/>
                      <a:ext cx="285469" cy="384337"/>
                    </a:xfrm>
                    <a:custGeom>
                      <a:avLst/>
                      <a:gdLst>
                        <a:gd name="connsiteX0" fmla="*/ 153569 w 285469"/>
                        <a:gd name="connsiteY0" fmla="*/ 428 h 384337"/>
                        <a:gd name="connsiteX1" fmla="*/ 142735 w 285469"/>
                        <a:gd name="connsiteY1" fmla="*/ 0 h 384337"/>
                        <a:gd name="connsiteX2" fmla="*/ 131900 w 285469"/>
                        <a:gd name="connsiteY2" fmla="*/ 428 h 384337"/>
                        <a:gd name="connsiteX3" fmla="*/ 19850 w 285469"/>
                        <a:gd name="connsiteY3" fmla="*/ 219397 h 384337"/>
                        <a:gd name="connsiteX4" fmla="*/ 142735 w 285469"/>
                        <a:gd name="connsiteY4" fmla="*/ 384338 h 384337"/>
                        <a:gd name="connsiteX5" fmla="*/ 265620 w 285469"/>
                        <a:gd name="connsiteY5" fmla="*/ 219397 h 384337"/>
                        <a:gd name="connsiteX6" fmla="*/ 153569 w 285469"/>
                        <a:gd name="connsiteY6" fmla="*/ 428 h 384337"/>
                        <a:gd name="connsiteX7" fmla="*/ 142735 w 285469"/>
                        <a:gd name="connsiteY7" fmla="*/ 188320 h 384337"/>
                        <a:gd name="connsiteX8" fmla="*/ 95691 w 285469"/>
                        <a:gd name="connsiteY8" fmla="*/ 141275 h 384337"/>
                        <a:gd name="connsiteX9" fmla="*/ 142735 w 285469"/>
                        <a:gd name="connsiteY9" fmla="*/ 94231 h 384337"/>
                        <a:gd name="connsiteX10" fmla="*/ 189779 w 285469"/>
                        <a:gd name="connsiteY10" fmla="*/ 141275 h 384337"/>
                        <a:gd name="connsiteX11" fmla="*/ 142735 w 285469"/>
                        <a:gd name="connsiteY11" fmla="*/ 188320 h 384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5469" h="384337">
                          <a:moveTo>
                            <a:pt x="153569" y="428"/>
                          </a:moveTo>
                          <a:cubicBezTo>
                            <a:pt x="150006" y="143"/>
                            <a:pt x="146442" y="0"/>
                            <a:pt x="142735" y="0"/>
                          </a:cubicBezTo>
                          <a:cubicBezTo>
                            <a:pt x="139028" y="0"/>
                            <a:pt x="135464" y="143"/>
                            <a:pt x="131900" y="428"/>
                          </a:cubicBezTo>
                          <a:cubicBezTo>
                            <a:pt x="25837" y="7556"/>
                            <a:pt x="-33325" y="127305"/>
                            <a:pt x="19850" y="219397"/>
                          </a:cubicBezTo>
                          <a:lnTo>
                            <a:pt x="142735" y="384338"/>
                          </a:lnTo>
                          <a:lnTo>
                            <a:pt x="265620" y="219397"/>
                          </a:lnTo>
                          <a:cubicBezTo>
                            <a:pt x="318795" y="127305"/>
                            <a:pt x="259633" y="7556"/>
                            <a:pt x="153569" y="428"/>
                          </a:cubicBezTo>
                          <a:close/>
                          <a:moveTo>
                            <a:pt x="142735" y="188320"/>
                          </a:moveTo>
                          <a:cubicBezTo>
                            <a:pt x="116789" y="188320"/>
                            <a:pt x="95691" y="167221"/>
                            <a:pt x="95691" y="141275"/>
                          </a:cubicBezTo>
                          <a:cubicBezTo>
                            <a:pt x="95691" y="115330"/>
                            <a:pt x="116789" y="94231"/>
                            <a:pt x="142735" y="94231"/>
                          </a:cubicBezTo>
                          <a:cubicBezTo>
                            <a:pt x="168681" y="94231"/>
                            <a:pt x="189779" y="115330"/>
                            <a:pt x="189779" y="141275"/>
                          </a:cubicBezTo>
                          <a:cubicBezTo>
                            <a:pt x="189922" y="167221"/>
                            <a:pt x="168823" y="188320"/>
                            <a:pt x="142735" y="188320"/>
                          </a:cubicBezTo>
                          <a:close/>
                        </a:path>
                      </a:pathLst>
                    </a:custGeom>
                    <a:solidFill>
                      <a:schemeClr val="accent2"/>
                    </a:solidFill>
                    <a:ln w="14247" cap="flat">
                      <a:noFill/>
                      <a:prstDash val="solid"/>
                      <a:miter/>
                    </a:ln>
                  </p:spPr>
                  <p:txBody>
                    <a:bodyPr rtlCol="0" anchor="ctr"/>
                    <a:lstStyle/>
                    <a:p>
                      <a:endParaRPr lang="zh-CN" altLang="en-US"/>
                    </a:p>
                  </p:txBody>
                </p:sp>
                <p:grpSp>
                  <p:nvGrpSpPr>
                    <p:cNvPr id="125" name="组合 124"/>
                    <p:cNvGrpSpPr/>
                    <p:nvPr/>
                  </p:nvGrpSpPr>
                  <p:grpSpPr>
                    <a:xfrm>
                      <a:off x="4552528" y="1463560"/>
                      <a:ext cx="4870639" cy="846725"/>
                      <a:chOff x="5479861" y="1323860"/>
                      <a:chExt cx="4870639" cy="846725"/>
                    </a:xfrm>
                  </p:grpSpPr>
                  <p:sp>
                    <p:nvSpPr>
                      <p:cNvPr id="35" name="任意多边形: 形状 34"/>
                      <p:cNvSpPr/>
                      <p:nvPr/>
                    </p:nvSpPr>
                    <p:spPr>
                      <a:xfrm>
                        <a:off x="5902570" y="1430080"/>
                        <a:ext cx="92805" cy="677865"/>
                      </a:xfrm>
                      <a:custGeom>
                        <a:avLst/>
                        <a:gdLst>
                          <a:gd name="connsiteX0" fmla="*/ 0 w 92805"/>
                          <a:gd name="connsiteY0" fmla="*/ 0 h 677865"/>
                          <a:gd name="connsiteX1" fmla="*/ 92805 w 92805"/>
                          <a:gd name="connsiteY1" fmla="*/ 0 h 677865"/>
                          <a:gd name="connsiteX2" fmla="*/ 92805 w 92805"/>
                          <a:gd name="connsiteY2" fmla="*/ 677865 h 677865"/>
                          <a:gd name="connsiteX3" fmla="*/ 0 w 92805"/>
                          <a:gd name="connsiteY3" fmla="*/ 677865 h 677865"/>
                        </a:gdLst>
                        <a:ahLst/>
                        <a:cxnLst>
                          <a:cxn ang="0">
                            <a:pos x="connsiteX0" y="connsiteY0"/>
                          </a:cxn>
                          <a:cxn ang="0">
                            <a:pos x="connsiteX1" y="connsiteY1"/>
                          </a:cxn>
                          <a:cxn ang="0">
                            <a:pos x="connsiteX2" y="connsiteY2"/>
                          </a:cxn>
                          <a:cxn ang="0">
                            <a:pos x="connsiteX3" y="connsiteY3"/>
                          </a:cxn>
                        </a:cxnLst>
                        <a:rect l="l" t="t" r="r" b="b"/>
                        <a:pathLst>
                          <a:path w="92805" h="677865">
                            <a:moveTo>
                              <a:pt x="0" y="0"/>
                            </a:moveTo>
                            <a:lnTo>
                              <a:pt x="92805" y="0"/>
                            </a:lnTo>
                            <a:lnTo>
                              <a:pt x="92805" y="677865"/>
                            </a:lnTo>
                            <a:lnTo>
                              <a:pt x="0" y="677865"/>
                            </a:lnTo>
                            <a:close/>
                          </a:path>
                        </a:pathLst>
                      </a:custGeom>
                      <a:gradFill>
                        <a:gsLst>
                          <a:gs pos="0">
                            <a:schemeClr val="accent2">
                              <a:lumMod val="60000"/>
                              <a:lumOff val="40000"/>
                            </a:schemeClr>
                          </a:gs>
                          <a:gs pos="50000">
                            <a:schemeClr val="accent2"/>
                          </a:gs>
                        </a:gsLst>
                        <a:lin ang="2700000" scaled="0"/>
                      </a:gradFill>
                      <a:ln w="254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noAutofit/>
                      </a:bodyPr>
                      <a:lstStyle/>
                      <a:p>
                        <a:pPr algn="ctr"/>
                        <a:endParaRPr lang="zh-CN" altLang="en-US" sz="2000" b="1"/>
                      </a:p>
                    </p:txBody>
                  </p:sp>
                  <p:sp>
                    <p:nvSpPr>
                      <p:cNvPr id="36" name="文本框 35"/>
                      <p:cNvSpPr txBox="1"/>
                      <p:nvPr/>
                    </p:nvSpPr>
                    <p:spPr>
                      <a:xfrm>
                        <a:off x="5479861" y="1355356"/>
                        <a:ext cx="393056" cy="338554"/>
                      </a:xfrm>
                      <a:prstGeom prst="rect">
                        <a:avLst/>
                      </a:prstGeom>
                      <a:noFill/>
                    </p:spPr>
                    <p:txBody>
                      <a:bodyPr wrap="none" rtlCol="0">
                        <a:spAutoFit/>
                      </a:bodyPr>
                      <a:lstStyle/>
                      <a:p>
                        <a:pPr algn="l"/>
                        <a:r>
                          <a:rPr lang="en-US" altLang="zh-CN" sz="1600" b="1">
                            <a:solidFill>
                              <a:srgbClr val="FFFFFF"/>
                            </a:solidFill>
                            <a:latin typeface="Calibri" pitchFamily="34" charset="0"/>
                            <a:ea typeface="宋体" pitchFamily="2" charset="-122"/>
                            <a:rtl val="0"/>
                          </a:rPr>
                          <a:t>04</a:t>
                        </a:r>
                        <a:endParaRPr lang="zh-CN" altLang="en-US" sz="1600" b="1" dirty="0">
                          <a:solidFill>
                            <a:srgbClr val="FFFFFF"/>
                          </a:solidFill>
                          <a:latin typeface="Calibri" pitchFamily="34" charset="0"/>
                          <a:ea typeface="宋体" pitchFamily="2" charset="-122"/>
                          <a:rtl val="0"/>
                        </a:endParaRPr>
                      </a:p>
                    </p:txBody>
                  </p:sp>
                  <p:grpSp>
                    <p:nvGrpSpPr>
                      <p:cNvPr id="119" name="组合 118"/>
                      <p:cNvGrpSpPr/>
                      <p:nvPr/>
                    </p:nvGrpSpPr>
                    <p:grpSpPr>
                      <a:xfrm>
                        <a:off x="6096167" y="1323860"/>
                        <a:ext cx="4254333" cy="846725"/>
                        <a:chOff x="6700750" y="1129695"/>
                        <a:chExt cx="4199799" cy="846725"/>
                      </a:xfrm>
                    </p:grpSpPr>
                    <p:sp>
                      <p:nvSpPr>
                        <p:cNvPr id="117" name="文本框 116"/>
                        <p:cNvSpPr txBox="1"/>
                        <p:nvPr/>
                      </p:nvSpPr>
                      <p:spPr>
                        <a:xfrm>
                          <a:off x="6700750" y="1129695"/>
                          <a:ext cx="4199798" cy="423362"/>
                        </a:xfrm>
                        <a:prstGeom prst="rect">
                          <a:avLst/>
                        </a:prstGeom>
                        <a:noFill/>
                      </p:spPr>
                      <p:txBody>
                        <a:bodyPr wrap="square" rtlCol="0" anchor="b" anchorCtr="0">
                          <a:normAutofit/>
                        </a:bodyPr>
                        <a:lstStyle/>
                        <a:p>
                          <a:r>
                            <a:rPr kumimoji="1" lang="en-US" altLang="zh-CN" b="1">
                              <a:latin typeface="Calibri" pitchFamily="34" charset="0"/>
                              <a:ea typeface="宋体" pitchFamily="2" charset="-122"/>
                            </a:rPr>
                            <a:t>Click to add text</a:t>
                          </a:r>
                          <a:endParaRPr kumimoji="1" lang="en-US" altLang="zh-CN" b="1" dirty="0">
                            <a:latin typeface="Calibri" pitchFamily="34" charset="0"/>
                            <a:ea typeface="宋体" pitchFamily="2" charset="-122"/>
                          </a:endParaRPr>
                        </a:p>
                      </p:txBody>
                    </p:sp>
                    <p:sp>
                      <p:nvSpPr>
                        <p:cNvPr id="118" name="文本框 117"/>
                        <p:cNvSpPr txBox="1"/>
                        <p:nvPr/>
                      </p:nvSpPr>
                      <p:spPr>
                        <a:xfrm>
                          <a:off x="6700752" y="1553058"/>
                          <a:ext cx="4199797" cy="423362"/>
                        </a:xfrm>
                        <a:prstGeom prst="rect">
                          <a:avLst/>
                        </a:prstGeom>
                        <a:noFill/>
                      </p:spPr>
                      <p:txBody>
                        <a:bodyPr wrap="square" rtlCol="0" anchor="t" anchorCtr="0">
                          <a:normAutofit/>
                        </a:bodyPr>
                        <a:lstStyle/>
                        <a:p>
                          <a:pPr>
                            <a:lnSpc>
                              <a:spcPct val="120000"/>
                            </a:lnSpc>
                          </a:pPr>
                          <a:r>
                            <a:rPr kumimoji="1" lang="en-US" altLang="zh-CN" sz="1200">
                              <a:latin typeface="Calibri" pitchFamily="34" charset="0"/>
                              <a:ea typeface="宋体" pitchFamily="2" charset="-122"/>
                            </a:rPr>
                            <a:t>Duis sed eros tempor diam diam sit est et et clita sit.</a:t>
                          </a:r>
                          <a:endParaRPr kumimoji="1" lang="en-US" altLang="zh-CN" sz="1200" dirty="0">
                            <a:latin typeface="Calibri" pitchFamily="34" charset="0"/>
                            <a:ea typeface="宋体" pitchFamily="2" charset="-122"/>
                          </a:endParaRPr>
                        </a:p>
                      </p:txBody>
                    </p:sp>
                  </p:grpSp>
                </p:grpSp>
              </p:grpSp>
              <p:grpSp>
                <p:nvGrpSpPr>
                  <p:cNvPr id="13" name="组合 12"/>
                  <p:cNvGrpSpPr/>
                  <p:nvPr/>
                </p:nvGrpSpPr>
                <p:grpSpPr>
                  <a:xfrm>
                    <a:off x="2771690" y="2507373"/>
                    <a:ext cx="6004659" cy="983119"/>
                    <a:chOff x="2771690" y="2507373"/>
                    <a:chExt cx="6004659" cy="983119"/>
                  </a:xfrm>
                </p:grpSpPr>
                <p:sp>
                  <p:nvSpPr>
                    <p:cNvPr id="103" name="任意多边形: 形状 102"/>
                    <p:cNvSpPr/>
                    <p:nvPr/>
                  </p:nvSpPr>
                  <p:spPr>
                    <a:xfrm>
                      <a:off x="2771690" y="2507373"/>
                      <a:ext cx="454048" cy="264018"/>
                    </a:xfrm>
                    <a:custGeom>
                      <a:avLst/>
                      <a:gdLst>
                        <a:gd name="connsiteX0" fmla="*/ 385335 w 454048"/>
                        <a:gd name="connsiteY0" fmla="*/ 126592 h 264018"/>
                        <a:gd name="connsiteX1" fmla="*/ 383197 w 454048"/>
                        <a:gd name="connsiteY1" fmla="*/ 126734 h 264018"/>
                        <a:gd name="connsiteX2" fmla="*/ 302652 w 454048"/>
                        <a:gd name="connsiteY2" fmla="*/ 62583 h 264018"/>
                        <a:gd name="connsiteX3" fmla="*/ 280983 w 454048"/>
                        <a:gd name="connsiteY3" fmla="*/ 65577 h 264018"/>
                        <a:gd name="connsiteX4" fmla="*/ 177770 w 454048"/>
                        <a:gd name="connsiteY4" fmla="*/ 0 h 264018"/>
                        <a:gd name="connsiteX5" fmla="*/ 64579 w 454048"/>
                        <a:gd name="connsiteY5" fmla="*/ 100504 h 264018"/>
                        <a:gd name="connsiteX6" fmla="*/ 0 w 454048"/>
                        <a:gd name="connsiteY6" fmla="*/ 181192 h 264018"/>
                        <a:gd name="connsiteX7" fmla="*/ 82826 w 454048"/>
                        <a:gd name="connsiteY7" fmla="*/ 264018 h 264018"/>
                        <a:gd name="connsiteX8" fmla="*/ 385478 w 454048"/>
                        <a:gd name="connsiteY8" fmla="*/ 264018 h 264018"/>
                        <a:gd name="connsiteX9" fmla="*/ 454049 w 454048"/>
                        <a:gd name="connsiteY9" fmla="*/ 195448 h 264018"/>
                        <a:gd name="connsiteX10" fmla="*/ 385335 w 454048"/>
                        <a:gd name="connsiteY10" fmla="*/ 126592 h 264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4048" h="264018">
                          <a:moveTo>
                            <a:pt x="385335" y="126592"/>
                          </a:moveTo>
                          <a:cubicBezTo>
                            <a:pt x="384623" y="126592"/>
                            <a:pt x="383910" y="126734"/>
                            <a:pt x="383197" y="126734"/>
                          </a:cubicBezTo>
                          <a:cubicBezTo>
                            <a:pt x="374786" y="89954"/>
                            <a:pt x="341855" y="62583"/>
                            <a:pt x="302652" y="62583"/>
                          </a:cubicBezTo>
                          <a:cubicBezTo>
                            <a:pt x="295096" y="62583"/>
                            <a:pt x="287968" y="63724"/>
                            <a:pt x="280983" y="65577"/>
                          </a:cubicBezTo>
                          <a:cubicBezTo>
                            <a:pt x="262735" y="26801"/>
                            <a:pt x="223389" y="0"/>
                            <a:pt x="177770" y="0"/>
                          </a:cubicBezTo>
                          <a:cubicBezTo>
                            <a:pt x="119322" y="0"/>
                            <a:pt x="71279" y="43908"/>
                            <a:pt x="64579" y="100504"/>
                          </a:cubicBezTo>
                          <a:cubicBezTo>
                            <a:pt x="27656" y="108772"/>
                            <a:pt x="0" y="141703"/>
                            <a:pt x="0" y="181192"/>
                          </a:cubicBezTo>
                          <a:cubicBezTo>
                            <a:pt x="0" y="226953"/>
                            <a:pt x="37065" y="264018"/>
                            <a:pt x="82826" y="264018"/>
                          </a:cubicBezTo>
                          <a:cubicBezTo>
                            <a:pt x="112336" y="264018"/>
                            <a:pt x="358392" y="264018"/>
                            <a:pt x="385478" y="264018"/>
                          </a:cubicBezTo>
                          <a:cubicBezTo>
                            <a:pt x="423399" y="264018"/>
                            <a:pt x="454049" y="233226"/>
                            <a:pt x="454049" y="195448"/>
                          </a:cubicBezTo>
                          <a:cubicBezTo>
                            <a:pt x="453906" y="157384"/>
                            <a:pt x="423256" y="126592"/>
                            <a:pt x="385335" y="126592"/>
                          </a:cubicBezTo>
                          <a:close/>
                        </a:path>
                      </a:pathLst>
                    </a:custGeom>
                    <a:solidFill>
                      <a:schemeClr val="accent1"/>
                    </a:solidFill>
                    <a:ln w="14247" cap="flat">
                      <a:noFill/>
                      <a:prstDash val="solid"/>
                      <a:miter/>
                    </a:ln>
                  </p:spPr>
                  <p:txBody>
                    <a:bodyPr rtlCol="0" anchor="ctr"/>
                    <a:lstStyle/>
                    <a:p>
                      <a:endParaRPr lang="zh-CN" altLang="en-US"/>
                    </a:p>
                  </p:txBody>
                </p:sp>
                <p:grpSp>
                  <p:nvGrpSpPr>
                    <p:cNvPr id="140" name="组合 139"/>
                    <p:cNvGrpSpPr/>
                    <p:nvPr/>
                  </p:nvGrpSpPr>
                  <p:grpSpPr>
                    <a:xfrm>
                      <a:off x="3742660" y="2597440"/>
                      <a:ext cx="5033689" cy="893052"/>
                      <a:chOff x="4220709" y="2855501"/>
                      <a:chExt cx="5033689" cy="893052"/>
                    </a:xfrm>
                  </p:grpSpPr>
                  <p:sp>
                    <p:nvSpPr>
                      <p:cNvPr id="27" name="任意多边形: 形状 26"/>
                      <p:cNvSpPr/>
                      <p:nvPr/>
                    </p:nvSpPr>
                    <p:spPr>
                      <a:xfrm>
                        <a:off x="4643347" y="2940231"/>
                        <a:ext cx="92805" cy="677865"/>
                      </a:xfrm>
                      <a:custGeom>
                        <a:avLst/>
                        <a:gdLst>
                          <a:gd name="connsiteX0" fmla="*/ 0 w 92805"/>
                          <a:gd name="connsiteY0" fmla="*/ 0 h 677865"/>
                          <a:gd name="connsiteX1" fmla="*/ 92805 w 92805"/>
                          <a:gd name="connsiteY1" fmla="*/ 0 h 677865"/>
                          <a:gd name="connsiteX2" fmla="*/ 92805 w 92805"/>
                          <a:gd name="connsiteY2" fmla="*/ 677865 h 677865"/>
                          <a:gd name="connsiteX3" fmla="*/ 0 w 92805"/>
                          <a:gd name="connsiteY3" fmla="*/ 677865 h 677865"/>
                        </a:gdLst>
                        <a:ahLst/>
                        <a:cxnLst>
                          <a:cxn ang="0">
                            <a:pos x="connsiteX0" y="connsiteY0"/>
                          </a:cxn>
                          <a:cxn ang="0">
                            <a:pos x="connsiteX1" y="connsiteY1"/>
                          </a:cxn>
                          <a:cxn ang="0">
                            <a:pos x="connsiteX2" y="connsiteY2"/>
                          </a:cxn>
                          <a:cxn ang="0">
                            <a:pos x="connsiteX3" y="connsiteY3"/>
                          </a:cxn>
                        </a:cxnLst>
                        <a:rect l="l" t="t" r="r" b="b"/>
                        <a:pathLst>
                          <a:path w="92805" h="677865">
                            <a:moveTo>
                              <a:pt x="0" y="0"/>
                            </a:moveTo>
                            <a:lnTo>
                              <a:pt x="92805" y="0"/>
                            </a:lnTo>
                            <a:lnTo>
                              <a:pt x="92805" y="677865"/>
                            </a:lnTo>
                            <a:lnTo>
                              <a:pt x="0" y="677865"/>
                            </a:lnTo>
                            <a:close/>
                          </a:path>
                        </a:pathLst>
                      </a:custGeom>
                      <a:gradFill>
                        <a:gsLst>
                          <a:gs pos="0">
                            <a:schemeClr val="accent1">
                              <a:lumMod val="60000"/>
                              <a:lumOff val="40000"/>
                            </a:schemeClr>
                          </a:gs>
                          <a:gs pos="50000">
                            <a:schemeClr val="accent1"/>
                          </a:gs>
                        </a:gsLst>
                        <a:lin ang="2700000" scaled="0"/>
                      </a:gradFill>
                      <a:ln w="254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noAutofit/>
                      </a:bodyPr>
                      <a:lstStyle/>
                      <a:p>
                        <a:pPr algn="ctr"/>
                        <a:endParaRPr lang="zh-CN" altLang="en-US" sz="2000" b="1"/>
                      </a:p>
                    </p:txBody>
                  </p:sp>
                  <p:sp>
                    <p:nvSpPr>
                      <p:cNvPr id="28" name="文本框 27"/>
                      <p:cNvSpPr txBox="1"/>
                      <p:nvPr/>
                    </p:nvSpPr>
                    <p:spPr>
                      <a:xfrm>
                        <a:off x="4220709" y="2865506"/>
                        <a:ext cx="393056" cy="338554"/>
                      </a:xfrm>
                      <a:prstGeom prst="rect">
                        <a:avLst/>
                      </a:prstGeom>
                      <a:noFill/>
                    </p:spPr>
                    <p:txBody>
                      <a:bodyPr wrap="none" rtlCol="0">
                        <a:spAutoFit/>
                      </a:bodyPr>
                      <a:lstStyle/>
                      <a:p>
                        <a:pPr algn="l"/>
                        <a:r>
                          <a:rPr lang="en-US" altLang="zh-CN" sz="1600" b="1">
                            <a:solidFill>
                              <a:srgbClr val="FFFFFF"/>
                            </a:solidFill>
                            <a:latin typeface="Calibri" pitchFamily="34" charset="0"/>
                            <a:ea typeface="宋体" pitchFamily="2" charset="-122"/>
                            <a:rtl val="0"/>
                          </a:rPr>
                          <a:t>03</a:t>
                        </a:r>
                        <a:endParaRPr lang="zh-CN" altLang="en-US" sz="1600" b="1" dirty="0">
                          <a:solidFill>
                            <a:srgbClr val="FFFFFF"/>
                          </a:solidFill>
                          <a:latin typeface="Calibri" pitchFamily="34" charset="0"/>
                          <a:ea typeface="宋体" pitchFamily="2" charset="-122"/>
                          <a:rtl val="0"/>
                        </a:endParaRPr>
                      </a:p>
                    </p:txBody>
                  </p:sp>
                  <p:grpSp>
                    <p:nvGrpSpPr>
                      <p:cNvPr id="120" name="组合 119"/>
                      <p:cNvGrpSpPr/>
                      <p:nvPr/>
                    </p:nvGrpSpPr>
                    <p:grpSpPr>
                      <a:xfrm>
                        <a:off x="4881168" y="2855501"/>
                        <a:ext cx="4373230" cy="893052"/>
                        <a:chOff x="6700750" y="1129695"/>
                        <a:chExt cx="4199799" cy="893052"/>
                      </a:xfrm>
                    </p:grpSpPr>
                    <p:sp>
                      <p:nvSpPr>
                        <p:cNvPr id="121" name="文本框 120"/>
                        <p:cNvSpPr txBox="1"/>
                        <p:nvPr/>
                      </p:nvSpPr>
                      <p:spPr>
                        <a:xfrm>
                          <a:off x="6700750" y="1129695"/>
                          <a:ext cx="4199798" cy="423362"/>
                        </a:xfrm>
                        <a:prstGeom prst="rect">
                          <a:avLst/>
                        </a:prstGeom>
                        <a:noFill/>
                      </p:spPr>
                      <p:txBody>
                        <a:bodyPr wrap="square" rtlCol="0" anchor="b" anchorCtr="0">
                          <a:normAutofit/>
                        </a:bodyPr>
                        <a:lstStyle/>
                        <a:p>
                          <a:r>
                            <a:rPr kumimoji="1" lang="en-US" altLang="zh-CN" b="1">
                              <a:latin typeface="Calibri" pitchFamily="34" charset="0"/>
                              <a:ea typeface="宋体" pitchFamily="2" charset="-122"/>
                            </a:rPr>
                            <a:t>Click to add text</a:t>
                          </a:r>
                          <a:endParaRPr kumimoji="1" lang="en-US" altLang="zh-CN" b="1" dirty="0">
                            <a:latin typeface="Calibri" pitchFamily="34" charset="0"/>
                            <a:ea typeface="宋体" pitchFamily="2" charset="-122"/>
                          </a:endParaRPr>
                        </a:p>
                      </p:txBody>
                    </p:sp>
                    <p:sp>
                      <p:nvSpPr>
                        <p:cNvPr id="122" name="文本框 121"/>
                        <p:cNvSpPr txBox="1"/>
                        <p:nvPr/>
                      </p:nvSpPr>
                      <p:spPr>
                        <a:xfrm>
                          <a:off x="6700752" y="1553058"/>
                          <a:ext cx="4199797" cy="469689"/>
                        </a:xfrm>
                        <a:prstGeom prst="rect">
                          <a:avLst/>
                        </a:prstGeom>
                        <a:noFill/>
                      </p:spPr>
                      <p:txBody>
                        <a:bodyPr wrap="square" rtlCol="0" anchor="t" anchorCtr="0">
                          <a:normAutofit/>
                        </a:bodyPr>
                        <a:lstStyle/>
                        <a:p>
                          <a:pPr>
                            <a:lnSpc>
                              <a:spcPct val="120000"/>
                            </a:lnSpc>
                          </a:pPr>
                          <a:r>
                            <a:rPr kumimoji="1" lang="en-US" altLang="zh-CN" sz="1200">
                              <a:latin typeface="Calibri" pitchFamily="34" charset="0"/>
                              <a:ea typeface="宋体" pitchFamily="2" charset="-122"/>
                            </a:rPr>
                            <a:t>Duis sed eros tempor diam diam sit est et et clita sit.</a:t>
                          </a:r>
                          <a:endParaRPr kumimoji="1" lang="en-US" altLang="zh-CN" sz="1200" dirty="0">
                            <a:latin typeface="Calibri" pitchFamily="34" charset="0"/>
                            <a:ea typeface="宋体" pitchFamily="2" charset="-122"/>
                          </a:endParaRPr>
                        </a:p>
                      </p:txBody>
                    </p:sp>
                  </p:grpSp>
                </p:grpSp>
              </p:grpSp>
              <p:grpSp>
                <p:nvGrpSpPr>
                  <p:cNvPr id="12" name="组合 11"/>
                  <p:cNvGrpSpPr/>
                  <p:nvPr/>
                </p:nvGrpSpPr>
                <p:grpSpPr>
                  <a:xfrm>
                    <a:off x="2041078" y="3457524"/>
                    <a:ext cx="5925404" cy="1250194"/>
                    <a:chOff x="2041078" y="3457524"/>
                    <a:chExt cx="5925404" cy="1250194"/>
                  </a:xfrm>
                </p:grpSpPr>
                <p:sp>
                  <p:nvSpPr>
                    <p:cNvPr id="3" name="任意多边形: 形状 2"/>
                    <p:cNvSpPr/>
                    <p:nvPr/>
                  </p:nvSpPr>
                  <p:spPr>
                    <a:xfrm>
                      <a:off x="2041078" y="3457524"/>
                      <a:ext cx="348840" cy="326031"/>
                    </a:xfrm>
                    <a:custGeom>
                      <a:avLst/>
                      <a:gdLst>
                        <a:gd name="connsiteX0" fmla="*/ 0 w 348840"/>
                        <a:gd name="connsiteY0" fmla="*/ 0 h 326031"/>
                        <a:gd name="connsiteX1" fmla="*/ 348840 w 348840"/>
                        <a:gd name="connsiteY1" fmla="*/ 0 h 326031"/>
                        <a:gd name="connsiteX2" fmla="*/ 348840 w 348840"/>
                        <a:gd name="connsiteY2" fmla="*/ 242777 h 326031"/>
                        <a:gd name="connsiteX3" fmla="*/ 222534 w 348840"/>
                        <a:gd name="connsiteY3" fmla="*/ 242777 h 326031"/>
                        <a:gd name="connsiteX4" fmla="*/ 174492 w 348840"/>
                        <a:gd name="connsiteY4" fmla="*/ 326031 h 326031"/>
                        <a:gd name="connsiteX5" fmla="*/ 126450 w 348840"/>
                        <a:gd name="connsiteY5" fmla="*/ 242777 h 326031"/>
                        <a:gd name="connsiteX6" fmla="*/ 0 w 348840"/>
                        <a:gd name="connsiteY6" fmla="*/ 242777 h 326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8840" h="326031">
                          <a:moveTo>
                            <a:pt x="0" y="0"/>
                          </a:moveTo>
                          <a:lnTo>
                            <a:pt x="348840" y="0"/>
                          </a:lnTo>
                          <a:lnTo>
                            <a:pt x="348840" y="242777"/>
                          </a:lnTo>
                          <a:lnTo>
                            <a:pt x="222534" y="242777"/>
                          </a:lnTo>
                          <a:lnTo>
                            <a:pt x="174492" y="326031"/>
                          </a:lnTo>
                          <a:lnTo>
                            <a:pt x="126450" y="242777"/>
                          </a:lnTo>
                          <a:lnTo>
                            <a:pt x="0" y="242777"/>
                          </a:lnTo>
                          <a:close/>
                        </a:path>
                      </a:pathLst>
                    </a:custGeom>
                    <a:solidFill>
                      <a:schemeClr val="accent2"/>
                    </a:solidFill>
                    <a:ln w="14247" cap="flat">
                      <a:noFill/>
                      <a:prstDash val="solid"/>
                      <a:miter/>
                    </a:ln>
                  </p:spPr>
                  <p:txBody>
                    <a:bodyPr wrap="square" rtlCol="0" anchor="ctr">
                      <a:noAutofit/>
                    </a:bodyPr>
                    <a:lstStyle/>
                    <a:p>
                      <a:endParaRPr lang="zh-CN" altLang="en-US"/>
                    </a:p>
                  </p:txBody>
                </p:sp>
                <p:grpSp>
                  <p:nvGrpSpPr>
                    <p:cNvPr id="138" name="组合 137"/>
                    <p:cNvGrpSpPr/>
                    <p:nvPr/>
                  </p:nvGrpSpPr>
                  <p:grpSpPr>
                    <a:xfrm>
                      <a:off x="2892399" y="3777647"/>
                      <a:ext cx="5074083" cy="930071"/>
                      <a:chOff x="3428712" y="3851208"/>
                      <a:chExt cx="5074083" cy="930071"/>
                    </a:xfrm>
                  </p:grpSpPr>
                  <p:grpSp>
                    <p:nvGrpSpPr>
                      <p:cNvPr id="123" name="组合 122"/>
                      <p:cNvGrpSpPr/>
                      <p:nvPr/>
                    </p:nvGrpSpPr>
                    <p:grpSpPr>
                      <a:xfrm>
                        <a:off x="3428712" y="3851208"/>
                        <a:ext cx="517738" cy="789476"/>
                        <a:chOff x="3767128" y="3641150"/>
                        <a:chExt cx="517738" cy="789476"/>
                      </a:xfrm>
                    </p:grpSpPr>
                    <p:sp>
                      <p:nvSpPr>
                        <p:cNvPr id="43" name="任意多边形: 形状 42"/>
                        <p:cNvSpPr/>
                        <p:nvPr/>
                      </p:nvSpPr>
                      <p:spPr>
                        <a:xfrm>
                          <a:off x="4192061" y="3752761"/>
                          <a:ext cx="92805" cy="677865"/>
                        </a:xfrm>
                        <a:custGeom>
                          <a:avLst/>
                          <a:gdLst>
                            <a:gd name="connsiteX0" fmla="*/ 0 w 92805"/>
                            <a:gd name="connsiteY0" fmla="*/ 0 h 677865"/>
                            <a:gd name="connsiteX1" fmla="*/ 92806 w 92805"/>
                            <a:gd name="connsiteY1" fmla="*/ 0 h 677865"/>
                            <a:gd name="connsiteX2" fmla="*/ 92806 w 92805"/>
                            <a:gd name="connsiteY2" fmla="*/ 677865 h 677865"/>
                            <a:gd name="connsiteX3" fmla="*/ 0 w 92805"/>
                            <a:gd name="connsiteY3" fmla="*/ 677865 h 677865"/>
                          </a:gdLst>
                          <a:ahLst/>
                          <a:cxnLst>
                            <a:cxn ang="0">
                              <a:pos x="connsiteX0" y="connsiteY0"/>
                            </a:cxn>
                            <a:cxn ang="0">
                              <a:pos x="connsiteX1" y="connsiteY1"/>
                            </a:cxn>
                            <a:cxn ang="0">
                              <a:pos x="connsiteX2" y="connsiteY2"/>
                            </a:cxn>
                            <a:cxn ang="0">
                              <a:pos x="connsiteX3" y="connsiteY3"/>
                            </a:cxn>
                          </a:cxnLst>
                          <a:rect l="l" t="t" r="r" b="b"/>
                          <a:pathLst>
                            <a:path w="92805" h="677865">
                              <a:moveTo>
                                <a:pt x="0" y="0"/>
                              </a:moveTo>
                              <a:lnTo>
                                <a:pt x="92806" y="0"/>
                              </a:lnTo>
                              <a:lnTo>
                                <a:pt x="92806" y="677865"/>
                              </a:lnTo>
                              <a:lnTo>
                                <a:pt x="0" y="677865"/>
                              </a:lnTo>
                              <a:close/>
                            </a:path>
                          </a:pathLst>
                        </a:custGeom>
                        <a:gradFill>
                          <a:gsLst>
                            <a:gs pos="0">
                              <a:schemeClr val="accent2">
                                <a:lumMod val="60000"/>
                                <a:lumOff val="40000"/>
                              </a:schemeClr>
                            </a:gs>
                            <a:gs pos="50000">
                              <a:schemeClr val="accent2"/>
                            </a:gs>
                          </a:gsLst>
                          <a:lin ang="2700000" scaled="0"/>
                        </a:gradFill>
                        <a:ln w="254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noAutofit/>
                        </a:bodyPr>
                        <a:lstStyle/>
                        <a:p>
                          <a:pPr algn="ctr"/>
                          <a:endParaRPr lang="zh-CN" altLang="en-US" sz="2000" b="1"/>
                        </a:p>
                      </p:txBody>
                    </p:sp>
                    <p:sp>
                      <p:nvSpPr>
                        <p:cNvPr id="44" name="文本框 43"/>
                        <p:cNvSpPr txBox="1"/>
                        <p:nvPr/>
                      </p:nvSpPr>
                      <p:spPr>
                        <a:xfrm>
                          <a:off x="3767128" y="3641150"/>
                          <a:ext cx="393056" cy="338554"/>
                        </a:xfrm>
                        <a:prstGeom prst="rect">
                          <a:avLst/>
                        </a:prstGeom>
                        <a:noFill/>
                      </p:spPr>
                      <p:txBody>
                        <a:bodyPr wrap="none" rtlCol="0">
                          <a:spAutoFit/>
                        </a:bodyPr>
                        <a:lstStyle/>
                        <a:p>
                          <a:pPr algn="l"/>
                          <a:r>
                            <a:rPr lang="en-US" altLang="zh-CN" sz="1600" b="1">
                              <a:solidFill>
                                <a:srgbClr val="FFFFFF"/>
                              </a:solidFill>
                              <a:latin typeface="Calibri" pitchFamily="34" charset="0"/>
                              <a:ea typeface="宋体" pitchFamily="2" charset="-122"/>
                              <a:rtl val="0"/>
                            </a:rPr>
                            <a:t>02</a:t>
                          </a:r>
                          <a:endParaRPr lang="zh-CN" altLang="en-US" sz="1600" b="1" dirty="0">
                            <a:solidFill>
                              <a:srgbClr val="FFFFFF"/>
                            </a:solidFill>
                            <a:latin typeface="Calibri" pitchFamily="34" charset="0"/>
                            <a:ea typeface="宋体" pitchFamily="2" charset="-122"/>
                            <a:rtl val="0"/>
                          </a:endParaRPr>
                        </a:p>
                      </p:txBody>
                    </p:sp>
                  </p:grpSp>
                  <p:grpSp>
                    <p:nvGrpSpPr>
                      <p:cNvPr id="128" name="组合 127"/>
                      <p:cNvGrpSpPr/>
                      <p:nvPr/>
                    </p:nvGrpSpPr>
                    <p:grpSpPr>
                      <a:xfrm>
                        <a:off x="4129565" y="3888227"/>
                        <a:ext cx="4373230" cy="893052"/>
                        <a:chOff x="6700750" y="1129695"/>
                        <a:chExt cx="4199799" cy="893052"/>
                      </a:xfrm>
                    </p:grpSpPr>
                    <p:sp>
                      <p:nvSpPr>
                        <p:cNvPr id="129" name="文本框 128"/>
                        <p:cNvSpPr txBox="1"/>
                        <p:nvPr/>
                      </p:nvSpPr>
                      <p:spPr>
                        <a:xfrm>
                          <a:off x="6700750" y="1129695"/>
                          <a:ext cx="4199798" cy="423362"/>
                        </a:xfrm>
                        <a:prstGeom prst="rect">
                          <a:avLst/>
                        </a:prstGeom>
                        <a:noFill/>
                      </p:spPr>
                      <p:txBody>
                        <a:bodyPr wrap="square" rtlCol="0" anchor="b" anchorCtr="0">
                          <a:normAutofit/>
                        </a:bodyPr>
                        <a:lstStyle/>
                        <a:p>
                          <a:r>
                            <a:rPr kumimoji="1" lang="en-US" altLang="zh-CN" b="1">
                              <a:latin typeface="Calibri" pitchFamily="34" charset="0"/>
                              <a:ea typeface="宋体" pitchFamily="2" charset="-122"/>
                            </a:rPr>
                            <a:t>Click to add text</a:t>
                          </a:r>
                          <a:endParaRPr kumimoji="1" lang="en-US" altLang="zh-CN" b="1" dirty="0">
                            <a:latin typeface="Calibri" pitchFamily="34" charset="0"/>
                            <a:ea typeface="宋体" pitchFamily="2" charset="-122"/>
                          </a:endParaRPr>
                        </a:p>
                      </p:txBody>
                    </p:sp>
                    <p:sp>
                      <p:nvSpPr>
                        <p:cNvPr id="130" name="文本框 129"/>
                        <p:cNvSpPr txBox="1"/>
                        <p:nvPr/>
                      </p:nvSpPr>
                      <p:spPr>
                        <a:xfrm>
                          <a:off x="6700752" y="1553058"/>
                          <a:ext cx="4199797" cy="469689"/>
                        </a:xfrm>
                        <a:prstGeom prst="rect">
                          <a:avLst/>
                        </a:prstGeom>
                        <a:noFill/>
                      </p:spPr>
                      <p:txBody>
                        <a:bodyPr wrap="square" rtlCol="0" anchor="t" anchorCtr="0">
                          <a:normAutofit/>
                        </a:bodyPr>
                        <a:lstStyle/>
                        <a:p>
                          <a:pPr>
                            <a:lnSpc>
                              <a:spcPct val="120000"/>
                            </a:lnSpc>
                          </a:pPr>
                          <a:r>
                            <a:rPr kumimoji="1" lang="en-US" altLang="zh-CN" sz="1200">
                              <a:latin typeface="Calibri" pitchFamily="34" charset="0"/>
                              <a:ea typeface="宋体" pitchFamily="2" charset="-122"/>
                            </a:rPr>
                            <a:t>Duis sed eros tempor diam diam sit est et et clita sit.</a:t>
                          </a:r>
                          <a:endParaRPr kumimoji="1" lang="en-US" altLang="zh-CN" sz="1200" dirty="0">
                            <a:latin typeface="Calibri" pitchFamily="34" charset="0"/>
                            <a:ea typeface="宋体" pitchFamily="2" charset="-122"/>
                          </a:endParaRPr>
                        </a:p>
                      </p:txBody>
                    </p:sp>
                  </p:grpSp>
                </p:grpSp>
              </p:grpSp>
              <p:grpSp>
                <p:nvGrpSpPr>
                  <p:cNvPr id="11" name="组合 10"/>
                  <p:cNvGrpSpPr/>
                  <p:nvPr/>
                </p:nvGrpSpPr>
                <p:grpSpPr>
                  <a:xfrm>
                    <a:off x="1247740" y="4343667"/>
                    <a:ext cx="5868481" cy="1544259"/>
                    <a:chOff x="1247740" y="4343667"/>
                    <a:chExt cx="5868481" cy="1544259"/>
                  </a:xfrm>
                </p:grpSpPr>
                <p:sp>
                  <p:nvSpPr>
                    <p:cNvPr id="2" name="任意多边形: 形状 1"/>
                    <p:cNvSpPr/>
                    <p:nvPr/>
                  </p:nvSpPr>
                  <p:spPr>
                    <a:xfrm>
                      <a:off x="1247740" y="4343667"/>
                      <a:ext cx="380489" cy="352405"/>
                    </a:xfrm>
                    <a:custGeom>
                      <a:avLst/>
                      <a:gdLst>
                        <a:gd name="connsiteX0" fmla="*/ 299516 w 380489"/>
                        <a:gd name="connsiteY0" fmla="*/ 228950 h 352405"/>
                        <a:gd name="connsiteX1" fmla="*/ 256891 w 380489"/>
                        <a:gd name="connsiteY1" fmla="*/ 271575 h 352405"/>
                        <a:gd name="connsiteX2" fmla="*/ 299516 w 380489"/>
                        <a:gd name="connsiteY2" fmla="*/ 314200 h 352405"/>
                        <a:gd name="connsiteX3" fmla="*/ 342141 w 380489"/>
                        <a:gd name="connsiteY3" fmla="*/ 271575 h 352405"/>
                        <a:gd name="connsiteX4" fmla="*/ 299516 w 380489"/>
                        <a:gd name="connsiteY4" fmla="*/ 228950 h 352405"/>
                        <a:gd name="connsiteX5" fmla="*/ 291105 w 380489"/>
                        <a:gd name="connsiteY5" fmla="*/ 190744 h 352405"/>
                        <a:gd name="connsiteX6" fmla="*/ 308212 w 380489"/>
                        <a:gd name="connsiteY6" fmla="*/ 190744 h 352405"/>
                        <a:gd name="connsiteX7" fmla="*/ 310351 w 380489"/>
                        <a:gd name="connsiteY7" fmla="*/ 192882 h 352405"/>
                        <a:gd name="connsiteX8" fmla="*/ 310351 w 380489"/>
                        <a:gd name="connsiteY8" fmla="*/ 202291 h 352405"/>
                        <a:gd name="connsiteX9" fmla="*/ 325034 w 380489"/>
                        <a:gd name="connsiteY9" fmla="*/ 206140 h 352405"/>
                        <a:gd name="connsiteX10" fmla="*/ 329738 w 380489"/>
                        <a:gd name="connsiteY10" fmla="*/ 198014 h 352405"/>
                        <a:gd name="connsiteX11" fmla="*/ 332732 w 380489"/>
                        <a:gd name="connsiteY11" fmla="*/ 197159 h 352405"/>
                        <a:gd name="connsiteX12" fmla="*/ 347558 w 380489"/>
                        <a:gd name="connsiteY12" fmla="*/ 205713 h 352405"/>
                        <a:gd name="connsiteX13" fmla="*/ 348414 w 380489"/>
                        <a:gd name="connsiteY13" fmla="*/ 208706 h 352405"/>
                        <a:gd name="connsiteX14" fmla="*/ 343709 w 380489"/>
                        <a:gd name="connsiteY14" fmla="*/ 216832 h 352405"/>
                        <a:gd name="connsiteX15" fmla="*/ 354401 w 380489"/>
                        <a:gd name="connsiteY15" fmla="*/ 227524 h 352405"/>
                        <a:gd name="connsiteX16" fmla="*/ 362527 w 380489"/>
                        <a:gd name="connsiteY16" fmla="*/ 222820 h 352405"/>
                        <a:gd name="connsiteX17" fmla="*/ 365521 w 380489"/>
                        <a:gd name="connsiteY17" fmla="*/ 223675 h 352405"/>
                        <a:gd name="connsiteX18" fmla="*/ 374074 w 380489"/>
                        <a:gd name="connsiteY18" fmla="*/ 238501 h 352405"/>
                        <a:gd name="connsiteX19" fmla="*/ 373219 w 380489"/>
                        <a:gd name="connsiteY19" fmla="*/ 241495 h 352405"/>
                        <a:gd name="connsiteX20" fmla="*/ 365093 w 380489"/>
                        <a:gd name="connsiteY20" fmla="*/ 246199 h 352405"/>
                        <a:gd name="connsiteX21" fmla="*/ 368942 w 380489"/>
                        <a:gd name="connsiteY21" fmla="*/ 260883 h 352405"/>
                        <a:gd name="connsiteX22" fmla="*/ 378351 w 380489"/>
                        <a:gd name="connsiteY22" fmla="*/ 260883 h 352405"/>
                        <a:gd name="connsiteX23" fmla="*/ 380489 w 380489"/>
                        <a:gd name="connsiteY23" fmla="*/ 263021 h 352405"/>
                        <a:gd name="connsiteX24" fmla="*/ 380489 w 380489"/>
                        <a:gd name="connsiteY24" fmla="*/ 280128 h 352405"/>
                        <a:gd name="connsiteX25" fmla="*/ 378351 w 380489"/>
                        <a:gd name="connsiteY25" fmla="*/ 282266 h 352405"/>
                        <a:gd name="connsiteX26" fmla="*/ 368942 w 380489"/>
                        <a:gd name="connsiteY26" fmla="*/ 282266 h 352405"/>
                        <a:gd name="connsiteX27" fmla="*/ 365093 w 380489"/>
                        <a:gd name="connsiteY27" fmla="*/ 296950 h 352405"/>
                        <a:gd name="connsiteX28" fmla="*/ 373219 w 380489"/>
                        <a:gd name="connsiteY28" fmla="*/ 301654 h 352405"/>
                        <a:gd name="connsiteX29" fmla="*/ 374074 w 380489"/>
                        <a:gd name="connsiteY29" fmla="*/ 304648 h 352405"/>
                        <a:gd name="connsiteX30" fmla="*/ 365521 w 380489"/>
                        <a:gd name="connsiteY30" fmla="*/ 319474 h 352405"/>
                        <a:gd name="connsiteX31" fmla="*/ 362527 w 380489"/>
                        <a:gd name="connsiteY31" fmla="*/ 320330 h 352405"/>
                        <a:gd name="connsiteX32" fmla="*/ 354401 w 380489"/>
                        <a:gd name="connsiteY32" fmla="*/ 315625 h 352405"/>
                        <a:gd name="connsiteX33" fmla="*/ 343709 w 380489"/>
                        <a:gd name="connsiteY33" fmla="*/ 326317 h 352405"/>
                        <a:gd name="connsiteX34" fmla="*/ 348414 w 380489"/>
                        <a:gd name="connsiteY34" fmla="*/ 334443 h 352405"/>
                        <a:gd name="connsiteX35" fmla="*/ 347558 w 380489"/>
                        <a:gd name="connsiteY35" fmla="*/ 337437 h 352405"/>
                        <a:gd name="connsiteX36" fmla="*/ 332732 w 380489"/>
                        <a:gd name="connsiteY36" fmla="*/ 345990 h 352405"/>
                        <a:gd name="connsiteX37" fmla="*/ 329738 w 380489"/>
                        <a:gd name="connsiteY37" fmla="*/ 345135 h 352405"/>
                        <a:gd name="connsiteX38" fmla="*/ 325034 w 380489"/>
                        <a:gd name="connsiteY38" fmla="*/ 337009 h 352405"/>
                        <a:gd name="connsiteX39" fmla="*/ 310351 w 380489"/>
                        <a:gd name="connsiteY39" fmla="*/ 340858 h 352405"/>
                        <a:gd name="connsiteX40" fmla="*/ 310351 w 380489"/>
                        <a:gd name="connsiteY40" fmla="*/ 350267 h 352405"/>
                        <a:gd name="connsiteX41" fmla="*/ 308212 w 380489"/>
                        <a:gd name="connsiteY41" fmla="*/ 352405 h 352405"/>
                        <a:gd name="connsiteX42" fmla="*/ 291105 w 380489"/>
                        <a:gd name="connsiteY42" fmla="*/ 352405 h 352405"/>
                        <a:gd name="connsiteX43" fmla="*/ 288967 w 380489"/>
                        <a:gd name="connsiteY43" fmla="*/ 350267 h 352405"/>
                        <a:gd name="connsiteX44" fmla="*/ 288967 w 380489"/>
                        <a:gd name="connsiteY44" fmla="*/ 340858 h 352405"/>
                        <a:gd name="connsiteX45" fmla="*/ 274283 w 380489"/>
                        <a:gd name="connsiteY45" fmla="*/ 337009 h 352405"/>
                        <a:gd name="connsiteX46" fmla="*/ 269579 w 380489"/>
                        <a:gd name="connsiteY46" fmla="*/ 345135 h 352405"/>
                        <a:gd name="connsiteX47" fmla="*/ 266585 w 380489"/>
                        <a:gd name="connsiteY47" fmla="*/ 345990 h 352405"/>
                        <a:gd name="connsiteX48" fmla="*/ 251759 w 380489"/>
                        <a:gd name="connsiteY48" fmla="*/ 337437 h 352405"/>
                        <a:gd name="connsiteX49" fmla="*/ 250904 w 380489"/>
                        <a:gd name="connsiteY49" fmla="*/ 334443 h 352405"/>
                        <a:gd name="connsiteX50" fmla="*/ 255608 w 380489"/>
                        <a:gd name="connsiteY50" fmla="*/ 326317 h 352405"/>
                        <a:gd name="connsiteX51" fmla="*/ 244916 w 380489"/>
                        <a:gd name="connsiteY51" fmla="*/ 315625 h 352405"/>
                        <a:gd name="connsiteX52" fmla="*/ 236790 w 380489"/>
                        <a:gd name="connsiteY52" fmla="*/ 320330 h 352405"/>
                        <a:gd name="connsiteX53" fmla="*/ 233797 w 380489"/>
                        <a:gd name="connsiteY53" fmla="*/ 319474 h 352405"/>
                        <a:gd name="connsiteX54" fmla="*/ 225243 w 380489"/>
                        <a:gd name="connsiteY54" fmla="*/ 304648 h 352405"/>
                        <a:gd name="connsiteX55" fmla="*/ 226098 w 380489"/>
                        <a:gd name="connsiteY55" fmla="*/ 301654 h 352405"/>
                        <a:gd name="connsiteX56" fmla="*/ 234224 w 380489"/>
                        <a:gd name="connsiteY56" fmla="*/ 296950 h 352405"/>
                        <a:gd name="connsiteX57" fmla="*/ 230375 w 380489"/>
                        <a:gd name="connsiteY57" fmla="*/ 282266 h 352405"/>
                        <a:gd name="connsiteX58" fmla="*/ 220966 w 380489"/>
                        <a:gd name="connsiteY58" fmla="*/ 282266 h 352405"/>
                        <a:gd name="connsiteX59" fmla="*/ 218828 w 380489"/>
                        <a:gd name="connsiteY59" fmla="*/ 280128 h 352405"/>
                        <a:gd name="connsiteX60" fmla="*/ 218828 w 380489"/>
                        <a:gd name="connsiteY60" fmla="*/ 263021 h 352405"/>
                        <a:gd name="connsiteX61" fmla="*/ 220966 w 380489"/>
                        <a:gd name="connsiteY61" fmla="*/ 260883 h 352405"/>
                        <a:gd name="connsiteX62" fmla="*/ 230375 w 380489"/>
                        <a:gd name="connsiteY62" fmla="*/ 260883 h 352405"/>
                        <a:gd name="connsiteX63" fmla="*/ 234224 w 380489"/>
                        <a:gd name="connsiteY63" fmla="*/ 246199 h 352405"/>
                        <a:gd name="connsiteX64" fmla="*/ 226098 w 380489"/>
                        <a:gd name="connsiteY64" fmla="*/ 241495 h 352405"/>
                        <a:gd name="connsiteX65" fmla="*/ 225243 w 380489"/>
                        <a:gd name="connsiteY65" fmla="*/ 238501 h 352405"/>
                        <a:gd name="connsiteX66" fmla="*/ 233797 w 380489"/>
                        <a:gd name="connsiteY66" fmla="*/ 223675 h 352405"/>
                        <a:gd name="connsiteX67" fmla="*/ 236790 w 380489"/>
                        <a:gd name="connsiteY67" fmla="*/ 222820 h 352405"/>
                        <a:gd name="connsiteX68" fmla="*/ 244916 w 380489"/>
                        <a:gd name="connsiteY68" fmla="*/ 227524 h 352405"/>
                        <a:gd name="connsiteX69" fmla="*/ 255608 w 380489"/>
                        <a:gd name="connsiteY69" fmla="*/ 216832 h 352405"/>
                        <a:gd name="connsiteX70" fmla="*/ 250904 w 380489"/>
                        <a:gd name="connsiteY70" fmla="*/ 208706 h 352405"/>
                        <a:gd name="connsiteX71" fmla="*/ 251759 w 380489"/>
                        <a:gd name="connsiteY71" fmla="*/ 205713 h 352405"/>
                        <a:gd name="connsiteX72" fmla="*/ 266585 w 380489"/>
                        <a:gd name="connsiteY72" fmla="*/ 197159 h 352405"/>
                        <a:gd name="connsiteX73" fmla="*/ 269579 w 380489"/>
                        <a:gd name="connsiteY73" fmla="*/ 198014 h 352405"/>
                        <a:gd name="connsiteX74" fmla="*/ 274283 w 380489"/>
                        <a:gd name="connsiteY74" fmla="*/ 206140 h 352405"/>
                        <a:gd name="connsiteX75" fmla="*/ 288967 w 380489"/>
                        <a:gd name="connsiteY75" fmla="*/ 202291 h 352405"/>
                        <a:gd name="connsiteX76" fmla="*/ 288967 w 380489"/>
                        <a:gd name="connsiteY76" fmla="*/ 192882 h 352405"/>
                        <a:gd name="connsiteX77" fmla="*/ 291105 w 380489"/>
                        <a:gd name="connsiteY77" fmla="*/ 190744 h 352405"/>
                        <a:gd name="connsiteX78" fmla="*/ 132437 w 380489"/>
                        <a:gd name="connsiteY78" fmla="*/ 62583 h 352405"/>
                        <a:gd name="connsiteX79" fmla="*/ 62583 w 380489"/>
                        <a:gd name="connsiteY79" fmla="*/ 132437 h 352405"/>
                        <a:gd name="connsiteX80" fmla="*/ 132437 w 380489"/>
                        <a:gd name="connsiteY80" fmla="*/ 202290 h 352405"/>
                        <a:gd name="connsiteX81" fmla="*/ 202290 w 380489"/>
                        <a:gd name="connsiteY81" fmla="*/ 132437 h 352405"/>
                        <a:gd name="connsiteX82" fmla="*/ 132437 w 380489"/>
                        <a:gd name="connsiteY82" fmla="*/ 62583 h 352405"/>
                        <a:gd name="connsiteX83" fmla="*/ 118466 w 380489"/>
                        <a:gd name="connsiteY83" fmla="*/ 0 h 352405"/>
                        <a:gd name="connsiteX84" fmla="*/ 146408 w 380489"/>
                        <a:gd name="connsiteY84" fmla="*/ 0 h 352405"/>
                        <a:gd name="connsiteX85" fmla="*/ 149972 w 380489"/>
                        <a:gd name="connsiteY85" fmla="*/ 3564 h 352405"/>
                        <a:gd name="connsiteX86" fmla="*/ 149972 w 380489"/>
                        <a:gd name="connsiteY86" fmla="*/ 18960 h 352405"/>
                        <a:gd name="connsiteX87" fmla="*/ 174064 w 380489"/>
                        <a:gd name="connsiteY87" fmla="*/ 25375 h 352405"/>
                        <a:gd name="connsiteX88" fmla="*/ 181762 w 380489"/>
                        <a:gd name="connsiteY88" fmla="*/ 11975 h 352405"/>
                        <a:gd name="connsiteX89" fmla="*/ 186609 w 380489"/>
                        <a:gd name="connsiteY89" fmla="*/ 10692 h 352405"/>
                        <a:gd name="connsiteX90" fmla="*/ 210844 w 380489"/>
                        <a:gd name="connsiteY90" fmla="*/ 24663 h 352405"/>
                        <a:gd name="connsiteX91" fmla="*/ 212127 w 380489"/>
                        <a:gd name="connsiteY91" fmla="*/ 29510 h 352405"/>
                        <a:gd name="connsiteX92" fmla="*/ 204429 w 380489"/>
                        <a:gd name="connsiteY92" fmla="*/ 42768 h 352405"/>
                        <a:gd name="connsiteX93" fmla="*/ 222106 w 380489"/>
                        <a:gd name="connsiteY93" fmla="*/ 60445 h 352405"/>
                        <a:gd name="connsiteX94" fmla="*/ 235507 w 380489"/>
                        <a:gd name="connsiteY94" fmla="*/ 52747 h 352405"/>
                        <a:gd name="connsiteX95" fmla="*/ 240353 w 380489"/>
                        <a:gd name="connsiteY95" fmla="*/ 54030 h 352405"/>
                        <a:gd name="connsiteX96" fmla="*/ 254324 w 380489"/>
                        <a:gd name="connsiteY96" fmla="*/ 78265 h 352405"/>
                        <a:gd name="connsiteX97" fmla="*/ 253041 w 380489"/>
                        <a:gd name="connsiteY97" fmla="*/ 83112 h 352405"/>
                        <a:gd name="connsiteX98" fmla="*/ 239641 w 380489"/>
                        <a:gd name="connsiteY98" fmla="*/ 90810 h 352405"/>
                        <a:gd name="connsiteX99" fmla="*/ 246056 w 380489"/>
                        <a:gd name="connsiteY99" fmla="*/ 114902 h 352405"/>
                        <a:gd name="connsiteX100" fmla="*/ 261452 w 380489"/>
                        <a:gd name="connsiteY100" fmla="*/ 114902 h 352405"/>
                        <a:gd name="connsiteX101" fmla="*/ 264874 w 380489"/>
                        <a:gd name="connsiteY101" fmla="*/ 118751 h 352405"/>
                        <a:gd name="connsiteX102" fmla="*/ 264874 w 380489"/>
                        <a:gd name="connsiteY102" fmla="*/ 146693 h 352405"/>
                        <a:gd name="connsiteX103" fmla="*/ 261310 w 380489"/>
                        <a:gd name="connsiteY103" fmla="*/ 150257 h 352405"/>
                        <a:gd name="connsiteX104" fmla="*/ 245913 w 380489"/>
                        <a:gd name="connsiteY104" fmla="*/ 150257 h 352405"/>
                        <a:gd name="connsiteX105" fmla="*/ 239498 w 380489"/>
                        <a:gd name="connsiteY105" fmla="*/ 174349 h 352405"/>
                        <a:gd name="connsiteX106" fmla="*/ 252899 w 380489"/>
                        <a:gd name="connsiteY106" fmla="*/ 182047 h 352405"/>
                        <a:gd name="connsiteX107" fmla="*/ 254182 w 380489"/>
                        <a:gd name="connsiteY107" fmla="*/ 186894 h 352405"/>
                        <a:gd name="connsiteX108" fmla="*/ 240211 w 380489"/>
                        <a:gd name="connsiteY108" fmla="*/ 211129 h 352405"/>
                        <a:gd name="connsiteX109" fmla="*/ 235364 w 380489"/>
                        <a:gd name="connsiteY109" fmla="*/ 212412 h 352405"/>
                        <a:gd name="connsiteX110" fmla="*/ 222106 w 380489"/>
                        <a:gd name="connsiteY110" fmla="*/ 204714 h 352405"/>
                        <a:gd name="connsiteX111" fmla="*/ 204429 w 380489"/>
                        <a:gd name="connsiteY111" fmla="*/ 222391 h 352405"/>
                        <a:gd name="connsiteX112" fmla="*/ 212127 w 380489"/>
                        <a:gd name="connsiteY112" fmla="*/ 235649 h 352405"/>
                        <a:gd name="connsiteX113" fmla="*/ 210844 w 380489"/>
                        <a:gd name="connsiteY113" fmla="*/ 240496 h 352405"/>
                        <a:gd name="connsiteX114" fmla="*/ 186609 w 380489"/>
                        <a:gd name="connsiteY114" fmla="*/ 254467 h 352405"/>
                        <a:gd name="connsiteX115" fmla="*/ 181762 w 380489"/>
                        <a:gd name="connsiteY115" fmla="*/ 253184 h 352405"/>
                        <a:gd name="connsiteX116" fmla="*/ 174064 w 380489"/>
                        <a:gd name="connsiteY116" fmla="*/ 239783 h 352405"/>
                        <a:gd name="connsiteX117" fmla="*/ 149972 w 380489"/>
                        <a:gd name="connsiteY117" fmla="*/ 246198 h 352405"/>
                        <a:gd name="connsiteX118" fmla="*/ 149972 w 380489"/>
                        <a:gd name="connsiteY118" fmla="*/ 261310 h 352405"/>
                        <a:gd name="connsiteX119" fmla="*/ 146408 w 380489"/>
                        <a:gd name="connsiteY119" fmla="*/ 264874 h 352405"/>
                        <a:gd name="connsiteX120" fmla="*/ 118466 w 380489"/>
                        <a:gd name="connsiteY120" fmla="*/ 264874 h 352405"/>
                        <a:gd name="connsiteX121" fmla="*/ 114902 w 380489"/>
                        <a:gd name="connsiteY121" fmla="*/ 261310 h 352405"/>
                        <a:gd name="connsiteX122" fmla="*/ 114902 w 380489"/>
                        <a:gd name="connsiteY122" fmla="*/ 245913 h 352405"/>
                        <a:gd name="connsiteX123" fmla="*/ 90810 w 380489"/>
                        <a:gd name="connsiteY123" fmla="*/ 239498 h 352405"/>
                        <a:gd name="connsiteX124" fmla="*/ 83112 w 380489"/>
                        <a:gd name="connsiteY124" fmla="*/ 252899 h 352405"/>
                        <a:gd name="connsiteX125" fmla="*/ 78265 w 380489"/>
                        <a:gd name="connsiteY125" fmla="*/ 254182 h 352405"/>
                        <a:gd name="connsiteX126" fmla="*/ 54030 w 380489"/>
                        <a:gd name="connsiteY126" fmla="*/ 240211 h 352405"/>
                        <a:gd name="connsiteX127" fmla="*/ 52747 w 380489"/>
                        <a:gd name="connsiteY127" fmla="*/ 235364 h 352405"/>
                        <a:gd name="connsiteX128" fmla="*/ 60445 w 380489"/>
                        <a:gd name="connsiteY128" fmla="*/ 222106 h 352405"/>
                        <a:gd name="connsiteX129" fmla="*/ 42768 w 380489"/>
                        <a:gd name="connsiteY129" fmla="*/ 204429 h 352405"/>
                        <a:gd name="connsiteX130" fmla="*/ 29510 w 380489"/>
                        <a:gd name="connsiteY130" fmla="*/ 212127 h 352405"/>
                        <a:gd name="connsiteX131" fmla="*/ 24663 w 380489"/>
                        <a:gd name="connsiteY131" fmla="*/ 210844 h 352405"/>
                        <a:gd name="connsiteX132" fmla="*/ 10692 w 380489"/>
                        <a:gd name="connsiteY132" fmla="*/ 186609 h 352405"/>
                        <a:gd name="connsiteX133" fmla="*/ 11975 w 380489"/>
                        <a:gd name="connsiteY133" fmla="*/ 181762 h 352405"/>
                        <a:gd name="connsiteX134" fmla="*/ 25375 w 380489"/>
                        <a:gd name="connsiteY134" fmla="*/ 174064 h 352405"/>
                        <a:gd name="connsiteX135" fmla="*/ 18960 w 380489"/>
                        <a:gd name="connsiteY135" fmla="*/ 149972 h 352405"/>
                        <a:gd name="connsiteX136" fmla="*/ 3564 w 380489"/>
                        <a:gd name="connsiteY136" fmla="*/ 149972 h 352405"/>
                        <a:gd name="connsiteX137" fmla="*/ 0 w 380489"/>
                        <a:gd name="connsiteY137" fmla="*/ 146408 h 352405"/>
                        <a:gd name="connsiteX138" fmla="*/ 0 w 380489"/>
                        <a:gd name="connsiteY138" fmla="*/ 118466 h 352405"/>
                        <a:gd name="connsiteX139" fmla="*/ 3564 w 380489"/>
                        <a:gd name="connsiteY139" fmla="*/ 114902 h 352405"/>
                        <a:gd name="connsiteX140" fmla="*/ 18960 w 380489"/>
                        <a:gd name="connsiteY140" fmla="*/ 114902 h 352405"/>
                        <a:gd name="connsiteX141" fmla="*/ 25375 w 380489"/>
                        <a:gd name="connsiteY141" fmla="*/ 90810 h 352405"/>
                        <a:gd name="connsiteX142" fmla="*/ 11975 w 380489"/>
                        <a:gd name="connsiteY142" fmla="*/ 83112 h 352405"/>
                        <a:gd name="connsiteX143" fmla="*/ 10692 w 380489"/>
                        <a:gd name="connsiteY143" fmla="*/ 78265 h 352405"/>
                        <a:gd name="connsiteX144" fmla="*/ 24663 w 380489"/>
                        <a:gd name="connsiteY144" fmla="*/ 54030 h 352405"/>
                        <a:gd name="connsiteX145" fmla="*/ 29510 w 380489"/>
                        <a:gd name="connsiteY145" fmla="*/ 52747 h 352405"/>
                        <a:gd name="connsiteX146" fmla="*/ 42768 w 380489"/>
                        <a:gd name="connsiteY146" fmla="*/ 60445 h 352405"/>
                        <a:gd name="connsiteX147" fmla="*/ 60445 w 380489"/>
                        <a:gd name="connsiteY147" fmla="*/ 42768 h 352405"/>
                        <a:gd name="connsiteX148" fmla="*/ 52747 w 380489"/>
                        <a:gd name="connsiteY148" fmla="*/ 29510 h 352405"/>
                        <a:gd name="connsiteX149" fmla="*/ 54030 w 380489"/>
                        <a:gd name="connsiteY149" fmla="*/ 24663 h 352405"/>
                        <a:gd name="connsiteX150" fmla="*/ 78265 w 380489"/>
                        <a:gd name="connsiteY150" fmla="*/ 10692 h 352405"/>
                        <a:gd name="connsiteX151" fmla="*/ 83112 w 380489"/>
                        <a:gd name="connsiteY151" fmla="*/ 11975 h 352405"/>
                        <a:gd name="connsiteX152" fmla="*/ 90810 w 380489"/>
                        <a:gd name="connsiteY152" fmla="*/ 25375 h 352405"/>
                        <a:gd name="connsiteX153" fmla="*/ 114902 w 380489"/>
                        <a:gd name="connsiteY153" fmla="*/ 18960 h 352405"/>
                        <a:gd name="connsiteX154" fmla="*/ 114902 w 380489"/>
                        <a:gd name="connsiteY154" fmla="*/ 3564 h 352405"/>
                        <a:gd name="connsiteX155" fmla="*/ 118466 w 380489"/>
                        <a:gd name="connsiteY155" fmla="*/ 0 h 352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Lst>
                      <a:rect l="l" t="t" r="r" b="b"/>
                      <a:pathLst>
                        <a:path w="380489" h="352405">
                          <a:moveTo>
                            <a:pt x="299516" y="228950"/>
                          </a:moveTo>
                          <a:cubicBezTo>
                            <a:pt x="275994" y="228950"/>
                            <a:pt x="256891" y="248053"/>
                            <a:pt x="256891" y="271575"/>
                          </a:cubicBezTo>
                          <a:cubicBezTo>
                            <a:pt x="256891" y="295097"/>
                            <a:pt x="275994" y="314200"/>
                            <a:pt x="299516" y="314200"/>
                          </a:cubicBezTo>
                          <a:cubicBezTo>
                            <a:pt x="323038" y="314200"/>
                            <a:pt x="342141" y="295097"/>
                            <a:pt x="342141" y="271575"/>
                          </a:cubicBezTo>
                          <a:cubicBezTo>
                            <a:pt x="342141" y="248053"/>
                            <a:pt x="323038" y="228950"/>
                            <a:pt x="299516" y="228950"/>
                          </a:cubicBezTo>
                          <a:close/>
                          <a:moveTo>
                            <a:pt x="291105" y="190744"/>
                          </a:moveTo>
                          <a:lnTo>
                            <a:pt x="308212" y="190744"/>
                          </a:lnTo>
                          <a:cubicBezTo>
                            <a:pt x="309353" y="190744"/>
                            <a:pt x="310351" y="191742"/>
                            <a:pt x="310351" y="192882"/>
                          </a:cubicBezTo>
                          <a:lnTo>
                            <a:pt x="310351" y="202291"/>
                          </a:lnTo>
                          <a:cubicBezTo>
                            <a:pt x="315483" y="203004"/>
                            <a:pt x="320330" y="204287"/>
                            <a:pt x="325034" y="206140"/>
                          </a:cubicBezTo>
                          <a:lnTo>
                            <a:pt x="329738" y="198014"/>
                          </a:lnTo>
                          <a:cubicBezTo>
                            <a:pt x="330309" y="196874"/>
                            <a:pt x="331734" y="196589"/>
                            <a:pt x="332732" y="197159"/>
                          </a:cubicBezTo>
                          <a:lnTo>
                            <a:pt x="347558" y="205713"/>
                          </a:lnTo>
                          <a:cubicBezTo>
                            <a:pt x="348698" y="206283"/>
                            <a:pt x="348984" y="207708"/>
                            <a:pt x="348414" y="208706"/>
                          </a:cubicBezTo>
                          <a:lnTo>
                            <a:pt x="343709" y="216832"/>
                          </a:lnTo>
                          <a:cubicBezTo>
                            <a:pt x="347558" y="219969"/>
                            <a:pt x="351265" y="223532"/>
                            <a:pt x="354401" y="227524"/>
                          </a:cubicBezTo>
                          <a:lnTo>
                            <a:pt x="362527" y="222820"/>
                          </a:lnTo>
                          <a:cubicBezTo>
                            <a:pt x="363525" y="222250"/>
                            <a:pt x="364950" y="222677"/>
                            <a:pt x="365521" y="223675"/>
                          </a:cubicBezTo>
                          <a:lnTo>
                            <a:pt x="374074" y="238501"/>
                          </a:lnTo>
                          <a:cubicBezTo>
                            <a:pt x="374644" y="239499"/>
                            <a:pt x="374217" y="240925"/>
                            <a:pt x="373219" y="241495"/>
                          </a:cubicBezTo>
                          <a:lnTo>
                            <a:pt x="365093" y="246199"/>
                          </a:lnTo>
                          <a:cubicBezTo>
                            <a:pt x="366804" y="250904"/>
                            <a:pt x="368229" y="255751"/>
                            <a:pt x="368942" y="260883"/>
                          </a:cubicBezTo>
                          <a:lnTo>
                            <a:pt x="378351" y="260883"/>
                          </a:lnTo>
                          <a:cubicBezTo>
                            <a:pt x="379491" y="260883"/>
                            <a:pt x="380489" y="261881"/>
                            <a:pt x="380489" y="263021"/>
                          </a:cubicBezTo>
                          <a:lnTo>
                            <a:pt x="380489" y="280128"/>
                          </a:lnTo>
                          <a:cubicBezTo>
                            <a:pt x="380489" y="281269"/>
                            <a:pt x="379491" y="282266"/>
                            <a:pt x="378351" y="282266"/>
                          </a:cubicBezTo>
                          <a:lnTo>
                            <a:pt x="368942" y="282266"/>
                          </a:lnTo>
                          <a:cubicBezTo>
                            <a:pt x="368229" y="287399"/>
                            <a:pt x="366946" y="292246"/>
                            <a:pt x="365093" y="296950"/>
                          </a:cubicBezTo>
                          <a:lnTo>
                            <a:pt x="373219" y="301654"/>
                          </a:lnTo>
                          <a:cubicBezTo>
                            <a:pt x="374359" y="302225"/>
                            <a:pt x="374644" y="303650"/>
                            <a:pt x="374074" y="304648"/>
                          </a:cubicBezTo>
                          <a:lnTo>
                            <a:pt x="365521" y="319474"/>
                          </a:lnTo>
                          <a:cubicBezTo>
                            <a:pt x="364950" y="320615"/>
                            <a:pt x="363525" y="320900"/>
                            <a:pt x="362527" y="320330"/>
                          </a:cubicBezTo>
                          <a:lnTo>
                            <a:pt x="354401" y="315625"/>
                          </a:lnTo>
                          <a:cubicBezTo>
                            <a:pt x="351265" y="319474"/>
                            <a:pt x="347701" y="323181"/>
                            <a:pt x="343709" y="326317"/>
                          </a:cubicBezTo>
                          <a:lnTo>
                            <a:pt x="348414" y="334443"/>
                          </a:lnTo>
                          <a:cubicBezTo>
                            <a:pt x="348984" y="335441"/>
                            <a:pt x="348556" y="336866"/>
                            <a:pt x="347558" y="337437"/>
                          </a:cubicBezTo>
                          <a:lnTo>
                            <a:pt x="332732" y="345990"/>
                          </a:lnTo>
                          <a:cubicBezTo>
                            <a:pt x="331734" y="346560"/>
                            <a:pt x="330309" y="346133"/>
                            <a:pt x="329738" y="345135"/>
                          </a:cubicBezTo>
                          <a:lnTo>
                            <a:pt x="325034" y="337009"/>
                          </a:lnTo>
                          <a:cubicBezTo>
                            <a:pt x="320330" y="338720"/>
                            <a:pt x="315483" y="340145"/>
                            <a:pt x="310351" y="340858"/>
                          </a:cubicBezTo>
                          <a:lnTo>
                            <a:pt x="310351" y="350267"/>
                          </a:lnTo>
                          <a:cubicBezTo>
                            <a:pt x="310351" y="351407"/>
                            <a:pt x="309353" y="352405"/>
                            <a:pt x="308212" y="352405"/>
                          </a:cubicBezTo>
                          <a:lnTo>
                            <a:pt x="291105" y="352405"/>
                          </a:lnTo>
                          <a:cubicBezTo>
                            <a:pt x="289965" y="352405"/>
                            <a:pt x="288967" y="351407"/>
                            <a:pt x="288967" y="350267"/>
                          </a:cubicBezTo>
                          <a:lnTo>
                            <a:pt x="288967" y="340858"/>
                          </a:lnTo>
                          <a:cubicBezTo>
                            <a:pt x="283835" y="340145"/>
                            <a:pt x="278988" y="338862"/>
                            <a:pt x="274283" y="337009"/>
                          </a:cubicBezTo>
                          <a:lnTo>
                            <a:pt x="269579" y="345135"/>
                          </a:lnTo>
                          <a:cubicBezTo>
                            <a:pt x="269009" y="346275"/>
                            <a:pt x="267583" y="346560"/>
                            <a:pt x="266585" y="345990"/>
                          </a:cubicBezTo>
                          <a:lnTo>
                            <a:pt x="251759" y="337437"/>
                          </a:lnTo>
                          <a:cubicBezTo>
                            <a:pt x="250618" y="336866"/>
                            <a:pt x="250333" y="335441"/>
                            <a:pt x="250904" y="334443"/>
                          </a:cubicBezTo>
                          <a:lnTo>
                            <a:pt x="255608" y="326317"/>
                          </a:lnTo>
                          <a:cubicBezTo>
                            <a:pt x="251759" y="323181"/>
                            <a:pt x="248053" y="319617"/>
                            <a:pt x="244916" y="315625"/>
                          </a:cubicBezTo>
                          <a:lnTo>
                            <a:pt x="236790" y="320330"/>
                          </a:lnTo>
                          <a:cubicBezTo>
                            <a:pt x="235792" y="320900"/>
                            <a:pt x="234367" y="320472"/>
                            <a:pt x="233797" y="319474"/>
                          </a:cubicBezTo>
                          <a:lnTo>
                            <a:pt x="225243" y="304648"/>
                          </a:lnTo>
                          <a:cubicBezTo>
                            <a:pt x="224673" y="303650"/>
                            <a:pt x="225101" y="302225"/>
                            <a:pt x="226098" y="301654"/>
                          </a:cubicBezTo>
                          <a:lnTo>
                            <a:pt x="234224" y="296950"/>
                          </a:lnTo>
                          <a:cubicBezTo>
                            <a:pt x="232513" y="292246"/>
                            <a:pt x="231088" y="287399"/>
                            <a:pt x="230375" y="282266"/>
                          </a:cubicBezTo>
                          <a:lnTo>
                            <a:pt x="220966" y="282266"/>
                          </a:lnTo>
                          <a:cubicBezTo>
                            <a:pt x="219826" y="282266"/>
                            <a:pt x="218828" y="281269"/>
                            <a:pt x="218828" y="280128"/>
                          </a:cubicBezTo>
                          <a:lnTo>
                            <a:pt x="218828" y="263021"/>
                          </a:lnTo>
                          <a:cubicBezTo>
                            <a:pt x="218828" y="261881"/>
                            <a:pt x="219826" y="260883"/>
                            <a:pt x="220966" y="260883"/>
                          </a:cubicBezTo>
                          <a:lnTo>
                            <a:pt x="230375" y="260883"/>
                          </a:lnTo>
                          <a:cubicBezTo>
                            <a:pt x="231088" y="255751"/>
                            <a:pt x="232371" y="250904"/>
                            <a:pt x="234224" y="246199"/>
                          </a:cubicBezTo>
                          <a:lnTo>
                            <a:pt x="226098" y="241495"/>
                          </a:lnTo>
                          <a:cubicBezTo>
                            <a:pt x="224958" y="240925"/>
                            <a:pt x="224673" y="239499"/>
                            <a:pt x="225243" y="238501"/>
                          </a:cubicBezTo>
                          <a:lnTo>
                            <a:pt x="233797" y="223675"/>
                          </a:lnTo>
                          <a:cubicBezTo>
                            <a:pt x="234367" y="222534"/>
                            <a:pt x="235792" y="222250"/>
                            <a:pt x="236790" y="222820"/>
                          </a:cubicBezTo>
                          <a:lnTo>
                            <a:pt x="244916" y="227524"/>
                          </a:lnTo>
                          <a:cubicBezTo>
                            <a:pt x="248053" y="223675"/>
                            <a:pt x="251616" y="219969"/>
                            <a:pt x="255608" y="216832"/>
                          </a:cubicBezTo>
                          <a:lnTo>
                            <a:pt x="250904" y="208706"/>
                          </a:lnTo>
                          <a:cubicBezTo>
                            <a:pt x="250333" y="207708"/>
                            <a:pt x="250761" y="206283"/>
                            <a:pt x="251759" y="205713"/>
                          </a:cubicBezTo>
                          <a:lnTo>
                            <a:pt x="266585" y="197159"/>
                          </a:lnTo>
                          <a:cubicBezTo>
                            <a:pt x="267583" y="196589"/>
                            <a:pt x="269009" y="197017"/>
                            <a:pt x="269579" y="198014"/>
                          </a:cubicBezTo>
                          <a:lnTo>
                            <a:pt x="274283" y="206140"/>
                          </a:lnTo>
                          <a:cubicBezTo>
                            <a:pt x="278988" y="204430"/>
                            <a:pt x="283835" y="203004"/>
                            <a:pt x="288967" y="202291"/>
                          </a:cubicBezTo>
                          <a:lnTo>
                            <a:pt x="288967" y="192882"/>
                          </a:lnTo>
                          <a:cubicBezTo>
                            <a:pt x="288967" y="191742"/>
                            <a:pt x="289965" y="190744"/>
                            <a:pt x="291105" y="190744"/>
                          </a:cubicBezTo>
                          <a:close/>
                          <a:moveTo>
                            <a:pt x="132437" y="62583"/>
                          </a:moveTo>
                          <a:cubicBezTo>
                            <a:pt x="93803" y="62583"/>
                            <a:pt x="62583" y="93803"/>
                            <a:pt x="62583" y="132437"/>
                          </a:cubicBezTo>
                          <a:cubicBezTo>
                            <a:pt x="62583" y="171070"/>
                            <a:pt x="93803" y="202290"/>
                            <a:pt x="132437" y="202290"/>
                          </a:cubicBezTo>
                          <a:cubicBezTo>
                            <a:pt x="170928" y="202290"/>
                            <a:pt x="202290" y="171070"/>
                            <a:pt x="202290" y="132437"/>
                          </a:cubicBezTo>
                          <a:cubicBezTo>
                            <a:pt x="202290" y="93803"/>
                            <a:pt x="171070" y="62583"/>
                            <a:pt x="132437" y="62583"/>
                          </a:cubicBezTo>
                          <a:close/>
                          <a:moveTo>
                            <a:pt x="118466" y="0"/>
                          </a:moveTo>
                          <a:lnTo>
                            <a:pt x="146408" y="0"/>
                          </a:lnTo>
                          <a:cubicBezTo>
                            <a:pt x="148403" y="0"/>
                            <a:pt x="149972" y="1568"/>
                            <a:pt x="149972" y="3564"/>
                          </a:cubicBezTo>
                          <a:lnTo>
                            <a:pt x="149972" y="18960"/>
                          </a:lnTo>
                          <a:cubicBezTo>
                            <a:pt x="158382" y="20243"/>
                            <a:pt x="166366" y="22382"/>
                            <a:pt x="174064" y="25375"/>
                          </a:cubicBezTo>
                          <a:lnTo>
                            <a:pt x="181762" y="11975"/>
                          </a:lnTo>
                          <a:cubicBezTo>
                            <a:pt x="182760" y="10264"/>
                            <a:pt x="184898" y="9694"/>
                            <a:pt x="186609" y="10692"/>
                          </a:cubicBezTo>
                          <a:lnTo>
                            <a:pt x="210844" y="24663"/>
                          </a:lnTo>
                          <a:cubicBezTo>
                            <a:pt x="212555" y="25661"/>
                            <a:pt x="213125" y="27799"/>
                            <a:pt x="212127" y="29510"/>
                          </a:cubicBezTo>
                          <a:lnTo>
                            <a:pt x="204429" y="42768"/>
                          </a:lnTo>
                          <a:cubicBezTo>
                            <a:pt x="210986" y="48042"/>
                            <a:pt x="216831" y="53887"/>
                            <a:pt x="222106" y="60445"/>
                          </a:cubicBezTo>
                          <a:lnTo>
                            <a:pt x="235507" y="52747"/>
                          </a:lnTo>
                          <a:cubicBezTo>
                            <a:pt x="237217" y="51749"/>
                            <a:pt x="239356" y="52319"/>
                            <a:pt x="240353" y="54030"/>
                          </a:cubicBezTo>
                          <a:lnTo>
                            <a:pt x="254324" y="78265"/>
                          </a:lnTo>
                          <a:cubicBezTo>
                            <a:pt x="255322" y="79975"/>
                            <a:pt x="254752" y="82114"/>
                            <a:pt x="253041" y="83112"/>
                          </a:cubicBezTo>
                          <a:lnTo>
                            <a:pt x="239641" y="90810"/>
                          </a:lnTo>
                          <a:cubicBezTo>
                            <a:pt x="242634" y="98508"/>
                            <a:pt x="244773" y="106491"/>
                            <a:pt x="246056" y="114902"/>
                          </a:cubicBezTo>
                          <a:lnTo>
                            <a:pt x="261452" y="114902"/>
                          </a:lnTo>
                          <a:cubicBezTo>
                            <a:pt x="263448" y="114902"/>
                            <a:pt x="265016" y="116470"/>
                            <a:pt x="264874" y="118751"/>
                          </a:cubicBezTo>
                          <a:lnTo>
                            <a:pt x="264874" y="146693"/>
                          </a:lnTo>
                          <a:cubicBezTo>
                            <a:pt x="264874" y="148689"/>
                            <a:pt x="263305" y="150257"/>
                            <a:pt x="261310" y="150257"/>
                          </a:cubicBezTo>
                          <a:lnTo>
                            <a:pt x="245913" y="150257"/>
                          </a:lnTo>
                          <a:cubicBezTo>
                            <a:pt x="244630" y="158668"/>
                            <a:pt x="242492" y="166651"/>
                            <a:pt x="239498" y="174349"/>
                          </a:cubicBezTo>
                          <a:lnTo>
                            <a:pt x="252899" y="182047"/>
                          </a:lnTo>
                          <a:cubicBezTo>
                            <a:pt x="254609" y="183045"/>
                            <a:pt x="255180" y="185183"/>
                            <a:pt x="254182" y="186894"/>
                          </a:cubicBezTo>
                          <a:lnTo>
                            <a:pt x="240211" y="211129"/>
                          </a:lnTo>
                          <a:cubicBezTo>
                            <a:pt x="239213" y="212840"/>
                            <a:pt x="237075" y="213410"/>
                            <a:pt x="235364" y="212412"/>
                          </a:cubicBezTo>
                          <a:lnTo>
                            <a:pt x="222106" y="204714"/>
                          </a:lnTo>
                          <a:cubicBezTo>
                            <a:pt x="216831" y="211272"/>
                            <a:pt x="210986" y="217117"/>
                            <a:pt x="204429" y="222391"/>
                          </a:cubicBezTo>
                          <a:lnTo>
                            <a:pt x="212127" y="235649"/>
                          </a:lnTo>
                          <a:cubicBezTo>
                            <a:pt x="213125" y="237360"/>
                            <a:pt x="212555" y="239498"/>
                            <a:pt x="210844" y="240496"/>
                          </a:cubicBezTo>
                          <a:lnTo>
                            <a:pt x="186609" y="254467"/>
                          </a:lnTo>
                          <a:cubicBezTo>
                            <a:pt x="184898" y="255465"/>
                            <a:pt x="182760" y="254895"/>
                            <a:pt x="181762" y="253184"/>
                          </a:cubicBezTo>
                          <a:lnTo>
                            <a:pt x="174064" y="239783"/>
                          </a:lnTo>
                          <a:cubicBezTo>
                            <a:pt x="166366" y="242777"/>
                            <a:pt x="158382" y="244915"/>
                            <a:pt x="149972" y="246198"/>
                          </a:cubicBezTo>
                          <a:lnTo>
                            <a:pt x="149972" y="261310"/>
                          </a:lnTo>
                          <a:cubicBezTo>
                            <a:pt x="149972" y="263305"/>
                            <a:pt x="148403" y="264874"/>
                            <a:pt x="146408" y="264874"/>
                          </a:cubicBezTo>
                          <a:lnTo>
                            <a:pt x="118466" y="264874"/>
                          </a:lnTo>
                          <a:cubicBezTo>
                            <a:pt x="116470" y="264874"/>
                            <a:pt x="114902" y="263305"/>
                            <a:pt x="114902" y="261310"/>
                          </a:cubicBezTo>
                          <a:lnTo>
                            <a:pt x="114902" y="245913"/>
                          </a:lnTo>
                          <a:cubicBezTo>
                            <a:pt x="106491" y="244630"/>
                            <a:pt x="98508" y="242492"/>
                            <a:pt x="90810" y="239498"/>
                          </a:cubicBezTo>
                          <a:lnTo>
                            <a:pt x="83112" y="252899"/>
                          </a:lnTo>
                          <a:cubicBezTo>
                            <a:pt x="82114" y="254609"/>
                            <a:pt x="79975" y="255180"/>
                            <a:pt x="78265" y="254182"/>
                          </a:cubicBezTo>
                          <a:lnTo>
                            <a:pt x="54030" y="240211"/>
                          </a:lnTo>
                          <a:cubicBezTo>
                            <a:pt x="52319" y="239213"/>
                            <a:pt x="51749" y="237075"/>
                            <a:pt x="52747" y="235364"/>
                          </a:cubicBezTo>
                          <a:lnTo>
                            <a:pt x="60445" y="222106"/>
                          </a:lnTo>
                          <a:cubicBezTo>
                            <a:pt x="53887" y="216831"/>
                            <a:pt x="48042" y="210986"/>
                            <a:pt x="42768" y="204429"/>
                          </a:cubicBezTo>
                          <a:lnTo>
                            <a:pt x="29510" y="212127"/>
                          </a:lnTo>
                          <a:cubicBezTo>
                            <a:pt x="27799" y="213125"/>
                            <a:pt x="25661" y="212555"/>
                            <a:pt x="24663" y="210844"/>
                          </a:cubicBezTo>
                          <a:lnTo>
                            <a:pt x="10692" y="186609"/>
                          </a:lnTo>
                          <a:cubicBezTo>
                            <a:pt x="9694" y="184898"/>
                            <a:pt x="10264" y="182760"/>
                            <a:pt x="11975" y="181762"/>
                          </a:cubicBezTo>
                          <a:lnTo>
                            <a:pt x="25375" y="174064"/>
                          </a:lnTo>
                          <a:cubicBezTo>
                            <a:pt x="22382" y="166366"/>
                            <a:pt x="20243" y="158382"/>
                            <a:pt x="18960" y="149972"/>
                          </a:cubicBezTo>
                          <a:lnTo>
                            <a:pt x="3564" y="149972"/>
                          </a:lnTo>
                          <a:cubicBezTo>
                            <a:pt x="1568" y="149972"/>
                            <a:pt x="0" y="148403"/>
                            <a:pt x="0" y="146408"/>
                          </a:cubicBezTo>
                          <a:lnTo>
                            <a:pt x="0" y="118466"/>
                          </a:lnTo>
                          <a:cubicBezTo>
                            <a:pt x="0" y="116470"/>
                            <a:pt x="1568" y="114902"/>
                            <a:pt x="3564" y="114902"/>
                          </a:cubicBezTo>
                          <a:lnTo>
                            <a:pt x="18960" y="114902"/>
                          </a:lnTo>
                          <a:cubicBezTo>
                            <a:pt x="20243" y="106491"/>
                            <a:pt x="22382" y="98508"/>
                            <a:pt x="25375" y="90810"/>
                          </a:cubicBezTo>
                          <a:lnTo>
                            <a:pt x="11975" y="83112"/>
                          </a:lnTo>
                          <a:cubicBezTo>
                            <a:pt x="10264" y="82114"/>
                            <a:pt x="9694" y="79975"/>
                            <a:pt x="10692" y="78265"/>
                          </a:cubicBezTo>
                          <a:lnTo>
                            <a:pt x="24663" y="54030"/>
                          </a:lnTo>
                          <a:cubicBezTo>
                            <a:pt x="25661" y="52319"/>
                            <a:pt x="27799" y="51749"/>
                            <a:pt x="29510" y="52747"/>
                          </a:cubicBezTo>
                          <a:lnTo>
                            <a:pt x="42768" y="60445"/>
                          </a:lnTo>
                          <a:cubicBezTo>
                            <a:pt x="48042" y="53887"/>
                            <a:pt x="53887" y="48042"/>
                            <a:pt x="60445" y="42768"/>
                          </a:cubicBezTo>
                          <a:lnTo>
                            <a:pt x="52747" y="29510"/>
                          </a:lnTo>
                          <a:cubicBezTo>
                            <a:pt x="51749" y="27799"/>
                            <a:pt x="52319" y="25661"/>
                            <a:pt x="54030" y="24663"/>
                          </a:cubicBezTo>
                          <a:lnTo>
                            <a:pt x="78265" y="10692"/>
                          </a:lnTo>
                          <a:cubicBezTo>
                            <a:pt x="79975" y="9694"/>
                            <a:pt x="82114" y="10264"/>
                            <a:pt x="83112" y="11975"/>
                          </a:cubicBezTo>
                          <a:lnTo>
                            <a:pt x="90810" y="25375"/>
                          </a:lnTo>
                          <a:cubicBezTo>
                            <a:pt x="98508" y="22382"/>
                            <a:pt x="106491" y="20243"/>
                            <a:pt x="114902" y="18960"/>
                          </a:cubicBezTo>
                          <a:lnTo>
                            <a:pt x="114902" y="3564"/>
                          </a:lnTo>
                          <a:cubicBezTo>
                            <a:pt x="114902" y="1568"/>
                            <a:pt x="116470" y="0"/>
                            <a:pt x="118466" y="0"/>
                          </a:cubicBezTo>
                          <a:close/>
                        </a:path>
                      </a:pathLst>
                    </a:custGeom>
                    <a:solidFill>
                      <a:schemeClr val="accent1"/>
                    </a:solidFill>
                    <a:ln w="14247" cap="flat">
                      <a:noFill/>
                      <a:prstDash val="solid"/>
                      <a:miter/>
                    </a:ln>
                  </p:spPr>
                  <p:txBody>
                    <a:bodyPr wrap="square" rtlCol="0" anchor="ctr">
                      <a:noAutofit/>
                    </a:bodyPr>
                    <a:lstStyle/>
                    <a:p>
                      <a:endParaRPr lang="zh-CN" altLang="en-US"/>
                    </a:p>
                  </p:txBody>
                </p:sp>
                <p:grpSp>
                  <p:nvGrpSpPr>
                    <p:cNvPr id="137" name="组合 136"/>
                    <p:cNvGrpSpPr/>
                    <p:nvPr/>
                  </p:nvGrpSpPr>
                  <p:grpSpPr>
                    <a:xfrm>
                      <a:off x="1934448" y="4994874"/>
                      <a:ext cx="5181773" cy="893052"/>
                      <a:chOff x="2432742" y="4905918"/>
                      <a:chExt cx="5181773" cy="893052"/>
                    </a:xfrm>
                  </p:grpSpPr>
                  <p:grpSp>
                    <p:nvGrpSpPr>
                      <p:cNvPr id="126" name="组合 125"/>
                      <p:cNvGrpSpPr/>
                      <p:nvPr/>
                    </p:nvGrpSpPr>
                    <p:grpSpPr>
                      <a:xfrm>
                        <a:off x="2432742" y="4911747"/>
                        <a:ext cx="522356" cy="752638"/>
                        <a:chOff x="3004242" y="4556147"/>
                        <a:chExt cx="522356" cy="752638"/>
                      </a:xfrm>
                    </p:grpSpPr>
                    <p:sp>
                      <p:nvSpPr>
                        <p:cNvPr id="19" name="任意多边形: 形状 18"/>
                        <p:cNvSpPr/>
                        <p:nvPr/>
                      </p:nvSpPr>
                      <p:spPr>
                        <a:xfrm>
                          <a:off x="3433793" y="4630920"/>
                          <a:ext cx="92805" cy="677865"/>
                        </a:xfrm>
                        <a:custGeom>
                          <a:avLst/>
                          <a:gdLst>
                            <a:gd name="connsiteX0" fmla="*/ 0 w 92805"/>
                            <a:gd name="connsiteY0" fmla="*/ 0 h 677865"/>
                            <a:gd name="connsiteX1" fmla="*/ 92806 w 92805"/>
                            <a:gd name="connsiteY1" fmla="*/ 0 h 677865"/>
                            <a:gd name="connsiteX2" fmla="*/ 92806 w 92805"/>
                            <a:gd name="connsiteY2" fmla="*/ 677865 h 677865"/>
                            <a:gd name="connsiteX3" fmla="*/ 0 w 92805"/>
                            <a:gd name="connsiteY3" fmla="*/ 677865 h 677865"/>
                          </a:gdLst>
                          <a:ahLst/>
                          <a:cxnLst>
                            <a:cxn ang="0">
                              <a:pos x="connsiteX0" y="connsiteY0"/>
                            </a:cxn>
                            <a:cxn ang="0">
                              <a:pos x="connsiteX1" y="connsiteY1"/>
                            </a:cxn>
                            <a:cxn ang="0">
                              <a:pos x="connsiteX2" y="connsiteY2"/>
                            </a:cxn>
                            <a:cxn ang="0">
                              <a:pos x="connsiteX3" y="connsiteY3"/>
                            </a:cxn>
                          </a:cxnLst>
                          <a:rect l="l" t="t" r="r" b="b"/>
                          <a:pathLst>
                            <a:path w="92805" h="677865">
                              <a:moveTo>
                                <a:pt x="0" y="0"/>
                              </a:moveTo>
                              <a:lnTo>
                                <a:pt x="92806" y="0"/>
                              </a:lnTo>
                              <a:lnTo>
                                <a:pt x="92806" y="677865"/>
                              </a:lnTo>
                              <a:lnTo>
                                <a:pt x="0" y="677865"/>
                              </a:lnTo>
                              <a:close/>
                            </a:path>
                          </a:pathLst>
                        </a:custGeom>
                        <a:gradFill>
                          <a:gsLst>
                            <a:gs pos="0">
                              <a:schemeClr val="accent1">
                                <a:lumMod val="60000"/>
                                <a:lumOff val="40000"/>
                              </a:schemeClr>
                            </a:gs>
                            <a:gs pos="50000">
                              <a:schemeClr val="accent1"/>
                            </a:gs>
                          </a:gsLst>
                          <a:lin ang="2700000" scaled="0"/>
                        </a:gradFill>
                        <a:ln w="254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noAutofit/>
                        </a:bodyPr>
                        <a:lstStyle/>
                        <a:p>
                          <a:pPr algn="ctr"/>
                          <a:endParaRPr lang="zh-CN" altLang="en-US" sz="2000" b="1"/>
                        </a:p>
                      </p:txBody>
                    </p:sp>
                    <p:sp>
                      <p:nvSpPr>
                        <p:cNvPr id="20" name="文本框 19"/>
                        <p:cNvSpPr txBox="1"/>
                        <p:nvPr/>
                      </p:nvSpPr>
                      <p:spPr>
                        <a:xfrm>
                          <a:off x="3004242" y="4556147"/>
                          <a:ext cx="393056" cy="338554"/>
                        </a:xfrm>
                        <a:prstGeom prst="rect">
                          <a:avLst/>
                        </a:prstGeom>
                        <a:noFill/>
                      </p:spPr>
                      <p:txBody>
                        <a:bodyPr wrap="none" rtlCol="0">
                          <a:spAutoFit/>
                        </a:bodyPr>
                        <a:lstStyle/>
                        <a:p>
                          <a:pPr algn="l"/>
                          <a:r>
                            <a:rPr lang="en-US" altLang="zh-CN" sz="1600" b="1">
                              <a:solidFill>
                                <a:srgbClr val="FFFFFF"/>
                              </a:solidFill>
                              <a:latin typeface="Calibri" pitchFamily="34" charset="0"/>
                              <a:ea typeface="宋体" pitchFamily="2" charset="-122"/>
                              <a:rtl val="0"/>
                            </a:rPr>
                            <a:t>01</a:t>
                          </a:r>
                          <a:endParaRPr lang="zh-CN" altLang="en-US" sz="1600" b="1" dirty="0">
                            <a:solidFill>
                              <a:srgbClr val="FFFFFF"/>
                            </a:solidFill>
                            <a:latin typeface="Calibri" pitchFamily="34" charset="0"/>
                            <a:ea typeface="宋体" pitchFamily="2" charset="-122"/>
                            <a:rtl val="0"/>
                          </a:endParaRPr>
                        </a:p>
                      </p:txBody>
                    </p:sp>
                  </p:grpSp>
                  <p:grpSp>
                    <p:nvGrpSpPr>
                      <p:cNvPr id="131" name="组合 130"/>
                      <p:cNvGrpSpPr/>
                      <p:nvPr/>
                    </p:nvGrpSpPr>
                    <p:grpSpPr>
                      <a:xfrm>
                        <a:off x="3241285" y="4905918"/>
                        <a:ext cx="4373230" cy="893052"/>
                        <a:chOff x="6700750" y="1129695"/>
                        <a:chExt cx="4199799" cy="893052"/>
                      </a:xfrm>
                    </p:grpSpPr>
                    <p:sp>
                      <p:nvSpPr>
                        <p:cNvPr id="132" name="文本框 131"/>
                        <p:cNvSpPr txBox="1"/>
                        <p:nvPr/>
                      </p:nvSpPr>
                      <p:spPr>
                        <a:xfrm>
                          <a:off x="6700750" y="1129695"/>
                          <a:ext cx="4199798" cy="423362"/>
                        </a:xfrm>
                        <a:prstGeom prst="rect">
                          <a:avLst/>
                        </a:prstGeom>
                        <a:noFill/>
                      </p:spPr>
                      <p:txBody>
                        <a:bodyPr wrap="square" rtlCol="0" anchor="b" anchorCtr="0">
                          <a:normAutofit/>
                        </a:bodyPr>
                        <a:lstStyle/>
                        <a:p>
                          <a:r>
                            <a:rPr kumimoji="1" lang="en-US" altLang="zh-CN" b="1">
                              <a:latin typeface="Calibri" pitchFamily="34" charset="0"/>
                              <a:ea typeface="宋体" pitchFamily="2" charset="-122"/>
                            </a:rPr>
                            <a:t>Click to add text</a:t>
                          </a:r>
                          <a:endParaRPr kumimoji="1" lang="en-US" altLang="zh-CN" b="1" dirty="0">
                            <a:latin typeface="Calibri" pitchFamily="34" charset="0"/>
                            <a:ea typeface="宋体" pitchFamily="2" charset="-122"/>
                          </a:endParaRPr>
                        </a:p>
                      </p:txBody>
                    </p:sp>
                    <p:sp>
                      <p:nvSpPr>
                        <p:cNvPr id="133" name="文本框 132"/>
                        <p:cNvSpPr txBox="1"/>
                        <p:nvPr/>
                      </p:nvSpPr>
                      <p:spPr>
                        <a:xfrm>
                          <a:off x="6700752" y="1553058"/>
                          <a:ext cx="4199797" cy="469689"/>
                        </a:xfrm>
                        <a:prstGeom prst="rect">
                          <a:avLst/>
                        </a:prstGeom>
                        <a:noFill/>
                      </p:spPr>
                      <p:txBody>
                        <a:bodyPr wrap="square" rtlCol="0" anchor="t" anchorCtr="0">
                          <a:normAutofit/>
                        </a:bodyPr>
                        <a:lstStyle/>
                        <a:p>
                          <a:pPr>
                            <a:lnSpc>
                              <a:spcPct val="120000"/>
                            </a:lnSpc>
                          </a:pPr>
                          <a:r>
                            <a:rPr kumimoji="1" lang="en-US" altLang="zh-CN" sz="1200">
                              <a:latin typeface="Calibri" pitchFamily="34" charset="0"/>
                              <a:ea typeface="宋体" pitchFamily="2" charset="-122"/>
                            </a:rPr>
                            <a:t>Duis sed eros tempor diam diam sit est et et clita sit.</a:t>
                          </a:r>
                          <a:endParaRPr kumimoji="1" lang="en-US" altLang="zh-CN" sz="1200" dirty="0">
                            <a:latin typeface="Calibri" pitchFamily="34" charset="0"/>
                            <a:ea typeface="宋体" pitchFamily="2" charset="-122"/>
                          </a:endParaRPr>
                        </a:p>
                      </p:txBody>
                    </p:sp>
                  </p:grpSp>
                </p:grpSp>
              </p:grpSp>
            </p:grpSp>
          </p:grpSp>
          <p:sp>
            <p:nvSpPr>
              <p:cNvPr id="4" name="矩形 3"/>
              <p:cNvSpPr/>
              <p:nvPr/>
            </p:nvSpPr>
            <p:spPr>
              <a:xfrm>
                <a:off x="7414394" y="4388858"/>
                <a:ext cx="4116493" cy="12591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normAutofit/>
              </a:bodyPr>
              <a:lstStyle/>
              <a:p>
                <a:pPr algn="r">
                  <a:buSzPct val="25000"/>
                </a:pPr>
                <a:r>
                  <a:rPr lang="en-US" altLang="zh-CN" sz="2800" b="1" dirty="0">
                    <a:solidFill>
                      <a:schemeClr val="tx1"/>
                    </a:solidFill>
                    <a:latin typeface="Calibri" pitchFamily="34" charset="0"/>
                    <a:ea typeface="宋体" pitchFamily="2" charset="-122"/>
                  </a:rPr>
                  <a:t>Unified fonts make reading more fluent.</a:t>
                </a:r>
                <a:endParaRPr lang="en-US" altLang="zh-CN" sz="2800" b="1" dirty="0">
                  <a:solidFill>
                    <a:schemeClr val="tx1"/>
                  </a:solidFill>
                  <a:latin typeface="Calibri" pitchFamily="34" charset="0"/>
                  <a:ea typeface="宋体" pitchFamily="2" charset="-122"/>
                </a:endParaRPr>
              </a:p>
            </p:txBody>
          </p:sp>
        </p:grpSp>
      </p:grpSp>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1" name="组合 90"/>
          <p:cNvGrpSpPr/>
          <p:nvPr/>
        </p:nvGrpSpPr>
        <p:grpSpPr>
          <a:xfrm>
            <a:off x="611025" y="1148553"/>
            <a:ext cx="10935851" cy="4678265"/>
            <a:chOff x="611025" y="1148551"/>
            <a:chExt cx="10935851" cy="4678265"/>
          </a:xfrm>
        </p:grpSpPr>
        <p:sp>
          <p:nvSpPr>
            <p:cNvPr id="60" name="矩形 59"/>
            <p:cNvSpPr/>
            <p:nvPr/>
          </p:nvSpPr>
          <p:spPr>
            <a:xfrm>
              <a:off x="660400" y="1148551"/>
              <a:ext cx="10858500" cy="6679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normAutofit/>
            </a:bodyPr>
            <a:lstStyle/>
            <a:p>
              <a:pPr algn="ctr">
                <a:buSzPct val="25000"/>
              </a:pPr>
              <a:r>
                <a:rPr lang="en-US" altLang="zh-CN" sz="2400" b="1" dirty="0">
                  <a:solidFill>
                    <a:schemeClr val="tx1"/>
                  </a:solidFill>
                  <a:latin typeface="Calibri" pitchFamily="34" charset="0"/>
                  <a:ea typeface="宋体" pitchFamily="2" charset="-122"/>
                </a:rPr>
                <a:t>Unified fonts make reading more fluent.</a:t>
              </a:r>
              <a:endParaRPr lang="en-US" altLang="zh-CN" sz="2400" b="1" dirty="0">
                <a:solidFill>
                  <a:schemeClr val="tx1"/>
                </a:solidFill>
                <a:latin typeface="Calibri" pitchFamily="34" charset="0"/>
                <a:ea typeface="宋体" pitchFamily="2" charset="-122"/>
              </a:endParaRPr>
            </a:p>
          </p:txBody>
        </p:sp>
        <p:grpSp>
          <p:nvGrpSpPr>
            <p:cNvPr id="90" name="组合 89"/>
            <p:cNvGrpSpPr/>
            <p:nvPr/>
          </p:nvGrpSpPr>
          <p:grpSpPr>
            <a:xfrm>
              <a:off x="611025" y="2457450"/>
              <a:ext cx="10935851" cy="3369366"/>
              <a:chOff x="611025" y="2457450"/>
              <a:chExt cx="10935851" cy="3369366"/>
            </a:xfrm>
          </p:grpSpPr>
          <p:grpSp>
            <p:nvGrpSpPr>
              <p:cNvPr id="3" name="组合 2"/>
              <p:cNvGrpSpPr/>
              <p:nvPr/>
            </p:nvGrpSpPr>
            <p:grpSpPr>
              <a:xfrm>
                <a:off x="3996531" y="2457450"/>
                <a:ext cx="4198938" cy="3346450"/>
                <a:chOff x="3735388" y="1597026"/>
                <a:chExt cx="4198938" cy="3346450"/>
              </a:xfrm>
            </p:grpSpPr>
            <p:sp>
              <p:nvSpPr>
                <p:cNvPr id="21" name="椭圆 20"/>
                <p:cNvSpPr/>
                <p:nvPr/>
              </p:nvSpPr>
              <p:spPr bwMode="auto">
                <a:xfrm>
                  <a:off x="4495800" y="2133601"/>
                  <a:ext cx="2749550" cy="2751138"/>
                </a:xfrm>
                <a:prstGeom prst="ellipse">
                  <a:avLst/>
                </a:prstGeom>
                <a:solidFill>
                  <a:schemeClr val="tx2">
                    <a:alpha val="20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2" name="椭圆 21"/>
                <p:cNvSpPr/>
                <p:nvPr/>
              </p:nvSpPr>
              <p:spPr bwMode="auto">
                <a:xfrm>
                  <a:off x="4768850" y="2406651"/>
                  <a:ext cx="2203450" cy="2205038"/>
                </a:xfrm>
                <a:prstGeom prst="ellipse">
                  <a:avLst/>
                </a:pr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3" name="椭圆 22"/>
                <p:cNvSpPr/>
                <p:nvPr/>
              </p:nvSpPr>
              <p:spPr bwMode="auto">
                <a:xfrm>
                  <a:off x="5010150" y="2647951"/>
                  <a:ext cx="1720850" cy="1722438"/>
                </a:xfrm>
                <a:prstGeom prst="ellipse">
                  <a:avLst/>
                </a:pr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4" name="椭圆 23"/>
                <p:cNvSpPr/>
                <p:nvPr/>
              </p:nvSpPr>
              <p:spPr bwMode="auto">
                <a:xfrm>
                  <a:off x="5305425" y="2943226"/>
                  <a:ext cx="1125538" cy="1127125"/>
                </a:xfrm>
                <a:prstGeom prst="ellipse">
                  <a:avLst/>
                </a:pr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5" name="椭圆 24"/>
                <p:cNvSpPr/>
                <p:nvPr/>
              </p:nvSpPr>
              <p:spPr bwMode="auto">
                <a:xfrm>
                  <a:off x="5626100" y="3265488"/>
                  <a:ext cx="487363" cy="487363"/>
                </a:xfrm>
                <a:prstGeom prst="ellipse">
                  <a:avLst/>
                </a:pr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6" name="任意多边形: 形状 25"/>
                <p:cNvSpPr/>
                <p:nvPr/>
              </p:nvSpPr>
              <p:spPr bwMode="auto">
                <a:xfrm>
                  <a:off x="7137400" y="1789113"/>
                  <a:ext cx="460375" cy="381000"/>
                </a:xfrm>
                <a:custGeom>
                  <a:avLst/>
                  <a:gdLst>
                    <a:gd name="T0" fmla="*/ 0 w 103"/>
                    <a:gd name="T1" fmla="*/ 74 h 85"/>
                    <a:gd name="T2" fmla="*/ 57 w 103"/>
                    <a:gd name="T3" fmla="*/ 58 h 85"/>
                    <a:gd name="T4" fmla="*/ 103 w 103"/>
                    <a:gd name="T5" fmla="*/ 8 h 85"/>
                    <a:gd name="T6" fmla="*/ 67 w 103"/>
                    <a:gd name="T7" fmla="*/ 0 h 85"/>
                    <a:gd name="T8" fmla="*/ 0 w 103"/>
                    <a:gd name="T9" fmla="*/ 74 h 85"/>
                  </a:gdLst>
                  <a:ahLst/>
                  <a:cxnLst>
                    <a:cxn ang="0">
                      <a:pos x="T0" y="T1"/>
                    </a:cxn>
                    <a:cxn ang="0">
                      <a:pos x="T2" y="T3"/>
                    </a:cxn>
                    <a:cxn ang="0">
                      <a:pos x="T4" y="T5"/>
                    </a:cxn>
                    <a:cxn ang="0">
                      <a:pos x="T6" y="T7"/>
                    </a:cxn>
                    <a:cxn ang="0">
                      <a:pos x="T8" y="T9"/>
                    </a:cxn>
                  </a:cxnLst>
                  <a:rect l="0" t="0" r="r" b="b"/>
                  <a:pathLst>
                    <a:path w="103" h="85">
                      <a:moveTo>
                        <a:pt x="0" y="74"/>
                      </a:moveTo>
                      <a:cubicBezTo>
                        <a:pt x="0" y="74"/>
                        <a:pt x="31" y="85"/>
                        <a:pt x="57" y="58"/>
                      </a:cubicBezTo>
                      <a:cubicBezTo>
                        <a:pt x="83" y="31"/>
                        <a:pt x="103" y="8"/>
                        <a:pt x="103" y="8"/>
                      </a:cubicBezTo>
                      <a:cubicBezTo>
                        <a:pt x="67" y="0"/>
                        <a:pt x="67" y="0"/>
                        <a:pt x="67" y="0"/>
                      </a:cubicBezTo>
                      <a:lnTo>
                        <a:pt x="0" y="74"/>
                      </a:lnTo>
                      <a:close/>
                    </a:path>
                  </a:pathLst>
                </a:custGeom>
                <a:solidFill>
                  <a:schemeClr val="accent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7" name="任意多边形: 形状 26"/>
                <p:cNvSpPr/>
                <p:nvPr/>
              </p:nvSpPr>
              <p:spPr bwMode="auto">
                <a:xfrm>
                  <a:off x="7053263" y="1619251"/>
                  <a:ext cx="361950" cy="484188"/>
                </a:xfrm>
                <a:custGeom>
                  <a:avLst/>
                  <a:gdLst>
                    <a:gd name="T0" fmla="*/ 14 w 81"/>
                    <a:gd name="T1" fmla="*/ 108 h 108"/>
                    <a:gd name="T2" fmla="*/ 25 w 81"/>
                    <a:gd name="T3" fmla="*/ 50 h 108"/>
                    <a:gd name="T4" fmla="*/ 69 w 81"/>
                    <a:gd name="T5" fmla="*/ 0 h 108"/>
                    <a:gd name="T6" fmla="*/ 81 w 81"/>
                    <a:gd name="T7" fmla="*/ 34 h 108"/>
                    <a:gd name="T8" fmla="*/ 14 w 81"/>
                    <a:gd name="T9" fmla="*/ 108 h 108"/>
                  </a:gdLst>
                  <a:ahLst/>
                  <a:cxnLst>
                    <a:cxn ang="0">
                      <a:pos x="T0" y="T1"/>
                    </a:cxn>
                    <a:cxn ang="0">
                      <a:pos x="T2" y="T3"/>
                    </a:cxn>
                    <a:cxn ang="0">
                      <a:pos x="T4" y="T5"/>
                    </a:cxn>
                    <a:cxn ang="0">
                      <a:pos x="T6" y="T7"/>
                    </a:cxn>
                    <a:cxn ang="0">
                      <a:pos x="T8" y="T9"/>
                    </a:cxn>
                  </a:cxnLst>
                  <a:rect l="0" t="0" r="r" b="b"/>
                  <a:pathLst>
                    <a:path w="81" h="108">
                      <a:moveTo>
                        <a:pt x="14" y="108"/>
                      </a:moveTo>
                      <a:cubicBezTo>
                        <a:pt x="14" y="108"/>
                        <a:pt x="0" y="78"/>
                        <a:pt x="25" y="50"/>
                      </a:cubicBezTo>
                      <a:cubicBezTo>
                        <a:pt x="49" y="22"/>
                        <a:pt x="69" y="0"/>
                        <a:pt x="69" y="0"/>
                      </a:cubicBezTo>
                      <a:cubicBezTo>
                        <a:pt x="81" y="34"/>
                        <a:pt x="81" y="34"/>
                        <a:pt x="81" y="34"/>
                      </a:cubicBezTo>
                      <a:lnTo>
                        <a:pt x="14" y="108"/>
                      </a:lnTo>
                      <a:close/>
                    </a:path>
                  </a:pathLst>
                </a:custGeom>
                <a:solidFill>
                  <a:schemeClr val="accent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8" name="任意多边形: 形状 27"/>
                <p:cNvSpPr/>
                <p:nvPr/>
              </p:nvSpPr>
              <p:spPr bwMode="auto">
                <a:xfrm>
                  <a:off x="6203950" y="1771651"/>
                  <a:ext cx="1233488" cy="1355725"/>
                </a:xfrm>
                <a:custGeom>
                  <a:avLst/>
                  <a:gdLst>
                    <a:gd name="T0" fmla="*/ 0 w 777"/>
                    <a:gd name="T1" fmla="*/ 843 h 854"/>
                    <a:gd name="T2" fmla="*/ 11 w 777"/>
                    <a:gd name="T3" fmla="*/ 854 h 854"/>
                    <a:gd name="T4" fmla="*/ 777 w 777"/>
                    <a:gd name="T5" fmla="*/ 11 h 854"/>
                    <a:gd name="T6" fmla="*/ 766 w 777"/>
                    <a:gd name="T7" fmla="*/ 0 h 854"/>
                    <a:gd name="T8" fmla="*/ 0 w 777"/>
                    <a:gd name="T9" fmla="*/ 843 h 854"/>
                  </a:gdLst>
                  <a:ahLst/>
                  <a:cxnLst>
                    <a:cxn ang="0">
                      <a:pos x="T0" y="T1"/>
                    </a:cxn>
                    <a:cxn ang="0">
                      <a:pos x="T2" y="T3"/>
                    </a:cxn>
                    <a:cxn ang="0">
                      <a:pos x="T4" y="T5"/>
                    </a:cxn>
                    <a:cxn ang="0">
                      <a:pos x="T6" y="T7"/>
                    </a:cxn>
                    <a:cxn ang="0">
                      <a:pos x="T8" y="T9"/>
                    </a:cxn>
                  </a:cxnLst>
                  <a:rect l="0" t="0" r="r" b="b"/>
                  <a:pathLst>
                    <a:path w="777" h="854">
                      <a:moveTo>
                        <a:pt x="0" y="843"/>
                      </a:moveTo>
                      <a:lnTo>
                        <a:pt x="11" y="854"/>
                      </a:lnTo>
                      <a:lnTo>
                        <a:pt x="777" y="11"/>
                      </a:lnTo>
                      <a:lnTo>
                        <a:pt x="766" y="0"/>
                      </a:lnTo>
                      <a:lnTo>
                        <a:pt x="0" y="843"/>
                      </a:lnTo>
                      <a:close/>
                    </a:path>
                  </a:pathLst>
                </a:custGeom>
                <a:solidFill>
                  <a:schemeClr val="accent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9" name="任意多边形: 形状 28"/>
                <p:cNvSpPr/>
                <p:nvPr/>
              </p:nvSpPr>
              <p:spPr bwMode="auto">
                <a:xfrm>
                  <a:off x="5824538" y="2966349"/>
                  <a:ext cx="530226" cy="580818"/>
                </a:xfrm>
                <a:custGeom>
                  <a:avLst/>
                  <a:gdLst>
                    <a:gd name="T0" fmla="*/ 92 w 93"/>
                    <a:gd name="T1" fmla="*/ 25 h 102"/>
                    <a:gd name="T2" fmla="*/ 65 w 93"/>
                    <a:gd name="T3" fmla="*/ 1 h 102"/>
                    <a:gd name="T4" fmla="*/ 61 w 93"/>
                    <a:gd name="T5" fmla="*/ 1 h 102"/>
                    <a:gd name="T6" fmla="*/ 2 w 93"/>
                    <a:gd name="T7" fmla="*/ 96 h 102"/>
                    <a:gd name="T8" fmla="*/ 6 w 93"/>
                    <a:gd name="T9" fmla="*/ 100 h 102"/>
                    <a:gd name="T10" fmla="*/ 92 w 93"/>
                    <a:gd name="T11" fmla="*/ 30 h 102"/>
                    <a:gd name="T12" fmla="*/ 92 w 93"/>
                    <a:gd name="T13" fmla="*/ 25 h 102"/>
                  </a:gdLst>
                  <a:ahLst/>
                  <a:cxnLst>
                    <a:cxn ang="0">
                      <a:pos x="T0" y="T1"/>
                    </a:cxn>
                    <a:cxn ang="0">
                      <a:pos x="T2" y="T3"/>
                    </a:cxn>
                    <a:cxn ang="0">
                      <a:pos x="T4" y="T5"/>
                    </a:cxn>
                    <a:cxn ang="0">
                      <a:pos x="T6" y="T7"/>
                    </a:cxn>
                    <a:cxn ang="0">
                      <a:pos x="T8" y="T9"/>
                    </a:cxn>
                    <a:cxn ang="0">
                      <a:pos x="T10" y="T11"/>
                    </a:cxn>
                    <a:cxn ang="0">
                      <a:pos x="T12" y="T13"/>
                    </a:cxn>
                  </a:cxnLst>
                  <a:rect l="0" t="0" r="r" b="b"/>
                  <a:pathLst>
                    <a:path w="93" h="102">
                      <a:moveTo>
                        <a:pt x="92" y="25"/>
                      </a:moveTo>
                      <a:cubicBezTo>
                        <a:pt x="65" y="1"/>
                        <a:pt x="65" y="1"/>
                        <a:pt x="65" y="1"/>
                      </a:cubicBezTo>
                      <a:cubicBezTo>
                        <a:pt x="64" y="0"/>
                        <a:pt x="62" y="0"/>
                        <a:pt x="61" y="1"/>
                      </a:cubicBezTo>
                      <a:cubicBezTo>
                        <a:pt x="2" y="96"/>
                        <a:pt x="2" y="96"/>
                        <a:pt x="2" y="96"/>
                      </a:cubicBezTo>
                      <a:cubicBezTo>
                        <a:pt x="0" y="99"/>
                        <a:pt x="4" y="102"/>
                        <a:pt x="6" y="100"/>
                      </a:cubicBezTo>
                      <a:cubicBezTo>
                        <a:pt x="92" y="30"/>
                        <a:pt x="92" y="30"/>
                        <a:pt x="92" y="30"/>
                      </a:cubicBezTo>
                      <a:cubicBezTo>
                        <a:pt x="93" y="29"/>
                        <a:pt x="93" y="26"/>
                        <a:pt x="92" y="25"/>
                      </a:cubicBezTo>
                      <a:close/>
                    </a:path>
                  </a:pathLst>
                </a:custGeom>
                <a:solidFill>
                  <a:schemeClr val="accent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0" name="任意多边形: 形状 29"/>
                <p:cNvSpPr/>
                <p:nvPr/>
              </p:nvSpPr>
              <p:spPr bwMode="auto">
                <a:xfrm>
                  <a:off x="3870325" y="1958976"/>
                  <a:ext cx="674688" cy="676275"/>
                </a:xfrm>
                <a:custGeom>
                  <a:avLst/>
                  <a:gdLst>
                    <a:gd name="T0" fmla="*/ 2 w 151"/>
                    <a:gd name="T1" fmla="*/ 93 h 151"/>
                    <a:gd name="T2" fmla="*/ 8 w 151"/>
                    <a:gd name="T3" fmla="*/ 109 h 151"/>
                    <a:gd name="T4" fmla="*/ 18 w 151"/>
                    <a:gd name="T5" fmla="*/ 124 h 151"/>
                    <a:gd name="T6" fmla="*/ 31 w 151"/>
                    <a:gd name="T7" fmla="*/ 115 h 151"/>
                    <a:gd name="T8" fmla="*/ 43 w 151"/>
                    <a:gd name="T9" fmla="*/ 125 h 151"/>
                    <a:gd name="T10" fmla="*/ 35 w 151"/>
                    <a:gd name="T11" fmla="*/ 139 h 151"/>
                    <a:gd name="T12" fmla="*/ 69 w 151"/>
                    <a:gd name="T13" fmla="*/ 151 h 151"/>
                    <a:gd name="T14" fmla="*/ 72 w 151"/>
                    <a:gd name="T15" fmla="*/ 135 h 151"/>
                    <a:gd name="T16" fmla="*/ 87 w 151"/>
                    <a:gd name="T17" fmla="*/ 134 h 151"/>
                    <a:gd name="T18" fmla="*/ 92 w 151"/>
                    <a:gd name="T19" fmla="*/ 149 h 151"/>
                    <a:gd name="T20" fmla="*/ 109 w 151"/>
                    <a:gd name="T21" fmla="*/ 143 h 151"/>
                    <a:gd name="T22" fmla="*/ 124 w 151"/>
                    <a:gd name="T23" fmla="*/ 133 h 151"/>
                    <a:gd name="T24" fmla="*/ 115 w 151"/>
                    <a:gd name="T25" fmla="*/ 120 h 151"/>
                    <a:gd name="T26" fmla="*/ 125 w 151"/>
                    <a:gd name="T27" fmla="*/ 108 h 151"/>
                    <a:gd name="T28" fmla="*/ 139 w 151"/>
                    <a:gd name="T29" fmla="*/ 115 h 151"/>
                    <a:gd name="T30" fmla="*/ 151 w 151"/>
                    <a:gd name="T31" fmla="*/ 82 h 151"/>
                    <a:gd name="T32" fmla="*/ 135 w 151"/>
                    <a:gd name="T33" fmla="*/ 79 h 151"/>
                    <a:gd name="T34" fmla="*/ 134 w 151"/>
                    <a:gd name="T35" fmla="*/ 64 h 151"/>
                    <a:gd name="T36" fmla="*/ 149 w 151"/>
                    <a:gd name="T37" fmla="*/ 59 h 151"/>
                    <a:gd name="T38" fmla="*/ 143 w 151"/>
                    <a:gd name="T39" fmla="*/ 42 h 151"/>
                    <a:gd name="T40" fmla="*/ 133 w 151"/>
                    <a:gd name="T41" fmla="*/ 27 h 151"/>
                    <a:gd name="T42" fmla="*/ 120 w 151"/>
                    <a:gd name="T43" fmla="*/ 36 h 151"/>
                    <a:gd name="T44" fmla="*/ 108 w 151"/>
                    <a:gd name="T45" fmla="*/ 26 h 151"/>
                    <a:gd name="T46" fmla="*/ 115 w 151"/>
                    <a:gd name="T47" fmla="*/ 12 h 151"/>
                    <a:gd name="T48" fmla="*/ 82 w 151"/>
                    <a:gd name="T49" fmla="*/ 0 h 151"/>
                    <a:gd name="T50" fmla="*/ 79 w 151"/>
                    <a:gd name="T51" fmla="*/ 16 h 151"/>
                    <a:gd name="T52" fmla="*/ 63 w 151"/>
                    <a:gd name="T53" fmla="*/ 17 h 151"/>
                    <a:gd name="T54" fmla="*/ 58 w 151"/>
                    <a:gd name="T55" fmla="*/ 2 h 151"/>
                    <a:gd name="T56" fmla="*/ 42 w 151"/>
                    <a:gd name="T57" fmla="*/ 8 h 151"/>
                    <a:gd name="T58" fmla="*/ 27 w 151"/>
                    <a:gd name="T59" fmla="*/ 18 h 151"/>
                    <a:gd name="T60" fmla="*/ 36 w 151"/>
                    <a:gd name="T61" fmla="*/ 31 h 151"/>
                    <a:gd name="T62" fmla="*/ 26 w 151"/>
                    <a:gd name="T63" fmla="*/ 43 h 151"/>
                    <a:gd name="T64" fmla="*/ 11 w 151"/>
                    <a:gd name="T65" fmla="*/ 36 h 151"/>
                    <a:gd name="T66" fmla="*/ 0 w 151"/>
                    <a:gd name="T67" fmla="*/ 69 h 151"/>
                    <a:gd name="T68" fmla="*/ 16 w 151"/>
                    <a:gd name="T69" fmla="*/ 72 h 151"/>
                    <a:gd name="T70" fmla="*/ 17 w 151"/>
                    <a:gd name="T71" fmla="*/ 88 h 151"/>
                    <a:gd name="T72" fmla="*/ 2 w 151"/>
                    <a:gd name="T73" fmla="*/ 93 h 151"/>
                    <a:gd name="T74" fmla="*/ 59 w 151"/>
                    <a:gd name="T75" fmla="*/ 43 h 151"/>
                    <a:gd name="T76" fmla="*/ 108 w 151"/>
                    <a:gd name="T77" fmla="*/ 59 h 151"/>
                    <a:gd name="T78" fmla="*/ 92 w 151"/>
                    <a:gd name="T79" fmla="*/ 108 h 151"/>
                    <a:gd name="T80" fmla="*/ 43 w 151"/>
                    <a:gd name="T81" fmla="*/ 92 h 151"/>
                    <a:gd name="T82" fmla="*/ 59 w 151"/>
                    <a:gd name="T83" fmla="*/ 43 h 151"/>
                    <a:gd name="T84" fmla="*/ 65 w 151"/>
                    <a:gd name="T85" fmla="*/ 54 h 151"/>
                    <a:gd name="T86" fmla="*/ 97 w 151"/>
                    <a:gd name="T87" fmla="*/ 65 h 151"/>
                    <a:gd name="T88" fmla="*/ 86 w 151"/>
                    <a:gd name="T89" fmla="*/ 97 h 151"/>
                    <a:gd name="T90" fmla="*/ 54 w 151"/>
                    <a:gd name="T91" fmla="*/ 86 h 151"/>
                    <a:gd name="T92" fmla="*/ 65 w 151"/>
                    <a:gd name="T93" fmla="*/ 54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1" h="151">
                      <a:moveTo>
                        <a:pt x="2" y="93"/>
                      </a:moveTo>
                      <a:cubicBezTo>
                        <a:pt x="3" y="98"/>
                        <a:pt x="5" y="104"/>
                        <a:pt x="8" y="109"/>
                      </a:cubicBezTo>
                      <a:cubicBezTo>
                        <a:pt x="11" y="115"/>
                        <a:pt x="14" y="119"/>
                        <a:pt x="18" y="124"/>
                      </a:cubicBezTo>
                      <a:cubicBezTo>
                        <a:pt x="31" y="115"/>
                        <a:pt x="31" y="115"/>
                        <a:pt x="31" y="115"/>
                      </a:cubicBezTo>
                      <a:cubicBezTo>
                        <a:pt x="34" y="119"/>
                        <a:pt x="38" y="122"/>
                        <a:pt x="43" y="125"/>
                      </a:cubicBezTo>
                      <a:cubicBezTo>
                        <a:pt x="35" y="139"/>
                        <a:pt x="35" y="139"/>
                        <a:pt x="35" y="139"/>
                      </a:cubicBezTo>
                      <a:cubicBezTo>
                        <a:pt x="46" y="146"/>
                        <a:pt x="57" y="150"/>
                        <a:pt x="69" y="151"/>
                      </a:cubicBezTo>
                      <a:cubicBezTo>
                        <a:pt x="72" y="135"/>
                        <a:pt x="72" y="135"/>
                        <a:pt x="72" y="135"/>
                      </a:cubicBezTo>
                      <a:cubicBezTo>
                        <a:pt x="77" y="135"/>
                        <a:pt x="82" y="135"/>
                        <a:pt x="87" y="134"/>
                      </a:cubicBezTo>
                      <a:cubicBezTo>
                        <a:pt x="92" y="149"/>
                        <a:pt x="92" y="149"/>
                        <a:pt x="92" y="149"/>
                      </a:cubicBezTo>
                      <a:cubicBezTo>
                        <a:pt x="98" y="148"/>
                        <a:pt x="104" y="146"/>
                        <a:pt x="109" y="143"/>
                      </a:cubicBezTo>
                      <a:cubicBezTo>
                        <a:pt x="114" y="140"/>
                        <a:pt x="119" y="137"/>
                        <a:pt x="124" y="133"/>
                      </a:cubicBezTo>
                      <a:cubicBezTo>
                        <a:pt x="115" y="120"/>
                        <a:pt x="115" y="120"/>
                        <a:pt x="115" y="120"/>
                      </a:cubicBezTo>
                      <a:cubicBezTo>
                        <a:pt x="119" y="117"/>
                        <a:pt x="122" y="113"/>
                        <a:pt x="125" y="108"/>
                      </a:cubicBezTo>
                      <a:cubicBezTo>
                        <a:pt x="139" y="115"/>
                        <a:pt x="139" y="115"/>
                        <a:pt x="139" y="115"/>
                      </a:cubicBezTo>
                      <a:cubicBezTo>
                        <a:pt x="146" y="105"/>
                        <a:pt x="149" y="94"/>
                        <a:pt x="151" y="82"/>
                      </a:cubicBezTo>
                      <a:cubicBezTo>
                        <a:pt x="135" y="79"/>
                        <a:pt x="135" y="79"/>
                        <a:pt x="135" y="79"/>
                      </a:cubicBezTo>
                      <a:cubicBezTo>
                        <a:pt x="135" y="74"/>
                        <a:pt x="135" y="69"/>
                        <a:pt x="134" y="64"/>
                      </a:cubicBezTo>
                      <a:cubicBezTo>
                        <a:pt x="149" y="59"/>
                        <a:pt x="149" y="59"/>
                        <a:pt x="149" y="59"/>
                      </a:cubicBezTo>
                      <a:cubicBezTo>
                        <a:pt x="148" y="53"/>
                        <a:pt x="146" y="47"/>
                        <a:pt x="143" y="42"/>
                      </a:cubicBezTo>
                      <a:cubicBezTo>
                        <a:pt x="140" y="36"/>
                        <a:pt x="137" y="32"/>
                        <a:pt x="133" y="27"/>
                      </a:cubicBezTo>
                      <a:cubicBezTo>
                        <a:pt x="120" y="36"/>
                        <a:pt x="120" y="36"/>
                        <a:pt x="120" y="36"/>
                      </a:cubicBezTo>
                      <a:cubicBezTo>
                        <a:pt x="116" y="32"/>
                        <a:pt x="112" y="29"/>
                        <a:pt x="108" y="26"/>
                      </a:cubicBezTo>
                      <a:cubicBezTo>
                        <a:pt x="115" y="12"/>
                        <a:pt x="115" y="12"/>
                        <a:pt x="115" y="12"/>
                      </a:cubicBezTo>
                      <a:cubicBezTo>
                        <a:pt x="105" y="5"/>
                        <a:pt x="94" y="1"/>
                        <a:pt x="82" y="0"/>
                      </a:cubicBezTo>
                      <a:cubicBezTo>
                        <a:pt x="79" y="16"/>
                        <a:pt x="79" y="16"/>
                        <a:pt x="79" y="16"/>
                      </a:cubicBezTo>
                      <a:cubicBezTo>
                        <a:pt x="74" y="16"/>
                        <a:pt x="69" y="16"/>
                        <a:pt x="63" y="17"/>
                      </a:cubicBezTo>
                      <a:cubicBezTo>
                        <a:pt x="58" y="2"/>
                        <a:pt x="58" y="2"/>
                        <a:pt x="58" y="2"/>
                      </a:cubicBezTo>
                      <a:cubicBezTo>
                        <a:pt x="53" y="3"/>
                        <a:pt x="47" y="5"/>
                        <a:pt x="42" y="8"/>
                      </a:cubicBezTo>
                      <a:cubicBezTo>
                        <a:pt x="36" y="11"/>
                        <a:pt x="31" y="14"/>
                        <a:pt x="27" y="18"/>
                      </a:cubicBezTo>
                      <a:cubicBezTo>
                        <a:pt x="36" y="31"/>
                        <a:pt x="36" y="31"/>
                        <a:pt x="36" y="31"/>
                      </a:cubicBezTo>
                      <a:cubicBezTo>
                        <a:pt x="32" y="34"/>
                        <a:pt x="29" y="38"/>
                        <a:pt x="26" y="43"/>
                      </a:cubicBezTo>
                      <a:cubicBezTo>
                        <a:pt x="11" y="36"/>
                        <a:pt x="11" y="36"/>
                        <a:pt x="11" y="36"/>
                      </a:cubicBezTo>
                      <a:cubicBezTo>
                        <a:pt x="5" y="46"/>
                        <a:pt x="1" y="57"/>
                        <a:pt x="0" y="69"/>
                      </a:cubicBezTo>
                      <a:cubicBezTo>
                        <a:pt x="16" y="72"/>
                        <a:pt x="16" y="72"/>
                        <a:pt x="16" y="72"/>
                      </a:cubicBezTo>
                      <a:cubicBezTo>
                        <a:pt x="16" y="77"/>
                        <a:pt x="16" y="82"/>
                        <a:pt x="17" y="88"/>
                      </a:cubicBezTo>
                      <a:lnTo>
                        <a:pt x="2" y="93"/>
                      </a:lnTo>
                      <a:close/>
                      <a:moveTo>
                        <a:pt x="59" y="43"/>
                      </a:moveTo>
                      <a:cubicBezTo>
                        <a:pt x="77" y="34"/>
                        <a:pt x="99" y="41"/>
                        <a:pt x="108" y="59"/>
                      </a:cubicBezTo>
                      <a:cubicBezTo>
                        <a:pt x="117" y="77"/>
                        <a:pt x="110" y="99"/>
                        <a:pt x="92" y="108"/>
                      </a:cubicBezTo>
                      <a:cubicBezTo>
                        <a:pt x="74" y="117"/>
                        <a:pt x="52" y="110"/>
                        <a:pt x="43" y="92"/>
                      </a:cubicBezTo>
                      <a:cubicBezTo>
                        <a:pt x="34" y="74"/>
                        <a:pt x="41" y="52"/>
                        <a:pt x="59" y="43"/>
                      </a:cubicBezTo>
                      <a:close/>
                      <a:moveTo>
                        <a:pt x="65" y="54"/>
                      </a:moveTo>
                      <a:cubicBezTo>
                        <a:pt x="77" y="48"/>
                        <a:pt x="91" y="53"/>
                        <a:pt x="97" y="65"/>
                      </a:cubicBezTo>
                      <a:cubicBezTo>
                        <a:pt x="103" y="77"/>
                        <a:pt x="98" y="91"/>
                        <a:pt x="86" y="97"/>
                      </a:cubicBezTo>
                      <a:cubicBezTo>
                        <a:pt x="74" y="103"/>
                        <a:pt x="60" y="98"/>
                        <a:pt x="54" y="86"/>
                      </a:cubicBezTo>
                      <a:cubicBezTo>
                        <a:pt x="48" y="74"/>
                        <a:pt x="53" y="60"/>
                        <a:pt x="65" y="54"/>
                      </a:cubicBezTo>
                      <a:close/>
                    </a:path>
                  </a:pathLst>
                </a:custGeom>
                <a:solidFill>
                  <a:schemeClr val="tx2">
                    <a:alpha val="40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1" name="任意多边形: 形状 30"/>
                <p:cNvSpPr/>
                <p:nvPr/>
              </p:nvSpPr>
              <p:spPr bwMode="auto">
                <a:xfrm>
                  <a:off x="4579938" y="1709738"/>
                  <a:ext cx="465138" cy="465138"/>
                </a:xfrm>
                <a:custGeom>
                  <a:avLst/>
                  <a:gdLst>
                    <a:gd name="T0" fmla="*/ 86 w 104"/>
                    <a:gd name="T1" fmla="*/ 91 h 104"/>
                    <a:gd name="T2" fmla="*/ 94 w 104"/>
                    <a:gd name="T3" fmla="*/ 82 h 104"/>
                    <a:gd name="T4" fmla="*/ 100 w 104"/>
                    <a:gd name="T5" fmla="*/ 71 h 104"/>
                    <a:gd name="T6" fmla="*/ 90 w 104"/>
                    <a:gd name="T7" fmla="*/ 66 h 104"/>
                    <a:gd name="T8" fmla="*/ 93 w 104"/>
                    <a:gd name="T9" fmla="*/ 56 h 104"/>
                    <a:gd name="T10" fmla="*/ 104 w 104"/>
                    <a:gd name="T11" fmla="*/ 56 h 104"/>
                    <a:gd name="T12" fmla="*/ 100 w 104"/>
                    <a:gd name="T13" fmla="*/ 32 h 104"/>
                    <a:gd name="T14" fmla="*/ 89 w 104"/>
                    <a:gd name="T15" fmla="*/ 35 h 104"/>
                    <a:gd name="T16" fmla="*/ 84 w 104"/>
                    <a:gd name="T17" fmla="*/ 26 h 104"/>
                    <a:gd name="T18" fmla="*/ 91 w 104"/>
                    <a:gd name="T19" fmla="*/ 18 h 104"/>
                    <a:gd name="T20" fmla="*/ 82 w 104"/>
                    <a:gd name="T21" fmla="*/ 10 h 104"/>
                    <a:gd name="T22" fmla="*/ 72 w 104"/>
                    <a:gd name="T23" fmla="*/ 4 h 104"/>
                    <a:gd name="T24" fmla="*/ 67 w 104"/>
                    <a:gd name="T25" fmla="*/ 14 h 104"/>
                    <a:gd name="T26" fmla="*/ 56 w 104"/>
                    <a:gd name="T27" fmla="*/ 11 h 104"/>
                    <a:gd name="T28" fmla="*/ 56 w 104"/>
                    <a:gd name="T29" fmla="*/ 0 h 104"/>
                    <a:gd name="T30" fmla="*/ 32 w 104"/>
                    <a:gd name="T31" fmla="*/ 4 h 104"/>
                    <a:gd name="T32" fmla="*/ 36 w 104"/>
                    <a:gd name="T33" fmla="*/ 15 h 104"/>
                    <a:gd name="T34" fmla="*/ 26 w 104"/>
                    <a:gd name="T35" fmla="*/ 20 h 104"/>
                    <a:gd name="T36" fmla="*/ 18 w 104"/>
                    <a:gd name="T37" fmla="*/ 13 h 104"/>
                    <a:gd name="T38" fmla="*/ 10 w 104"/>
                    <a:gd name="T39" fmla="*/ 22 h 104"/>
                    <a:gd name="T40" fmla="*/ 4 w 104"/>
                    <a:gd name="T41" fmla="*/ 32 h 104"/>
                    <a:gd name="T42" fmla="*/ 14 w 104"/>
                    <a:gd name="T43" fmla="*/ 37 h 104"/>
                    <a:gd name="T44" fmla="*/ 12 w 104"/>
                    <a:gd name="T45" fmla="*/ 48 h 104"/>
                    <a:gd name="T46" fmla="*/ 1 w 104"/>
                    <a:gd name="T47" fmla="*/ 48 h 104"/>
                    <a:gd name="T48" fmla="*/ 5 w 104"/>
                    <a:gd name="T49" fmla="*/ 72 h 104"/>
                    <a:gd name="T50" fmla="*/ 15 w 104"/>
                    <a:gd name="T51" fmla="*/ 69 h 104"/>
                    <a:gd name="T52" fmla="*/ 21 w 104"/>
                    <a:gd name="T53" fmla="*/ 78 h 104"/>
                    <a:gd name="T54" fmla="*/ 13 w 104"/>
                    <a:gd name="T55" fmla="*/ 86 h 104"/>
                    <a:gd name="T56" fmla="*/ 22 w 104"/>
                    <a:gd name="T57" fmla="*/ 94 h 104"/>
                    <a:gd name="T58" fmla="*/ 33 w 104"/>
                    <a:gd name="T59" fmla="*/ 100 h 104"/>
                    <a:gd name="T60" fmla="*/ 38 w 104"/>
                    <a:gd name="T61" fmla="*/ 90 h 104"/>
                    <a:gd name="T62" fmla="*/ 48 w 104"/>
                    <a:gd name="T63" fmla="*/ 92 h 104"/>
                    <a:gd name="T64" fmla="*/ 49 w 104"/>
                    <a:gd name="T65" fmla="*/ 103 h 104"/>
                    <a:gd name="T66" fmla="*/ 72 w 104"/>
                    <a:gd name="T67" fmla="*/ 100 h 104"/>
                    <a:gd name="T68" fmla="*/ 69 w 104"/>
                    <a:gd name="T69" fmla="*/ 89 h 104"/>
                    <a:gd name="T70" fmla="*/ 78 w 104"/>
                    <a:gd name="T71" fmla="*/ 83 h 104"/>
                    <a:gd name="T72" fmla="*/ 86 w 104"/>
                    <a:gd name="T73" fmla="*/ 91 h 104"/>
                    <a:gd name="T74" fmla="*/ 38 w 104"/>
                    <a:gd name="T75" fmla="*/ 72 h 104"/>
                    <a:gd name="T76" fmla="*/ 32 w 104"/>
                    <a:gd name="T77" fmla="*/ 37 h 104"/>
                    <a:gd name="T78" fmla="*/ 67 w 104"/>
                    <a:gd name="T79" fmla="*/ 32 h 104"/>
                    <a:gd name="T80" fmla="*/ 73 w 104"/>
                    <a:gd name="T81" fmla="*/ 66 h 104"/>
                    <a:gd name="T82" fmla="*/ 38 w 104"/>
                    <a:gd name="T83" fmla="*/ 7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4" h="104">
                      <a:moveTo>
                        <a:pt x="86" y="91"/>
                      </a:moveTo>
                      <a:cubicBezTo>
                        <a:pt x="89" y="88"/>
                        <a:pt x="92" y="85"/>
                        <a:pt x="94" y="82"/>
                      </a:cubicBezTo>
                      <a:cubicBezTo>
                        <a:pt x="97" y="79"/>
                        <a:pt x="99" y="75"/>
                        <a:pt x="100" y="71"/>
                      </a:cubicBezTo>
                      <a:cubicBezTo>
                        <a:pt x="90" y="66"/>
                        <a:pt x="90" y="66"/>
                        <a:pt x="90" y="66"/>
                      </a:cubicBezTo>
                      <a:cubicBezTo>
                        <a:pt x="92" y="63"/>
                        <a:pt x="92" y="59"/>
                        <a:pt x="93" y="56"/>
                      </a:cubicBezTo>
                      <a:cubicBezTo>
                        <a:pt x="104" y="56"/>
                        <a:pt x="104" y="56"/>
                        <a:pt x="104" y="56"/>
                      </a:cubicBezTo>
                      <a:cubicBezTo>
                        <a:pt x="104" y="47"/>
                        <a:pt x="103" y="39"/>
                        <a:pt x="100" y="32"/>
                      </a:cubicBezTo>
                      <a:cubicBezTo>
                        <a:pt x="89" y="35"/>
                        <a:pt x="89" y="35"/>
                        <a:pt x="89" y="35"/>
                      </a:cubicBezTo>
                      <a:cubicBezTo>
                        <a:pt x="88" y="32"/>
                        <a:pt x="86" y="29"/>
                        <a:pt x="84" y="26"/>
                      </a:cubicBezTo>
                      <a:cubicBezTo>
                        <a:pt x="91" y="18"/>
                        <a:pt x="91" y="18"/>
                        <a:pt x="91" y="18"/>
                      </a:cubicBezTo>
                      <a:cubicBezTo>
                        <a:pt x="89" y="15"/>
                        <a:pt x="86" y="12"/>
                        <a:pt x="82" y="10"/>
                      </a:cubicBezTo>
                      <a:cubicBezTo>
                        <a:pt x="79" y="7"/>
                        <a:pt x="75" y="6"/>
                        <a:pt x="72" y="4"/>
                      </a:cubicBezTo>
                      <a:cubicBezTo>
                        <a:pt x="67" y="14"/>
                        <a:pt x="67" y="14"/>
                        <a:pt x="67" y="14"/>
                      </a:cubicBezTo>
                      <a:cubicBezTo>
                        <a:pt x="63" y="13"/>
                        <a:pt x="60" y="12"/>
                        <a:pt x="56" y="11"/>
                      </a:cubicBezTo>
                      <a:cubicBezTo>
                        <a:pt x="56" y="0"/>
                        <a:pt x="56" y="0"/>
                        <a:pt x="56" y="0"/>
                      </a:cubicBezTo>
                      <a:cubicBezTo>
                        <a:pt x="48" y="0"/>
                        <a:pt x="40" y="1"/>
                        <a:pt x="32" y="4"/>
                      </a:cubicBezTo>
                      <a:cubicBezTo>
                        <a:pt x="36" y="15"/>
                        <a:pt x="36" y="15"/>
                        <a:pt x="36" y="15"/>
                      </a:cubicBezTo>
                      <a:cubicBezTo>
                        <a:pt x="32" y="16"/>
                        <a:pt x="29" y="18"/>
                        <a:pt x="26" y="20"/>
                      </a:cubicBezTo>
                      <a:cubicBezTo>
                        <a:pt x="18" y="13"/>
                        <a:pt x="18" y="13"/>
                        <a:pt x="18" y="13"/>
                      </a:cubicBezTo>
                      <a:cubicBezTo>
                        <a:pt x="15" y="15"/>
                        <a:pt x="13" y="18"/>
                        <a:pt x="10" y="22"/>
                      </a:cubicBezTo>
                      <a:cubicBezTo>
                        <a:pt x="8" y="25"/>
                        <a:pt x="6" y="29"/>
                        <a:pt x="4" y="32"/>
                      </a:cubicBezTo>
                      <a:cubicBezTo>
                        <a:pt x="14" y="37"/>
                        <a:pt x="14" y="37"/>
                        <a:pt x="14" y="37"/>
                      </a:cubicBezTo>
                      <a:cubicBezTo>
                        <a:pt x="13" y="41"/>
                        <a:pt x="12" y="44"/>
                        <a:pt x="12" y="48"/>
                      </a:cubicBezTo>
                      <a:cubicBezTo>
                        <a:pt x="1" y="48"/>
                        <a:pt x="1" y="48"/>
                        <a:pt x="1" y="48"/>
                      </a:cubicBezTo>
                      <a:cubicBezTo>
                        <a:pt x="0" y="56"/>
                        <a:pt x="2" y="64"/>
                        <a:pt x="5" y="72"/>
                      </a:cubicBezTo>
                      <a:cubicBezTo>
                        <a:pt x="15" y="69"/>
                        <a:pt x="15" y="69"/>
                        <a:pt x="15" y="69"/>
                      </a:cubicBezTo>
                      <a:cubicBezTo>
                        <a:pt x="17" y="72"/>
                        <a:pt x="19" y="75"/>
                        <a:pt x="21" y="78"/>
                      </a:cubicBezTo>
                      <a:cubicBezTo>
                        <a:pt x="13" y="86"/>
                        <a:pt x="13" y="86"/>
                        <a:pt x="13" y="86"/>
                      </a:cubicBezTo>
                      <a:cubicBezTo>
                        <a:pt x="16" y="89"/>
                        <a:pt x="19" y="92"/>
                        <a:pt x="22" y="94"/>
                      </a:cubicBezTo>
                      <a:cubicBezTo>
                        <a:pt x="26" y="96"/>
                        <a:pt x="29" y="98"/>
                        <a:pt x="33" y="100"/>
                      </a:cubicBezTo>
                      <a:cubicBezTo>
                        <a:pt x="38" y="90"/>
                        <a:pt x="38" y="90"/>
                        <a:pt x="38" y="90"/>
                      </a:cubicBezTo>
                      <a:cubicBezTo>
                        <a:pt x="41" y="91"/>
                        <a:pt x="45" y="92"/>
                        <a:pt x="48" y="92"/>
                      </a:cubicBezTo>
                      <a:cubicBezTo>
                        <a:pt x="49" y="103"/>
                        <a:pt x="49" y="103"/>
                        <a:pt x="49" y="103"/>
                      </a:cubicBezTo>
                      <a:cubicBezTo>
                        <a:pt x="57" y="104"/>
                        <a:pt x="65" y="103"/>
                        <a:pt x="72" y="100"/>
                      </a:cubicBezTo>
                      <a:cubicBezTo>
                        <a:pt x="69" y="89"/>
                        <a:pt x="69" y="89"/>
                        <a:pt x="69" y="89"/>
                      </a:cubicBezTo>
                      <a:cubicBezTo>
                        <a:pt x="72" y="88"/>
                        <a:pt x="75" y="86"/>
                        <a:pt x="78" y="83"/>
                      </a:cubicBezTo>
                      <a:lnTo>
                        <a:pt x="86" y="91"/>
                      </a:lnTo>
                      <a:close/>
                      <a:moveTo>
                        <a:pt x="38" y="72"/>
                      </a:moveTo>
                      <a:cubicBezTo>
                        <a:pt x="27" y="64"/>
                        <a:pt x="24" y="49"/>
                        <a:pt x="32" y="37"/>
                      </a:cubicBezTo>
                      <a:cubicBezTo>
                        <a:pt x="40" y="26"/>
                        <a:pt x="56" y="24"/>
                        <a:pt x="67" y="32"/>
                      </a:cubicBezTo>
                      <a:cubicBezTo>
                        <a:pt x="78" y="40"/>
                        <a:pt x="81" y="55"/>
                        <a:pt x="73" y="66"/>
                      </a:cubicBezTo>
                      <a:cubicBezTo>
                        <a:pt x="65" y="78"/>
                        <a:pt x="49" y="80"/>
                        <a:pt x="38" y="72"/>
                      </a:cubicBezTo>
                      <a:close/>
                    </a:path>
                  </a:pathLst>
                </a:custGeom>
                <a:solidFill>
                  <a:schemeClr val="tx2">
                    <a:alpha val="40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2" name="任意多边形: 形状 31"/>
                <p:cNvSpPr/>
                <p:nvPr/>
              </p:nvSpPr>
              <p:spPr bwMode="auto">
                <a:xfrm>
                  <a:off x="3735388" y="1874838"/>
                  <a:ext cx="684213" cy="893763"/>
                </a:xfrm>
                <a:custGeom>
                  <a:avLst/>
                  <a:gdLst>
                    <a:gd name="T0" fmla="*/ 44 w 153"/>
                    <a:gd name="T1" fmla="*/ 14 h 200"/>
                    <a:gd name="T2" fmla="*/ 60 w 153"/>
                    <a:gd name="T3" fmla="*/ 4 h 200"/>
                    <a:gd name="T4" fmla="*/ 58 w 153"/>
                    <a:gd name="T5" fmla="*/ 0 h 200"/>
                    <a:gd name="T6" fmla="*/ 41 w 153"/>
                    <a:gd name="T7" fmla="*/ 11 h 200"/>
                    <a:gd name="T8" fmla="*/ 44 w 153"/>
                    <a:gd name="T9" fmla="*/ 14 h 200"/>
                    <a:gd name="T10" fmla="*/ 21 w 153"/>
                    <a:gd name="T11" fmla="*/ 38 h 200"/>
                    <a:gd name="T12" fmla="*/ 33 w 153"/>
                    <a:gd name="T13" fmla="*/ 23 h 200"/>
                    <a:gd name="T14" fmla="*/ 31 w 153"/>
                    <a:gd name="T15" fmla="*/ 20 h 200"/>
                    <a:gd name="T16" fmla="*/ 18 w 153"/>
                    <a:gd name="T17" fmla="*/ 36 h 200"/>
                    <a:gd name="T18" fmla="*/ 21 w 153"/>
                    <a:gd name="T19" fmla="*/ 38 h 200"/>
                    <a:gd name="T20" fmla="*/ 7 w 153"/>
                    <a:gd name="T21" fmla="*/ 68 h 200"/>
                    <a:gd name="T22" fmla="*/ 14 w 153"/>
                    <a:gd name="T23" fmla="*/ 50 h 200"/>
                    <a:gd name="T24" fmla="*/ 11 w 153"/>
                    <a:gd name="T25" fmla="*/ 48 h 200"/>
                    <a:gd name="T26" fmla="*/ 3 w 153"/>
                    <a:gd name="T27" fmla="*/ 67 h 200"/>
                    <a:gd name="T28" fmla="*/ 7 w 153"/>
                    <a:gd name="T29" fmla="*/ 68 h 200"/>
                    <a:gd name="T30" fmla="*/ 4 w 153"/>
                    <a:gd name="T31" fmla="*/ 101 h 200"/>
                    <a:gd name="T32" fmla="*/ 4 w 153"/>
                    <a:gd name="T33" fmla="*/ 95 h 200"/>
                    <a:gd name="T34" fmla="*/ 5 w 153"/>
                    <a:gd name="T35" fmla="*/ 82 h 200"/>
                    <a:gd name="T36" fmla="*/ 1 w 153"/>
                    <a:gd name="T37" fmla="*/ 81 h 200"/>
                    <a:gd name="T38" fmla="*/ 0 w 153"/>
                    <a:gd name="T39" fmla="*/ 95 h 200"/>
                    <a:gd name="T40" fmla="*/ 0 w 153"/>
                    <a:gd name="T41" fmla="*/ 101 h 200"/>
                    <a:gd name="T42" fmla="*/ 4 w 153"/>
                    <a:gd name="T43" fmla="*/ 101 h 200"/>
                    <a:gd name="T44" fmla="*/ 12 w 153"/>
                    <a:gd name="T45" fmla="*/ 133 h 200"/>
                    <a:gd name="T46" fmla="*/ 6 w 153"/>
                    <a:gd name="T47" fmla="*/ 115 h 200"/>
                    <a:gd name="T48" fmla="*/ 2 w 153"/>
                    <a:gd name="T49" fmla="*/ 116 h 200"/>
                    <a:gd name="T50" fmla="*/ 8 w 153"/>
                    <a:gd name="T51" fmla="*/ 135 h 200"/>
                    <a:gd name="T52" fmla="*/ 12 w 153"/>
                    <a:gd name="T53" fmla="*/ 133 h 200"/>
                    <a:gd name="T54" fmla="*/ 29 w 153"/>
                    <a:gd name="T55" fmla="*/ 162 h 200"/>
                    <a:gd name="T56" fmla="*/ 18 w 153"/>
                    <a:gd name="T57" fmla="*/ 146 h 200"/>
                    <a:gd name="T58" fmla="*/ 14 w 153"/>
                    <a:gd name="T59" fmla="*/ 148 h 200"/>
                    <a:gd name="T60" fmla="*/ 26 w 153"/>
                    <a:gd name="T61" fmla="*/ 164 h 200"/>
                    <a:gd name="T62" fmla="*/ 29 w 153"/>
                    <a:gd name="T63" fmla="*/ 162 h 200"/>
                    <a:gd name="T64" fmla="*/ 55 w 153"/>
                    <a:gd name="T65" fmla="*/ 183 h 200"/>
                    <a:gd name="T66" fmla="*/ 39 w 153"/>
                    <a:gd name="T67" fmla="*/ 171 h 200"/>
                    <a:gd name="T68" fmla="*/ 36 w 153"/>
                    <a:gd name="T69" fmla="*/ 174 h 200"/>
                    <a:gd name="T70" fmla="*/ 53 w 153"/>
                    <a:gd name="T71" fmla="*/ 186 h 200"/>
                    <a:gd name="T72" fmla="*/ 55 w 153"/>
                    <a:gd name="T73" fmla="*/ 183 h 200"/>
                    <a:gd name="T74" fmla="*/ 86 w 153"/>
                    <a:gd name="T75" fmla="*/ 194 h 200"/>
                    <a:gd name="T76" fmla="*/ 67 w 153"/>
                    <a:gd name="T77" fmla="*/ 189 h 200"/>
                    <a:gd name="T78" fmla="*/ 66 w 153"/>
                    <a:gd name="T79" fmla="*/ 192 h 200"/>
                    <a:gd name="T80" fmla="*/ 85 w 153"/>
                    <a:gd name="T81" fmla="*/ 198 h 200"/>
                    <a:gd name="T82" fmla="*/ 86 w 153"/>
                    <a:gd name="T83" fmla="*/ 194 h 200"/>
                    <a:gd name="T84" fmla="*/ 119 w 153"/>
                    <a:gd name="T85" fmla="*/ 195 h 200"/>
                    <a:gd name="T86" fmla="*/ 105 w 153"/>
                    <a:gd name="T87" fmla="*/ 196 h 200"/>
                    <a:gd name="T88" fmla="*/ 99 w 153"/>
                    <a:gd name="T89" fmla="*/ 196 h 200"/>
                    <a:gd name="T90" fmla="*/ 99 w 153"/>
                    <a:gd name="T91" fmla="*/ 200 h 200"/>
                    <a:gd name="T92" fmla="*/ 105 w 153"/>
                    <a:gd name="T93" fmla="*/ 200 h 200"/>
                    <a:gd name="T94" fmla="*/ 120 w 153"/>
                    <a:gd name="T95" fmla="*/ 199 h 200"/>
                    <a:gd name="T96" fmla="*/ 119 w 153"/>
                    <a:gd name="T97" fmla="*/ 195 h 200"/>
                    <a:gd name="T98" fmla="*/ 151 w 153"/>
                    <a:gd name="T99" fmla="*/ 186 h 200"/>
                    <a:gd name="T100" fmla="*/ 132 w 153"/>
                    <a:gd name="T101" fmla="*/ 193 h 200"/>
                    <a:gd name="T102" fmla="*/ 134 w 153"/>
                    <a:gd name="T103" fmla="*/ 196 h 200"/>
                    <a:gd name="T104" fmla="*/ 153 w 153"/>
                    <a:gd name="T105" fmla="*/ 189 h 200"/>
                    <a:gd name="T106" fmla="*/ 151 w 153"/>
                    <a:gd name="T107" fmla="*/ 186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3" h="200">
                      <a:moveTo>
                        <a:pt x="44" y="14"/>
                      </a:moveTo>
                      <a:cubicBezTo>
                        <a:pt x="49" y="10"/>
                        <a:pt x="54" y="6"/>
                        <a:pt x="60" y="4"/>
                      </a:cubicBezTo>
                      <a:cubicBezTo>
                        <a:pt x="58" y="0"/>
                        <a:pt x="58" y="0"/>
                        <a:pt x="58" y="0"/>
                      </a:cubicBezTo>
                      <a:cubicBezTo>
                        <a:pt x="52" y="3"/>
                        <a:pt x="46" y="7"/>
                        <a:pt x="41" y="11"/>
                      </a:cubicBezTo>
                      <a:lnTo>
                        <a:pt x="44" y="14"/>
                      </a:lnTo>
                      <a:close/>
                      <a:moveTo>
                        <a:pt x="21" y="38"/>
                      </a:moveTo>
                      <a:cubicBezTo>
                        <a:pt x="25" y="33"/>
                        <a:pt x="29" y="27"/>
                        <a:pt x="33" y="23"/>
                      </a:cubicBezTo>
                      <a:cubicBezTo>
                        <a:pt x="31" y="20"/>
                        <a:pt x="31" y="20"/>
                        <a:pt x="31" y="20"/>
                      </a:cubicBezTo>
                      <a:cubicBezTo>
                        <a:pt x="26" y="25"/>
                        <a:pt x="21" y="30"/>
                        <a:pt x="18" y="36"/>
                      </a:cubicBezTo>
                      <a:cubicBezTo>
                        <a:pt x="21" y="38"/>
                        <a:pt x="21" y="38"/>
                        <a:pt x="21" y="38"/>
                      </a:cubicBezTo>
                      <a:close/>
                      <a:moveTo>
                        <a:pt x="7" y="68"/>
                      </a:moveTo>
                      <a:cubicBezTo>
                        <a:pt x="9" y="62"/>
                        <a:pt x="11" y="56"/>
                        <a:pt x="14" y="50"/>
                      </a:cubicBezTo>
                      <a:cubicBezTo>
                        <a:pt x="11" y="48"/>
                        <a:pt x="11" y="48"/>
                        <a:pt x="11" y="48"/>
                      </a:cubicBezTo>
                      <a:cubicBezTo>
                        <a:pt x="8" y="54"/>
                        <a:pt x="5" y="61"/>
                        <a:pt x="3" y="67"/>
                      </a:cubicBezTo>
                      <a:cubicBezTo>
                        <a:pt x="7" y="68"/>
                        <a:pt x="7" y="68"/>
                        <a:pt x="7" y="68"/>
                      </a:cubicBezTo>
                      <a:close/>
                      <a:moveTo>
                        <a:pt x="4" y="101"/>
                      </a:moveTo>
                      <a:cubicBezTo>
                        <a:pt x="4" y="99"/>
                        <a:pt x="4" y="97"/>
                        <a:pt x="4" y="95"/>
                      </a:cubicBezTo>
                      <a:cubicBezTo>
                        <a:pt x="4" y="90"/>
                        <a:pt x="4" y="86"/>
                        <a:pt x="5" y="82"/>
                      </a:cubicBezTo>
                      <a:cubicBezTo>
                        <a:pt x="1" y="81"/>
                        <a:pt x="1" y="81"/>
                        <a:pt x="1" y="81"/>
                      </a:cubicBezTo>
                      <a:cubicBezTo>
                        <a:pt x="0" y="86"/>
                        <a:pt x="0" y="90"/>
                        <a:pt x="0" y="95"/>
                      </a:cubicBezTo>
                      <a:cubicBezTo>
                        <a:pt x="0" y="97"/>
                        <a:pt x="0" y="99"/>
                        <a:pt x="0" y="101"/>
                      </a:cubicBezTo>
                      <a:lnTo>
                        <a:pt x="4" y="101"/>
                      </a:lnTo>
                      <a:close/>
                      <a:moveTo>
                        <a:pt x="12" y="133"/>
                      </a:moveTo>
                      <a:cubicBezTo>
                        <a:pt x="9" y="127"/>
                        <a:pt x="7" y="121"/>
                        <a:pt x="6" y="115"/>
                      </a:cubicBezTo>
                      <a:cubicBezTo>
                        <a:pt x="2" y="116"/>
                        <a:pt x="2" y="116"/>
                        <a:pt x="2" y="116"/>
                      </a:cubicBezTo>
                      <a:cubicBezTo>
                        <a:pt x="3" y="122"/>
                        <a:pt x="5" y="129"/>
                        <a:pt x="8" y="135"/>
                      </a:cubicBezTo>
                      <a:lnTo>
                        <a:pt x="12" y="133"/>
                      </a:lnTo>
                      <a:close/>
                      <a:moveTo>
                        <a:pt x="29" y="162"/>
                      </a:moveTo>
                      <a:cubicBezTo>
                        <a:pt x="25" y="157"/>
                        <a:pt x="21" y="152"/>
                        <a:pt x="18" y="146"/>
                      </a:cubicBezTo>
                      <a:cubicBezTo>
                        <a:pt x="14" y="148"/>
                        <a:pt x="14" y="148"/>
                        <a:pt x="14" y="148"/>
                      </a:cubicBezTo>
                      <a:cubicBezTo>
                        <a:pt x="18" y="154"/>
                        <a:pt x="22" y="159"/>
                        <a:pt x="26" y="164"/>
                      </a:cubicBezTo>
                      <a:cubicBezTo>
                        <a:pt x="29" y="162"/>
                        <a:pt x="29" y="162"/>
                        <a:pt x="29" y="162"/>
                      </a:cubicBezTo>
                      <a:close/>
                      <a:moveTo>
                        <a:pt x="55" y="183"/>
                      </a:moveTo>
                      <a:cubicBezTo>
                        <a:pt x="49" y="179"/>
                        <a:pt x="44" y="176"/>
                        <a:pt x="39" y="171"/>
                      </a:cubicBezTo>
                      <a:cubicBezTo>
                        <a:pt x="36" y="174"/>
                        <a:pt x="36" y="174"/>
                        <a:pt x="36" y="174"/>
                      </a:cubicBezTo>
                      <a:cubicBezTo>
                        <a:pt x="41" y="179"/>
                        <a:pt x="47" y="183"/>
                        <a:pt x="53" y="186"/>
                      </a:cubicBezTo>
                      <a:lnTo>
                        <a:pt x="55" y="183"/>
                      </a:lnTo>
                      <a:close/>
                      <a:moveTo>
                        <a:pt x="86" y="194"/>
                      </a:moveTo>
                      <a:cubicBezTo>
                        <a:pt x="79" y="193"/>
                        <a:pt x="73" y="191"/>
                        <a:pt x="67" y="189"/>
                      </a:cubicBezTo>
                      <a:cubicBezTo>
                        <a:pt x="66" y="192"/>
                        <a:pt x="66" y="192"/>
                        <a:pt x="66" y="192"/>
                      </a:cubicBezTo>
                      <a:cubicBezTo>
                        <a:pt x="72" y="195"/>
                        <a:pt x="78" y="197"/>
                        <a:pt x="85" y="198"/>
                      </a:cubicBezTo>
                      <a:cubicBezTo>
                        <a:pt x="86" y="194"/>
                        <a:pt x="86" y="194"/>
                        <a:pt x="86" y="194"/>
                      </a:cubicBezTo>
                      <a:close/>
                      <a:moveTo>
                        <a:pt x="119" y="195"/>
                      </a:moveTo>
                      <a:cubicBezTo>
                        <a:pt x="115" y="196"/>
                        <a:pt x="110" y="196"/>
                        <a:pt x="105" y="196"/>
                      </a:cubicBezTo>
                      <a:cubicBezTo>
                        <a:pt x="103" y="196"/>
                        <a:pt x="101" y="196"/>
                        <a:pt x="99" y="196"/>
                      </a:cubicBezTo>
                      <a:cubicBezTo>
                        <a:pt x="99" y="200"/>
                        <a:pt x="99" y="200"/>
                        <a:pt x="99" y="200"/>
                      </a:cubicBezTo>
                      <a:cubicBezTo>
                        <a:pt x="101" y="200"/>
                        <a:pt x="103" y="200"/>
                        <a:pt x="105" y="200"/>
                      </a:cubicBezTo>
                      <a:cubicBezTo>
                        <a:pt x="110" y="200"/>
                        <a:pt x="115" y="200"/>
                        <a:pt x="120" y="199"/>
                      </a:cubicBezTo>
                      <a:cubicBezTo>
                        <a:pt x="119" y="195"/>
                        <a:pt x="119" y="195"/>
                        <a:pt x="119" y="195"/>
                      </a:cubicBezTo>
                      <a:close/>
                      <a:moveTo>
                        <a:pt x="151" y="186"/>
                      </a:moveTo>
                      <a:cubicBezTo>
                        <a:pt x="145" y="188"/>
                        <a:pt x="139" y="191"/>
                        <a:pt x="132" y="193"/>
                      </a:cubicBezTo>
                      <a:cubicBezTo>
                        <a:pt x="134" y="196"/>
                        <a:pt x="134" y="196"/>
                        <a:pt x="134" y="196"/>
                      </a:cubicBezTo>
                      <a:cubicBezTo>
                        <a:pt x="140" y="195"/>
                        <a:pt x="146" y="192"/>
                        <a:pt x="153" y="189"/>
                      </a:cubicBezTo>
                      <a:cubicBezTo>
                        <a:pt x="151" y="186"/>
                        <a:pt x="151" y="186"/>
                        <a:pt x="151" y="186"/>
                      </a:cubicBezTo>
                      <a:close/>
                    </a:path>
                  </a:pathLst>
                </a:custGeom>
                <a:solidFill>
                  <a:schemeClr val="tx2">
                    <a:alpha val="40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3" name="任意多边形: 形状 32"/>
                <p:cNvSpPr/>
                <p:nvPr/>
              </p:nvSpPr>
              <p:spPr bwMode="auto">
                <a:xfrm>
                  <a:off x="4535488" y="1704976"/>
                  <a:ext cx="41275" cy="49213"/>
                </a:xfrm>
                <a:custGeom>
                  <a:avLst/>
                  <a:gdLst>
                    <a:gd name="T0" fmla="*/ 3 w 9"/>
                    <a:gd name="T1" fmla="*/ 11 h 11"/>
                    <a:gd name="T2" fmla="*/ 9 w 9"/>
                    <a:gd name="T3" fmla="*/ 3 h 11"/>
                    <a:gd name="T4" fmla="*/ 6 w 9"/>
                    <a:gd name="T5" fmla="*/ 0 h 11"/>
                    <a:gd name="T6" fmla="*/ 0 w 9"/>
                    <a:gd name="T7" fmla="*/ 8 h 11"/>
                    <a:gd name="T8" fmla="*/ 3 w 9"/>
                    <a:gd name="T9" fmla="*/ 11 h 11"/>
                  </a:gdLst>
                  <a:ahLst/>
                  <a:cxnLst>
                    <a:cxn ang="0">
                      <a:pos x="T0" y="T1"/>
                    </a:cxn>
                    <a:cxn ang="0">
                      <a:pos x="T2" y="T3"/>
                    </a:cxn>
                    <a:cxn ang="0">
                      <a:pos x="T4" y="T5"/>
                    </a:cxn>
                    <a:cxn ang="0">
                      <a:pos x="T6" y="T7"/>
                    </a:cxn>
                    <a:cxn ang="0">
                      <a:pos x="T8" y="T9"/>
                    </a:cxn>
                  </a:cxnLst>
                  <a:rect l="0" t="0" r="r" b="b"/>
                  <a:pathLst>
                    <a:path w="9" h="11">
                      <a:moveTo>
                        <a:pt x="3" y="11"/>
                      </a:moveTo>
                      <a:cubicBezTo>
                        <a:pt x="5" y="8"/>
                        <a:pt x="7" y="5"/>
                        <a:pt x="9" y="3"/>
                      </a:cubicBezTo>
                      <a:cubicBezTo>
                        <a:pt x="6" y="0"/>
                        <a:pt x="6" y="0"/>
                        <a:pt x="6" y="0"/>
                      </a:cubicBezTo>
                      <a:cubicBezTo>
                        <a:pt x="4" y="3"/>
                        <a:pt x="2" y="5"/>
                        <a:pt x="0" y="8"/>
                      </a:cubicBezTo>
                      <a:cubicBezTo>
                        <a:pt x="3" y="11"/>
                        <a:pt x="3" y="11"/>
                        <a:pt x="3" y="11"/>
                      </a:cubicBezTo>
                      <a:close/>
                    </a:path>
                  </a:pathLst>
                </a:custGeom>
                <a:solidFill>
                  <a:schemeClr val="tx2">
                    <a:alpha val="40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4" name="任意多边形: 形状 33"/>
                <p:cNvSpPr/>
                <p:nvPr/>
              </p:nvSpPr>
              <p:spPr bwMode="auto">
                <a:xfrm>
                  <a:off x="4621213" y="1597026"/>
                  <a:ext cx="280988" cy="76200"/>
                </a:xfrm>
                <a:custGeom>
                  <a:avLst/>
                  <a:gdLst>
                    <a:gd name="T0" fmla="*/ 39 w 63"/>
                    <a:gd name="T1" fmla="*/ 4 h 17"/>
                    <a:gd name="T2" fmla="*/ 43 w 63"/>
                    <a:gd name="T3" fmla="*/ 4 h 17"/>
                    <a:gd name="T4" fmla="*/ 62 w 63"/>
                    <a:gd name="T5" fmla="*/ 7 h 17"/>
                    <a:gd name="T6" fmla="*/ 63 w 63"/>
                    <a:gd name="T7" fmla="*/ 3 h 17"/>
                    <a:gd name="T8" fmla="*/ 43 w 63"/>
                    <a:gd name="T9" fmla="*/ 0 h 17"/>
                    <a:gd name="T10" fmla="*/ 39 w 63"/>
                    <a:gd name="T11" fmla="*/ 0 h 17"/>
                    <a:gd name="T12" fmla="*/ 39 w 63"/>
                    <a:gd name="T13" fmla="*/ 4 h 17"/>
                    <a:gd name="T14" fmla="*/ 3 w 63"/>
                    <a:gd name="T15" fmla="*/ 17 h 17"/>
                    <a:gd name="T16" fmla="*/ 24 w 63"/>
                    <a:gd name="T17" fmla="*/ 7 h 17"/>
                    <a:gd name="T18" fmla="*/ 22 w 63"/>
                    <a:gd name="T19" fmla="*/ 3 h 17"/>
                    <a:gd name="T20" fmla="*/ 0 w 63"/>
                    <a:gd name="T21" fmla="*/ 13 h 17"/>
                    <a:gd name="T22" fmla="*/ 3 w 63"/>
                    <a:gd name="T23"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3" h="17">
                      <a:moveTo>
                        <a:pt x="39" y="4"/>
                      </a:moveTo>
                      <a:cubicBezTo>
                        <a:pt x="41" y="4"/>
                        <a:pt x="42" y="4"/>
                        <a:pt x="43" y="4"/>
                      </a:cubicBezTo>
                      <a:cubicBezTo>
                        <a:pt x="50" y="4"/>
                        <a:pt x="56" y="5"/>
                        <a:pt x="62" y="7"/>
                      </a:cubicBezTo>
                      <a:cubicBezTo>
                        <a:pt x="63" y="3"/>
                        <a:pt x="63" y="3"/>
                        <a:pt x="63" y="3"/>
                      </a:cubicBezTo>
                      <a:cubicBezTo>
                        <a:pt x="57" y="1"/>
                        <a:pt x="50" y="0"/>
                        <a:pt x="43" y="0"/>
                      </a:cubicBezTo>
                      <a:cubicBezTo>
                        <a:pt x="42" y="0"/>
                        <a:pt x="41" y="0"/>
                        <a:pt x="39" y="0"/>
                      </a:cubicBezTo>
                      <a:cubicBezTo>
                        <a:pt x="39" y="4"/>
                        <a:pt x="39" y="4"/>
                        <a:pt x="39" y="4"/>
                      </a:cubicBezTo>
                      <a:close/>
                      <a:moveTo>
                        <a:pt x="3" y="17"/>
                      </a:moveTo>
                      <a:cubicBezTo>
                        <a:pt x="9" y="12"/>
                        <a:pt x="16" y="9"/>
                        <a:pt x="24" y="7"/>
                      </a:cubicBezTo>
                      <a:cubicBezTo>
                        <a:pt x="22" y="3"/>
                        <a:pt x="22" y="3"/>
                        <a:pt x="22" y="3"/>
                      </a:cubicBezTo>
                      <a:cubicBezTo>
                        <a:pt x="15" y="5"/>
                        <a:pt x="7" y="9"/>
                        <a:pt x="0" y="13"/>
                      </a:cubicBezTo>
                      <a:cubicBezTo>
                        <a:pt x="3" y="17"/>
                        <a:pt x="3" y="17"/>
                        <a:pt x="3" y="17"/>
                      </a:cubicBezTo>
                      <a:close/>
                    </a:path>
                  </a:pathLst>
                </a:custGeom>
                <a:solidFill>
                  <a:schemeClr val="tx2">
                    <a:alpha val="40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5" name="任意多边形: 形状 34"/>
                <p:cNvSpPr/>
                <p:nvPr/>
              </p:nvSpPr>
              <p:spPr bwMode="auto">
                <a:xfrm>
                  <a:off x="4965700" y="1638301"/>
                  <a:ext cx="49213" cy="39688"/>
                </a:xfrm>
                <a:custGeom>
                  <a:avLst/>
                  <a:gdLst>
                    <a:gd name="T0" fmla="*/ 0 w 11"/>
                    <a:gd name="T1" fmla="*/ 4 h 9"/>
                    <a:gd name="T2" fmla="*/ 9 w 11"/>
                    <a:gd name="T3" fmla="*/ 9 h 9"/>
                    <a:gd name="T4" fmla="*/ 11 w 11"/>
                    <a:gd name="T5" fmla="*/ 6 h 9"/>
                    <a:gd name="T6" fmla="*/ 2 w 11"/>
                    <a:gd name="T7" fmla="*/ 0 h 9"/>
                    <a:gd name="T8" fmla="*/ 0 w 11"/>
                    <a:gd name="T9" fmla="*/ 4 h 9"/>
                  </a:gdLst>
                  <a:ahLst/>
                  <a:cxnLst>
                    <a:cxn ang="0">
                      <a:pos x="T0" y="T1"/>
                    </a:cxn>
                    <a:cxn ang="0">
                      <a:pos x="T2" y="T3"/>
                    </a:cxn>
                    <a:cxn ang="0">
                      <a:pos x="T4" y="T5"/>
                    </a:cxn>
                    <a:cxn ang="0">
                      <a:pos x="T6" y="T7"/>
                    </a:cxn>
                    <a:cxn ang="0">
                      <a:pos x="T8" y="T9"/>
                    </a:cxn>
                  </a:cxnLst>
                  <a:rect l="0" t="0" r="r" b="b"/>
                  <a:pathLst>
                    <a:path w="11" h="9">
                      <a:moveTo>
                        <a:pt x="0" y="4"/>
                      </a:moveTo>
                      <a:cubicBezTo>
                        <a:pt x="3" y="5"/>
                        <a:pt x="6" y="7"/>
                        <a:pt x="9" y="9"/>
                      </a:cubicBezTo>
                      <a:cubicBezTo>
                        <a:pt x="11" y="6"/>
                        <a:pt x="11" y="6"/>
                        <a:pt x="11" y="6"/>
                      </a:cubicBezTo>
                      <a:cubicBezTo>
                        <a:pt x="8" y="4"/>
                        <a:pt x="5" y="2"/>
                        <a:pt x="2" y="0"/>
                      </a:cubicBezTo>
                      <a:cubicBezTo>
                        <a:pt x="0" y="4"/>
                        <a:pt x="0" y="4"/>
                        <a:pt x="0" y="4"/>
                      </a:cubicBezTo>
                      <a:close/>
                    </a:path>
                  </a:pathLst>
                </a:custGeom>
                <a:solidFill>
                  <a:schemeClr val="tx2">
                    <a:alpha val="40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6" name="任意多边形: 形状 35"/>
                <p:cNvSpPr/>
                <p:nvPr/>
              </p:nvSpPr>
              <p:spPr bwMode="auto">
                <a:xfrm>
                  <a:off x="7575550" y="3194051"/>
                  <a:ext cx="103188" cy="142875"/>
                </a:xfrm>
                <a:custGeom>
                  <a:avLst/>
                  <a:gdLst>
                    <a:gd name="T0" fmla="*/ 9 w 23"/>
                    <a:gd name="T1" fmla="*/ 0 h 32"/>
                    <a:gd name="T2" fmla="*/ 3 w 23"/>
                    <a:gd name="T3" fmla="*/ 30 h 32"/>
                    <a:gd name="T4" fmla="*/ 23 w 23"/>
                    <a:gd name="T5" fmla="*/ 29 h 32"/>
                    <a:gd name="T6" fmla="*/ 23 w 23"/>
                    <a:gd name="T7" fmla="*/ 0 h 32"/>
                    <a:gd name="T8" fmla="*/ 9 w 23"/>
                    <a:gd name="T9" fmla="*/ 0 h 32"/>
                  </a:gdLst>
                  <a:ahLst/>
                  <a:cxnLst>
                    <a:cxn ang="0">
                      <a:pos x="T0" y="T1"/>
                    </a:cxn>
                    <a:cxn ang="0">
                      <a:pos x="T2" y="T3"/>
                    </a:cxn>
                    <a:cxn ang="0">
                      <a:pos x="T4" y="T5"/>
                    </a:cxn>
                    <a:cxn ang="0">
                      <a:pos x="T6" y="T7"/>
                    </a:cxn>
                    <a:cxn ang="0">
                      <a:pos x="T8" y="T9"/>
                    </a:cxn>
                  </a:cxnLst>
                  <a:rect l="0" t="0" r="r" b="b"/>
                  <a:pathLst>
                    <a:path w="23" h="32">
                      <a:moveTo>
                        <a:pt x="9" y="0"/>
                      </a:moveTo>
                      <a:cubicBezTo>
                        <a:pt x="9" y="0"/>
                        <a:pt x="0" y="15"/>
                        <a:pt x="3" y="30"/>
                      </a:cubicBezTo>
                      <a:cubicBezTo>
                        <a:pt x="8" y="32"/>
                        <a:pt x="23" y="29"/>
                        <a:pt x="23" y="29"/>
                      </a:cubicBezTo>
                      <a:cubicBezTo>
                        <a:pt x="23" y="0"/>
                        <a:pt x="23" y="0"/>
                        <a:pt x="23" y="0"/>
                      </a:cubicBez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7" name="任意多边形: 形状 36"/>
                <p:cNvSpPr/>
                <p:nvPr/>
              </p:nvSpPr>
              <p:spPr bwMode="auto">
                <a:xfrm>
                  <a:off x="7011988" y="3359151"/>
                  <a:ext cx="80963" cy="90488"/>
                </a:xfrm>
                <a:custGeom>
                  <a:avLst/>
                  <a:gdLst>
                    <a:gd name="T0" fmla="*/ 18 w 18"/>
                    <a:gd name="T1" fmla="*/ 14 h 20"/>
                    <a:gd name="T2" fmla="*/ 12 w 18"/>
                    <a:gd name="T3" fmla="*/ 7 h 20"/>
                    <a:gd name="T4" fmla="*/ 6 w 18"/>
                    <a:gd name="T5" fmla="*/ 1 h 20"/>
                    <a:gd name="T6" fmla="*/ 3 w 18"/>
                    <a:gd name="T7" fmla="*/ 0 h 20"/>
                    <a:gd name="T8" fmla="*/ 1 w 18"/>
                    <a:gd name="T9" fmla="*/ 0 h 20"/>
                    <a:gd name="T10" fmla="*/ 0 w 18"/>
                    <a:gd name="T11" fmla="*/ 0 h 20"/>
                    <a:gd name="T12" fmla="*/ 1 w 18"/>
                    <a:gd name="T13" fmla="*/ 1 h 20"/>
                    <a:gd name="T14" fmla="*/ 6 w 18"/>
                    <a:gd name="T15" fmla="*/ 5 h 20"/>
                    <a:gd name="T16" fmla="*/ 4 w 18"/>
                    <a:gd name="T17" fmla="*/ 6 h 20"/>
                    <a:gd name="T18" fmla="*/ 3 w 18"/>
                    <a:gd name="T19" fmla="*/ 8 h 20"/>
                    <a:gd name="T20" fmla="*/ 3 w 18"/>
                    <a:gd name="T21" fmla="*/ 12 h 20"/>
                    <a:gd name="T22" fmla="*/ 3 w 18"/>
                    <a:gd name="T23" fmla="*/ 12 h 20"/>
                    <a:gd name="T24" fmla="*/ 4 w 18"/>
                    <a:gd name="T25" fmla="*/ 13 h 20"/>
                    <a:gd name="T26" fmla="*/ 7 w 18"/>
                    <a:gd name="T27" fmla="*/ 14 h 20"/>
                    <a:gd name="T28" fmla="*/ 8 w 18"/>
                    <a:gd name="T29" fmla="*/ 14 h 20"/>
                    <a:gd name="T30" fmla="*/ 9 w 18"/>
                    <a:gd name="T31" fmla="*/ 14 h 20"/>
                    <a:gd name="T32" fmla="*/ 12 w 18"/>
                    <a:gd name="T33" fmla="*/ 15 h 20"/>
                    <a:gd name="T34" fmla="*/ 16 w 18"/>
                    <a:gd name="T35"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0">
                      <a:moveTo>
                        <a:pt x="18" y="14"/>
                      </a:moveTo>
                      <a:cubicBezTo>
                        <a:pt x="17" y="12"/>
                        <a:pt x="12" y="7"/>
                        <a:pt x="12" y="7"/>
                      </a:cubicBezTo>
                      <a:cubicBezTo>
                        <a:pt x="9" y="3"/>
                        <a:pt x="6" y="2"/>
                        <a:pt x="6" y="1"/>
                      </a:cubicBezTo>
                      <a:cubicBezTo>
                        <a:pt x="5" y="1"/>
                        <a:pt x="4" y="1"/>
                        <a:pt x="3" y="0"/>
                      </a:cubicBezTo>
                      <a:cubicBezTo>
                        <a:pt x="3" y="0"/>
                        <a:pt x="2" y="0"/>
                        <a:pt x="1" y="0"/>
                      </a:cubicBezTo>
                      <a:cubicBezTo>
                        <a:pt x="0" y="0"/>
                        <a:pt x="0" y="0"/>
                        <a:pt x="0" y="0"/>
                      </a:cubicBezTo>
                      <a:cubicBezTo>
                        <a:pt x="1" y="1"/>
                        <a:pt x="1" y="1"/>
                        <a:pt x="1" y="1"/>
                      </a:cubicBezTo>
                      <a:cubicBezTo>
                        <a:pt x="2" y="2"/>
                        <a:pt x="4" y="3"/>
                        <a:pt x="6" y="5"/>
                      </a:cubicBezTo>
                      <a:cubicBezTo>
                        <a:pt x="5" y="5"/>
                        <a:pt x="5" y="5"/>
                        <a:pt x="4" y="6"/>
                      </a:cubicBezTo>
                      <a:cubicBezTo>
                        <a:pt x="4" y="7"/>
                        <a:pt x="4" y="7"/>
                        <a:pt x="3" y="8"/>
                      </a:cubicBezTo>
                      <a:cubicBezTo>
                        <a:pt x="3" y="9"/>
                        <a:pt x="3" y="10"/>
                        <a:pt x="3" y="12"/>
                      </a:cubicBezTo>
                      <a:cubicBezTo>
                        <a:pt x="3" y="12"/>
                        <a:pt x="3" y="12"/>
                        <a:pt x="3" y="12"/>
                      </a:cubicBezTo>
                      <a:cubicBezTo>
                        <a:pt x="4" y="13"/>
                        <a:pt x="4" y="13"/>
                        <a:pt x="4" y="13"/>
                      </a:cubicBezTo>
                      <a:cubicBezTo>
                        <a:pt x="5" y="14"/>
                        <a:pt x="6" y="16"/>
                        <a:pt x="7" y="14"/>
                      </a:cubicBezTo>
                      <a:cubicBezTo>
                        <a:pt x="8" y="14"/>
                        <a:pt x="8" y="14"/>
                        <a:pt x="8" y="14"/>
                      </a:cubicBezTo>
                      <a:cubicBezTo>
                        <a:pt x="9" y="14"/>
                        <a:pt x="9" y="14"/>
                        <a:pt x="9" y="14"/>
                      </a:cubicBezTo>
                      <a:cubicBezTo>
                        <a:pt x="11" y="16"/>
                        <a:pt x="12" y="15"/>
                        <a:pt x="12" y="15"/>
                      </a:cubicBezTo>
                      <a:cubicBezTo>
                        <a:pt x="16" y="20"/>
                        <a:pt x="16" y="20"/>
                        <a:pt x="16" y="20"/>
                      </a:cubicBezTo>
                    </a:path>
                  </a:pathLst>
                </a:custGeom>
                <a:solidFill>
                  <a:srgbClr val="FFC3B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8" name="任意多边形: 形状 37"/>
                <p:cNvSpPr/>
                <p:nvPr/>
              </p:nvSpPr>
              <p:spPr bwMode="auto">
                <a:xfrm>
                  <a:off x="7070725" y="3341688"/>
                  <a:ext cx="573088" cy="331788"/>
                </a:xfrm>
                <a:custGeom>
                  <a:avLst/>
                  <a:gdLst>
                    <a:gd name="T0" fmla="*/ 128 w 128"/>
                    <a:gd name="T1" fmla="*/ 1 h 74"/>
                    <a:gd name="T2" fmla="*/ 90 w 128"/>
                    <a:gd name="T3" fmla="*/ 14 h 74"/>
                    <a:gd name="T4" fmla="*/ 54 w 128"/>
                    <a:gd name="T5" fmla="*/ 35 h 74"/>
                    <a:gd name="T6" fmla="*/ 3 w 128"/>
                    <a:gd name="T7" fmla="*/ 15 h 74"/>
                    <a:gd name="T8" fmla="*/ 0 w 128"/>
                    <a:gd name="T9" fmla="*/ 21 h 74"/>
                    <a:gd name="T10" fmla="*/ 61 w 128"/>
                    <a:gd name="T11" fmla="*/ 69 h 74"/>
                    <a:gd name="T12" fmla="*/ 114 w 128"/>
                    <a:gd name="T13" fmla="*/ 55 h 74"/>
                  </a:gdLst>
                  <a:ahLst/>
                  <a:cxnLst>
                    <a:cxn ang="0">
                      <a:pos x="T0" y="T1"/>
                    </a:cxn>
                    <a:cxn ang="0">
                      <a:pos x="T2" y="T3"/>
                    </a:cxn>
                    <a:cxn ang="0">
                      <a:pos x="T4" y="T5"/>
                    </a:cxn>
                    <a:cxn ang="0">
                      <a:pos x="T6" y="T7"/>
                    </a:cxn>
                    <a:cxn ang="0">
                      <a:pos x="T8" y="T9"/>
                    </a:cxn>
                    <a:cxn ang="0">
                      <a:pos x="T10" y="T11"/>
                    </a:cxn>
                    <a:cxn ang="0">
                      <a:pos x="T12" y="T13"/>
                    </a:cxn>
                  </a:cxnLst>
                  <a:rect l="0" t="0" r="r" b="b"/>
                  <a:pathLst>
                    <a:path w="128" h="74">
                      <a:moveTo>
                        <a:pt x="128" y="1"/>
                      </a:moveTo>
                      <a:cubicBezTo>
                        <a:pt x="128" y="1"/>
                        <a:pt x="109" y="0"/>
                        <a:pt x="90" y="14"/>
                      </a:cubicBezTo>
                      <a:cubicBezTo>
                        <a:pt x="75" y="25"/>
                        <a:pt x="63" y="35"/>
                        <a:pt x="54" y="35"/>
                      </a:cubicBezTo>
                      <a:cubicBezTo>
                        <a:pt x="46" y="35"/>
                        <a:pt x="3" y="15"/>
                        <a:pt x="3" y="15"/>
                      </a:cubicBezTo>
                      <a:cubicBezTo>
                        <a:pt x="0" y="21"/>
                        <a:pt x="0" y="21"/>
                        <a:pt x="0" y="21"/>
                      </a:cubicBezTo>
                      <a:cubicBezTo>
                        <a:pt x="0" y="21"/>
                        <a:pt x="23" y="64"/>
                        <a:pt x="61" y="69"/>
                      </a:cubicBezTo>
                      <a:cubicBezTo>
                        <a:pt x="92" y="74"/>
                        <a:pt x="114" y="55"/>
                        <a:pt x="114" y="55"/>
                      </a:cubicBezTo>
                    </a:path>
                  </a:pathLst>
                </a:custGeom>
                <a:solidFill>
                  <a:schemeClr val="accent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9" name="任意多边形: 形状 38"/>
                <p:cNvSpPr/>
                <p:nvPr/>
              </p:nvSpPr>
              <p:spPr bwMode="auto">
                <a:xfrm>
                  <a:off x="7767638" y="4857751"/>
                  <a:ext cx="120650" cy="85725"/>
                </a:xfrm>
                <a:custGeom>
                  <a:avLst/>
                  <a:gdLst>
                    <a:gd name="T0" fmla="*/ 24 w 27"/>
                    <a:gd name="T1" fmla="*/ 7 h 19"/>
                    <a:gd name="T2" fmla="*/ 25 w 27"/>
                    <a:gd name="T3" fmla="*/ 15 h 19"/>
                    <a:gd name="T4" fmla="*/ 1 w 27"/>
                    <a:gd name="T5" fmla="*/ 16 h 19"/>
                    <a:gd name="T6" fmla="*/ 18 w 27"/>
                    <a:gd name="T7" fmla="*/ 7 h 19"/>
                    <a:gd name="T8" fmla="*/ 25 w 27"/>
                    <a:gd name="T9" fmla="*/ 0 h 19"/>
                    <a:gd name="T10" fmla="*/ 24 w 27"/>
                    <a:gd name="T11" fmla="*/ 7 h 19"/>
                  </a:gdLst>
                  <a:ahLst/>
                  <a:cxnLst>
                    <a:cxn ang="0">
                      <a:pos x="T0" y="T1"/>
                    </a:cxn>
                    <a:cxn ang="0">
                      <a:pos x="T2" y="T3"/>
                    </a:cxn>
                    <a:cxn ang="0">
                      <a:pos x="T4" y="T5"/>
                    </a:cxn>
                    <a:cxn ang="0">
                      <a:pos x="T6" y="T7"/>
                    </a:cxn>
                    <a:cxn ang="0">
                      <a:pos x="T8" y="T9"/>
                    </a:cxn>
                    <a:cxn ang="0">
                      <a:pos x="T10" y="T11"/>
                    </a:cxn>
                  </a:cxnLst>
                  <a:rect l="0" t="0" r="r" b="b"/>
                  <a:pathLst>
                    <a:path w="27" h="19">
                      <a:moveTo>
                        <a:pt x="24" y="7"/>
                      </a:moveTo>
                      <a:cubicBezTo>
                        <a:pt x="24" y="7"/>
                        <a:pt x="27" y="14"/>
                        <a:pt x="25" y="15"/>
                      </a:cubicBezTo>
                      <a:cubicBezTo>
                        <a:pt x="24" y="17"/>
                        <a:pt x="1" y="19"/>
                        <a:pt x="1" y="16"/>
                      </a:cubicBezTo>
                      <a:cubicBezTo>
                        <a:pt x="0" y="14"/>
                        <a:pt x="18" y="7"/>
                        <a:pt x="18" y="7"/>
                      </a:cubicBezTo>
                      <a:cubicBezTo>
                        <a:pt x="25" y="0"/>
                        <a:pt x="25" y="0"/>
                        <a:pt x="25" y="0"/>
                      </a:cubicBezTo>
                      <a:lnTo>
                        <a:pt x="24" y="7"/>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0" name="任意多边形: 形状 39"/>
                <p:cNvSpPr/>
                <p:nvPr/>
              </p:nvSpPr>
              <p:spPr bwMode="auto">
                <a:xfrm>
                  <a:off x="7727950" y="4048126"/>
                  <a:ext cx="174625" cy="850900"/>
                </a:xfrm>
                <a:custGeom>
                  <a:avLst/>
                  <a:gdLst>
                    <a:gd name="T0" fmla="*/ 0 w 39"/>
                    <a:gd name="T1" fmla="*/ 0 h 190"/>
                    <a:gd name="T2" fmla="*/ 4 w 39"/>
                    <a:gd name="T3" fmla="*/ 78 h 190"/>
                    <a:gd name="T4" fmla="*/ 27 w 39"/>
                    <a:gd name="T5" fmla="*/ 188 h 190"/>
                    <a:gd name="T6" fmla="*/ 33 w 39"/>
                    <a:gd name="T7" fmla="*/ 188 h 190"/>
                    <a:gd name="T8" fmla="*/ 39 w 39"/>
                    <a:gd name="T9" fmla="*/ 130 h 190"/>
                    <a:gd name="T10" fmla="*/ 33 w 39"/>
                    <a:gd name="T11" fmla="*/ 87 h 190"/>
                    <a:gd name="T12" fmla="*/ 38 w 39"/>
                    <a:gd name="T13" fmla="*/ 20 h 190"/>
                    <a:gd name="T14" fmla="*/ 0 w 39"/>
                    <a:gd name="T15" fmla="*/ 0 h 1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190">
                      <a:moveTo>
                        <a:pt x="0" y="0"/>
                      </a:moveTo>
                      <a:cubicBezTo>
                        <a:pt x="0" y="0"/>
                        <a:pt x="3" y="46"/>
                        <a:pt x="4" y="78"/>
                      </a:cubicBezTo>
                      <a:cubicBezTo>
                        <a:pt x="6" y="131"/>
                        <a:pt x="26" y="184"/>
                        <a:pt x="27" y="188"/>
                      </a:cubicBezTo>
                      <a:cubicBezTo>
                        <a:pt x="30" y="190"/>
                        <a:pt x="33" y="188"/>
                        <a:pt x="33" y="188"/>
                      </a:cubicBezTo>
                      <a:cubicBezTo>
                        <a:pt x="33" y="188"/>
                        <a:pt x="39" y="152"/>
                        <a:pt x="39" y="130"/>
                      </a:cubicBezTo>
                      <a:cubicBezTo>
                        <a:pt x="39" y="109"/>
                        <a:pt x="33" y="87"/>
                        <a:pt x="33" y="87"/>
                      </a:cubicBezTo>
                      <a:cubicBezTo>
                        <a:pt x="33" y="87"/>
                        <a:pt x="35" y="47"/>
                        <a:pt x="38" y="20"/>
                      </a:cubicBezTo>
                      <a:cubicBezTo>
                        <a:pt x="39" y="8"/>
                        <a:pt x="0" y="0"/>
                        <a:pt x="0" y="0"/>
                      </a:cubicBezTo>
                      <a:close/>
                    </a:path>
                  </a:pathLst>
                </a:custGeom>
                <a:solidFill>
                  <a:srgbClr val="FFC3B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1" name="任意多边形: 形状 40"/>
                <p:cNvSpPr/>
                <p:nvPr/>
              </p:nvSpPr>
              <p:spPr bwMode="auto">
                <a:xfrm>
                  <a:off x="7508875" y="4857751"/>
                  <a:ext cx="120650" cy="85725"/>
                </a:xfrm>
                <a:custGeom>
                  <a:avLst/>
                  <a:gdLst>
                    <a:gd name="T0" fmla="*/ 24 w 27"/>
                    <a:gd name="T1" fmla="*/ 7 h 19"/>
                    <a:gd name="T2" fmla="*/ 25 w 27"/>
                    <a:gd name="T3" fmla="*/ 15 h 19"/>
                    <a:gd name="T4" fmla="*/ 0 w 27"/>
                    <a:gd name="T5" fmla="*/ 16 h 19"/>
                    <a:gd name="T6" fmla="*/ 18 w 27"/>
                    <a:gd name="T7" fmla="*/ 7 h 19"/>
                    <a:gd name="T8" fmla="*/ 25 w 27"/>
                    <a:gd name="T9" fmla="*/ 0 h 19"/>
                    <a:gd name="T10" fmla="*/ 24 w 27"/>
                    <a:gd name="T11" fmla="*/ 7 h 19"/>
                  </a:gdLst>
                  <a:ahLst/>
                  <a:cxnLst>
                    <a:cxn ang="0">
                      <a:pos x="T0" y="T1"/>
                    </a:cxn>
                    <a:cxn ang="0">
                      <a:pos x="T2" y="T3"/>
                    </a:cxn>
                    <a:cxn ang="0">
                      <a:pos x="T4" y="T5"/>
                    </a:cxn>
                    <a:cxn ang="0">
                      <a:pos x="T6" y="T7"/>
                    </a:cxn>
                    <a:cxn ang="0">
                      <a:pos x="T8" y="T9"/>
                    </a:cxn>
                    <a:cxn ang="0">
                      <a:pos x="T10" y="T11"/>
                    </a:cxn>
                  </a:cxnLst>
                  <a:rect l="0" t="0" r="r" b="b"/>
                  <a:pathLst>
                    <a:path w="27" h="19">
                      <a:moveTo>
                        <a:pt x="24" y="7"/>
                      </a:moveTo>
                      <a:cubicBezTo>
                        <a:pt x="24" y="7"/>
                        <a:pt x="27" y="14"/>
                        <a:pt x="25" y="15"/>
                      </a:cubicBezTo>
                      <a:cubicBezTo>
                        <a:pt x="24" y="17"/>
                        <a:pt x="1" y="19"/>
                        <a:pt x="0" y="16"/>
                      </a:cubicBezTo>
                      <a:cubicBezTo>
                        <a:pt x="0" y="14"/>
                        <a:pt x="18" y="7"/>
                        <a:pt x="18" y="7"/>
                      </a:cubicBezTo>
                      <a:cubicBezTo>
                        <a:pt x="25" y="0"/>
                        <a:pt x="25" y="0"/>
                        <a:pt x="25" y="0"/>
                      </a:cubicBezTo>
                      <a:lnTo>
                        <a:pt x="24" y="7"/>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2" name="任意多边形: 形状 41"/>
                <p:cNvSpPr/>
                <p:nvPr/>
              </p:nvSpPr>
              <p:spPr bwMode="auto">
                <a:xfrm>
                  <a:off x="7491413" y="4048126"/>
                  <a:ext cx="177800" cy="850900"/>
                </a:xfrm>
                <a:custGeom>
                  <a:avLst/>
                  <a:gdLst>
                    <a:gd name="T0" fmla="*/ 1 w 40"/>
                    <a:gd name="T1" fmla="*/ 0 h 190"/>
                    <a:gd name="T2" fmla="*/ 1 w 40"/>
                    <a:gd name="T3" fmla="*/ 78 h 190"/>
                    <a:gd name="T4" fmla="*/ 22 w 40"/>
                    <a:gd name="T5" fmla="*/ 188 h 190"/>
                    <a:gd name="T6" fmla="*/ 28 w 40"/>
                    <a:gd name="T7" fmla="*/ 188 h 190"/>
                    <a:gd name="T8" fmla="*/ 35 w 40"/>
                    <a:gd name="T9" fmla="*/ 130 h 190"/>
                    <a:gd name="T10" fmla="*/ 30 w 40"/>
                    <a:gd name="T11" fmla="*/ 87 h 190"/>
                    <a:gd name="T12" fmla="*/ 39 w 40"/>
                    <a:gd name="T13" fmla="*/ 20 h 190"/>
                    <a:gd name="T14" fmla="*/ 1 w 40"/>
                    <a:gd name="T15" fmla="*/ 0 h 1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190">
                      <a:moveTo>
                        <a:pt x="1" y="0"/>
                      </a:moveTo>
                      <a:cubicBezTo>
                        <a:pt x="1" y="0"/>
                        <a:pt x="0" y="46"/>
                        <a:pt x="1" y="78"/>
                      </a:cubicBezTo>
                      <a:cubicBezTo>
                        <a:pt x="3" y="131"/>
                        <a:pt x="21" y="184"/>
                        <a:pt x="22" y="188"/>
                      </a:cubicBezTo>
                      <a:cubicBezTo>
                        <a:pt x="25" y="190"/>
                        <a:pt x="28" y="188"/>
                        <a:pt x="28" y="188"/>
                      </a:cubicBezTo>
                      <a:cubicBezTo>
                        <a:pt x="28" y="188"/>
                        <a:pt x="35" y="152"/>
                        <a:pt x="35" y="130"/>
                      </a:cubicBezTo>
                      <a:cubicBezTo>
                        <a:pt x="35" y="109"/>
                        <a:pt x="30" y="87"/>
                        <a:pt x="30" y="87"/>
                      </a:cubicBezTo>
                      <a:cubicBezTo>
                        <a:pt x="30" y="87"/>
                        <a:pt x="36" y="47"/>
                        <a:pt x="39" y="20"/>
                      </a:cubicBezTo>
                      <a:cubicBezTo>
                        <a:pt x="40" y="8"/>
                        <a:pt x="1" y="0"/>
                        <a:pt x="1" y="0"/>
                      </a:cubicBezTo>
                      <a:close/>
                    </a:path>
                  </a:pathLst>
                </a:custGeom>
                <a:solidFill>
                  <a:srgbClr val="FFC3B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3" name="任意多边形: 形状 42"/>
                <p:cNvSpPr/>
                <p:nvPr/>
              </p:nvSpPr>
              <p:spPr bwMode="auto">
                <a:xfrm>
                  <a:off x="7454900" y="3806826"/>
                  <a:ext cx="479425" cy="630238"/>
                </a:xfrm>
                <a:custGeom>
                  <a:avLst/>
                  <a:gdLst>
                    <a:gd name="T0" fmla="*/ 10 w 107"/>
                    <a:gd name="T1" fmla="*/ 23 h 141"/>
                    <a:gd name="T2" fmla="*/ 7 w 107"/>
                    <a:gd name="T3" fmla="*/ 127 h 141"/>
                    <a:gd name="T4" fmla="*/ 103 w 107"/>
                    <a:gd name="T5" fmla="*/ 126 h 141"/>
                    <a:gd name="T6" fmla="*/ 99 w 107"/>
                    <a:gd name="T7" fmla="*/ 29 h 141"/>
                    <a:gd name="T8" fmla="*/ 78 w 107"/>
                    <a:gd name="T9" fmla="*/ 0 h 141"/>
                  </a:gdLst>
                  <a:ahLst/>
                  <a:cxnLst>
                    <a:cxn ang="0">
                      <a:pos x="T0" y="T1"/>
                    </a:cxn>
                    <a:cxn ang="0">
                      <a:pos x="T2" y="T3"/>
                    </a:cxn>
                    <a:cxn ang="0">
                      <a:pos x="T4" y="T5"/>
                    </a:cxn>
                    <a:cxn ang="0">
                      <a:pos x="T6" y="T7"/>
                    </a:cxn>
                    <a:cxn ang="0">
                      <a:pos x="T8" y="T9"/>
                    </a:cxn>
                  </a:cxnLst>
                  <a:rect l="0" t="0" r="r" b="b"/>
                  <a:pathLst>
                    <a:path w="107" h="141">
                      <a:moveTo>
                        <a:pt x="10" y="23"/>
                      </a:moveTo>
                      <a:cubicBezTo>
                        <a:pt x="10" y="23"/>
                        <a:pt x="0" y="74"/>
                        <a:pt x="7" y="127"/>
                      </a:cubicBezTo>
                      <a:cubicBezTo>
                        <a:pt x="56" y="141"/>
                        <a:pt x="103" y="126"/>
                        <a:pt x="103" y="126"/>
                      </a:cubicBezTo>
                      <a:cubicBezTo>
                        <a:pt x="103" y="126"/>
                        <a:pt x="107" y="52"/>
                        <a:pt x="99" y="29"/>
                      </a:cubicBezTo>
                      <a:cubicBezTo>
                        <a:pt x="92" y="4"/>
                        <a:pt x="78" y="0"/>
                        <a:pt x="78" y="0"/>
                      </a:cubicBezTo>
                    </a:path>
                  </a:pathLst>
                </a:cu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4" name="任意多边形: 形状 43"/>
                <p:cNvSpPr/>
                <p:nvPr/>
              </p:nvSpPr>
              <p:spPr bwMode="auto">
                <a:xfrm>
                  <a:off x="7826375" y="3905251"/>
                  <a:ext cx="49213" cy="482600"/>
                </a:xfrm>
                <a:custGeom>
                  <a:avLst/>
                  <a:gdLst>
                    <a:gd name="T0" fmla="*/ 7 w 11"/>
                    <a:gd name="T1" fmla="*/ 108 h 108"/>
                    <a:gd name="T2" fmla="*/ 6 w 11"/>
                    <a:gd name="T3" fmla="*/ 107 h 108"/>
                    <a:gd name="T4" fmla="*/ 0 w 11"/>
                    <a:gd name="T5" fmla="*/ 1 h 108"/>
                    <a:gd name="T6" fmla="*/ 1 w 11"/>
                    <a:gd name="T7" fmla="*/ 0 h 108"/>
                    <a:gd name="T8" fmla="*/ 7 w 11"/>
                    <a:gd name="T9" fmla="*/ 108 h 108"/>
                  </a:gdLst>
                  <a:ahLst/>
                  <a:cxnLst>
                    <a:cxn ang="0">
                      <a:pos x="T0" y="T1"/>
                    </a:cxn>
                    <a:cxn ang="0">
                      <a:pos x="T2" y="T3"/>
                    </a:cxn>
                    <a:cxn ang="0">
                      <a:pos x="T4" y="T5"/>
                    </a:cxn>
                    <a:cxn ang="0">
                      <a:pos x="T6" y="T7"/>
                    </a:cxn>
                    <a:cxn ang="0">
                      <a:pos x="T8" y="T9"/>
                    </a:cxn>
                  </a:cxnLst>
                  <a:rect l="0" t="0" r="r" b="b"/>
                  <a:pathLst>
                    <a:path w="11" h="108">
                      <a:moveTo>
                        <a:pt x="7" y="108"/>
                      </a:moveTo>
                      <a:cubicBezTo>
                        <a:pt x="6" y="107"/>
                        <a:pt x="6" y="107"/>
                        <a:pt x="6" y="107"/>
                      </a:cubicBezTo>
                      <a:cubicBezTo>
                        <a:pt x="10" y="46"/>
                        <a:pt x="0" y="1"/>
                        <a:pt x="0" y="1"/>
                      </a:cubicBezTo>
                      <a:cubicBezTo>
                        <a:pt x="1" y="0"/>
                        <a:pt x="1" y="0"/>
                        <a:pt x="1" y="0"/>
                      </a:cubicBezTo>
                      <a:cubicBezTo>
                        <a:pt x="1" y="1"/>
                        <a:pt x="11" y="46"/>
                        <a:pt x="7" y="108"/>
                      </a:cubicBezTo>
                      <a:close/>
                    </a:path>
                  </a:pathLst>
                </a:custGeom>
                <a:solidFill>
                  <a:srgbClr val="12356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5" name="任意多边形: 形状 44"/>
                <p:cNvSpPr/>
                <p:nvPr/>
              </p:nvSpPr>
              <p:spPr bwMode="auto">
                <a:xfrm>
                  <a:off x="7486650" y="3336926"/>
                  <a:ext cx="411163" cy="639763"/>
                </a:xfrm>
                <a:custGeom>
                  <a:avLst/>
                  <a:gdLst>
                    <a:gd name="T0" fmla="*/ 79 w 92"/>
                    <a:gd name="T1" fmla="*/ 25 h 143"/>
                    <a:gd name="T2" fmla="*/ 81 w 92"/>
                    <a:gd name="T3" fmla="*/ 82 h 143"/>
                    <a:gd name="T4" fmla="*/ 92 w 92"/>
                    <a:gd name="T5" fmla="*/ 134 h 143"/>
                    <a:gd name="T6" fmla="*/ 2 w 92"/>
                    <a:gd name="T7" fmla="*/ 134 h 143"/>
                    <a:gd name="T8" fmla="*/ 8 w 92"/>
                    <a:gd name="T9" fmla="*/ 103 h 143"/>
                    <a:gd name="T10" fmla="*/ 9 w 92"/>
                    <a:gd name="T11" fmla="*/ 79 h 143"/>
                    <a:gd name="T12" fmla="*/ 3 w 92"/>
                    <a:gd name="T13" fmla="*/ 45 h 143"/>
                    <a:gd name="T14" fmla="*/ 17 w 92"/>
                    <a:gd name="T15" fmla="*/ 20 h 143"/>
                    <a:gd name="T16" fmla="*/ 50 w 92"/>
                    <a:gd name="T17" fmla="*/ 1 h 143"/>
                    <a:gd name="T18" fmla="*/ 79 w 92"/>
                    <a:gd name="T19" fmla="*/ 25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143">
                      <a:moveTo>
                        <a:pt x="79" y="25"/>
                      </a:moveTo>
                      <a:cubicBezTo>
                        <a:pt x="86" y="44"/>
                        <a:pt x="81" y="76"/>
                        <a:pt x="81" y="82"/>
                      </a:cubicBezTo>
                      <a:cubicBezTo>
                        <a:pt x="81" y="98"/>
                        <a:pt x="91" y="114"/>
                        <a:pt x="92" y="134"/>
                      </a:cubicBezTo>
                      <a:cubicBezTo>
                        <a:pt x="89" y="138"/>
                        <a:pt x="11" y="143"/>
                        <a:pt x="2" y="134"/>
                      </a:cubicBezTo>
                      <a:cubicBezTo>
                        <a:pt x="3" y="123"/>
                        <a:pt x="6" y="117"/>
                        <a:pt x="8" y="103"/>
                      </a:cubicBezTo>
                      <a:cubicBezTo>
                        <a:pt x="9" y="98"/>
                        <a:pt x="9" y="90"/>
                        <a:pt x="9" y="79"/>
                      </a:cubicBezTo>
                      <a:cubicBezTo>
                        <a:pt x="6" y="64"/>
                        <a:pt x="0" y="57"/>
                        <a:pt x="3" y="45"/>
                      </a:cubicBezTo>
                      <a:cubicBezTo>
                        <a:pt x="4" y="36"/>
                        <a:pt x="13" y="26"/>
                        <a:pt x="17" y="20"/>
                      </a:cubicBezTo>
                      <a:cubicBezTo>
                        <a:pt x="24" y="7"/>
                        <a:pt x="16" y="0"/>
                        <a:pt x="50" y="1"/>
                      </a:cubicBezTo>
                      <a:cubicBezTo>
                        <a:pt x="66" y="1"/>
                        <a:pt x="71" y="6"/>
                        <a:pt x="79" y="25"/>
                      </a:cubicBezTo>
                      <a:close/>
                    </a:path>
                  </a:pathLst>
                </a:custGeom>
                <a:solidFill>
                  <a:schemeClr val="accent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6" name="任意多边形: 形状 45"/>
                <p:cNvSpPr/>
                <p:nvPr/>
              </p:nvSpPr>
              <p:spPr bwMode="auto">
                <a:xfrm>
                  <a:off x="7491413" y="3427413"/>
                  <a:ext cx="61913" cy="200025"/>
                </a:xfrm>
                <a:custGeom>
                  <a:avLst/>
                  <a:gdLst>
                    <a:gd name="T0" fmla="*/ 3 w 14"/>
                    <a:gd name="T1" fmla="*/ 45 h 45"/>
                    <a:gd name="T2" fmla="*/ 1 w 14"/>
                    <a:gd name="T3" fmla="*/ 25 h 45"/>
                    <a:gd name="T4" fmla="*/ 7 w 14"/>
                    <a:gd name="T5" fmla="*/ 12 h 45"/>
                    <a:gd name="T6" fmla="*/ 13 w 14"/>
                    <a:gd name="T7" fmla="*/ 0 h 45"/>
                    <a:gd name="T8" fmla="*/ 14 w 14"/>
                    <a:gd name="T9" fmla="*/ 0 h 45"/>
                    <a:gd name="T10" fmla="*/ 8 w 14"/>
                    <a:gd name="T11" fmla="*/ 12 h 45"/>
                    <a:gd name="T12" fmla="*/ 2 w 14"/>
                    <a:gd name="T13" fmla="*/ 25 h 45"/>
                    <a:gd name="T14" fmla="*/ 4 w 14"/>
                    <a:gd name="T15" fmla="*/ 44 h 45"/>
                    <a:gd name="T16" fmla="*/ 3 w 14"/>
                    <a:gd name="T17"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 h="45">
                      <a:moveTo>
                        <a:pt x="3" y="45"/>
                      </a:moveTo>
                      <a:cubicBezTo>
                        <a:pt x="1" y="36"/>
                        <a:pt x="0" y="32"/>
                        <a:pt x="1" y="25"/>
                      </a:cubicBezTo>
                      <a:cubicBezTo>
                        <a:pt x="2" y="20"/>
                        <a:pt x="4" y="16"/>
                        <a:pt x="7" y="12"/>
                      </a:cubicBezTo>
                      <a:cubicBezTo>
                        <a:pt x="9" y="8"/>
                        <a:pt x="11" y="5"/>
                        <a:pt x="13" y="0"/>
                      </a:cubicBezTo>
                      <a:cubicBezTo>
                        <a:pt x="14" y="0"/>
                        <a:pt x="14" y="0"/>
                        <a:pt x="14" y="0"/>
                      </a:cubicBezTo>
                      <a:cubicBezTo>
                        <a:pt x="12" y="5"/>
                        <a:pt x="10" y="9"/>
                        <a:pt x="8" y="12"/>
                      </a:cubicBezTo>
                      <a:cubicBezTo>
                        <a:pt x="5" y="17"/>
                        <a:pt x="3" y="20"/>
                        <a:pt x="2" y="25"/>
                      </a:cubicBezTo>
                      <a:cubicBezTo>
                        <a:pt x="1" y="32"/>
                        <a:pt x="2" y="36"/>
                        <a:pt x="4" y="44"/>
                      </a:cubicBezTo>
                      <a:lnTo>
                        <a:pt x="3" y="45"/>
                      </a:lnTo>
                      <a:close/>
                    </a:path>
                  </a:pathLst>
                </a:custGeom>
                <a:solidFill>
                  <a:srgbClr val="D1595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7" name="任意多边形: 形状 46"/>
                <p:cNvSpPr/>
                <p:nvPr/>
              </p:nvSpPr>
              <p:spPr bwMode="auto">
                <a:xfrm>
                  <a:off x="7575550" y="3127376"/>
                  <a:ext cx="134938" cy="204788"/>
                </a:xfrm>
                <a:custGeom>
                  <a:avLst/>
                  <a:gdLst>
                    <a:gd name="T0" fmla="*/ 10 w 30"/>
                    <a:gd name="T1" fmla="*/ 12 h 46"/>
                    <a:gd name="T2" fmla="*/ 6 w 30"/>
                    <a:gd name="T3" fmla="*/ 41 h 46"/>
                    <a:gd name="T4" fmla="*/ 24 w 30"/>
                    <a:gd name="T5" fmla="*/ 35 h 46"/>
                    <a:gd name="T6" fmla="*/ 10 w 30"/>
                    <a:gd name="T7" fmla="*/ 12 h 46"/>
                  </a:gdLst>
                  <a:ahLst/>
                  <a:cxnLst>
                    <a:cxn ang="0">
                      <a:pos x="T0" y="T1"/>
                    </a:cxn>
                    <a:cxn ang="0">
                      <a:pos x="T2" y="T3"/>
                    </a:cxn>
                    <a:cxn ang="0">
                      <a:pos x="T4" y="T5"/>
                    </a:cxn>
                    <a:cxn ang="0">
                      <a:pos x="T6" y="T7"/>
                    </a:cxn>
                  </a:cxnLst>
                  <a:rect l="0" t="0" r="r" b="b"/>
                  <a:pathLst>
                    <a:path w="30" h="46">
                      <a:moveTo>
                        <a:pt x="10" y="12"/>
                      </a:moveTo>
                      <a:cubicBezTo>
                        <a:pt x="10" y="12"/>
                        <a:pt x="0" y="37"/>
                        <a:pt x="6" y="41"/>
                      </a:cubicBezTo>
                      <a:cubicBezTo>
                        <a:pt x="12" y="46"/>
                        <a:pt x="22" y="40"/>
                        <a:pt x="24" y="35"/>
                      </a:cubicBezTo>
                      <a:cubicBezTo>
                        <a:pt x="28" y="29"/>
                        <a:pt x="30" y="0"/>
                        <a:pt x="10" y="12"/>
                      </a:cubicBezTo>
                      <a:close/>
                    </a:path>
                  </a:pathLst>
                </a:custGeom>
                <a:solidFill>
                  <a:srgbClr val="FFC3B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8" name="任意多边形: 形状 47"/>
                <p:cNvSpPr/>
                <p:nvPr/>
              </p:nvSpPr>
              <p:spPr bwMode="auto">
                <a:xfrm>
                  <a:off x="7639050" y="3260726"/>
                  <a:ext cx="61913" cy="117475"/>
                </a:xfrm>
                <a:custGeom>
                  <a:avLst/>
                  <a:gdLst>
                    <a:gd name="T0" fmla="*/ 1 w 14"/>
                    <a:gd name="T1" fmla="*/ 4 h 26"/>
                    <a:gd name="T2" fmla="*/ 0 w 14"/>
                    <a:gd name="T3" fmla="*/ 21 h 26"/>
                    <a:gd name="T4" fmla="*/ 3 w 14"/>
                    <a:gd name="T5" fmla="*/ 26 h 26"/>
                    <a:gd name="T6" fmla="*/ 14 w 14"/>
                    <a:gd name="T7" fmla="*/ 19 h 26"/>
                    <a:gd name="T8" fmla="*/ 11 w 14"/>
                    <a:gd name="T9" fmla="*/ 0 h 26"/>
                  </a:gdLst>
                  <a:ahLst/>
                  <a:cxnLst>
                    <a:cxn ang="0">
                      <a:pos x="T0" y="T1"/>
                    </a:cxn>
                    <a:cxn ang="0">
                      <a:pos x="T2" y="T3"/>
                    </a:cxn>
                    <a:cxn ang="0">
                      <a:pos x="T4" y="T5"/>
                    </a:cxn>
                    <a:cxn ang="0">
                      <a:pos x="T6" y="T7"/>
                    </a:cxn>
                    <a:cxn ang="0">
                      <a:pos x="T8" y="T9"/>
                    </a:cxn>
                  </a:cxnLst>
                  <a:rect l="0" t="0" r="r" b="b"/>
                  <a:pathLst>
                    <a:path w="14" h="26">
                      <a:moveTo>
                        <a:pt x="1" y="4"/>
                      </a:moveTo>
                      <a:cubicBezTo>
                        <a:pt x="0" y="21"/>
                        <a:pt x="0" y="21"/>
                        <a:pt x="0" y="21"/>
                      </a:cubicBezTo>
                      <a:cubicBezTo>
                        <a:pt x="0" y="21"/>
                        <a:pt x="1" y="26"/>
                        <a:pt x="3" y="26"/>
                      </a:cubicBezTo>
                      <a:cubicBezTo>
                        <a:pt x="5" y="26"/>
                        <a:pt x="14" y="19"/>
                        <a:pt x="14" y="19"/>
                      </a:cubicBezTo>
                      <a:cubicBezTo>
                        <a:pt x="11" y="0"/>
                        <a:pt x="11" y="0"/>
                        <a:pt x="11" y="0"/>
                      </a:cubicBezTo>
                    </a:path>
                  </a:pathLst>
                </a:custGeom>
                <a:solidFill>
                  <a:srgbClr val="FFC3B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9" name="任意多边形: 形状 48"/>
                <p:cNvSpPr/>
                <p:nvPr/>
              </p:nvSpPr>
              <p:spPr bwMode="auto">
                <a:xfrm>
                  <a:off x="7646988" y="3328988"/>
                  <a:ext cx="63500" cy="79375"/>
                </a:xfrm>
                <a:custGeom>
                  <a:avLst/>
                  <a:gdLst>
                    <a:gd name="T0" fmla="*/ 37 w 40"/>
                    <a:gd name="T1" fmla="*/ 0 h 50"/>
                    <a:gd name="T2" fmla="*/ 0 w 40"/>
                    <a:gd name="T3" fmla="*/ 28 h 50"/>
                    <a:gd name="T4" fmla="*/ 14 w 40"/>
                    <a:gd name="T5" fmla="*/ 50 h 50"/>
                    <a:gd name="T6" fmla="*/ 40 w 40"/>
                    <a:gd name="T7" fmla="*/ 8 h 50"/>
                    <a:gd name="T8" fmla="*/ 37 w 40"/>
                    <a:gd name="T9" fmla="*/ 0 h 50"/>
                  </a:gdLst>
                  <a:ahLst/>
                  <a:cxnLst>
                    <a:cxn ang="0">
                      <a:pos x="T0" y="T1"/>
                    </a:cxn>
                    <a:cxn ang="0">
                      <a:pos x="T2" y="T3"/>
                    </a:cxn>
                    <a:cxn ang="0">
                      <a:pos x="T4" y="T5"/>
                    </a:cxn>
                    <a:cxn ang="0">
                      <a:pos x="T6" y="T7"/>
                    </a:cxn>
                    <a:cxn ang="0">
                      <a:pos x="T8" y="T9"/>
                    </a:cxn>
                  </a:cxnLst>
                  <a:rect l="0" t="0" r="r" b="b"/>
                  <a:pathLst>
                    <a:path w="40" h="50">
                      <a:moveTo>
                        <a:pt x="37" y="0"/>
                      </a:moveTo>
                      <a:lnTo>
                        <a:pt x="0" y="28"/>
                      </a:lnTo>
                      <a:lnTo>
                        <a:pt x="14" y="50"/>
                      </a:lnTo>
                      <a:lnTo>
                        <a:pt x="40" y="8"/>
                      </a:lnTo>
                      <a:lnTo>
                        <a:pt x="37"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0" name="任意多边形: 形状 49"/>
                <p:cNvSpPr/>
                <p:nvPr/>
              </p:nvSpPr>
              <p:spPr bwMode="auto">
                <a:xfrm>
                  <a:off x="7620000" y="3336926"/>
                  <a:ext cx="26988" cy="63500"/>
                </a:xfrm>
                <a:custGeom>
                  <a:avLst/>
                  <a:gdLst>
                    <a:gd name="T0" fmla="*/ 17 w 17"/>
                    <a:gd name="T1" fmla="*/ 23 h 40"/>
                    <a:gd name="T2" fmla="*/ 12 w 17"/>
                    <a:gd name="T3" fmla="*/ 0 h 40"/>
                    <a:gd name="T4" fmla="*/ 0 w 17"/>
                    <a:gd name="T5" fmla="*/ 6 h 40"/>
                    <a:gd name="T6" fmla="*/ 3 w 17"/>
                    <a:gd name="T7" fmla="*/ 40 h 40"/>
                    <a:gd name="T8" fmla="*/ 17 w 17"/>
                    <a:gd name="T9" fmla="*/ 23 h 40"/>
                  </a:gdLst>
                  <a:ahLst/>
                  <a:cxnLst>
                    <a:cxn ang="0">
                      <a:pos x="T0" y="T1"/>
                    </a:cxn>
                    <a:cxn ang="0">
                      <a:pos x="T2" y="T3"/>
                    </a:cxn>
                    <a:cxn ang="0">
                      <a:pos x="T4" y="T5"/>
                    </a:cxn>
                    <a:cxn ang="0">
                      <a:pos x="T6" y="T7"/>
                    </a:cxn>
                    <a:cxn ang="0">
                      <a:pos x="T8" y="T9"/>
                    </a:cxn>
                  </a:cxnLst>
                  <a:rect l="0" t="0" r="r" b="b"/>
                  <a:pathLst>
                    <a:path w="17" h="40">
                      <a:moveTo>
                        <a:pt x="17" y="23"/>
                      </a:moveTo>
                      <a:lnTo>
                        <a:pt x="12" y="0"/>
                      </a:lnTo>
                      <a:lnTo>
                        <a:pt x="0" y="6"/>
                      </a:lnTo>
                      <a:lnTo>
                        <a:pt x="3" y="40"/>
                      </a:lnTo>
                      <a:lnTo>
                        <a:pt x="17" y="23"/>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1" name="任意多边形: 形状 50"/>
                <p:cNvSpPr/>
                <p:nvPr/>
              </p:nvSpPr>
              <p:spPr bwMode="auto">
                <a:xfrm>
                  <a:off x="7169150" y="3605213"/>
                  <a:ext cx="361950" cy="260350"/>
                </a:xfrm>
                <a:custGeom>
                  <a:avLst/>
                  <a:gdLst>
                    <a:gd name="T0" fmla="*/ 70 w 81"/>
                    <a:gd name="T1" fmla="*/ 3 h 58"/>
                    <a:gd name="T2" fmla="*/ 81 w 81"/>
                    <a:gd name="T3" fmla="*/ 58 h 58"/>
                    <a:gd name="T4" fmla="*/ 12 w 81"/>
                    <a:gd name="T5" fmla="*/ 58 h 58"/>
                    <a:gd name="T6" fmla="*/ 1 w 81"/>
                    <a:gd name="T7" fmla="*/ 2 h 58"/>
                    <a:gd name="T8" fmla="*/ 2 w 81"/>
                    <a:gd name="T9" fmla="*/ 0 h 58"/>
                    <a:gd name="T10" fmla="*/ 67 w 81"/>
                    <a:gd name="T11" fmla="*/ 0 h 58"/>
                    <a:gd name="T12" fmla="*/ 70 w 81"/>
                    <a:gd name="T13" fmla="*/ 3 h 58"/>
                  </a:gdLst>
                  <a:ahLst/>
                  <a:cxnLst>
                    <a:cxn ang="0">
                      <a:pos x="T0" y="T1"/>
                    </a:cxn>
                    <a:cxn ang="0">
                      <a:pos x="T2" y="T3"/>
                    </a:cxn>
                    <a:cxn ang="0">
                      <a:pos x="T4" y="T5"/>
                    </a:cxn>
                    <a:cxn ang="0">
                      <a:pos x="T6" y="T7"/>
                    </a:cxn>
                    <a:cxn ang="0">
                      <a:pos x="T8" y="T9"/>
                    </a:cxn>
                    <a:cxn ang="0">
                      <a:pos x="T10" y="T11"/>
                    </a:cxn>
                    <a:cxn ang="0">
                      <a:pos x="T12" y="T13"/>
                    </a:cxn>
                  </a:cxnLst>
                  <a:rect l="0" t="0" r="r" b="b"/>
                  <a:pathLst>
                    <a:path w="81" h="58">
                      <a:moveTo>
                        <a:pt x="70" y="3"/>
                      </a:moveTo>
                      <a:cubicBezTo>
                        <a:pt x="81" y="58"/>
                        <a:pt x="81" y="58"/>
                        <a:pt x="81" y="58"/>
                      </a:cubicBezTo>
                      <a:cubicBezTo>
                        <a:pt x="12" y="58"/>
                        <a:pt x="12" y="58"/>
                        <a:pt x="12" y="58"/>
                      </a:cubicBezTo>
                      <a:cubicBezTo>
                        <a:pt x="1" y="2"/>
                        <a:pt x="1" y="2"/>
                        <a:pt x="1" y="2"/>
                      </a:cubicBezTo>
                      <a:cubicBezTo>
                        <a:pt x="0" y="1"/>
                        <a:pt x="1" y="0"/>
                        <a:pt x="2" y="0"/>
                      </a:cubicBezTo>
                      <a:cubicBezTo>
                        <a:pt x="67" y="0"/>
                        <a:pt x="67" y="0"/>
                        <a:pt x="67" y="0"/>
                      </a:cubicBezTo>
                      <a:cubicBezTo>
                        <a:pt x="69" y="0"/>
                        <a:pt x="70" y="2"/>
                        <a:pt x="70" y="3"/>
                      </a:cubicBezTo>
                    </a:path>
                  </a:pathLst>
                </a:custGeom>
                <a:solidFill>
                  <a:schemeClr val="tx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2" name="任意多边形: 形状 51"/>
                <p:cNvSpPr/>
                <p:nvPr/>
              </p:nvSpPr>
              <p:spPr bwMode="auto">
                <a:xfrm>
                  <a:off x="7442200" y="3833813"/>
                  <a:ext cx="246063" cy="31750"/>
                </a:xfrm>
                <a:custGeom>
                  <a:avLst/>
                  <a:gdLst>
                    <a:gd name="T0" fmla="*/ 1 w 55"/>
                    <a:gd name="T1" fmla="*/ 7 h 7"/>
                    <a:gd name="T2" fmla="*/ 55 w 55"/>
                    <a:gd name="T3" fmla="*/ 7 h 7"/>
                    <a:gd name="T4" fmla="*/ 55 w 55"/>
                    <a:gd name="T5" fmla="*/ 4 h 7"/>
                    <a:gd name="T6" fmla="*/ 51 w 55"/>
                    <a:gd name="T7" fmla="*/ 0 h 7"/>
                    <a:gd name="T8" fmla="*/ 0 w 55"/>
                    <a:gd name="T9" fmla="*/ 0 h 7"/>
                    <a:gd name="T10" fmla="*/ 1 w 55"/>
                    <a:gd name="T11" fmla="*/ 7 h 7"/>
                  </a:gdLst>
                  <a:ahLst/>
                  <a:cxnLst>
                    <a:cxn ang="0">
                      <a:pos x="T0" y="T1"/>
                    </a:cxn>
                    <a:cxn ang="0">
                      <a:pos x="T2" y="T3"/>
                    </a:cxn>
                    <a:cxn ang="0">
                      <a:pos x="T4" y="T5"/>
                    </a:cxn>
                    <a:cxn ang="0">
                      <a:pos x="T6" y="T7"/>
                    </a:cxn>
                    <a:cxn ang="0">
                      <a:pos x="T8" y="T9"/>
                    </a:cxn>
                    <a:cxn ang="0">
                      <a:pos x="T10" y="T11"/>
                    </a:cxn>
                  </a:cxnLst>
                  <a:rect l="0" t="0" r="r" b="b"/>
                  <a:pathLst>
                    <a:path w="55" h="7">
                      <a:moveTo>
                        <a:pt x="1" y="7"/>
                      </a:moveTo>
                      <a:cubicBezTo>
                        <a:pt x="55" y="7"/>
                        <a:pt x="55" y="7"/>
                        <a:pt x="55" y="7"/>
                      </a:cubicBezTo>
                      <a:cubicBezTo>
                        <a:pt x="55" y="4"/>
                        <a:pt x="55" y="4"/>
                        <a:pt x="55" y="4"/>
                      </a:cubicBezTo>
                      <a:cubicBezTo>
                        <a:pt x="54" y="2"/>
                        <a:pt x="53" y="0"/>
                        <a:pt x="51" y="0"/>
                      </a:cubicBezTo>
                      <a:cubicBezTo>
                        <a:pt x="0" y="0"/>
                        <a:pt x="0" y="0"/>
                        <a:pt x="0" y="0"/>
                      </a:cubicBezTo>
                      <a:lnTo>
                        <a:pt x="1" y="7"/>
                      </a:lnTo>
                      <a:close/>
                    </a:path>
                  </a:pathLst>
                </a:custGeom>
                <a:solidFill>
                  <a:schemeClr val="tx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3" name="任意多边形: 形状 52"/>
                <p:cNvSpPr/>
                <p:nvPr/>
              </p:nvSpPr>
              <p:spPr bwMode="auto">
                <a:xfrm>
                  <a:off x="7321550" y="3708401"/>
                  <a:ext cx="53975" cy="58738"/>
                </a:xfrm>
                <a:custGeom>
                  <a:avLst/>
                  <a:gdLst>
                    <a:gd name="T0" fmla="*/ 5 w 12"/>
                    <a:gd name="T1" fmla="*/ 0 h 13"/>
                    <a:gd name="T2" fmla="*/ 1 w 12"/>
                    <a:gd name="T3" fmla="*/ 6 h 13"/>
                    <a:gd name="T4" fmla="*/ 7 w 12"/>
                    <a:gd name="T5" fmla="*/ 13 h 13"/>
                    <a:gd name="T6" fmla="*/ 11 w 12"/>
                    <a:gd name="T7" fmla="*/ 6 h 13"/>
                    <a:gd name="T8" fmla="*/ 5 w 12"/>
                    <a:gd name="T9" fmla="*/ 0 h 13"/>
                  </a:gdLst>
                  <a:ahLst/>
                  <a:cxnLst>
                    <a:cxn ang="0">
                      <a:pos x="T0" y="T1"/>
                    </a:cxn>
                    <a:cxn ang="0">
                      <a:pos x="T2" y="T3"/>
                    </a:cxn>
                    <a:cxn ang="0">
                      <a:pos x="T4" y="T5"/>
                    </a:cxn>
                    <a:cxn ang="0">
                      <a:pos x="T6" y="T7"/>
                    </a:cxn>
                    <a:cxn ang="0">
                      <a:pos x="T8" y="T9"/>
                    </a:cxn>
                  </a:cxnLst>
                  <a:rect l="0" t="0" r="r" b="b"/>
                  <a:pathLst>
                    <a:path w="12" h="13">
                      <a:moveTo>
                        <a:pt x="5" y="0"/>
                      </a:moveTo>
                      <a:cubicBezTo>
                        <a:pt x="2" y="0"/>
                        <a:pt x="0" y="3"/>
                        <a:pt x="1" y="6"/>
                      </a:cubicBezTo>
                      <a:cubicBezTo>
                        <a:pt x="2" y="10"/>
                        <a:pt x="5" y="13"/>
                        <a:pt x="7" y="13"/>
                      </a:cubicBezTo>
                      <a:cubicBezTo>
                        <a:pt x="10" y="13"/>
                        <a:pt x="12" y="10"/>
                        <a:pt x="11" y="6"/>
                      </a:cubicBezTo>
                      <a:cubicBezTo>
                        <a:pt x="10" y="3"/>
                        <a:pt x="8" y="0"/>
                        <a:pt x="5" y="0"/>
                      </a:cubicBezTo>
                    </a:path>
                  </a:pathLst>
                </a:custGeom>
                <a:solidFill>
                  <a:srgbClr val="DAE2E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4" name="任意多边形: 形状 53"/>
                <p:cNvSpPr/>
                <p:nvPr/>
              </p:nvSpPr>
              <p:spPr bwMode="auto">
                <a:xfrm>
                  <a:off x="7464425" y="3833813"/>
                  <a:ext cx="120650" cy="49213"/>
                </a:xfrm>
                <a:custGeom>
                  <a:avLst/>
                  <a:gdLst>
                    <a:gd name="T0" fmla="*/ 27 w 27"/>
                    <a:gd name="T1" fmla="*/ 0 h 11"/>
                    <a:gd name="T2" fmla="*/ 18 w 27"/>
                    <a:gd name="T3" fmla="*/ 3 h 11"/>
                    <a:gd name="T4" fmla="*/ 13 w 27"/>
                    <a:gd name="T5" fmla="*/ 2 h 11"/>
                    <a:gd name="T6" fmla="*/ 9 w 27"/>
                    <a:gd name="T7" fmla="*/ 2 h 11"/>
                    <a:gd name="T8" fmla="*/ 9 w 27"/>
                    <a:gd name="T9" fmla="*/ 2 h 11"/>
                    <a:gd name="T10" fmla="*/ 8 w 27"/>
                    <a:gd name="T11" fmla="*/ 2 h 11"/>
                    <a:gd name="T12" fmla="*/ 9 w 27"/>
                    <a:gd name="T13" fmla="*/ 2 h 11"/>
                    <a:gd name="T14" fmla="*/ 11 w 27"/>
                    <a:gd name="T15" fmla="*/ 4 h 11"/>
                    <a:gd name="T16" fmla="*/ 11 w 27"/>
                    <a:gd name="T17" fmla="*/ 5 h 11"/>
                    <a:gd name="T18" fmla="*/ 5 w 27"/>
                    <a:gd name="T19" fmla="*/ 5 h 11"/>
                    <a:gd name="T20" fmla="*/ 1 w 27"/>
                    <a:gd name="T21" fmla="*/ 5 h 11"/>
                    <a:gd name="T22" fmla="*/ 0 w 27"/>
                    <a:gd name="T23" fmla="*/ 6 h 11"/>
                    <a:gd name="T24" fmla="*/ 0 w 27"/>
                    <a:gd name="T25" fmla="*/ 6 h 11"/>
                    <a:gd name="T26" fmla="*/ 4 w 27"/>
                    <a:gd name="T27" fmla="*/ 9 h 11"/>
                    <a:gd name="T28" fmla="*/ 10 w 27"/>
                    <a:gd name="T29" fmla="*/ 11 h 11"/>
                    <a:gd name="T30" fmla="*/ 18 w 27"/>
                    <a:gd name="T31" fmla="*/ 10 h 11"/>
                    <a:gd name="T32" fmla="*/ 24 w 27"/>
                    <a:gd name="T33" fmla="*/ 9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 h="11">
                      <a:moveTo>
                        <a:pt x="27" y="0"/>
                      </a:moveTo>
                      <a:cubicBezTo>
                        <a:pt x="27" y="0"/>
                        <a:pt x="20" y="3"/>
                        <a:pt x="18" y="3"/>
                      </a:cubicBezTo>
                      <a:cubicBezTo>
                        <a:pt x="16" y="3"/>
                        <a:pt x="14" y="2"/>
                        <a:pt x="13" y="2"/>
                      </a:cubicBezTo>
                      <a:cubicBezTo>
                        <a:pt x="12" y="2"/>
                        <a:pt x="10" y="2"/>
                        <a:pt x="9" y="2"/>
                      </a:cubicBezTo>
                      <a:cubicBezTo>
                        <a:pt x="9" y="2"/>
                        <a:pt x="9" y="2"/>
                        <a:pt x="9" y="2"/>
                      </a:cubicBezTo>
                      <a:cubicBezTo>
                        <a:pt x="8" y="2"/>
                        <a:pt x="8" y="2"/>
                        <a:pt x="8" y="2"/>
                      </a:cubicBezTo>
                      <a:cubicBezTo>
                        <a:pt x="9" y="2"/>
                        <a:pt x="9" y="2"/>
                        <a:pt x="9" y="2"/>
                      </a:cubicBezTo>
                      <a:cubicBezTo>
                        <a:pt x="9" y="3"/>
                        <a:pt x="10" y="3"/>
                        <a:pt x="11" y="4"/>
                      </a:cubicBezTo>
                      <a:cubicBezTo>
                        <a:pt x="11" y="4"/>
                        <a:pt x="12" y="4"/>
                        <a:pt x="11" y="5"/>
                      </a:cubicBezTo>
                      <a:cubicBezTo>
                        <a:pt x="9" y="5"/>
                        <a:pt x="7" y="5"/>
                        <a:pt x="5" y="5"/>
                      </a:cubicBezTo>
                      <a:cubicBezTo>
                        <a:pt x="4" y="5"/>
                        <a:pt x="2" y="5"/>
                        <a:pt x="1" y="5"/>
                      </a:cubicBezTo>
                      <a:cubicBezTo>
                        <a:pt x="0" y="6"/>
                        <a:pt x="0" y="6"/>
                        <a:pt x="0" y="6"/>
                      </a:cubicBezTo>
                      <a:cubicBezTo>
                        <a:pt x="0" y="6"/>
                        <a:pt x="0" y="6"/>
                        <a:pt x="0" y="6"/>
                      </a:cubicBezTo>
                      <a:cubicBezTo>
                        <a:pt x="1" y="8"/>
                        <a:pt x="2" y="8"/>
                        <a:pt x="4" y="9"/>
                      </a:cubicBezTo>
                      <a:cubicBezTo>
                        <a:pt x="6" y="10"/>
                        <a:pt x="8" y="11"/>
                        <a:pt x="10" y="11"/>
                      </a:cubicBezTo>
                      <a:cubicBezTo>
                        <a:pt x="12" y="11"/>
                        <a:pt x="15" y="11"/>
                        <a:pt x="18" y="10"/>
                      </a:cubicBezTo>
                      <a:cubicBezTo>
                        <a:pt x="19" y="10"/>
                        <a:pt x="24" y="9"/>
                        <a:pt x="24" y="9"/>
                      </a:cubicBezTo>
                    </a:path>
                  </a:pathLst>
                </a:custGeom>
                <a:solidFill>
                  <a:srgbClr val="FFC3B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5" name="任意多边形: 形状 54"/>
                <p:cNvSpPr/>
                <p:nvPr/>
              </p:nvSpPr>
              <p:spPr bwMode="auto">
                <a:xfrm>
                  <a:off x="7548563" y="3341688"/>
                  <a:ext cx="385763" cy="550863"/>
                </a:xfrm>
                <a:custGeom>
                  <a:avLst/>
                  <a:gdLst>
                    <a:gd name="T0" fmla="*/ 40 w 86"/>
                    <a:gd name="T1" fmla="*/ 36 h 123"/>
                    <a:gd name="T2" fmla="*/ 48 w 86"/>
                    <a:gd name="T3" fmla="*/ 89 h 123"/>
                    <a:gd name="T4" fmla="*/ 0 w 86"/>
                    <a:gd name="T5" fmla="*/ 113 h 123"/>
                    <a:gd name="T6" fmla="*/ 3 w 86"/>
                    <a:gd name="T7" fmla="*/ 121 h 123"/>
                    <a:gd name="T8" fmla="*/ 72 w 86"/>
                    <a:gd name="T9" fmla="*/ 107 h 123"/>
                    <a:gd name="T10" fmla="*/ 73 w 86"/>
                    <a:gd name="T11" fmla="*/ 26 h 123"/>
                    <a:gd name="T12" fmla="*/ 36 w 86"/>
                    <a:gd name="T13" fmla="*/ 0 h 123"/>
                  </a:gdLst>
                  <a:ahLst/>
                  <a:cxnLst>
                    <a:cxn ang="0">
                      <a:pos x="T0" y="T1"/>
                    </a:cxn>
                    <a:cxn ang="0">
                      <a:pos x="T2" y="T3"/>
                    </a:cxn>
                    <a:cxn ang="0">
                      <a:pos x="T4" y="T5"/>
                    </a:cxn>
                    <a:cxn ang="0">
                      <a:pos x="T6" y="T7"/>
                    </a:cxn>
                    <a:cxn ang="0">
                      <a:pos x="T8" y="T9"/>
                    </a:cxn>
                    <a:cxn ang="0">
                      <a:pos x="T10" y="T11"/>
                    </a:cxn>
                    <a:cxn ang="0">
                      <a:pos x="T12" y="T13"/>
                    </a:cxn>
                  </a:cxnLst>
                  <a:rect l="0" t="0" r="r" b="b"/>
                  <a:pathLst>
                    <a:path w="86" h="123">
                      <a:moveTo>
                        <a:pt x="40" y="36"/>
                      </a:moveTo>
                      <a:cubicBezTo>
                        <a:pt x="40" y="36"/>
                        <a:pt x="47" y="71"/>
                        <a:pt x="48" y="89"/>
                      </a:cubicBezTo>
                      <a:cubicBezTo>
                        <a:pt x="44" y="93"/>
                        <a:pt x="0" y="113"/>
                        <a:pt x="0" y="113"/>
                      </a:cubicBezTo>
                      <a:cubicBezTo>
                        <a:pt x="3" y="121"/>
                        <a:pt x="3" y="121"/>
                        <a:pt x="3" y="121"/>
                      </a:cubicBezTo>
                      <a:cubicBezTo>
                        <a:pt x="3" y="121"/>
                        <a:pt x="59" y="123"/>
                        <a:pt x="72" y="107"/>
                      </a:cubicBezTo>
                      <a:cubicBezTo>
                        <a:pt x="86" y="92"/>
                        <a:pt x="81" y="46"/>
                        <a:pt x="73" y="26"/>
                      </a:cubicBezTo>
                      <a:cubicBezTo>
                        <a:pt x="68" y="10"/>
                        <a:pt x="54" y="0"/>
                        <a:pt x="36" y="0"/>
                      </a:cubicBezTo>
                    </a:path>
                  </a:pathLst>
                </a:custGeom>
                <a:solidFill>
                  <a:schemeClr val="accent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6" name="任意多边形: 形状 55"/>
                <p:cNvSpPr/>
                <p:nvPr/>
              </p:nvSpPr>
              <p:spPr bwMode="auto">
                <a:xfrm>
                  <a:off x="7562850" y="3821113"/>
                  <a:ext cx="312738" cy="66675"/>
                </a:xfrm>
                <a:custGeom>
                  <a:avLst/>
                  <a:gdLst>
                    <a:gd name="T0" fmla="*/ 6 w 70"/>
                    <a:gd name="T1" fmla="*/ 14 h 15"/>
                    <a:gd name="T2" fmla="*/ 0 w 70"/>
                    <a:gd name="T3" fmla="*/ 14 h 15"/>
                    <a:gd name="T4" fmla="*/ 0 w 70"/>
                    <a:gd name="T5" fmla="*/ 13 h 15"/>
                    <a:gd name="T6" fmla="*/ 69 w 70"/>
                    <a:gd name="T7" fmla="*/ 0 h 15"/>
                    <a:gd name="T8" fmla="*/ 70 w 70"/>
                    <a:gd name="T9" fmla="*/ 0 h 15"/>
                    <a:gd name="T10" fmla="*/ 6 w 70"/>
                    <a:gd name="T11" fmla="*/ 14 h 15"/>
                  </a:gdLst>
                  <a:ahLst/>
                  <a:cxnLst>
                    <a:cxn ang="0">
                      <a:pos x="T0" y="T1"/>
                    </a:cxn>
                    <a:cxn ang="0">
                      <a:pos x="T2" y="T3"/>
                    </a:cxn>
                    <a:cxn ang="0">
                      <a:pos x="T4" y="T5"/>
                    </a:cxn>
                    <a:cxn ang="0">
                      <a:pos x="T6" y="T7"/>
                    </a:cxn>
                    <a:cxn ang="0">
                      <a:pos x="T8" y="T9"/>
                    </a:cxn>
                    <a:cxn ang="0">
                      <a:pos x="T10" y="T11"/>
                    </a:cxn>
                  </a:cxnLst>
                  <a:rect l="0" t="0" r="r" b="b"/>
                  <a:pathLst>
                    <a:path w="70" h="15">
                      <a:moveTo>
                        <a:pt x="6" y="14"/>
                      </a:moveTo>
                      <a:cubicBezTo>
                        <a:pt x="2" y="14"/>
                        <a:pt x="0" y="14"/>
                        <a:pt x="0" y="14"/>
                      </a:cubicBezTo>
                      <a:cubicBezTo>
                        <a:pt x="0" y="13"/>
                        <a:pt x="0" y="13"/>
                        <a:pt x="0" y="13"/>
                      </a:cubicBezTo>
                      <a:cubicBezTo>
                        <a:pt x="0" y="13"/>
                        <a:pt x="56" y="15"/>
                        <a:pt x="69" y="0"/>
                      </a:cubicBezTo>
                      <a:cubicBezTo>
                        <a:pt x="70" y="0"/>
                        <a:pt x="70" y="0"/>
                        <a:pt x="70" y="0"/>
                      </a:cubicBezTo>
                      <a:cubicBezTo>
                        <a:pt x="59" y="13"/>
                        <a:pt x="20" y="14"/>
                        <a:pt x="6" y="14"/>
                      </a:cubicBezTo>
                      <a:close/>
                    </a:path>
                  </a:pathLst>
                </a:custGeom>
                <a:solidFill>
                  <a:srgbClr val="D1595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7" name="任意多边形: 形状 56"/>
                <p:cNvSpPr/>
                <p:nvPr/>
              </p:nvSpPr>
              <p:spPr bwMode="auto">
                <a:xfrm>
                  <a:off x="7548563" y="3502026"/>
                  <a:ext cx="219075" cy="344488"/>
                </a:xfrm>
                <a:custGeom>
                  <a:avLst/>
                  <a:gdLst>
                    <a:gd name="T0" fmla="*/ 0 w 49"/>
                    <a:gd name="T1" fmla="*/ 77 h 77"/>
                    <a:gd name="T2" fmla="*/ 0 w 49"/>
                    <a:gd name="T3" fmla="*/ 76 h 77"/>
                    <a:gd name="T4" fmla="*/ 48 w 49"/>
                    <a:gd name="T5" fmla="*/ 53 h 77"/>
                    <a:gd name="T6" fmla="*/ 40 w 49"/>
                    <a:gd name="T7" fmla="*/ 0 h 77"/>
                    <a:gd name="T8" fmla="*/ 41 w 49"/>
                    <a:gd name="T9" fmla="*/ 0 h 77"/>
                    <a:gd name="T10" fmla="*/ 49 w 49"/>
                    <a:gd name="T11" fmla="*/ 53 h 77"/>
                    <a:gd name="T12" fmla="*/ 49 w 49"/>
                    <a:gd name="T13" fmla="*/ 53 h 77"/>
                    <a:gd name="T14" fmla="*/ 49 w 49"/>
                    <a:gd name="T15" fmla="*/ 53 h 77"/>
                    <a:gd name="T16" fmla="*/ 0 w 49"/>
                    <a:gd name="T17"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7">
                      <a:moveTo>
                        <a:pt x="0" y="77"/>
                      </a:moveTo>
                      <a:cubicBezTo>
                        <a:pt x="0" y="76"/>
                        <a:pt x="0" y="76"/>
                        <a:pt x="0" y="76"/>
                      </a:cubicBezTo>
                      <a:cubicBezTo>
                        <a:pt x="15" y="70"/>
                        <a:pt x="44" y="56"/>
                        <a:pt x="48" y="53"/>
                      </a:cubicBezTo>
                      <a:cubicBezTo>
                        <a:pt x="46" y="35"/>
                        <a:pt x="40" y="0"/>
                        <a:pt x="40" y="0"/>
                      </a:cubicBezTo>
                      <a:cubicBezTo>
                        <a:pt x="41" y="0"/>
                        <a:pt x="41" y="0"/>
                        <a:pt x="41" y="0"/>
                      </a:cubicBezTo>
                      <a:cubicBezTo>
                        <a:pt x="41" y="0"/>
                        <a:pt x="47" y="35"/>
                        <a:pt x="49" y="53"/>
                      </a:cubicBezTo>
                      <a:cubicBezTo>
                        <a:pt x="49" y="53"/>
                        <a:pt x="49" y="53"/>
                        <a:pt x="49" y="53"/>
                      </a:cubicBezTo>
                      <a:cubicBezTo>
                        <a:pt x="49" y="53"/>
                        <a:pt x="49" y="53"/>
                        <a:pt x="49" y="53"/>
                      </a:cubicBezTo>
                      <a:cubicBezTo>
                        <a:pt x="45" y="58"/>
                        <a:pt x="2" y="76"/>
                        <a:pt x="0" y="77"/>
                      </a:cubicBezTo>
                      <a:close/>
                    </a:path>
                  </a:pathLst>
                </a:custGeom>
                <a:solidFill>
                  <a:srgbClr val="D1595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8" name="任意多边形: 形状 57"/>
                <p:cNvSpPr/>
                <p:nvPr/>
              </p:nvSpPr>
              <p:spPr bwMode="auto">
                <a:xfrm>
                  <a:off x="7602538" y="3140076"/>
                  <a:ext cx="169863" cy="201613"/>
                </a:xfrm>
                <a:custGeom>
                  <a:avLst/>
                  <a:gdLst>
                    <a:gd name="T0" fmla="*/ 5 w 38"/>
                    <a:gd name="T1" fmla="*/ 5 h 45"/>
                    <a:gd name="T2" fmla="*/ 22 w 38"/>
                    <a:gd name="T3" fmla="*/ 2 h 45"/>
                    <a:gd name="T4" fmla="*/ 34 w 38"/>
                    <a:gd name="T5" fmla="*/ 19 h 45"/>
                    <a:gd name="T6" fmla="*/ 36 w 38"/>
                    <a:gd name="T7" fmla="*/ 29 h 45"/>
                    <a:gd name="T8" fmla="*/ 38 w 38"/>
                    <a:gd name="T9" fmla="*/ 39 h 45"/>
                    <a:gd name="T10" fmla="*/ 19 w 38"/>
                    <a:gd name="T11" fmla="*/ 44 h 45"/>
                    <a:gd name="T12" fmla="*/ 18 w 38"/>
                    <a:gd name="T13" fmla="*/ 26 h 45"/>
                    <a:gd name="T14" fmla="*/ 13 w 38"/>
                    <a:gd name="T15" fmla="*/ 22 h 45"/>
                    <a:gd name="T16" fmla="*/ 5 w 38"/>
                    <a:gd name="T17" fmla="*/ 12 h 45"/>
                    <a:gd name="T18" fmla="*/ 1 w 38"/>
                    <a:gd name="T19" fmla="*/ 18 h 45"/>
                    <a:gd name="T20" fmla="*/ 5 w 38"/>
                    <a:gd name="T21" fmla="*/ 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 h="45">
                      <a:moveTo>
                        <a:pt x="5" y="5"/>
                      </a:moveTo>
                      <a:cubicBezTo>
                        <a:pt x="10" y="1"/>
                        <a:pt x="18" y="0"/>
                        <a:pt x="22" y="2"/>
                      </a:cubicBezTo>
                      <a:cubicBezTo>
                        <a:pt x="28" y="5"/>
                        <a:pt x="32" y="10"/>
                        <a:pt x="34" y="19"/>
                      </a:cubicBezTo>
                      <a:cubicBezTo>
                        <a:pt x="35" y="22"/>
                        <a:pt x="36" y="25"/>
                        <a:pt x="36" y="29"/>
                      </a:cubicBezTo>
                      <a:cubicBezTo>
                        <a:pt x="37" y="32"/>
                        <a:pt x="37" y="36"/>
                        <a:pt x="38" y="39"/>
                      </a:cubicBezTo>
                      <a:cubicBezTo>
                        <a:pt x="34" y="42"/>
                        <a:pt x="23" y="45"/>
                        <a:pt x="19" y="44"/>
                      </a:cubicBezTo>
                      <a:cubicBezTo>
                        <a:pt x="19" y="41"/>
                        <a:pt x="19" y="28"/>
                        <a:pt x="18" y="26"/>
                      </a:cubicBezTo>
                      <a:cubicBezTo>
                        <a:pt x="17" y="24"/>
                        <a:pt x="15" y="23"/>
                        <a:pt x="13" y="22"/>
                      </a:cubicBezTo>
                      <a:cubicBezTo>
                        <a:pt x="10" y="21"/>
                        <a:pt x="6" y="16"/>
                        <a:pt x="5" y="12"/>
                      </a:cubicBezTo>
                      <a:cubicBezTo>
                        <a:pt x="3" y="13"/>
                        <a:pt x="2" y="16"/>
                        <a:pt x="1" y="18"/>
                      </a:cubicBezTo>
                      <a:cubicBezTo>
                        <a:pt x="0" y="10"/>
                        <a:pt x="4" y="6"/>
                        <a:pt x="5" y="5"/>
                      </a:cubicBez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9" name="任意多边形: 形状 58"/>
                <p:cNvSpPr/>
                <p:nvPr/>
              </p:nvSpPr>
              <p:spPr bwMode="auto">
                <a:xfrm>
                  <a:off x="7666038" y="3257551"/>
                  <a:ext cx="34925" cy="39688"/>
                </a:xfrm>
                <a:custGeom>
                  <a:avLst/>
                  <a:gdLst>
                    <a:gd name="T0" fmla="*/ 3 w 8"/>
                    <a:gd name="T1" fmla="*/ 2 h 9"/>
                    <a:gd name="T2" fmla="*/ 8 w 8"/>
                    <a:gd name="T3" fmla="*/ 4 h 9"/>
                    <a:gd name="T4" fmla="*/ 6 w 8"/>
                    <a:gd name="T5" fmla="*/ 8 h 9"/>
                    <a:gd name="T6" fmla="*/ 2 w 8"/>
                    <a:gd name="T7" fmla="*/ 5 h 9"/>
                  </a:gdLst>
                  <a:ahLst/>
                  <a:cxnLst>
                    <a:cxn ang="0">
                      <a:pos x="T0" y="T1"/>
                    </a:cxn>
                    <a:cxn ang="0">
                      <a:pos x="T2" y="T3"/>
                    </a:cxn>
                    <a:cxn ang="0">
                      <a:pos x="T4" y="T5"/>
                    </a:cxn>
                    <a:cxn ang="0">
                      <a:pos x="T6" y="T7"/>
                    </a:cxn>
                  </a:cxnLst>
                  <a:rect l="0" t="0" r="r" b="b"/>
                  <a:pathLst>
                    <a:path w="8" h="9">
                      <a:moveTo>
                        <a:pt x="3" y="2"/>
                      </a:moveTo>
                      <a:cubicBezTo>
                        <a:pt x="5" y="0"/>
                        <a:pt x="7" y="1"/>
                        <a:pt x="8" y="4"/>
                      </a:cubicBezTo>
                      <a:cubicBezTo>
                        <a:pt x="8" y="5"/>
                        <a:pt x="7" y="7"/>
                        <a:pt x="6" y="8"/>
                      </a:cubicBezTo>
                      <a:cubicBezTo>
                        <a:pt x="4" y="9"/>
                        <a:pt x="0" y="7"/>
                        <a:pt x="2" y="5"/>
                      </a:cubicBezTo>
                    </a:path>
                  </a:pathLst>
                </a:custGeom>
                <a:solidFill>
                  <a:srgbClr val="FFC3B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grpSp>
          <p:grpSp>
            <p:nvGrpSpPr>
              <p:cNvPr id="89" name="组合 88"/>
              <p:cNvGrpSpPr/>
              <p:nvPr/>
            </p:nvGrpSpPr>
            <p:grpSpPr>
              <a:xfrm>
                <a:off x="611025" y="2554287"/>
                <a:ext cx="10935851" cy="3272529"/>
                <a:chOff x="611025" y="2554287"/>
                <a:chExt cx="10935851" cy="3272529"/>
              </a:xfrm>
            </p:grpSpPr>
            <p:grpSp>
              <p:nvGrpSpPr>
                <p:cNvPr id="88" name="组合 87"/>
                <p:cNvGrpSpPr/>
                <p:nvPr/>
              </p:nvGrpSpPr>
              <p:grpSpPr>
                <a:xfrm>
                  <a:off x="7716043" y="2554287"/>
                  <a:ext cx="3830833" cy="1419225"/>
                  <a:chOff x="7716043" y="2554287"/>
                  <a:chExt cx="3830833" cy="1419225"/>
                </a:xfrm>
              </p:grpSpPr>
              <p:grpSp>
                <p:nvGrpSpPr>
                  <p:cNvPr id="87" name="组合 86"/>
                  <p:cNvGrpSpPr/>
                  <p:nvPr/>
                </p:nvGrpSpPr>
                <p:grpSpPr>
                  <a:xfrm>
                    <a:off x="7716043" y="2802289"/>
                    <a:ext cx="1097158" cy="681865"/>
                    <a:chOff x="7716043" y="2802289"/>
                    <a:chExt cx="1097158" cy="681865"/>
                  </a:xfrm>
                </p:grpSpPr>
                <p:cxnSp>
                  <p:nvCxnSpPr>
                    <p:cNvPr id="62" name="直接连接符 61"/>
                    <p:cNvCxnSpPr/>
                    <p:nvPr/>
                  </p:nvCxnSpPr>
                  <p:spPr>
                    <a:xfrm>
                      <a:off x="8508832" y="3142663"/>
                      <a:ext cx="304369" cy="0"/>
                    </a:xfrm>
                    <a:prstGeom prst="line">
                      <a:avLst/>
                    </a:prstGeom>
                    <a:ln>
                      <a:solidFill>
                        <a:schemeClr val="accent1"/>
                      </a:solidFill>
                      <a:tailEnd type="oval"/>
                    </a:ln>
                  </p:spPr>
                  <p:style>
                    <a:lnRef idx="1">
                      <a:schemeClr val="accent1"/>
                    </a:lnRef>
                    <a:fillRef idx="0">
                      <a:schemeClr val="accent1"/>
                    </a:fillRef>
                    <a:effectRef idx="0">
                      <a:schemeClr val="accent1"/>
                    </a:effectRef>
                    <a:fontRef idx="minor">
                      <a:schemeClr val="tx1"/>
                    </a:fontRef>
                  </p:style>
                </p:cxnSp>
                <p:sp>
                  <p:nvSpPr>
                    <p:cNvPr id="63" name="矩形: 圆角 62"/>
                    <p:cNvSpPr/>
                    <p:nvPr/>
                  </p:nvSpPr>
                  <p:spPr>
                    <a:xfrm rot="18900000" flipV="1">
                      <a:off x="7716043" y="2802289"/>
                      <a:ext cx="681866" cy="681865"/>
                    </a:xfrm>
                    <a:prstGeom prst="roundRect">
                      <a:avLst>
                        <a:gd name="adj" fmla="val 6500"/>
                      </a:avLst>
                    </a:prstGeom>
                    <a:solidFill>
                      <a:schemeClr val="accent1"/>
                    </a:solidFill>
                    <a:ln w="12700" cap="rnd">
                      <a:noFill/>
                      <a:prstDash val="solid"/>
                      <a:round/>
                    </a:ln>
                    <a:effectLst>
                      <a:outerShdw blurRad="254000" dist="127000" algn="ctr" rotWithShape="0">
                        <a:schemeClr val="accent1">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endParaRPr lang="zh-CN" altLang="en-US" sz="1600" b="1" dirty="0">
                        <a:solidFill>
                          <a:srgbClr val="FFFFFF"/>
                        </a:solidFill>
                      </a:endParaRPr>
                    </a:p>
                  </p:txBody>
                </p:sp>
                <p:sp>
                  <p:nvSpPr>
                    <p:cNvPr id="86" name="任意多边形: 形状 85"/>
                    <p:cNvSpPr/>
                    <p:nvPr/>
                  </p:nvSpPr>
                  <p:spPr bwMode="auto">
                    <a:xfrm>
                      <a:off x="7911629" y="3048800"/>
                      <a:ext cx="290691" cy="187728"/>
                    </a:xfrm>
                    <a:custGeom>
                      <a:avLst/>
                      <a:gdLst>
                        <a:gd name="T0" fmla="*/ 2933 w 2933"/>
                        <a:gd name="T1" fmla="*/ 101 h 1897"/>
                        <a:gd name="T2" fmla="*/ 2076 w 2933"/>
                        <a:gd name="T3" fmla="*/ 708 h 1897"/>
                        <a:gd name="T4" fmla="*/ 2076 w 2933"/>
                        <a:gd name="T5" fmla="*/ 0 h 1897"/>
                        <a:gd name="T6" fmla="*/ 0 w 2933"/>
                        <a:gd name="T7" fmla="*/ 0 h 1897"/>
                        <a:gd name="T8" fmla="*/ 0 w 2933"/>
                        <a:gd name="T9" fmla="*/ 1897 h 1897"/>
                        <a:gd name="T10" fmla="*/ 2076 w 2933"/>
                        <a:gd name="T11" fmla="*/ 1897 h 1897"/>
                        <a:gd name="T12" fmla="*/ 2076 w 2933"/>
                        <a:gd name="T13" fmla="*/ 1189 h 1897"/>
                        <a:gd name="T14" fmla="*/ 2933 w 2933"/>
                        <a:gd name="T15" fmla="*/ 1796 h 1897"/>
                        <a:gd name="T16" fmla="*/ 2933 w 2933"/>
                        <a:gd name="T17" fmla="*/ 101 h 1897"/>
                        <a:gd name="T18" fmla="*/ 1811 w 2933"/>
                        <a:gd name="T19" fmla="*/ 463 h 1897"/>
                        <a:gd name="T20" fmla="*/ 266 w 2933"/>
                        <a:gd name="T21" fmla="*/ 463 h 1897"/>
                        <a:gd name="T22" fmla="*/ 266 w 2933"/>
                        <a:gd name="T23" fmla="*/ 254 h 1897"/>
                        <a:gd name="T24" fmla="*/ 1811 w 2933"/>
                        <a:gd name="T25" fmla="*/ 254 h 1897"/>
                        <a:gd name="T26" fmla="*/ 1811 w 2933"/>
                        <a:gd name="T27" fmla="*/ 463 h 1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33" h="1897">
                          <a:moveTo>
                            <a:pt x="2933" y="101"/>
                          </a:moveTo>
                          <a:lnTo>
                            <a:pt x="2076" y="708"/>
                          </a:lnTo>
                          <a:lnTo>
                            <a:pt x="2076" y="0"/>
                          </a:lnTo>
                          <a:lnTo>
                            <a:pt x="0" y="0"/>
                          </a:lnTo>
                          <a:lnTo>
                            <a:pt x="0" y="1897"/>
                          </a:lnTo>
                          <a:lnTo>
                            <a:pt x="2076" y="1897"/>
                          </a:lnTo>
                          <a:lnTo>
                            <a:pt x="2076" y="1189"/>
                          </a:lnTo>
                          <a:lnTo>
                            <a:pt x="2933" y="1796"/>
                          </a:lnTo>
                          <a:lnTo>
                            <a:pt x="2933" y="101"/>
                          </a:lnTo>
                          <a:close/>
                          <a:moveTo>
                            <a:pt x="1811" y="463"/>
                          </a:moveTo>
                          <a:lnTo>
                            <a:pt x="266" y="463"/>
                          </a:lnTo>
                          <a:lnTo>
                            <a:pt x="266" y="254"/>
                          </a:lnTo>
                          <a:lnTo>
                            <a:pt x="1811" y="254"/>
                          </a:lnTo>
                          <a:lnTo>
                            <a:pt x="1811" y="463"/>
                          </a:lnTo>
                          <a:close/>
                        </a:path>
                      </a:pathLst>
                    </a:custGeom>
                    <a:solidFill>
                      <a:srgbClr val="FFFFFF"/>
                    </a:solidFill>
                    <a:ln>
                      <a:noFill/>
                    </a:ln>
                  </p:spPr>
                  <p:txBody>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dirty="0">
                        <a:solidFill>
                          <a:srgbClr val="FFFFFF"/>
                        </a:solidFill>
                      </a:endParaRPr>
                    </a:p>
                  </p:txBody>
                </p:sp>
              </p:grpSp>
              <p:sp>
                <p:nvSpPr>
                  <p:cNvPr id="65" name="文本框 64"/>
                  <p:cNvSpPr txBox="1"/>
                  <p:nvPr/>
                </p:nvSpPr>
                <p:spPr>
                  <a:xfrm>
                    <a:off x="8956869" y="3154530"/>
                    <a:ext cx="2590007" cy="818982"/>
                  </a:xfrm>
                  <a:prstGeom prst="rect">
                    <a:avLst/>
                  </a:prstGeom>
                </p:spPr>
                <p:txBody>
                  <a:bodyPr wrap="square" rtlCol="0" anchor="t" anchorCtr="0">
                    <a:normAutofit/>
                  </a:bodyPr>
                  <a:lstStyle>
                    <a:defPPr>
                      <a:defRPr lang="zh-CN"/>
                    </a:defPPr>
                    <a:lvl1pPr>
                      <a:lnSpc>
                        <a:spcPts val="1500"/>
                      </a:lnSpc>
                      <a:defRPr sz="1200"/>
                    </a:lvl1pPr>
                  </a:lstStyle>
                  <a:p>
                    <a:pPr>
                      <a:lnSpc>
                        <a:spcPct val="120000"/>
                      </a:lnSpc>
                    </a:pPr>
                    <a:r>
                      <a:rPr lang="nb-NO" altLang="zh-CN">
                        <a:latin typeface="Calibri" pitchFamily="34" charset="0"/>
                        <a:ea typeface="宋体" pitchFamily="2" charset="-122"/>
                      </a:rPr>
                      <a:t>Erat et nihil stet sed consetetur voluptua sadipscing ut.</a:t>
                    </a:r>
                    <a:endParaRPr lang="en-US" altLang="zh-CN" dirty="0">
                      <a:latin typeface="Calibri" pitchFamily="34" charset="0"/>
                      <a:ea typeface="宋体" pitchFamily="2" charset="-122"/>
                    </a:endParaRPr>
                  </a:p>
                </p:txBody>
              </p:sp>
              <p:sp>
                <p:nvSpPr>
                  <p:cNvPr id="66" name="文本框 65"/>
                  <p:cNvSpPr txBox="1"/>
                  <p:nvPr/>
                </p:nvSpPr>
                <p:spPr>
                  <a:xfrm>
                    <a:off x="8956868" y="2554287"/>
                    <a:ext cx="2590007" cy="589091"/>
                  </a:xfrm>
                  <a:prstGeom prst="rect">
                    <a:avLst/>
                  </a:prstGeom>
                  <a:noFill/>
                </p:spPr>
                <p:txBody>
                  <a:bodyPr wrap="square" rtlCol="0" anchor="b" anchorCtr="0">
                    <a:normAutofit/>
                  </a:bodyPr>
                  <a:lstStyle/>
                  <a:p>
                    <a:r>
                      <a:rPr lang="en-US" altLang="zh-CN" b="1">
                        <a:latin typeface="Calibri" pitchFamily="34" charset="0"/>
                        <a:ea typeface="宋体" pitchFamily="2" charset="-122"/>
                      </a:rPr>
                      <a:t>Click to add text</a:t>
                    </a:r>
                    <a:endParaRPr lang="en-US" altLang="zh-CN" b="1" dirty="0">
                      <a:latin typeface="Calibri" pitchFamily="34" charset="0"/>
                      <a:ea typeface="宋体" pitchFamily="2" charset="-122"/>
                    </a:endParaRPr>
                  </a:p>
                </p:txBody>
              </p:sp>
            </p:grpSp>
            <p:grpSp>
              <p:nvGrpSpPr>
                <p:cNvPr id="68" name="组合 67"/>
                <p:cNvGrpSpPr/>
                <p:nvPr/>
              </p:nvGrpSpPr>
              <p:grpSpPr>
                <a:xfrm flipH="1">
                  <a:off x="611025" y="4407591"/>
                  <a:ext cx="3970533" cy="1419225"/>
                  <a:chOff x="4687105" y="1592610"/>
                  <a:chExt cx="5856641" cy="2093392"/>
                </a:xfrm>
              </p:grpSpPr>
              <p:cxnSp>
                <p:nvCxnSpPr>
                  <p:cNvPr id="69" name="直接连接符 68"/>
                  <p:cNvCxnSpPr/>
                  <p:nvPr/>
                </p:nvCxnSpPr>
                <p:spPr>
                  <a:xfrm>
                    <a:off x="5856490" y="2460479"/>
                    <a:ext cx="448952" cy="0"/>
                  </a:xfrm>
                  <a:prstGeom prst="line">
                    <a:avLst/>
                  </a:prstGeom>
                  <a:ln>
                    <a:solidFill>
                      <a:schemeClr val="accent2"/>
                    </a:solidFill>
                    <a:tailEnd type="oval"/>
                  </a:ln>
                </p:spPr>
                <p:style>
                  <a:lnRef idx="1">
                    <a:schemeClr val="accent1"/>
                  </a:lnRef>
                  <a:fillRef idx="0">
                    <a:schemeClr val="accent1"/>
                  </a:fillRef>
                  <a:effectRef idx="0">
                    <a:schemeClr val="accent1"/>
                  </a:effectRef>
                  <a:fontRef idx="minor">
                    <a:schemeClr val="tx1"/>
                  </a:fontRef>
                </p:style>
              </p:cxnSp>
              <p:sp>
                <p:nvSpPr>
                  <p:cNvPr id="70" name="矩形: 圆角 69"/>
                  <p:cNvSpPr/>
                  <p:nvPr/>
                </p:nvSpPr>
                <p:spPr>
                  <a:xfrm rot="18900000" flipV="1">
                    <a:off x="4687105" y="1958419"/>
                    <a:ext cx="1005769" cy="1005769"/>
                  </a:xfrm>
                  <a:prstGeom prst="roundRect">
                    <a:avLst>
                      <a:gd name="adj" fmla="val 6500"/>
                    </a:avLst>
                  </a:prstGeom>
                  <a:solidFill>
                    <a:schemeClr val="accent2"/>
                  </a:solidFill>
                  <a:ln w="12700" cap="rnd">
                    <a:noFill/>
                    <a:prstDash val="solid"/>
                    <a:round/>
                  </a:ln>
                  <a:effectLst>
                    <a:outerShdw blurRad="254000" dist="127000" algn="ctr" rotWithShape="0">
                      <a:schemeClr val="accent2">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endParaRPr lang="zh-CN" altLang="en-US" sz="1600" b="1">
                      <a:solidFill>
                        <a:srgbClr val="FFFFFF"/>
                      </a:solidFill>
                    </a:endParaRPr>
                  </a:p>
                </p:txBody>
              </p:sp>
              <p:sp>
                <p:nvSpPr>
                  <p:cNvPr id="71" name="任意多边形: 形状 70"/>
                  <p:cNvSpPr/>
                  <p:nvPr/>
                </p:nvSpPr>
                <p:spPr bwMode="auto">
                  <a:xfrm>
                    <a:off x="4994406" y="2246091"/>
                    <a:ext cx="391163" cy="428777"/>
                  </a:xfrm>
                  <a:custGeom>
                    <a:avLst/>
                    <a:gdLst>
                      <a:gd name="connsiteX0" fmla="*/ 248770 w 495300"/>
                      <a:gd name="connsiteY0" fmla="*/ 621 h 542925"/>
                      <a:gd name="connsiteX1" fmla="*/ 496420 w 495300"/>
                      <a:gd name="connsiteY1" fmla="*/ 248271 h 542925"/>
                      <a:gd name="connsiteX2" fmla="*/ 323827 w 495300"/>
                      <a:gd name="connsiteY2" fmla="*/ 484396 h 542925"/>
                      <a:gd name="connsiteX3" fmla="*/ 346973 w 495300"/>
                      <a:gd name="connsiteY3" fmla="*/ 524496 h 542925"/>
                      <a:gd name="connsiteX4" fmla="*/ 420220 w 495300"/>
                      <a:gd name="connsiteY4" fmla="*/ 524496 h 542925"/>
                      <a:gd name="connsiteX5" fmla="*/ 420220 w 495300"/>
                      <a:gd name="connsiteY5" fmla="*/ 543546 h 542925"/>
                      <a:gd name="connsiteX6" fmla="*/ 77320 w 495300"/>
                      <a:gd name="connsiteY6" fmla="*/ 543546 h 542925"/>
                      <a:gd name="connsiteX7" fmla="*/ 77320 w 495300"/>
                      <a:gd name="connsiteY7" fmla="*/ 524496 h 542925"/>
                      <a:gd name="connsiteX8" fmla="*/ 150567 w 495300"/>
                      <a:gd name="connsiteY8" fmla="*/ 524496 h 542925"/>
                      <a:gd name="connsiteX9" fmla="*/ 173713 w 495300"/>
                      <a:gd name="connsiteY9" fmla="*/ 484396 h 542925"/>
                      <a:gd name="connsiteX10" fmla="*/ 1120 w 495300"/>
                      <a:gd name="connsiteY10" fmla="*/ 248271 h 542925"/>
                      <a:gd name="connsiteX11" fmla="*/ 248770 w 495300"/>
                      <a:gd name="connsiteY11" fmla="*/ 621 h 542925"/>
                      <a:gd name="connsiteX12" fmla="*/ 192763 w 495300"/>
                      <a:gd name="connsiteY12" fmla="*/ 489539 h 542925"/>
                      <a:gd name="connsiteX13" fmla="*/ 172570 w 495300"/>
                      <a:gd name="connsiteY13" fmla="*/ 524496 h 542925"/>
                      <a:gd name="connsiteX14" fmla="*/ 324970 w 495300"/>
                      <a:gd name="connsiteY14" fmla="*/ 524496 h 542925"/>
                      <a:gd name="connsiteX15" fmla="*/ 304777 w 495300"/>
                      <a:gd name="connsiteY15" fmla="*/ 489539 h 542925"/>
                      <a:gd name="connsiteX16" fmla="*/ 248770 w 495300"/>
                      <a:gd name="connsiteY16" fmla="*/ 495921 h 542925"/>
                      <a:gd name="connsiteX17" fmla="*/ 192763 w 495300"/>
                      <a:gd name="connsiteY17" fmla="*/ 489539 h 542925"/>
                      <a:gd name="connsiteX18" fmla="*/ 248770 w 495300"/>
                      <a:gd name="connsiteY18" fmla="*/ 143496 h 542925"/>
                      <a:gd name="connsiteX19" fmla="*/ 143995 w 495300"/>
                      <a:gd name="connsiteY19" fmla="*/ 248271 h 542925"/>
                      <a:gd name="connsiteX20" fmla="*/ 248770 w 495300"/>
                      <a:gd name="connsiteY20" fmla="*/ 353046 h 542925"/>
                      <a:gd name="connsiteX21" fmla="*/ 353545 w 495300"/>
                      <a:gd name="connsiteY21" fmla="*/ 248271 h 542925"/>
                      <a:gd name="connsiteX22" fmla="*/ 248770 w 495300"/>
                      <a:gd name="connsiteY22" fmla="*/ 143496 h 542925"/>
                      <a:gd name="connsiteX23" fmla="*/ 367833 w 495300"/>
                      <a:gd name="connsiteY23" fmla="*/ 114921 h 542925"/>
                      <a:gd name="connsiteX24" fmla="*/ 353545 w 495300"/>
                      <a:gd name="connsiteY24" fmla="*/ 129209 h 542925"/>
                      <a:gd name="connsiteX25" fmla="*/ 367833 w 495300"/>
                      <a:gd name="connsiteY25" fmla="*/ 143496 h 542925"/>
                      <a:gd name="connsiteX26" fmla="*/ 382120 w 495300"/>
                      <a:gd name="connsiteY26" fmla="*/ 129209 h 542925"/>
                      <a:gd name="connsiteX27" fmla="*/ 367833 w 495300"/>
                      <a:gd name="connsiteY27" fmla="*/ 114921 h 54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95300" h="542925">
                        <a:moveTo>
                          <a:pt x="248770" y="621"/>
                        </a:moveTo>
                        <a:cubicBezTo>
                          <a:pt x="385549" y="621"/>
                          <a:pt x="496420" y="111492"/>
                          <a:pt x="496420" y="248271"/>
                        </a:cubicBezTo>
                        <a:cubicBezTo>
                          <a:pt x="496420" y="358856"/>
                          <a:pt x="423935" y="452582"/>
                          <a:pt x="323827" y="484396"/>
                        </a:cubicBezTo>
                        <a:lnTo>
                          <a:pt x="346973" y="524496"/>
                        </a:lnTo>
                        <a:lnTo>
                          <a:pt x="420220" y="524496"/>
                        </a:lnTo>
                        <a:lnTo>
                          <a:pt x="420220" y="543546"/>
                        </a:lnTo>
                        <a:lnTo>
                          <a:pt x="77320" y="543546"/>
                        </a:lnTo>
                        <a:lnTo>
                          <a:pt x="77320" y="524496"/>
                        </a:lnTo>
                        <a:lnTo>
                          <a:pt x="150567" y="524496"/>
                        </a:lnTo>
                        <a:lnTo>
                          <a:pt x="173713" y="484396"/>
                        </a:lnTo>
                        <a:cubicBezTo>
                          <a:pt x="73605" y="452582"/>
                          <a:pt x="1120" y="358856"/>
                          <a:pt x="1120" y="248271"/>
                        </a:cubicBezTo>
                        <a:cubicBezTo>
                          <a:pt x="1120" y="111492"/>
                          <a:pt x="111991" y="621"/>
                          <a:pt x="248770" y="621"/>
                        </a:cubicBezTo>
                        <a:close/>
                        <a:moveTo>
                          <a:pt x="192763" y="489539"/>
                        </a:moveTo>
                        <a:lnTo>
                          <a:pt x="172570" y="524496"/>
                        </a:lnTo>
                        <a:lnTo>
                          <a:pt x="324970" y="524496"/>
                        </a:lnTo>
                        <a:lnTo>
                          <a:pt x="304777" y="489539"/>
                        </a:lnTo>
                        <a:cubicBezTo>
                          <a:pt x="286775" y="493730"/>
                          <a:pt x="268010" y="495921"/>
                          <a:pt x="248770" y="495921"/>
                        </a:cubicBezTo>
                        <a:cubicBezTo>
                          <a:pt x="229530" y="495921"/>
                          <a:pt x="210765" y="493730"/>
                          <a:pt x="192763" y="489539"/>
                        </a:cubicBezTo>
                        <a:close/>
                        <a:moveTo>
                          <a:pt x="248770" y="143496"/>
                        </a:moveTo>
                        <a:cubicBezTo>
                          <a:pt x="190858" y="143496"/>
                          <a:pt x="143995" y="190359"/>
                          <a:pt x="143995" y="248271"/>
                        </a:cubicBezTo>
                        <a:cubicBezTo>
                          <a:pt x="143995" y="306183"/>
                          <a:pt x="190858" y="353046"/>
                          <a:pt x="248770" y="353046"/>
                        </a:cubicBezTo>
                        <a:cubicBezTo>
                          <a:pt x="306682" y="353046"/>
                          <a:pt x="353545" y="306183"/>
                          <a:pt x="353545" y="248271"/>
                        </a:cubicBezTo>
                        <a:cubicBezTo>
                          <a:pt x="353545" y="190359"/>
                          <a:pt x="306682" y="143496"/>
                          <a:pt x="248770" y="143496"/>
                        </a:cubicBezTo>
                        <a:close/>
                        <a:moveTo>
                          <a:pt x="367833" y="114921"/>
                        </a:moveTo>
                        <a:cubicBezTo>
                          <a:pt x="359927" y="114921"/>
                          <a:pt x="353545" y="121303"/>
                          <a:pt x="353545" y="129209"/>
                        </a:cubicBezTo>
                        <a:cubicBezTo>
                          <a:pt x="353545" y="137114"/>
                          <a:pt x="359927" y="143496"/>
                          <a:pt x="367833" y="143496"/>
                        </a:cubicBezTo>
                        <a:cubicBezTo>
                          <a:pt x="375738" y="143496"/>
                          <a:pt x="382120" y="137114"/>
                          <a:pt x="382120" y="129209"/>
                        </a:cubicBezTo>
                        <a:cubicBezTo>
                          <a:pt x="382120" y="121303"/>
                          <a:pt x="375738" y="114921"/>
                          <a:pt x="367833" y="114921"/>
                        </a:cubicBezTo>
                        <a:close/>
                      </a:path>
                    </a:pathLst>
                  </a:custGeom>
                  <a:solidFill>
                    <a:srgbClr val="FFFFFF"/>
                  </a:solidFill>
                  <a:ln>
                    <a:noFill/>
                  </a:ln>
                </p:spPr>
                <p:txBody>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dirty="0">
                      <a:solidFill>
                        <a:srgbClr val="FFFFFF"/>
                      </a:solidFill>
                    </a:endParaRPr>
                  </a:p>
                </p:txBody>
              </p:sp>
              <p:sp>
                <p:nvSpPr>
                  <p:cNvPr id="72" name="文本框 71"/>
                  <p:cNvSpPr txBox="1"/>
                  <p:nvPr/>
                </p:nvSpPr>
                <p:spPr>
                  <a:xfrm>
                    <a:off x="6517356" y="2477983"/>
                    <a:ext cx="4026390" cy="1208019"/>
                  </a:xfrm>
                  <a:prstGeom prst="rect">
                    <a:avLst/>
                  </a:prstGeom>
                </p:spPr>
                <p:txBody>
                  <a:bodyPr wrap="square" rtlCol="0" anchor="t" anchorCtr="0">
                    <a:normAutofit/>
                  </a:bodyPr>
                  <a:lstStyle>
                    <a:defPPr>
                      <a:defRPr lang="zh-CN"/>
                    </a:defPPr>
                    <a:lvl1pPr>
                      <a:lnSpc>
                        <a:spcPts val="1500"/>
                      </a:lnSpc>
                      <a:defRPr sz="1200"/>
                    </a:lvl1pPr>
                  </a:lstStyle>
                  <a:p>
                    <a:pPr algn="r">
                      <a:lnSpc>
                        <a:spcPct val="120000"/>
                      </a:lnSpc>
                    </a:pPr>
                    <a:r>
                      <a:rPr lang="nb-NO" altLang="zh-CN">
                        <a:latin typeface="Calibri" pitchFamily="34" charset="0"/>
                        <a:ea typeface="宋体" pitchFamily="2" charset="-122"/>
                      </a:rPr>
                      <a:t>Erat et nihil stet sed consetetur voluptua sadipscing ut.</a:t>
                    </a:r>
                    <a:endParaRPr lang="en-US" altLang="zh-CN" dirty="0">
                      <a:latin typeface="Calibri" pitchFamily="34" charset="0"/>
                      <a:ea typeface="宋体" pitchFamily="2" charset="-122"/>
                    </a:endParaRPr>
                  </a:p>
                </p:txBody>
              </p:sp>
              <p:sp>
                <p:nvSpPr>
                  <p:cNvPr id="73" name="文本框 72"/>
                  <p:cNvSpPr txBox="1"/>
                  <p:nvPr/>
                </p:nvSpPr>
                <p:spPr>
                  <a:xfrm>
                    <a:off x="6517355" y="1592610"/>
                    <a:ext cx="4026390" cy="868924"/>
                  </a:xfrm>
                  <a:prstGeom prst="rect">
                    <a:avLst/>
                  </a:prstGeom>
                  <a:noFill/>
                </p:spPr>
                <p:txBody>
                  <a:bodyPr wrap="square" rtlCol="0" anchor="b" anchorCtr="0">
                    <a:normAutofit/>
                  </a:bodyPr>
                  <a:lstStyle/>
                  <a:p>
                    <a:pPr algn="r"/>
                    <a:r>
                      <a:rPr lang="en-US" altLang="zh-CN" b="1">
                        <a:latin typeface="Calibri" pitchFamily="34" charset="0"/>
                        <a:ea typeface="宋体" pitchFamily="2" charset="-122"/>
                      </a:rPr>
                      <a:t>Click to add text</a:t>
                    </a:r>
                    <a:endParaRPr lang="en-US" altLang="zh-CN" b="1" dirty="0">
                      <a:latin typeface="Calibri" pitchFamily="34" charset="0"/>
                      <a:ea typeface="宋体" pitchFamily="2" charset="-122"/>
                    </a:endParaRPr>
                  </a:p>
                </p:txBody>
              </p:sp>
            </p:grpSp>
          </p:grpSp>
        </p:grpSp>
      </p:grpSp>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4" name="组合 43"/>
          <p:cNvGrpSpPr/>
          <p:nvPr/>
        </p:nvGrpSpPr>
        <p:grpSpPr>
          <a:xfrm>
            <a:off x="660401" y="1148553"/>
            <a:ext cx="10858500" cy="4917649"/>
            <a:chOff x="660400" y="1148551"/>
            <a:chExt cx="10858500" cy="4917649"/>
          </a:xfrm>
        </p:grpSpPr>
        <p:grpSp>
          <p:nvGrpSpPr>
            <p:cNvPr id="43" name="组合 42"/>
            <p:cNvGrpSpPr/>
            <p:nvPr/>
          </p:nvGrpSpPr>
          <p:grpSpPr>
            <a:xfrm>
              <a:off x="660400" y="2321009"/>
              <a:ext cx="10858500" cy="3745191"/>
              <a:chOff x="660400" y="2321009"/>
              <a:chExt cx="10858500" cy="3745191"/>
            </a:xfrm>
          </p:grpSpPr>
          <p:cxnSp>
            <p:nvCxnSpPr>
              <p:cNvPr id="3" name="直接连接符 2"/>
              <p:cNvCxnSpPr/>
              <p:nvPr/>
            </p:nvCxnSpPr>
            <p:spPr>
              <a:xfrm flipH="1">
                <a:off x="660400" y="3468051"/>
                <a:ext cx="10858500" cy="0"/>
              </a:xfrm>
              <a:prstGeom prst="line">
                <a:avLst/>
              </a:prstGeom>
              <a:ln w="6350" cap="rnd">
                <a:solidFill>
                  <a:schemeClr val="accent1">
                    <a:alpha val="50000"/>
                  </a:schemeClr>
                </a:solidFill>
                <a:round/>
              </a:ln>
            </p:spPr>
            <p:style>
              <a:lnRef idx="1">
                <a:schemeClr val="accent1"/>
              </a:lnRef>
              <a:fillRef idx="0">
                <a:schemeClr val="accent1"/>
              </a:fillRef>
              <a:effectRef idx="0">
                <a:schemeClr val="accent1"/>
              </a:effectRef>
              <a:fontRef idx="minor">
                <a:schemeClr val="tx1"/>
              </a:fontRef>
            </p:style>
          </p:cxnSp>
          <p:grpSp>
            <p:nvGrpSpPr>
              <p:cNvPr id="42" name="组合 41"/>
              <p:cNvGrpSpPr/>
              <p:nvPr/>
            </p:nvGrpSpPr>
            <p:grpSpPr>
              <a:xfrm>
                <a:off x="840122" y="2321009"/>
                <a:ext cx="10499055" cy="3745191"/>
                <a:chOff x="840122" y="2321009"/>
                <a:chExt cx="10499055" cy="3745191"/>
              </a:xfrm>
            </p:grpSpPr>
            <p:grpSp>
              <p:nvGrpSpPr>
                <p:cNvPr id="4" name="组合 3"/>
                <p:cNvGrpSpPr/>
                <p:nvPr/>
              </p:nvGrpSpPr>
              <p:grpSpPr>
                <a:xfrm>
                  <a:off x="840122" y="2321009"/>
                  <a:ext cx="2246572" cy="3745190"/>
                  <a:chOff x="949820" y="2024148"/>
                  <a:chExt cx="2246572" cy="3745190"/>
                </a:xfrm>
              </p:grpSpPr>
              <p:sp>
                <p:nvSpPr>
                  <p:cNvPr id="13" name="矩形: 圆角 12"/>
                  <p:cNvSpPr/>
                  <p:nvPr/>
                </p:nvSpPr>
                <p:spPr>
                  <a:xfrm>
                    <a:off x="949820" y="3388498"/>
                    <a:ext cx="2246572" cy="2380840"/>
                  </a:xfrm>
                  <a:prstGeom prst="roundRect">
                    <a:avLst/>
                  </a:prstGeom>
                  <a:solidFill>
                    <a:schemeClr val="accent1">
                      <a:alpha val="15000"/>
                    </a:schemeClr>
                  </a:solidFill>
                  <a:ln w="28575" cap="rnd">
                    <a:noFill/>
                    <a:roun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normAutofit/>
                  </a:bodyPr>
                  <a:lstStyle/>
                  <a:p>
                    <a:pPr algn="ctr" defTabSz="913765"/>
                    <a:endParaRPr lang="zh-CN" altLang="en-US" sz="2000" b="1" dirty="0">
                      <a:solidFill>
                        <a:schemeClr val="bg1"/>
                      </a:solidFill>
                    </a:endParaRPr>
                  </a:p>
                </p:txBody>
              </p:sp>
              <p:sp>
                <p:nvSpPr>
                  <p:cNvPr id="14" name="椭圆 13"/>
                  <p:cNvSpPr/>
                  <p:nvPr/>
                </p:nvSpPr>
                <p:spPr>
                  <a:xfrm>
                    <a:off x="1983105" y="3060700"/>
                    <a:ext cx="180001" cy="180001"/>
                  </a:xfrm>
                  <a:prstGeom prst="ellipse">
                    <a:avLst/>
                  </a:prstGeom>
                  <a:solidFill>
                    <a:schemeClr val="accent1"/>
                  </a:solidFill>
                  <a:ln w="25400" cap="rnd">
                    <a:solidFill>
                      <a:srgbClr val="FFFFFF"/>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fontScale="25000" lnSpcReduction="20000"/>
                  </a:bodyPr>
                  <a:lstStyle/>
                  <a:p>
                    <a:pPr algn="ctr" defTabSz="913765"/>
                    <a:endParaRPr lang="zh-CN" altLang="en-US" sz="2000" b="1" dirty="0">
                      <a:solidFill>
                        <a:schemeClr val="bg1"/>
                      </a:solidFill>
                    </a:endParaRPr>
                  </a:p>
                </p:txBody>
              </p:sp>
              <p:grpSp>
                <p:nvGrpSpPr>
                  <p:cNvPr id="15" name="组合 14"/>
                  <p:cNvGrpSpPr/>
                  <p:nvPr/>
                </p:nvGrpSpPr>
                <p:grpSpPr>
                  <a:xfrm>
                    <a:off x="1061085" y="2024148"/>
                    <a:ext cx="2023746" cy="3571792"/>
                    <a:chOff x="1061085" y="2024148"/>
                    <a:chExt cx="2023746" cy="3571792"/>
                  </a:xfrm>
                </p:grpSpPr>
                <p:sp>
                  <p:nvSpPr>
                    <p:cNvPr id="17" name="泪滴形 16"/>
                    <p:cNvSpPr/>
                    <p:nvPr/>
                  </p:nvSpPr>
                  <p:spPr>
                    <a:xfrm rot="8100000">
                      <a:off x="1656565" y="2024148"/>
                      <a:ext cx="833082" cy="833080"/>
                    </a:xfrm>
                    <a:prstGeom prst="teardrop">
                      <a:avLst/>
                    </a:prstGeom>
                    <a:solidFill>
                      <a:schemeClr val="accent1">
                        <a:alpha val="15000"/>
                      </a:schemeClr>
                    </a:solidFill>
                    <a:ln w="25400" cap="rnd">
                      <a:solidFill>
                        <a:srgbClr val="FFFFFF"/>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a:bodyPr>
                    <a:lstStyle/>
                    <a:p>
                      <a:pPr algn="ctr" defTabSz="913765"/>
                      <a:endParaRPr lang="zh-CN" altLang="en-US" sz="2000" b="1" dirty="0">
                        <a:solidFill>
                          <a:schemeClr val="bg1"/>
                        </a:solidFill>
                      </a:endParaRPr>
                    </a:p>
                  </p:txBody>
                </p:sp>
                <p:sp>
                  <p:nvSpPr>
                    <p:cNvPr id="18" name="文本框 17"/>
                    <p:cNvSpPr txBox="1"/>
                    <p:nvPr/>
                  </p:nvSpPr>
                  <p:spPr bwMode="auto">
                    <a:xfrm>
                      <a:off x="1061382" y="3684536"/>
                      <a:ext cx="2023448" cy="724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anchor="b" anchorCtr="1">
                      <a:normAutofit/>
                    </a:bodyPr>
                    <a:lstStyle/>
                    <a:p>
                      <a:pPr algn="ctr">
                        <a:spcBef>
                          <a:spcPct val="0"/>
                        </a:spcBef>
                      </a:pPr>
                      <a:r>
                        <a:rPr lang="en-US" altLang="zh-CN" b="1" dirty="0">
                          <a:latin typeface="Calibri" pitchFamily="34" charset="0"/>
                          <a:ea typeface="宋体" pitchFamily="2" charset="-122"/>
                        </a:rPr>
                        <a:t>Click to add text</a:t>
                      </a:r>
                      <a:endParaRPr lang="en-US" altLang="zh-CN" b="1" dirty="0">
                        <a:latin typeface="Calibri" pitchFamily="34" charset="0"/>
                        <a:ea typeface="宋体" pitchFamily="2" charset="-122"/>
                      </a:endParaRPr>
                    </a:p>
                  </p:txBody>
                </p:sp>
                <p:sp>
                  <p:nvSpPr>
                    <p:cNvPr id="19" name="矩形 18"/>
                    <p:cNvSpPr/>
                    <p:nvPr/>
                  </p:nvSpPr>
                  <p:spPr bwMode="auto">
                    <a:xfrm>
                      <a:off x="1061085" y="4408714"/>
                      <a:ext cx="2023746" cy="1187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algn="ctr">
                        <a:lnSpc>
                          <a:spcPct val="120000"/>
                        </a:lnSpc>
                        <a:spcBef>
                          <a:spcPct val="0"/>
                        </a:spcBef>
                      </a:pPr>
                      <a:r>
                        <a:rPr lang="en-US" altLang="zh-CN" sz="1200" dirty="0" err="1">
                          <a:latin typeface="Calibri" pitchFamily="34" charset="0"/>
                          <a:ea typeface="宋体" pitchFamily="2" charset="-122"/>
                        </a:rPr>
                        <a:t>Nonumy</a:t>
                      </a:r>
                      <a:r>
                        <a:rPr lang="en-US" altLang="zh-CN" sz="1200" dirty="0">
                          <a:latin typeface="Calibri" pitchFamily="34" charset="0"/>
                          <a:ea typeface="宋体" pitchFamily="2" charset="-122"/>
                        </a:rPr>
                        <a:t> </a:t>
                      </a:r>
                      <a:r>
                        <a:rPr lang="en-US" altLang="zh-CN" sz="1200" dirty="0" err="1">
                          <a:latin typeface="Calibri" pitchFamily="34" charset="0"/>
                          <a:ea typeface="宋体" pitchFamily="2" charset="-122"/>
                        </a:rPr>
                        <a:t>kasd</a:t>
                      </a:r>
                      <a:r>
                        <a:rPr lang="en-US" altLang="zh-CN" sz="1200" dirty="0">
                          <a:latin typeface="Calibri" pitchFamily="34" charset="0"/>
                          <a:ea typeface="宋体" pitchFamily="2" charset="-122"/>
                        </a:rPr>
                        <a:t> </a:t>
                      </a:r>
                      <a:r>
                        <a:rPr lang="en-US" altLang="zh-CN" sz="1200" dirty="0" err="1">
                          <a:latin typeface="Calibri" pitchFamily="34" charset="0"/>
                          <a:ea typeface="宋体" pitchFamily="2" charset="-122"/>
                        </a:rPr>
                        <a:t>commodo</a:t>
                      </a:r>
                      <a:r>
                        <a:rPr lang="en-US" altLang="zh-CN" sz="1200" dirty="0">
                          <a:latin typeface="Calibri" pitchFamily="34" charset="0"/>
                          <a:ea typeface="宋体" pitchFamily="2" charset="-122"/>
                        </a:rPr>
                        <a:t> sed </a:t>
                      </a:r>
                      <a:r>
                        <a:rPr lang="en-US" altLang="zh-CN" sz="1200" dirty="0" err="1">
                          <a:latin typeface="Calibri" pitchFamily="34" charset="0"/>
                          <a:ea typeface="宋体" pitchFamily="2" charset="-122"/>
                        </a:rPr>
                        <a:t>takimata</a:t>
                      </a:r>
                      <a:r>
                        <a:rPr lang="en-US" altLang="zh-CN" sz="1200" dirty="0">
                          <a:latin typeface="Calibri" pitchFamily="34" charset="0"/>
                          <a:ea typeface="宋体" pitchFamily="2" charset="-122"/>
                        </a:rPr>
                        <a:t> </a:t>
                      </a:r>
                      <a:r>
                        <a:rPr lang="en-US" altLang="zh-CN" sz="1200" dirty="0" err="1">
                          <a:latin typeface="Calibri" pitchFamily="34" charset="0"/>
                          <a:ea typeface="宋体" pitchFamily="2" charset="-122"/>
                        </a:rPr>
                        <a:t>elitr</a:t>
                      </a:r>
                      <a:r>
                        <a:rPr lang="en-US" altLang="zh-CN" sz="1200" dirty="0">
                          <a:latin typeface="Calibri" pitchFamily="34" charset="0"/>
                          <a:ea typeface="宋体" pitchFamily="2" charset="-122"/>
                        </a:rPr>
                        <a:t> </a:t>
                      </a:r>
                      <a:r>
                        <a:rPr lang="en-US" altLang="zh-CN" sz="1200" dirty="0" err="1">
                          <a:latin typeface="Calibri" pitchFamily="34" charset="0"/>
                          <a:ea typeface="宋体" pitchFamily="2" charset="-122"/>
                        </a:rPr>
                        <a:t>voluptua</a:t>
                      </a:r>
                      <a:r>
                        <a:rPr lang="en-US" altLang="zh-CN" sz="1200" dirty="0">
                          <a:latin typeface="Calibri" pitchFamily="34" charset="0"/>
                          <a:ea typeface="宋体" pitchFamily="2" charset="-122"/>
                        </a:rPr>
                        <a:t> sea.</a:t>
                      </a:r>
                      <a:endParaRPr lang="zh-CN" altLang="en-US" sz="1200" dirty="0">
                        <a:latin typeface="Calibri" pitchFamily="34" charset="0"/>
                        <a:ea typeface="宋体" pitchFamily="2" charset="-122"/>
                      </a:endParaRPr>
                    </a:p>
                  </p:txBody>
                </p:sp>
              </p:grpSp>
              <p:sp>
                <p:nvSpPr>
                  <p:cNvPr id="16" name="文本框 15"/>
                  <p:cNvSpPr txBox="1"/>
                  <p:nvPr/>
                </p:nvSpPr>
                <p:spPr bwMode="auto">
                  <a:xfrm>
                    <a:off x="1739129" y="2119356"/>
                    <a:ext cx="667658" cy="724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anchor="ctr" anchorCtr="1">
                    <a:normAutofit/>
                  </a:bodyPr>
                  <a:lstStyle/>
                  <a:p>
                    <a:pPr algn="ctr">
                      <a:spcBef>
                        <a:spcPct val="0"/>
                      </a:spcBef>
                    </a:pPr>
                    <a:r>
                      <a:rPr lang="en-US" altLang="zh-CN" b="1" dirty="0">
                        <a:solidFill>
                          <a:schemeClr val="accent1"/>
                        </a:solidFill>
                        <a:latin typeface="Calibri" pitchFamily="34" charset="0"/>
                        <a:ea typeface="宋体" pitchFamily="2" charset="-122"/>
                      </a:rPr>
                      <a:t>01</a:t>
                    </a:r>
                    <a:endParaRPr lang="en-US" altLang="zh-CN" b="1" dirty="0">
                      <a:solidFill>
                        <a:schemeClr val="accent1"/>
                      </a:solidFill>
                      <a:latin typeface="Calibri" pitchFamily="34" charset="0"/>
                      <a:ea typeface="宋体" pitchFamily="2" charset="-122"/>
                    </a:endParaRPr>
                  </a:p>
                </p:txBody>
              </p:sp>
            </p:grpSp>
            <p:grpSp>
              <p:nvGrpSpPr>
                <p:cNvPr id="5" name="组合 4"/>
                <p:cNvGrpSpPr/>
                <p:nvPr/>
              </p:nvGrpSpPr>
              <p:grpSpPr>
                <a:xfrm>
                  <a:off x="3590950" y="2321010"/>
                  <a:ext cx="2246572" cy="3745190"/>
                  <a:chOff x="3609200" y="2024149"/>
                  <a:chExt cx="2246572" cy="3745190"/>
                </a:xfrm>
              </p:grpSpPr>
              <p:sp>
                <p:nvSpPr>
                  <p:cNvPr id="6" name="矩形: 圆角 5"/>
                  <p:cNvSpPr/>
                  <p:nvPr/>
                </p:nvSpPr>
                <p:spPr>
                  <a:xfrm>
                    <a:off x="3609200" y="3388499"/>
                    <a:ext cx="2246572" cy="2380840"/>
                  </a:xfrm>
                  <a:prstGeom prst="roundRect">
                    <a:avLst/>
                  </a:prstGeom>
                  <a:solidFill>
                    <a:schemeClr val="accent1"/>
                  </a:solidFill>
                  <a:ln w="28575" cap="rnd">
                    <a:noFill/>
                    <a:roun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normAutofit/>
                  </a:bodyPr>
                  <a:lstStyle/>
                  <a:p>
                    <a:pPr algn="ctr" defTabSz="913765"/>
                    <a:endParaRPr lang="zh-CN" altLang="en-US" sz="2000" b="1" dirty="0">
                      <a:solidFill>
                        <a:schemeClr val="bg1"/>
                      </a:solidFill>
                    </a:endParaRPr>
                  </a:p>
                </p:txBody>
              </p:sp>
              <p:sp>
                <p:nvSpPr>
                  <p:cNvPr id="7" name="椭圆 6"/>
                  <p:cNvSpPr/>
                  <p:nvPr/>
                </p:nvSpPr>
                <p:spPr>
                  <a:xfrm>
                    <a:off x="4642485" y="3060700"/>
                    <a:ext cx="180001" cy="180001"/>
                  </a:xfrm>
                  <a:prstGeom prst="ellipse">
                    <a:avLst/>
                  </a:prstGeom>
                  <a:solidFill>
                    <a:schemeClr val="accent1"/>
                  </a:solidFill>
                  <a:ln w="25400" cap="rnd">
                    <a:solidFill>
                      <a:srgbClr val="FFFFFF"/>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fontScale="25000" lnSpcReduction="20000"/>
                  </a:bodyPr>
                  <a:lstStyle/>
                  <a:p>
                    <a:pPr algn="ctr" defTabSz="913765"/>
                    <a:endParaRPr lang="zh-CN" altLang="en-US" sz="2000" b="1" dirty="0">
                      <a:solidFill>
                        <a:schemeClr val="bg1"/>
                      </a:solidFill>
                    </a:endParaRPr>
                  </a:p>
                </p:txBody>
              </p:sp>
              <p:grpSp>
                <p:nvGrpSpPr>
                  <p:cNvPr id="8" name="组合 7"/>
                  <p:cNvGrpSpPr/>
                  <p:nvPr/>
                </p:nvGrpSpPr>
                <p:grpSpPr>
                  <a:xfrm>
                    <a:off x="3720465" y="2024149"/>
                    <a:ext cx="2023746" cy="3571791"/>
                    <a:chOff x="3720465" y="2024149"/>
                    <a:chExt cx="2023746" cy="3571791"/>
                  </a:xfrm>
                </p:grpSpPr>
                <p:sp>
                  <p:nvSpPr>
                    <p:cNvPr id="10" name="泪滴形 9"/>
                    <p:cNvSpPr/>
                    <p:nvPr/>
                  </p:nvSpPr>
                  <p:spPr>
                    <a:xfrm rot="8100000">
                      <a:off x="4315945" y="2024149"/>
                      <a:ext cx="833082" cy="833080"/>
                    </a:xfrm>
                    <a:prstGeom prst="teardrop">
                      <a:avLst/>
                    </a:prstGeom>
                    <a:solidFill>
                      <a:schemeClr val="accent1"/>
                    </a:solidFill>
                    <a:ln w="25400" cap="rnd">
                      <a:solidFill>
                        <a:srgbClr val="FFFFFF"/>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a:bodyPr>
                    <a:lstStyle/>
                    <a:p>
                      <a:pPr algn="ctr" defTabSz="913765"/>
                      <a:endParaRPr lang="zh-CN" altLang="en-US" sz="2000" b="1" dirty="0">
                        <a:solidFill>
                          <a:schemeClr val="bg1"/>
                        </a:solidFill>
                      </a:endParaRPr>
                    </a:p>
                  </p:txBody>
                </p:sp>
                <p:sp>
                  <p:nvSpPr>
                    <p:cNvPr id="11" name="文本框 10"/>
                    <p:cNvSpPr txBox="1"/>
                    <p:nvPr/>
                  </p:nvSpPr>
                  <p:spPr bwMode="auto">
                    <a:xfrm>
                      <a:off x="3720762" y="3684536"/>
                      <a:ext cx="2023448" cy="724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anchor="b" anchorCtr="1">
                      <a:normAutofit/>
                    </a:bodyPr>
                    <a:lstStyle/>
                    <a:p>
                      <a:pPr algn="ctr">
                        <a:spcBef>
                          <a:spcPct val="0"/>
                        </a:spcBef>
                      </a:pPr>
                      <a:r>
                        <a:rPr lang="en-US" altLang="zh-CN" b="1" dirty="0">
                          <a:solidFill>
                            <a:srgbClr val="FFFFFF"/>
                          </a:solidFill>
                          <a:latin typeface="Calibri" pitchFamily="34" charset="0"/>
                          <a:ea typeface="宋体" pitchFamily="2" charset="-122"/>
                        </a:rPr>
                        <a:t>Click to add text</a:t>
                      </a:r>
                      <a:endParaRPr lang="en-US" altLang="zh-CN" b="1" dirty="0">
                        <a:solidFill>
                          <a:srgbClr val="FFFFFF"/>
                        </a:solidFill>
                        <a:latin typeface="Calibri" pitchFamily="34" charset="0"/>
                        <a:ea typeface="宋体" pitchFamily="2" charset="-122"/>
                      </a:endParaRPr>
                    </a:p>
                  </p:txBody>
                </p:sp>
                <p:sp>
                  <p:nvSpPr>
                    <p:cNvPr id="12" name="矩形 11"/>
                    <p:cNvSpPr/>
                    <p:nvPr/>
                  </p:nvSpPr>
                  <p:spPr bwMode="auto">
                    <a:xfrm>
                      <a:off x="3720465" y="4408714"/>
                      <a:ext cx="2023746" cy="1187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algn="ctr">
                        <a:lnSpc>
                          <a:spcPct val="120000"/>
                        </a:lnSpc>
                        <a:spcBef>
                          <a:spcPct val="0"/>
                        </a:spcBef>
                      </a:pPr>
                      <a:r>
                        <a:rPr lang="es-ES" altLang="zh-CN" sz="1200">
                          <a:solidFill>
                            <a:srgbClr val="FFFFFF"/>
                          </a:solidFill>
                          <a:latin typeface="Calibri" pitchFamily="34" charset="0"/>
                          <a:ea typeface="宋体" pitchFamily="2" charset="-122"/>
                        </a:rPr>
                        <a:t>Sea enim dolores dolor no amet ex takimata qui tincidunt.</a:t>
                      </a:r>
                      <a:endParaRPr lang="en-US" altLang="zh-CN" sz="1200" dirty="0">
                        <a:solidFill>
                          <a:srgbClr val="FFFFFF"/>
                        </a:solidFill>
                        <a:latin typeface="Calibri" pitchFamily="34" charset="0"/>
                        <a:ea typeface="宋体" pitchFamily="2" charset="-122"/>
                      </a:endParaRPr>
                    </a:p>
                  </p:txBody>
                </p:sp>
              </p:grpSp>
              <p:sp>
                <p:nvSpPr>
                  <p:cNvPr id="9" name="文本框 8"/>
                  <p:cNvSpPr txBox="1"/>
                  <p:nvPr/>
                </p:nvSpPr>
                <p:spPr bwMode="auto">
                  <a:xfrm>
                    <a:off x="4398509" y="2119356"/>
                    <a:ext cx="667658" cy="724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anchor="ctr" anchorCtr="1">
                    <a:normAutofit/>
                  </a:bodyPr>
                  <a:lstStyle/>
                  <a:p>
                    <a:pPr algn="ctr">
                      <a:spcBef>
                        <a:spcPct val="0"/>
                      </a:spcBef>
                    </a:pPr>
                    <a:r>
                      <a:rPr lang="en-US" altLang="zh-CN" b="1" dirty="0">
                        <a:solidFill>
                          <a:srgbClr val="FFFFFF"/>
                        </a:solidFill>
                        <a:latin typeface="Calibri" pitchFamily="34" charset="0"/>
                        <a:ea typeface="宋体" pitchFamily="2" charset="-122"/>
                      </a:rPr>
                      <a:t>02</a:t>
                    </a:r>
                    <a:endParaRPr lang="en-US" altLang="zh-CN" b="1" dirty="0">
                      <a:solidFill>
                        <a:srgbClr val="FFFFFF"/>
                      </a:solidFill>
                      <a:latin typeface="Calibri" pitchFamily="34" charset="0"/>
                      <a:ea typeface="宋体" pitchFamily="2" charset="-122"/>
                    </a:endParaRPr>
                  </a:p>
                </p:txBody>
              </p:sp>
            </p:grpSp>
            <p:grpSp>
              <p:nvGrpSpPr>
                <p:cNvPr id="22" name="组合 21"/>
                <p:cNvGrpSpPr/>
                <p:nvPr/>
              </p:nvGrpSpPr>
              <p:grpSpPr>
                <a:xfrm>
                  <a:off x="6341778" y="2321009"/>
                  <a:ext cx="2246572" cy="3745190"/>
                  <a:chOff x="949820" y="2024148"/>
                  <a:chExt cx="2246572" cy="3745190"/>
                </a:xfrm>
              </p:grpSpPr>
              <p:sp>
                <p:nvSpPr>
                  <p:cNvPr id="31" name="矩形: 圆角 30"/>
                  <p:cNvSpPr/>
                  <p:nvPr/>
                </p:nvSpPr>
                <p:spPr>
                  <a:xfrm>
                    <a:off x="949820" y="3388498"/>
                    <a:ext cx="2246572" cy="2380840"/>
                  </a:xfrm>
                  <a:prstGeom prst="roundRect">
                    <a:avLst/>
                  </a:prstGeom>
                  <a:solidFill>
                    <a:schemeClr val="accent1">
                      <a:alpha val="15000"/>
                    </a:schemeClr>
                  </a:solidFill>
                  <a:ln w="28575" cap="rnd">
                    <a:noFill/>
                    <a:roun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normAutofit/>
                  </a:bodyPr>
                  <a:lstStyle/>
                  <a:p>
                    <a:pPr algn="ctr" defTabSz="913765"/>
                    <a:endParaRPr lang="zh-CN" altLang="en-US" sz="2000" b="1" dirty="0">
                      <a:solidFill>
                        <a:schemeClr val="bg1"/>
                      </a:solidFill>
                    </a:endParaRPr>
                  </a:p>
                </p:txBody>
              </p:sp>
              <p:sp>
                <p:nvSpPr>
                  <p:cNvPr id="32" name="椭圆 31"/>
                  <p:cNvSpPr/>
                  <p:nvPr/>
                </p:nvSpPr>
                <p:spPr>
                  <a:xfrm>
                    <a:off x="1983105" y="3060700"/>
                    <a:ext cx="180001" cy="180001"/>
                  </a:xfrm>
                  <a:prstGeom prst="ellipse">
                    <a:avLst/>
                  </a:prstGeom>
                  <a:solidFill>
                    <a:schemeClr val="accent1"/>
                  </a:solidFill>
                  <a:ln w="25400" cap="rnd">
                    <a:solidFill>
                      <a:srgbClr val="FFFFFF"/>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fontScale="25000" lnSpcReduction="20000"/>
                  </a:bodyPr>
                  <a:lstStyle/>
                  <a:p>
                    <a:pPr algn="ctr" defTabSz="913765"/>
                    <a:endParaRPr lang="zh-CN" altLang="en-US" sz="2000" b="1" dirty="0">
                      <a:solidFill>
                        <a:schemeClr val="bg1"/>
                      </a:solidFill>
                    </a:endParaRPr>
                  </a:p>
                </p:txBody>
              </p:sp>
              <p:grpSp>
                <p:nvGrpSpPr>
                  <p:cNvPr id="33" name="组合 32"/>
                  <p:cNvGrpSpPr/>
                  <p:nvPr/>
                </p:nvGrpSpPr>
                <p:grpSpPr>
                  <a:xfrm>
                    <a:off x="1061085" y="2024148"/>
                    <a:ext cx="2023746" cy="3571792"/>
                    <a:chOff x="1061085" y="2024148"/>
                    <a:chExt cx="2023746" cy="3571792"/>
                  </a:xfrm>
                </p:grpSpPr>
                <p:sp>
                  <p:nvSpPr>
                    <p:cNvPr id="35" name="泪滴形 34"/>
                    <p:cNvSpPr/>
                    <p:nvPr/>
                  </p:nvSpPr>
                  <p:spPr>
                    <a:xfrm rot="8100000">
                      <a:off x="1656565" y="2024148"/>
                      <a:ext cx="833082" cy="833080"/>
                    </a:xfrm>
                    <a:prstGeom prst="teardrop">
                      <a:avLst/>
                    </a:prstGeom>
                    <a:solidFill>
                      <a:schemeClr val="accent1">
                        <a:alpha val="15000"/>
                      </a:schemeClr>
                    </a:solidFill>
                    <a:ln w="25400" cap="rnd">
                      <a:solidFill>
                        <a:srgbClr val="FFFFFF"/>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a:bodyPr>
                    <a:lstStyle/>
                    <a:p>
                      <a:pPr algn="ctr" defTabSz="913765"/>
                      <a:endParaRPr lang="zh-CN" altLang="en-US" sz="2000" b="1" dirty="0">
                        <a:solidFill>
                          <a:schemeClr val="bg1"/>
                        </a:solidFill>
                      </a:endParaRPr>
                    </a:p>
                  </p:txBody>
                </p:sp>
                <p:sp>
                  <p:nvSpPr>
                    <p:cNvPr id="36" name="文本框 35"/>
                    <p:cNvSpPr txBox="1"/>
                    <p:nvPr/>
                  </p:nvSpPr>
                  <p:spPr bwMode="auto">
                    <a:xfrm>
                      <a:off x="1061382" y="3684536"/>
                      <a:ext cx="2023448" cy="724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anchor="b" anchorCtr="1">
                      <a:normAutofit/>
                    </a:bodyPr>
                    <a:lstStyle/>
                    <a:p>
                      <a:pPr algn="ctr">
                        <a:spcBef>
                          <a:spcPct val="0"/>
                        </a:spcBef>
                      </a:pPr>
                      <a:r>
                        <a:rPr lang="en-US" altLang="zh-CN" b="1" dirty="0">
                          <a:latin typeface="Calibri" pitchFamily="34" charset="0"/>
                          <a:ea typeface="宋体" pitchFamily="2" charset="-122"/>
                        </a:rPr>
                        <a:t>Click to add text</a:t>
                      </a:r>
                      <a:endParaRPr lang="en-US" altLang="zh-CN" b="1" dirty="0">
                        <a:latin typeface="Calibri" pitchFamily="34" charset="0"/>
                        <a:ea typeface="宋体" pitchFamily="2" charset="-122"/>
                      </a:endParaRPr>
                    </a:p>
                  </p:txBody>
                </p:sp>
                <p:sp>
                  <p:nvSpPr>
                    <p:cNvPr id="37" name="矩形 36"/>
                    <p:cNvSpPr/>
                    <p:nvPr/>
                  </p:nvSpPr>
                  <p:spPr bwMode="auto">
                    <a:xfrm>
                      <a:off x="1061085" y="4408714"/>
                      <a:ext cx="2023746" cy="1187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algn="ctr">
                        <a:lnSpc>
                          <a:spcPct val="120000"/>
                        </a:lnSpc>
                        <a:spcBef>
                          <a:spcPct val="0"/>
                        </a:spcBef>
                      </a:pPr>
                      <a:r>
                        <a:rPr lang="en-US" altLang="zh-CN" sz="1200" dirty="0" err="1">
                          <a:latin typeface="Calibri" pitchFamily="34" charset="0"/>
                          <a:ea typeface="宋体" pitchFamily="2" charset="-122"/>
                        </a:rPr>
                        <a:t>Nonumy</a:t>
                      </a:r>
                      <a:r>
                        <a:rPr lang="en-US" altLang="zh-CN" sz="1200" dirty="0">
                          <a:latin typeface="Calibri" pitchFamily="34" charset="0"/>
                          <a:ea typeface="宋体" pitchFamily="2" charset="-122"/>
                        </a:rPr>
                        <a:t> </a:t>
                      </a:r>
                      <a:r>
                        <a:rPr lang="en-US" altLang="zh-CN" sz="1200" dirty="0" err="1">
                          <a:latin typeface="Calibri" pitchFamily="34" charset="0"/>
                          <a:ea typeface="宋体" pitchFamily="2" charset="-122"/>
                        </a:rPr>
                        <a:t>kasd</a:t>
                      </a:r>
                      <a:r>
                        <a:rPr lang="en-US" altLang="zh-CN" sz="1200" dirty="0">
                          <a:latin typeface="Calibri" pitchFamily="34" charset="0"/>
                          <a:ea typeface="宋体" pitchFamily="2" charset="-122"/>
                        </a:rPr>
                        <a:t> </a:t>
                      </a:r>
                      <a:r>
                        <a:rPr lang="en-US" altLang="zh-CN" sz="1200" dirty="0" err="1">
                          <a:latin typeface="Calibri" pitchFamily="34" charset="0"/>
                          <a:ea typeface="宋体" pitchFamily="2" charset="-122"/>
                        </a:rPr>
                        <a:t>commodo</a:t>
                      </a:r>
                      <a:r>
                        <a:rPr lang="en-US" altLang="zh-CN" sz="1200" dirty="0">
                          <a:latin typeface="Calibri" pitchFamily="34" charset="0"/>
                          <a:ea typeface="宋体" pitchFamily="2" charset="-122"/>
                        </a:rPr>
                        <a:t> sed </a:t>
                      </a:r>
                      <a:r>
                        <a:rPr lang="en-US" altLang="zh-CN" sz="1200" dirty="0" err="1">
                          <a:latin typeface="Calibri" pitchFamily="34" charset="0"/>
                          <a:ea typeface="宋体" pitchFamily="2" charset="-122"/>
                        </a:rPr>
                        <a:t>takimata</a:t>
                      </a:r>
                      <a:r>
                        <a:rPr lang="en-US" altLang="zh-CN" sz="1200" dirty="0">
                          <a:latin typeface="Calibri" pitchFamily="34" charset="0"/>
                          <a:ea typeface="宋体" pitchFamily="2" charset="-122"/>
                        </a:rPr>
                        <a:t> </a:t>
                      </a:r>
                      <a:r>
                        <a:rPr lang="en-US" altLang="zh-CN" sz="1200" dirty="0" err="1">
                          <a:latin typeface="Calibri" pitchFamily="34" charset="0"/>
                          <a:ea typeface="宋体" pitchFamily="2" charset="-122"/>
                        </a:rPr>
                        <a:t>elitr</a:t>
                      </a:r>
                      <a:r>
                        <a:rPr lang="en-US" altLang="zh-CN" sz="1200" dirty="0">
                          <a:latin typeface="Calibri" pitchFamily="34" charset="0"/>
                          <a:ea typeface="宋体" pitchFamily="2" charset="-122"/>
                        </a:rPr>
                        <a:t> </a:t>
                      </a:r>
                      <a:r>
                        <a:rPr lang="en-US" altLang="zh-CN" sz="1200" dirty="0" err="1">
                          <a:latin typeface="Calibri" pitchFamily="34" charset="0"/>
                          <a:ea typeface="宋体" pitchFamily="2" charset="-122"/>
                        </a:rPr>
                        <a:t>voluptua</a:t>
                      </a:r>
                      <a:r>
                        <a:rPr lang="en-US" altLang="zh-CN" sz="1200" dirty="0">
                          <a:latin typeface="Calibri" pitchFamily="34" charset="0"/>
                          <a:ea typeface="宋体" pitchFamily="2" charset="-122"/>
                        </a:rPr>
                        <a:t> sea.</a:t>
                      </a:r>
                      <a:endParaRPr lang="zh-CN" altLang="en-US" sz="1200" dirty="0">
                        <a:latin typeface="Calibri" pitchFamily="34" charset="0"/>
                        <a:ea typeface="宋体" pitchFamily="2" charset="-122"/>
                      </a:endParaRPr>
                    </a:p>
                  </p:txBody>
                </p:sp>
              </p:grpSp>
              <p:sp>
                <p:nvSpPr>
                  <p:cNvPr id="34" name="文本框 33"/>
                  <p:cNvSpPr txBox="1"/>
                  <p:nvPr/>
                </p:nvSpPr>
                <p:spPr bwMode="auto">
                  <a:xfrm>
                    <a:off x="1739129" y="2119356"/>
                    <a:ext cx="667658" cy="724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anchor="ctr" anchorCtr="1">
                    <a:normAutofit/>
                  </a:bodyPr>
                  <a:lstStyle/>
                  <a:p>
                    <a:pPr algn="ctr">
                      <a:spcBef>
                        <a:spcPct val="0"/>
                      </a:spcBef>
                    </a:pPr>
                    <a:r>
                      <a:rPr lang="en-US" altLang="zh-CN" b="1" dirty="0">
                        <a:solidFill>
                          <a:schemeClr val="accent1"/>
                        </a:solidFill>
                        <a:latin typeface="Calibri" pitchFamily="34" charset="0"/>
                        <a:ea typeface="宋体" pitchFamily="2" charset="-122"/>
                      </a:rPr>
                      <a:t>03</a:t>
                    </a:r>
                    <a:endParaRPr lang="en-US" altLang="zh-CN" b="1" dirty="0">
                      <a:solidFill>
                        <a:schemeClr val="accent1"/>
                      </a:solidFill>
                      <a:latin typeface="Calibri" pitchFamily="34" charset="0"/>
                      <a:ea typeface="宋体" pitchFamily="2" charset="-122"/>
                    </a:endParaRPr>
                  </a:p>
                </p:txBody>
              </p:sp>
            </p:grpSp>
            <p:grpSp>
              <p:nvGrpSpPr>
                <p:cNvPr id="23" name="组合 22"/>
                <p:cNvGrpSpPr/>
                <p:nvPr/>
              </p:nvGrpSpPr>
              <p:grpSpPr>
                <a:xfrm>
                  <a:off x="9092605" y="2321010"/>
                  <a:ext cx="2246572" cy="3745190"/>
                  <a:chOff x="3609200" y="2024149"/>
                  <a:chExt cx="2246572" cy="3745190"/>
                </a:xfrm>
              </p:grpSpPr>
              <p:sp>
                <p:nvSpPr>
                  <p:cNvPr id="24" name="矩形: 圆角 23"/>
                  <p:cNvSpPr/>
                  <p:nvPr/>
                </p:nvSpPr>
                <p:spPr>
                  <a:xfrm>
                    <a:off x="3609200" y="3388499"/>
                    <a:ext cx="2246572" cy="2380840"/>
                  </a:xfrm>
                  <a:prstGeom prst="roundRect">
                    <a:avLst/>
                  </a:prstGeom>
                  <a:solidFill>
                    <a:schemeClr val="accent1">
                      <a:alpha val="15000"/>
                    </a:schemeClr>
                  </a:solidFill>
                  <a:ln w="28575" cap="rnd">
                    <a:noFill/>
                    <a:roun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normAutofit/>
                  </a:bodyPr>
                  <a:lstStyle/>
                  <a:p>
                    <a:pPr algn="ctr" defTabSz="913765"/>
                    <a:endParaRPr lang="zh-CN" altLang="en-US" sz="2000" b="1" dirty="0">
                      <a:solidFill>
                        <a:schemeClr val="bg1"/>
                      </a:solidFill>
                    </a:endParaRPr>
                  </a:p>
                </p:txBody>
              </p:sp>
              <p:sp>
                <p:nvSpPr>
                  <p:cNvPr id="25" name="椭圆 24"/>
                  <p:cNvSpPr/>
                  <p:nvPr/>
                </p:nvSpPr>
                <p:spPr>
                  <a:xfrm>
                    <a:off x="4642485" y="3060700"/>
                    <a:ext cx="180001" cy="180001"/>
                  </a:xfrm>
                  <a:prstGeom prst="ellipse">
                    <a:avLst/>
                  </a:prstGeom>
                  <a:solidFill>
                    <a:schemeClr val="accent1"/>
                  </a:solidFill>
                  <a:ln w="25400" cap="rnd">
                    <a:solidFill>
                      <a:srgbClr val="FFFFFF"/>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fontScale="25000" lnSpcReduction="20000"/>
                  </a:bodyPr>
                  <a:lstStyle/>
                  <a:p>
                    <a:pPr algn="ctr" defTabSz="913765"/>
                    <a:endParaRPr lang="zh-CN" altLang="en-US" sz="2000" b="1" dirty="0">
                      <a:solidFill>
                        <a:schemeClr val="bg1"/>
                      </a:solidFill>
                    </a:endParaRPr>
                  </a:p>
                </p:txBody>
              </p:sp>
              <p:grpSp>
                <p:nvGrpSpPr>
                  <p:cNvPr id="26" name="组合 25"/>
                  <p:cNvGrpSpPr/>
                  <p:nvPr/>
                </p:nvGrpSpPr>
                <p:grpSpPr>
                  <a:xfrm>
                    <a:off x="3720465" y="2024149"/>
                    <a:ext cx="2023746" cy="3571791"/>
                    <a:chOff x="3720465" y="2024149"/>
                    <a:chExt cx="2023746" cy="3571791"/>
                  </a:xfrm>
                </p:grpSpPr>
                <p:sp>
                  <p:nvSpPr>
                    <p:cNvPr id="28" name="泪滴形 27"/>
                    <p:cNvSpPr/>
                    <p:nvPr/>
                  </p:nvSpPr>
                  <p:spPr>
                    <a:xfrm rot="8100000">
                      <a:off x="4315945" y="2024149"/>
                      <a:ext cx="833082" cy="833080"/>
                    </a:xfrm>
                    <a:prstGeom prst="teardrop">
                      <a:avLst/>
                    </a:prstGeom>
                    <a:solidFill>
                      <a:schemeClr val="accent1">
                        <a:alpha val="15000"/>
                      </a:schemeClr>
                    </a:solidFill>
                    <a:ln w="25400" cap="rnd">
                      <a:solidFill>
                        <a:srgbClr val="FFFFFF"/>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a:bodyPr>
                    <a:lstStyle/>
                    <a:p>
                      <a:pPr algn="ctr" defTabSz="913765"/>
                      <a:endParaRPr lang="zh-CN" altLang="en-US" sz="2000" b="1" dirty="0">
                        <a:solidFill>
                          <a:schemeClr val="bg1"/>
                        </a:solidFill>
                      </a:endParaRPr>
                    </a:p>
                  </p:txBody>
                </p:sp>
                <p:sp>
                  <p:nvSpPr>
                    <p:cNvPr id="29" name="文本框 28"/>
                    <p:cNvSpPr txBox="1"/>
                    <p:nvPr/>
                  </p:nvSpPr>
                  <p:spPr bwMode="auto">
                    <a:xfrm>
                      <a:off x="3720762" y="3684536"/>
                      <a:ext cx="2023448" cy="724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anchor="b" anchorCtr="1">
                      <a:normAutofit/>
                    </a:bodyPr>
                    <a:lstStyle/>
                    <a:p>
                      <a:pPr algn="ctr">
                        <a:spcBef>
                          <a:spcPct val="0"/>
                        </a:spcBef>
                      </a:pPr>
                      <a:r>
                        <a:rPr lang="en-US" altLang="zh-CN" b="1" dirty="0">
                          <a:latin typeface="Calibri" pitchFamily="34" charset="0"/>
                          <a:ea typeface="宋体" pitchFamily="2" charset="-122"/>
                        </a:rPr>
                        <a:t>Click to add text</a:t>
                      </a:r>
                      <a:endParaRPr lang="en-US" altLang="zh-CN" b="1" dirty="0">
                        <a:latin typeface="Calibri" pitchFamily="34" charset="0"/>
                        <a:ea typeface="宋体" pitchFamily="2" charset="-122"/>
                      </a:endParaRPr>
                    </a:p>
                  </p:txBody>
                </p:sp>
                <p:sp>
                  <p:nvSpPr>
                    <p:cNvPr id="30" name="矩形 29"/>
                    <p:cNvSpPr/>
                    <p:nvPr/>
                  </p:nvSpPr>
                  <p:spPr bwMode="auto">
                    <a:xfrm>
                      <a:off x="3720465" y="4408714"/>
                      <a:ext cx="2023746" cy="1187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algn="ctr">
                        <a:lnSpc>
                          <a:spcPct val="120000"/>
                        </a:lnSpc>
                        <a:spcBef>
                          <a:spcPct val="0"/>
                        </a:spcBef>
                      </a:pPr>
                      <a:r>
                        <a:rPr lang="es-ES" altLang="zh-CN" sz="1200">
                          <a:latin typeface="Calibri" pitchFamily="34" charset="0"/>
                          <a:ea typeface="宋体" pitchFamily="2" charset="-122"/>
                        </a:rPr>
                        <a:t>Sea enim dolores dolor no amet ex takimata qui tincidunt.</a:t>
                      </a:r>
                      <a:endParaRPr lang="en-US" altLang="zh-CN" sz="1200" dirty="0">
                        <a:latin typeface="Calibri" pitchFamily="34" charset="0"/>
                        <a:ea typeface="宋体" pitchFamily="2" charset="-122"/>
                      </a:endParaRPr>
                    </a:p>
                  </p:txBody>
                </p:sp>
              </p:grpSp>
              <p:sp>
                <p:nvSpPr>
                  <p:cNvPr id="27" name="文本框 26"/>
                  <p:cNvSpPr txBox="1"/>
                  <p:nvPr/>
                </p:nvSpPr>
                <p:spPr bwMode="auto">
                  <a:xfrm>
                    <a:off x="4398509" y="2119356"/>
                    <a:ext cx="667658" cy="724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anchor="ctr" anchorCtr="1">
                    <a:normAutofit/>
                  </a:bodyPr>
                  <a:lstStyle/>
                  <a:p>
                    <a:pPr algn="ctr">
                      <a:spcBef>
                        <a:spcPct val="0"/>
                      </a:spcBef>
                    </a:pPr>
                    <a:r>
                      <a:rPr lang="en-US" altLang="zh-CN" b="1" dirty="0">
                        <a:solidFill>
                          <a:schemeClr val="accent1"/>
                        </a:solidFill>
                        <a:latin typeface="Calibri" pitchFamily="34" charset="0"/>
                        <a:ea typeface="宋体" pitchFamily="2" charset="-122"/>
                      </a:rPr>
                      <a:t>04</a:t>
                    </a:r>
                    <a:endParaRPr lang="en-US" altLang="zh-CN" b="1" dirty="0">
                      <a:solidFill>
                        <a:schemeClr val="accent1"/>
                      </a:solidFill>
                      <a:latin typeface="Calibri" pitchFamily="34" charset="0"/>
                      <a:ea typeface="宋体" pitchFamily="2" charset="-122"/>
                    </a:endParaRPr>
                  </a:p>
                </p:txBody>
              </p:sp>
            </p:grpSp>
          </p:grpSp>
        </p:grpSp>
        <p:sp>
          <p:nvSpPr>
            <p:cNvPr id="39" name="矩形 38"/>
            <p:cNvSpPr/>
            <p:nvPr/>
          </p:nvSpPr>
          <p:spPr>
            <a:xfrm>
              <a:off x="660400" y="1148551"/>
              <a:ext cx="10858500" cy="553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normAutofit/>
            </a:bodyPr>
            <a:lstStyle/>
            <a:p>
              <a:pPr algn="ctr">
                <a:buSzPct val="25000"/>
              </a:pPr>
              <a:r>
                <a:rPr lang="en-US" altLang="zh-CN" sz="2400" b="1" dirty="0">
                  <a:solidFill>
                    <a:schemeClr val="tx1"/>
                  </a:solidFill>
                  <a:latin typeface="Calibri" pitchFamily="34" charset="0"/>
                  <a:ea typeface="宋体" pitchFamily="2" charset="-122"/>
                </a:rPr>
                <a:t>Unified fonts make reading more fluent.</a:t>
              </a:r>
              <a:endParaRPr lang="en-US" altLang="zh-CN" sz="2400" b="1" dirty="0">
                <a:solidFill>
                  <a:schemeClr val="tx1"/>
                </a:solidFill>
                <a:latin typeface="Calibri" pitchFamily="34" charset="0"/>
                <a:ea typeface="宋体" pitchFamily="2" charset="-122"/>
              </a:endParaRPr>
            </a:p>
          </p:txBody>
        </p:sp>
      </p:grpSp>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组合 16"/>
          <p:cNvGrpSpPr/>
          <p:nvPr/>
        </p:nvGrpSpPr>
        <p:grpSpPr>
          <a:xfrm>
            <a:off x="673100" y="1126921"/>
            <a:ext cx="10845800" cy="5007179"/>
            <a:chOff x="673100" y="1126922"/>
            <a:chExt cx="10845800" cy="5007178"/>
          </a:xfrm>
        </p:grpSpPr>
        <p:sp>
          <p:nvSpPr>
            <p:cNvPr id="15" name="文本框 14"/>
            <p:cNvSpPr txBox="1"/>
            <p:nvPr/>
          </p:nvSpPr>
          <p:spPr>
            <a:xfrm>
              <a:off x="673100" y="1126922"/>
              <a:ext cx="10845800" cy="598072"/>
            </a:xfrm>
            <a:prstGeom prst="rect">
              <a:avLst/>
            </a:prstGeom>
            <a:noFill/>
          </p:spPr>
          <p:txBody>
            <a:bodyPr vert="horz" wrap="square" rtlCol="0" anchor="t" anchorCtr="1">
              <a:normAutofit/>
            </a:bodyPr>
            <a:lstStyle/>
            <a:p>
              <a:pPr algn="ctr"/>
              <a:r>
                <a:rPr lang="en-US" altLang="zh-CN" sz="2400" b="1">
                  <a:latin typeface="Calibri" pitchFamily="34" charset="0"/>
                  <a:ea typeface="宋体" pitchFamily="2" charset="-122"/>
                </a:rPr>
                <a:t>Unified fonts make reading more fluent</a:t>
              </a:r>
              <a:endParaRPr lang="zh-CN" altLang="en-US" sz="2400" b="1" dirty="0">
                <a:latin typeface="Calibri" pitchFamily="34" charset="0"/>
                <a:ea typeface="宋体" pitchFamily="2" charset="-122"/>
              </a:endParaRPr>
            </a:p>
          </p:txBody>
        </p:sp>
        <p:grpSp>
          <p:nvGrpSpPr>
            <p:cNvPr id="14" name="组合 13"/>
            <p:cNvGrpSpPr/>
            <p:nvPr/>
          </p:nvGrpSpPr>
          <p:grpSpPr>
            <a:xfrm>
              <a:off x="3855244" y="2159828"/>
              <a:ext cx="4468813" cy="3746686"/>
              <a:chOff x="3855244" y="2159828"/>
              <a:chExt cx="4468813" cy="3746686"/>
            </a:xfrm>
          </p:grpSpPr>
          <p:sp>
            <p:nvSpPr>
              <p:cNvPr id="3" name="任意多边形: 形状 2"/>
              <p:cNvSpPr/>
              <p:nvPr/>
            </p:nvSpPr>
            <p:spPr bwMode="auto">
              <a:xfrm>
                <a:off x="5723731" y="5292131"/>
                <a:ext cx="731838" cy="614383"/>
              </a:xfrm>
              <a:custGeom>
                <a:avLst/>
                <a:gdLst>
                  <a:gd name="T0" fmla="*/ 319 w 319"/>
                  <a:gd name="T1" fmla="*/ 0 h 324"/>
                  <a:gd name="T2" fmla="*/ 0 w 319"/>
                  <a:gd name="T3" fmla="*/ 0 h 324"/>
                  <a:gd name="T4" fmla="*/ 95 w 319"/>
                  <a:gd name="T5" fmla="*/ 181 h 324"/>
                  <a:gd name="T6" fmla="*/ 95 w 319"/>
                  <a:gd name="T7" fmla="*/ 301 h 324"/>
                  <a:gd name="T8" fmla="*/ 124 w 319"/>
                  <a:gd name="T9" fmla="*/ 324 h 324"/>
                  <a:gd name="T10" fmla="*/ 196 w 319"/>
                  <a:gd name="T11" fmla="*/ 324 h 324"/>
                  <a:gd name="T12" fmla="*/ 224 w 319"/>
                  <a:gd name="T13" fmla="*/ 301 h 324"/>
                  <a:gd name="T14" fmla="*/ 224 w 319"/>
                  <a:gd name="T15" fmla="*/ 181 h 324"/>
                  <a:gd name="T16" fmla="*/ 319 w 319"/>
                  <a:gd name="T17" fmla="*/ 0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9" h="324">
                    <a:moveTo>
                      <a:pt x="319" y="0"/>
                    </a:moveTo>
                    <a:cubicBezTo>
                      <a:pt x="213" y="3"/>
                      <a:pt x="106" y="3"/>
                      <a:pt x="0" y="0"/>
                    </a:cubicBezTo>
                    <a:cubicBezTo>
                      <a:pt x="95" y="181"/>
                      <a:pt x="95" y="181"/>
                      <a:pt x="95" y="181"/>
                    </a:cubicBezTo>
                    <a:cubicBezTo>
                      <a:pt x="95" y="301"/>
                      <a:pt x="95" y="301"/>
                      <a:pt x="95" y="301"/>
                    </a:cubicBezTo>
                    <a:cubicBezTo>
                      <a:pt x="95" y="314"/>
                      <a:pt x="108" y="324"/>
                      <a:pt x="124" y="324"/>
                    </a:cubicBezTo>
                    <a:cubicBezTo>
                      <a:pt x="196" y="324"/>
                      <a:pt x="196" y="324"/>
                      <a:pt x="196" y="324"/>
                    </a:cubicBezTo>
                    <a:cubicBezTo>
                      <a:pt x="211" y="324"/>
                      <a:pt x="224" y="314"/>
                      <a:pt x="224" y="301"/>
                    </a:cubicBezTo>
                    <a:cubicBezTo>
                      <a:pt x="224" y="181"/>
                      <a:pt x="224" y="181"/>
                      <a:pt x="224" y="181"/>
                    </a:cubicBezTo>
                    <a:lnTo>
                      <a:pt x="319" y="0"/>
                    </a:lnTo>
                    <a:close/>
                  </a:path>
                </a:pathLst>
              </a:custGeom>
              <a:solidFill>
                <a:schemeClr val="accent1">
                  <a:lumMod val="40000"/>
                  <a:lumOff val="60000"/>
                </a:schemeClr>
              </a:solidFill>
              <a:ln>
                <a:noFill/>
              </a:ln>
            </p:spPr>
            <p:txBody>
              <a:bodyPr vert="horz" wrap="none" lIns="91440" tIns="45720" rIns="91440" bIns="45720" numCol="1" anchor="t" anchorCtr="0" compatLnSpc="1">
                <a:normAutofit/>
              </a:bodyPr>
              <a:lstStyle/>
              <a:p>
                <a:endParaRPr lang="id-ID"/>
              </a:p>
            </p:txBody>
          </p:sp>
          <p:sp>
            <p:nvSpPr>
              <p:cNvPr id="4" name="椭圆 3"/>
              <p:cNvSpPr/>
              <p:nvPr/>
            </p:nvSpPr>
            <p:spPr bwMode="auto">
              <a:xfrm>
                <a:off x="5725319" y="5251434"/>
                <a:ext cx="727075" cy="82706"/>
              </a:xfrm>
              <a:prstGeom prst="ellipse">
                <a:avLst/>
              </a:prstGeom>
              <a:solidFill>
                <a:schemeClr val="accent1">
                  <a:lumMod val="60000"/>
                  <a:lumOff val="40000"/>
                </a:schemeClr>
              </a:solidFill>
              <a:ln>
                <a:noFill/>
              </a:ln>
            </p:spPr>
            <p:txBody>
              <a:bodyPr vert="horz" wrap="square" lIns="91440" tIns="45720" rIns="91440" bIns="45720" numCol="1" anchor="t" anchorCtr="0" compatLnSpc="1"/>
              <a:lstStyle/>
              <a:p>
                <a:endParaRPr lang="id-ID"/>
              </a:p>
            </p:txBody>
          </p:sp>
          <p:sp>
            <p:nvSpPr>
              <p:cNvPr id="5" name="任意多边形: 形状 4"/>
              <p:cNvSpPr/>
              <p:nvPr/>
            </p:nvSpPr>
            <p:spPr bwMode="auto">
              <a:xfrm>
                <a:off x="5190331" y="4454574"/>
                <a:ext cx="1797050" cy="731222"/>
              </a:xfrm>
              <a:custGeom>
                <a:avLst/>
                <a:gdLst>
                  <a:gd name="T0" fmla="*/ 0 w 783"/>
                  <a:gd name="T1" fmla="*/ 0 h 386"/>
                  <a:gd name="T2" fmla="*/ 201 w 783"/>
                  <a:gd name="T3" fmla="*/ 383 h 386"/>
                  <a:gd name="T4" fmla="*/ 582 w 783"/>
                  <a:gd name="T5" fmla="*/ 383 h 386"/>
                  <a:gd name="T6" fmla="*/ 783 w 783"/>
                  <a:gd name="T7" fmla="*/ 0 h 386"/>
                  <a:gd name="T8" fmla="*/ 0 w 783"/>
                  <a:gd name="T9" fmla="*/ 0 h 386"/>
                </a:gdLst>
                <a:ahLst/>
                <a:cxnLst>
                  <a:cxn ang="0">
                    <a:pos x="T0" y="T1"/>
                  </a:cxn>
                  <a:cxn ang="0">
                    <a:pos x="T2" y="T3"/>
                  </a:cxn>
                  <a:cxn ang="0">
                    <a:pos x="T4" y="T5"/>
                  </a:cxn>
                  <a:cxn ang="0">
                    <a:pos x="T6" y="T7"/>
                  </a:cxn>
                  <a:cxn ang="0">
                    <a:pos x="T8" y="T9"/>
                  </a:cxn>
                </a:cxnLst>
                <a:rect l="0" t="0" r="r" b="b"/>
                <a:pathLst>
                  <a:path w="783" h="386">
                    <a:moveTo>
                      <a:pt x="0" y="0"/>
                    </a:moveTo>
                    <a:cubicBezTo>
                      <a:pt x="201" y="383"/>
                      <a:pt x="201" y="383"/>
                      <a:pt x="201" y="383"/>
                    </a:cubicBezTo>
                    <a:cubicBezTo>
                      <a:pt x="328" y="386"/>
                      <a:pt x="455" y="386"/>
                      <a:pt x="582" y="383"/>
                    </a:cubicBezTo>
                    <a:cubicBezTo>
                      <a:pt x="783" y="0"/>
                      <a:pt x="783" y="0"/>
                      <a:pt x="783" y="0"/>
                    </a:cubicBezTo>
                    <a:cubicBezTo>
                      <a:pt x="522" y="14"/>
                      <a:pt x="261" y="14"/>
                      <a:pt x="0" y="0"/>
                    </a:cubicBezTo>
                    <a:close/>
                  </a:path>
                </a:pathLst>
              </a:custGeom>
              <a:solidFill>
                <a:schemeClr val="accent1">
                  <a:lumMod val="40000"/>
                  <a:lumOff val="60000"/>
                </a:schemeClr>
              </a:solidFill>
              <a:ln>
                <a:noFill/>
              </a:ln>
            </p:spPr>
            <p:txBody>
              <a:bodyPr vert="horz" wrap="none" lIns="91440" tIns="45720" rIns="91440" bIns="45720" numCol="1" anchor="ctr" anchorCtr="0" compatLnSpc="1">
                <a:normAutofit/>
              </a:bodyPr>
              <a:lstStyle/>
              <a:p>
                <a:pPr algn="ctr"/>
                <a:endParaRPr lang="id-ID" b="1" dirty="0"/>
              </a:p>
            </p:txBody>
          </p:sp>
          <p:sp>
            <p:nvSpPr>
              <p:cNvPr id="6" name="椭圆 5"/>
              <p:cNvSpPr/>
              <p:nvPr/>
            </p:nvSpPr>
            <p:spPr bwMode="auto">
              <a:xfrm>
                <a:off x="5187156" y="4360054"/>
                <a:ext cx="1806575" cy="173288"/>
              </a:xfrm>
              <a:prstGeom prst="ellipse">
                <a:avLst/>
              </a:prstGeom>
              <a:solidFill>
                <a:schemeClr val="accent1">
                  <a:lumMod val="60000"/>
                  <a:lumOff val="40000"/>
                </a:schemeClr>
              </a:solidFill>
              <a:ln>
                <a:noFill/>
              </a:ln>
            </p:spPr>
            <p:txBody>
              <a:bodyPr vert="horz" wrap="square" lIns="91440" tIns="45720" rIns="91440" bIns="45720" numCol="1" anchor="t" anchorCtr="0" compatLnSpc="1"/>
              <a:lstStyle/>
              <a:p>
                <a:endParaRPr lang="id-ID"/>
              </a:p>
            </p:txBody>
          </p:sp>
          <p:sp>
            <p:nvSpPr>
              <p:cNvPr id="7" name="任意多边形: 形状 6"/>
              <p:cNvSpPr/>
              <p:nvPr/>
            </p:nvSpPr>
            <p:spPr bwMode="auto">
              <a:xfrm>
                <a:off x="4601369" y="3522498"/>
                <a:ext cx="2974975" cy="848059"/>
              </a:xfrm>
              <a:custGeom>
                <a:avLst/>
                <a:gdLst>
                  <a:gd name="T0" fmla="*/ 1072 w 1297"/>
                  <a:gd name="T1" fmla="*/ 430 h 447"/>
                  <a:gd name="T2" fmla="*/ 1297 w 1297"/>
                  <a:gd name="T3" fmla="*/ 0 h 447"/>
                  <a:gd name="T4" fmla="*/ 0 w 1297"/>
                  <a:gd name="T5" fmla="*/ 0 h 447"/>
                  <a:gd name="T6" fmla="*/ 226 w 1297"/>
                  <a:gd name="T7" fmla="*/ 430 h 447"/>
                  <a:gd name="T8" fmla="*/ 1072 w 1297"/>
                  <a:gd name="T9" fmla="*/ 430 h 447"/>
                </a:gdLst>
                <a:ahLst/>
                <a:cxnLst>
                  <a:cxn ang="0">
                    <a:pos x="T0" y="T1"/>
                  </a:cxn>
                  <a:cxn ang="0">
                    <a:pos x="T2" y="T3"/>
                  </a:cxn>
                  <a:cxn ang="0">
                    <a:pos x="T4" y="T5"/>
                  </a:cxn>
                  <a:cxn ang="0">
                    <a:pos x="T6" y="T7"/>
                  </a:cxn>
                  <a:cxn ang="0">
                    <a:pos x="T8" y="T9"/>
                  </a:cxn>
                </a:cxnLst>
                <a:rect l="0" t="0" r="r" b="b"/>
                <a:pathLst>
                  <a:path w="1297" h="447">
                    <a:moveTo>
                      <a:pt x="1072" y="430"/>
                    </a:moveTo>
                    <a:cubicBezTo>
                      <a:pt x="1297" y="0"/>
                      <a:pt x="1297" y="0"/>
                      <a:pt x="1297" y="0"/>
                    </a:cubicBezTo>
                    <a:cubicBezTo>
                      <a:pt x="865" y="43"/>
                      <a:pt x="432" y="43"/>
                      <a:pt x="0" y="0"/>
                    </a:cubicBezTo>
                    <a:cubicBezTo>
                      <a:pt x="226" y="430"/>
                      <a:pt x="226" y="430"/>
                      <a:pt x="226" y="430"/>
                    </a:cubicBezTo>
                    <a:cubicBezTo>
                      <a:pt x="507" y="447"/>
                      <a:pt x="790" y="447"/>
                      <a:pt x="1072" y="430"/>
                    </a:cubicBezTo>
                    <a:close/>
                  </a:path>
                </a:pathLst>
              </a:custGeom>
              <a:solidFill>
                <a:schemeClr val="accent1">
                  <a:lumMod val="40000"/>
                  <a:lumOff val="60000"/>
                </a:schemeClr>
              </a:solidFill>
              <a:ln>
                <a:noFill/>
              </a:ln>
            </p:spPr>
            <p:txBody>
              <a:bodyPr vert="horz" wrap="none" lIns="91440" tIns="45720" rIns="91440" bIns="45720" numCol="1" anchor="ctr" anchorCtr="0" compatLnSpc="1">
                <a:normAutofit/>
              </a:bodyPr>
              <a:lstStyle/>
              <a:p>
                <a:pPr algn="ctr"/>
                <a:endParaRPr lang="id-ID" sz="2000" b="1" dirty="0"/>
              </a:p>
            </p:txBody>
          </p:sp>
          <p:sp>
            <p:nvSpPr>
              <p:cNvPr id="8" name="椭圆 7"/>
              <p:cNvSpPr/>
              <p:nvPr/>
            </p:nvSpPr>
            <p:spPr bwMode="auto">
              <a:xfrm>
                <a:off x="4604544" y="3382030"/>
                <a:ext cx="2971800" cy="287500"/>
              </a:xfrm>
              <a:prstGeom prst="ellipse">
                <a:avLst/>
              </a:prstGeom>
              <a:solidFill>
                <a:schemeClr val="accent1">
                  <a:lumMod val="60000"/>
                  <a:lumOff val="40000"/>
                </a:schemeClr>
              </a:solidFill>
              <a:ln>
                <a:noFill/>
              </a:ln>
            </p:spPr>
            <p:txBody>
              <a:bodyPr vert="horz" wrap="square" lIns="91440" tIns="45720" rIns="91440" bIns="45720" numCol="1" anchor="t" anchorCtr="0" compatLnSpc="1"/>
              <a:lstStyle/>
              <a:p>
                <a:endParaRPr lang="id-ID"/>
              </a:p>
            </p:txBody>
          </p:sp>
          <p:sp>
            <p:nvSpPr>
              <p:cNvPr id="9" name="任意多边形: 形状 8"/>
              <p:cNvSpPr/>
              <p:nvPr/>
            </p:nvSpPr>
            <p:spPr bwMode="auto">
              <a:xfrm>
                <a:off x="3858419" y="2350181"/>
                <a:ext cx="4462463" cy="1144748"/>
              </a:xfrm>
              <a:custGeom>
                <a:avLst/>
                <a:gdLst>
                  <a:gd name="T0" fmla="*/ 1654 w 1945"/>
                  <a:gd name="T1" fmla="*/ 555 h 603"/>
                  <a:gd name="T2" fmla="*/ 1945 w 1945"/>
                  <a:gd name="T3" fmla="*/ 0 h 603"/>
                  <a:gd name="T4" fmla="*/ 0 w 1945"/>
                  <a:gd name="T5" fmla="*/ 0 h 603"/>
                  <a:gd name="T6" fmla="*/ 291 w 1945"/>
                  <a:gd name="T7" fmla="*/ 555 h 603"/>
                  <a:gd name="T8" fmla="*/ 1654 w 1945"/>
                  <a:gd name="T9" fmla="*/ 555 h 603"/>
                </a:gdLst>
                <a:ahLst/>
                <a:cxnLst>
                  <a:cxn ang="0">
                    <a:pos x="T0" y="T1"/>
                  </a:cxn>
                  <a:cxn ang="0">
                    <a:pos x="T2" y="T3"/>
                  </a:cxn>
                  <a:cxn ang="0">
                    <a:pos x="T4" y="T5"/>
                  </a:cxn>
                  <a:cxn ang="0">
                    <a:pos x="T6" y="T7"/>
                  </a:cxn>
                  <a:cxn ang="0">
                    <a:pos x="T8" y="T9"/>
                  </a:cxn>
                </a:cxnLst>
                <a:rect l="0" t="0" r="r" b="b"/>
                <a:pathLst>
                  <a:path w="1945" h="603">
                    <a:moveTo>
                      <a:pt x="1654" y="555"/>
                    </a:moveTo>
                    <a:cubicBezTo>
                      <a:pt x="1945" y="0"/>
                      <a:pt x="1945" y="0"/>
                      <a:pt x="1945" y="0"/>
                    </a:cubicBezTo>
                    <a:cubicBezTo>
                      <a:pt x="0" y="0"/>
                      <a:pt x="0" y="0"/>
                      <a:pt x="0" y="0"/>
                    </a:cubicBezTo>
                    <a:cubicBezTo>
                      <a:pt x="291" y="555"/>
                      <a:pt x="291" y="555"/>
                      <a:pt x="291" y="555"/>
                    </a:cubicBezTo>
                    <a:cubicBezTo>
                      <a:pt x="745" y="603"/>
                      <a:pt x="1200" y="603"/>
                      <a:pt x="1654" y="555"/>
                    </a:cubicBezTo>
                    <a:close/>
                  </a:path>
                </a:pathLst>
              </a:custGeom>
              <a:solidFill>
                <a:schemeClr val="accent1"/>
              </a:solidFill>
              <a:ln>
                <a:noFill/>
              </a:ln>
            </p:spPr>
            <p:txBody>
              <a:bodyPr vert="horz" wrap="none" lIns="91440" tIns="45720" rIns="91440" bIns="45720" numCol="1" anchor="ctr" anchorCtr="0" compatLnSpc="1">
                <a:normAutofit/>
              </a:bodyPr>
              <a:lstStyle/>
              <a:p>
                <a:pPr algn="ctr"/>
                <a:endParaRPr lang="id-ID" sz="2400" b="1" dirty="0">
                  <a:solidFill>
                    <a:schemeClr val="bg1"/>
                  </a:solidFill>
                </a:endParaRPr>
              </a:p>
            </p:txBody>
          </p:sp>
          <p:sp>
            <p:nvSpPr>
              <p:cNvPr id="10" name="椭圆 9"/>
              <p:cNvSpPr/>
              <p:nvPr/>
            </p:nvSpPr>
            <p:spPr bwMode="auto">
              <a:xfrm>
                <a:off x="3855244" y="2159828"/>
                <a:ext cx="4468813" cy="364954"/>
              </a:xfrm>
              <a:prstGeom prst="ellipse">
                <a:avLst/>
              </a:prstGeom>
              <a:solidFill>
                <a:schemeClr val="accent1">
                  <a:lumMod val="20000"/>
                  <a:lumOff val="80000"/>
                </a:schemeClr>
              </a:solidFill>
              <a:ln>
                <a:noFill/>
              </a:ln>
            </p:spPr>
            <p:txBody>
              <a:bodyPr vert="horz" wrap="square" lIns="91440" tIns="45720" rIns="91440" bIns="45720" numCol="1" anchor="t" anchorCtr="0" compatLnSpc="1"/>
              <a:lstStyle/>
              <a:p>
                <a:endParaRPr lang="id-ID"/>
              </a:p>
            </p:txBody>
          </p:sp>
        </p:grpSp>
        <p:grpSp>
          <p:nvGrpSpPr>
            <p:cNvPr id="2" name="组合 1"/>
            <p:cNvGrpSpPr/>
            <p:nvPr/>
          </p:nvGrpSpPr>
          <p:grpSpPr>
            <a:xfrm>
              <a:off x="7982404" y="2329733"/>
              <a:ext cx="3536494" cy="1202978"/>
              <a:chOff x="7982404" y="2329733"/>
              <a:chExt cx="3536494" cy="1202978"/>
            </a:xfrm>
          </p:grpSpPr>
          <p:sp>
            <p:nvSpPr>
              <p:cNvPr id="30" name="矩形 29"/>
              <p:cNvSpPr/>
              <p:nvPr/>
            </p:nvSpPr>
            <p:spPr bwMode="auto">
              <a:xfrm>
                <a:off x="8320882" y="2858048"/>
                <a:ext cx="3198016" cy="674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171450" indent="-171450">
                  <a:lnSpc>
                    <a:spcPct val="120000"/>
                  </a:lnSpc>
                  <a:buFont typeface="Arial" panose="020B0604020202090204" pitchFamily="34" charset="0"/>
                  <a:buChar char="•"/>
                </a:pPr>
                <a:r>
                  <a:rPr lang="it-IT" altLang="zh-CN" sz="1200">
                    <a:latin typeface="Calibri" pitchFamily="34" charset="0"/>
                    <a:ea typeface="宋体" pitchFamily="2" charset="-122"/>
                  </a:rPr>
                  <a:t>Sit sea et option duo adipiscing no congue diam accusam qui.</a:t>
                </a:r>
                <a:endParaRPr lang="en-US" altLang="zh-CN" sz="1200" dirty="0">
                  <a:latin typeface="Calibri" pitchFamily="34" charset="0"/>
                  <a:ea typeface="宋体" pitchFamily="2" charset="-122"/>
                </a:endParaRPr>
              </a:p>
            </p:txBody>
          </p:sp>
          <p:sp>
            <p:nvSpPr>
              <p:cNvPr id="31" name="文本框 30"/>
              <p:cNvSpPr txBox="1"/>
              <p:nvPr/>
            </p:nvSpPr>
            <p:spPr>
              <a:xfrm>
                <a:off x="8320881" y="2329733"/>
                <a:ext cx="3198016" cy="463286"/>
              </a:xfrm>
              <a:prstGeom prst="rect">
                <a:avLst/>
              </a:prstGeom>
              <a:noFill/>
            </p:spPr>
            <p:txBody>
              <a:bodyPr wrap="square" rtlCol="0" anchor="b" anchorCtr="0">
                <a:normAutofit/>
              </a:bodyPr>
              <a:lstStyle/>
              <a:p>
                <a:r>
                  <a:rPr lang="it-IT" altLang="zh-CN" b="1">
                    <a:solidFill>
                      <a:schemeClr val="accent1"/>
                    </a:solidFill>
                    <a:latin typeface="Calibri" pitchFamily="34" charset="0"/>
                    <a:ea typeface="宋体" pitchFamily="2" charset="-122"/>
                  </a:rPr>
                  <a:t>Click to add text</a:t>
                </a:r>
                <a:endParaRPr lang="en-US" altLang="zh-CN" b="1" dirty="0">
                  <a:solidFill>
                    <a:schemeClr val="accent1"/>
                  </a:solidFill>
                  <a:latin typeface="Calibri" pitchFamily="34" charset="0"/>
                  <a:ea typeface="宋体" pitchFamily="2" charset="-122"/>
                </a:endParaRPr>
              </a:p>
            </p:txBody>
          </p:sp>
          <p:cxnSp>
            <p:nvCxnSpPr>
              <p:cNvPr id="38" name="直接箭头连接符 37"/>
              <p:cNvCxnSpPr/>
              <p:nvPr/>
            </p:nvCxnSpPr>
            <p:spPr>
              <a:xfrm>
                <a:off x="7982404" y="3014507"/>
                <a:ext cx="338477" cy="0"/>
              </a:xfrm>
              <a:prstGeom prst="straightConnector1">
                <a:avLst/>
              </a:prstGeom>
              <a:ln w="15875">
                <a:solidFill>
                  <a:schemeClr val="tx2">
                    <a:alpha val="50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grpSp>
        <p:grpSp>
          <p:nvGrpSpPr>
            <p:cNvPr id="11" name="组合 10"/>
            <p:cNvGrpSpPr/>
            <p:nvPr/>
          </p:nvGrpSpPr>
          <p:grpSpPr>
            <a:xfrm>
              <a:off x="673101" y="3343871"/>
              <a:ext cx="3928268" cy="1163283"/>
              <a:chOff x="673101" y="3343871"/>
              <a:chExt cx="3928268" cy="1163283"/>
            </a:xfrm>
          </p:grpSpPr>
          <p:sp>
            <p:nvSpPr>
              <p:cNvPr id="27" name="矩形 26"/>
              <p:cNvSpPr/>
              <p:nvPr/>
            </p:nvSpPr>
            <p:spPr bwMode="auto">
              <a:xfrm>
                <a:off x="673102" y="3832491"/>
                <a:ext cx="3555205" cy="674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171450" indent="-171450" algn="r">
                  <a:lnSpc>
                    <a:spcPct val="120000"/>
                  </a:lnSpc>
                  <a:buFont typeface="Arial" panose="020B0604020202090204" pitchFamily="34" charset="0"/>
                  <a:buChar char="•"/>
                </a:pPr>
                <a:r>
                  <a:rPr lang="pt-BR" altLang="zh-CN" sz="1200">
                    <a:latin typeface="Calibri" pitchFamily="34" charset="0"/>
                    <a:ea typeface="宋体" pitchFamily="2" charset="-122"/>
                  </a:rPr>
                  <a:t>Tincidunt rebum nonumy id dolor lorem takimata et.</a:t>
                </a:r>
                <a:endParaRPr lang="en-US" altLang="zh-CN" sz="1200" dirty="0">
                  <a:latin typeface="Calibri" pitchFamily="34" charset="0"/>
                  <a:ea typeface="宋体" pitchFamily="2" charset="-122"/>
                </a:endParaRPr>
              </a:p>
            </p:txBody>
          </p:sp>
          <p:sp>
            <p:nvSpPr>
              <p:cNvPr id="28" name="文本框 27"/>
              <p:cNvSpPr txBox="1"/>
              <p:nvPr/>
            </p:nvSpPr>
            <p:spPr>
              <a:xfrm>
                <a:off x="673101" y="3343871"/>
                <a:ext cx="3555205" cy="463286"/>
              </a:xfrm>
              <a:prstGeom prst="rect">
                <a:avLst/>
              </a:prstGeom>
              <a:noFill/>
            </p:spPr>
            <p:txBody>
              <a:bodyPr wrap="square" rtlCol="0" anchor="b" anchorCtr="0">
                <a:normAutofit/>
              </a:bodyPr>
              <a:lstStyle/>
              <a:p>
                <a:pPr algn="r"/>
                <a:r>
                  <a:rPr lang="it-IT" altLang="zh-CN" b="1">
                    <a:latin typeface="Calibri" pitchFamily="34" charset="0"/>
                    <a:ea typeface="宋体" pitchFamily="2" charset="-122"/>
                  </a:rPr>
                  <a:t>Click to add text</a:t>
                </a:r>
                <a:endParaRPr lang="en-US" altLang="zh-CN" b="1" dirty="0">
                  <a:latin typeface="Calibri" pitchFamily="34" charset="0"/>
                  <a:ea typeface="宋体" pitchFamily="2" charset="-122"/>
                </a:endParaRPr>
              </a:p>
            </p:txBody>
          </p:sp>
          <p:cxnSp>
            <p:nvCxnSpPr>
              <p:cNvPr id="40" name="直接箭头连接符 39"/>
              <p:cNvCxnSpPr/>
              <p:nvPr/>
            </p:nvCxnSpPr>
            <p:spPr>
              <a:xfrm flipH="1">
                <a:off x="4262892" y="3849798"/>
                <a:ext cx="338477" cy="0"/>
              </a:xfrm>
              <a:prstGeom prst="straightConnector1">
                <a:avLst/>
              </a:prstGeom>
              <a:ln w="15875">
                <a:solidFill>
                  <a:schemeClr val="tx2">
                    <a:alpha val="50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grpSp>
        <p:grpSp>
          <p:nvGrpSpPr>
            <p:cNvPr id="12" name="组合 11"/>
            <p:cNvGrpSpPr/>
            <p:nvPr/>
          </p:nvGrpSpPr>
          <p:grpSpPr>
            <a:xfrm>
              <a:off x="6987381" y="4294717"/>
              <a:ext cx="3642517" cy="1142968"/>
              <a:chOff x="6987381" y="4294717"/>
              <a:chExt cx="3642517" cy="1142968"/>
            </a:xfrm>
          </p:grpSpPr>
          <p:sp>
            <p:nvSpPr>
              <p:cNvPr id="24" name="矩形 23"/>
              <p:cNvSpPr/>
              <p:nvPr/>
            </p:nvSpPr>
            <p:spPr bwMode="auto">
              <a:xfrm>
                <a:off x="7431882" y="4763022"/>
                <a:ext cx="3198016" cy="674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171450" indent="-171450">
                  <a:lnSpc>
                    <a:spcPct val="120000"/>
                  </a:lnSpc>
                  <a:buFont typeface="Arial" panose="020B0604020202090204" pitchFamily="34" charset="0"/>
                  <a:buChar char="•"/>
                </a:pPr>
                <a:r>
                  <a:rPr lang="pt-BR" altLang="zh-CN" sz="1200">
                    <a:latin typeface="Calibri" pitchFamily="34" charset="0"/>
                    <a:ea typeface="宋体" pitchFamily="2" charset="-122"/>
                  </a:rPr>
                  <a:t>Eleifend ut stet eos lorem invidunt eos eirmod consequat.</a:t>
                </a:r>
                <a:endParaRPr lang="en-US" altLang="zh-CN" sz="1200" dirty="0">
                  <a:latin typeface="Calibri" pitchFamily="34" charset="0"/>
                  <a:ea typeface="宋体" pitchFamily="2" charset="-122"/>
                </a:endParaRPr>
              </a:p>
            </p:txBody>
          </p:sp>
          <p:sp>
            <p:nvSpPr>
              <p:cNvPr id="25" name="文本框 24"/>
              <p:cNvSpPr txBox="1"/>
              <p:nvPr/>
            </p:nvSpPr>
            <p:spPr>
              <a:xfrm>
                <a:off x="7431881" y="4294717"/>
                <a:ext cx="3198016" cy="463286"/>
              </a:xfrm>
              <a:prstGeom prst="rect">
                <a:avLst/>
              </a:prstGeom>
              <a:noFill/>
            </p:spPr>
            <p:txBody>
              <a:bodyPr wrap="square" rtlCol="0" anchor="b" anchorCtr="0">
                <a:normAutofit/>
              </a:bodyPr>
              <a:lstStyle/>
              <a:p>
                <a:r>
                  <a:rPr lang="it-IT" altLang="zh-CN" b="1">
                    <a:latin typeface="Calibri" pitchFamily="34" charset="0"/>
                    <a:ea typeface="宋体" pitchFamily="2" charset="-122"/>
                  </a:rPr>
                  <a:t>Click to add text</a:t>
                </a:r>
                <a:endParaRPr lang="en-US" altLang="zh-CN" b="1" dirty="0">
                  <a:latin typeface="Calibri" pitchFamily="34" charset="0"/>
                  <a:ea typeface="宋体" pitchFamily="2" charset="-122"/>
                </a:endParaRPr>
              </a:p>
            </p:txBody>
          </p:sp>
          <p:cxnSp>
            <p:nvCxnSpPr>
              <p:cNvPr id="41" name="直接箭头连接符 40"/>
              <p:cNvCxnSpPr/>
              <p:nvPr/>
            </p:nvCxnSpPr>
            <p:spPr>
              <a:xfrm>
                <a:off x="6987381" y="4775310"/>
                <a:ext cx="338477" cy="0"/>
              </a:xfrm>
              <a:prstGeom prst="straightConnector1">
                <a:avLst/>
              </a:prstGeom>
              <a:ln w="15875">
                <a:solidFill>
                  <a:schemeClr val="tx2">
                    <a:alpha val="50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grpSp>
        <p:grpSp>
          <p:nvGrpSpPr>
            <p:cNvPr id="13" name="组合 12"/>
            <p:cNvGrpSpPr/>
            <p:nvPr/>
          </p:nvGrpSpPr>
          <p:grpSpPr>
            <a:xfrm>
              <a:off x="1386683" y="5085734"/>
              <a:ext cx="4286248" cy="1048366"/>
              <a:chOff x="1386683" y="5085734"/>
              <a:chExt cx="4286248" cy="1048366"/>
            </a:xfrm>
          </p:grpSpPr>
          <p:sp>
            <p:nvSpPr>
              <p:cNvPr id="21" name="矩形 20"/>
              <p:cNvSpPr/>
              <p:nvPr/>
            </p:nvSpPr>
            <p:spPr bwMode="auto">
              <a:xfrm>
                <a:off x="1386684" y="5459437"/>
                <a:ext cx="3797297" cy="674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171450" indent="-171450" algn="r">
                  <a:lnSpc>
                    <a:spcPct val="120000"/>
                  </a:lnSpc>
                  <a:buFont typeface="Arial" panose="020B0604020202090204" pitchFamily="34" charset="0"/>
                  <a:buChar char="•"/>
                </a:pPr>
                <a:r>
                  <a:rPr lang="fr-FR" altLang="zh-CN" sz="1200">
                    <a:latin typeface="Calibri" pitchFamily="34" charset="0"/>
                    <a:ea typeface="宋体" pitchFamily="2" charset="-122"/>
                  </a:rPr>
                  <a:t>Aliquyam illum kasd justo rebum consetetur tation.</a:t>
                </a:r>
                <a:endParaRPr lang="en-US" altLang="zh-CN" sz="1200" dirty="0">
                  <a:latin typeface="Calibri" pitchFamily="34" charset="0"/>
                  <a:ea typeface="宋体" pitchFamily="2" charset="-122"/>
                </a:endParaRPr>
              </a:p>
            </p:txBody>
          </p:sp>
          <p:sp>
            <p:nvSpPr>
              <p:cNvPr id="22" name="文本框 21"/>
              <p:cNvSpPr txBox="1"/>
              <p:nvPr/>
            </p:nvSpPr>
            <p:spPr>
              <a:xfrm>
                <a:off x="1386683" y="5085734"/>
                <a:ext cx="3797297" cy="380580"/>
              </a:xfrm>
              <a:prstGeom prst="rect">
                <a:avLst/>
              </a:prstGeom>
              <a:noFill/>
            </p:spPr>
            <p:txBody>
              <a:bodyPr wrap="square" rtlCol="0" anchor="b" anchorCtr="0">
                <a:normAutofit/>
              </a:bodyPr>
              <a:lstStyle/>
              <a:p>
                <a:pPr algn="r"/>
                <a:r>
                  <a:rPr lang="it-IT" altLang="zh-CN" b="1">
                    <a:latin typeface="Calibri" pitchFamily="34" charset="0"/>
                    <a:ea typeface="宋体" pitchFamily="2" charset="-122"/>
                  </a:rPr>
                  <a:t>Click to add text</a:t>
                </a:r>
                <a:endParaRPr lang="en-US" altLang="zh-CN" b="1" dirty="0">
                  <a:latin typeface="Calibri" pitchFamily="34" charset="0"/>
                  <a:ea typeface="宋体" pitchFamily="2" charset="-122"/>
                </a:endParaRPr>
              </a:p>
            </p:txBody>
          </p:sp>
          <p:cxnSp>
            <p:nvCxnSpPr>
              <p:cNvPr id="42" name="直接箭头连接符 41"/>
              <p:cNvCxnSpPr/>
              <p:nvPr/>
            </p:nvCxnSpPr>
            <p:spPr>
              <a:xfrm flipH="1">
                <a:off x="5334454" y="5504414"/>
                <a:ext cx="338477" cy="0"/>
              </a:xfrm>
              <a:prstGeom prst="straightConnector1">
                <a:avLst/>
              </a:prstGeom>
              <a:ln w="15875">
                <a:solidFill>
                  <a:schemeClr val="tx2">
                    <a:alpha val="50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grpSp>
      </p:grpSp>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 name="组合 21"/>
          <p:cNvGrpSpPr/>
          <p:nvPr/>
        </p:nvGrpSpPr>
        <p:grpSpPr>
          <a:xfrm>
            <a:off x="1211847" y="1130300"/>
            <a:ext cx="9723327" cy="5003800"/>
            <a:chOff x="1211847" y="1130300"/>
            <a:chExt cx="9723326" cy="5003800"/>
          </a:xfrm>
        </p:grpSpPr>
        <p:sp>
          <p:nvSpPr>
            <p:cNvPr id="10" name="文本框 9"/>
            <p:cNvSpPr txBox="1"/>
            <p:nvPr/>
          </p:nvSpPr>
          <p:spPr>
            <a:xfrm>
              <a:off x="1587027" y="1130300"/>
              <a:ext cx="9017946" cy="618464"/>
            </a:xfrm>
            <a:prstGeom prst="rect">
              <a:avLst/>
            </a:prstGeom>
            <a:noFill/>
            <a:ln>
              <a:noFill/>
            </a:ln>
          </p:spPr>
          <p:txBody>
            <a:bodyPr wrap="square" lIns="91440" tIns="45720" rIns="91440" bIns="45720" anchor="b" anchorCtr="0">
              <a:normAutofit/>
            </a:bodyPr>
            <a:lstStyle/>
            <a:p>
              <a:pPr algn="ctr" defTabSz="913765">
                <a:buSzPct val="25000"/>
                <a:defRPr/>
              </a:pPr>
              <a:r>
                <a:rPr lang="en-US" altLang="zh-CN" sz="2400" b="1">
                  <a:latin typeface="Calibri" pitchFamily="34" charset="0"/>
                  <a:ea typeface="宋体" pitchFamily="2" charset="-122"/>
                </a:rPr>
                <a:t>Unified fonts make reading more fluent</a:t>
              </a:r>
              <a:endParaRPr lang="en-US" altLang="zh-CN" sz="2400" b="1" dirty="0">
                <a:latin typeface="Calibri" pitchFamily="34" charset="0"/>
                <a:ea typeface="宋体" pitchFamily="2" charset="-122"/>
              </a:endParaRPr>
            </a:p>
          </p:txBody>
        </p:sp>
        <p:sp>
          <p:nvSpPr>
            <p:cNvPr id="7" name="任意多边形: 形状 6"/>
            <p:cNvSpPr/>
            <p:nvPr/>
          </p:nvSpPr>
          <p:spPr>
            <a:xfrm flipV="1">
              <a:off x="2490938" y="4824034"/>
              <a:ext cx="1863845" cy="1310066"/>
            </a:xfrm>
            <a:custGeom>
              <a:avLst/>
              <a:gdLst>
                <a:gd name="connsiteX0" fmla="*/ 849811 w 1699329"/>
                <a:gd name="connsiteY0" fmla="*/ 0 h 1169671"/>
                <a:gd name="connsiteX1" fmla="*/ 1111295 w 1699329"/>
                <a:gd name="connsiteY1" fmla="*/ 150941 h 1169671"/>
                <a:gd name="connsiteX2" fmla="*/ 1699329 w 1699329"/>
                <a:gd name="connsiteY2" fmla="*/ 1169671 h 1169671"/>
                <a:gd name="connsiteX3" fmla="*/ 0 w 1699329"/>
                <a:gd name="connsiteY3" fmla="*/ 1169671 h 1169671"/>
                <a:gd name="connsiteX4" fmla="*/ 588033 w 1699329"/>
                <a:gd name="connsiteY4" fmla="*/ 150941 h 1169671"/>
                <a:gd name="connsiteX5" fmla="*/ 849811 w 1699329"/>
                <a:gd name="connsiteY5" fmla="*/ 0 h 116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99329" h="1169671">
                  <a:moveTo>
                    <a:pt x="849811" y="0"/>
                  </a:moveTo>
                  <a:cubicBezTo>
                    <a:pt x="951561" y="0"/>
                    <a:pt x="1053263" y="50314"/>
                    <a:pt x="1111295" y="150941"/>
                  </a:cubicBezTo>
                  <a:lnTo>
                    <a:pt x="1699329" y="1169671"/>
                  </a:lnTo>
                  <a:lnTo>
                    <a:pt x="0" y="1169671"/>
                  </a:lnTo>
                  <a:lnTo>
                    <a:pt x="588033" y="150941"/>
                  </a:lnTo>
                  <a:cubicBezTo>
                    <a:pt x="646260" y="50314"/>
                    <a:pt x="748060" y="0"/>
                    <a:pt x="849811" y="0"/>
                  </a:cubicBezTo>
                  <a:close/>
                </a:path>
              </a:pathLst>
            </a:custGeom>
            <a:solidFill>
              <a:schemeClr val="accent6">
                <a:alpha val="15000"/>
              </a:schemeClr>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4520" rIns="91440" bIns="0" numCol="1" spcCol="0" rtlCol="0" fromWordArt="0" anchor="ctr" anchorCtr="0" forceAA="0" compatLnSpc="1">
              <a:noAutofit/>
            </a:bodyPr>
            <a:lstStyle/>
            <a:p>
              <a:pPr algn="ctr" defTabSz="914400"/>
              <a:endParaRPr lang="en-US" altLang="zh-CN" sz="1400" b="1" dirty="0">
                <a:solidFill>
                  <a:schemeClr val="tx1"/>
                </a:solidFill>
              </a:endParaRPr>
            </a:p>
          </p:txBody>
        </p:sp>
        <p:sp>
          <p:nvSpPr>
            <p:cNvPr id="8" name="任意多边形: 形状 7"/>
            <p:cNvSpPr/>
            <p:nvPr/>
          </p:nvSpPr>
          <p:spPr>
            <a:xfrm flipV="1">
              <a:off x="1211847" y="2133495"/>
              <a:ext cx="4422026" cy="1204091"/>
            </a:xfrm>
            <a:custGeom>
              <a:avLst/>
              <a:gdLst>
                <a:gd name="connsiteX0" fmla="*/ 400130 w 4031708"/>
                <a:gd name="connsiteY0" fmla="*/ 0 h 1075053"/>
                <a:gd name="connsiteX1" fmla="*/ 3631579 w 4031708"/>
                <a:gd name="connsiteY1" fmla="*/ 0 h 1075053"/>
                <a:gd name="connsiteX2" fmla="*/ 3990688 w 4031708"/>
                <a:gd name="connsiteY2" fmla="*/ 622133 h 1075053"/>
                <a:gd name="connsiteX3" fmla="*/ 3812020 w 4031708"/>
                <a:gd name="connsiteY3" fmla="*/ 1063847 h 1075053"/>
                <a:gd name="connsiteX4" fmla="*/ 3729256 w 4031708"/>
                <a:gd name="connsiteY4" fmla="*/ 1075053 h 1075053"/>
                <a:gd name="connsiteX5" fmla="*/ 302453 w 4031708"/>
                <a:gd name="connsiteY5" fmla="*/ 1075053 h 1075053"/>
                <a:gd name="connsiteX6" fmla="*/ 219688 w 4031708"/>
                <a:gd name="connsiteY6" fmla="*/ 1063847 h 1075053"/>
                <a:gd name="connsiteX7" fmla="*/ 41021 w 4031708"/>
                <a:gd name="connsiteY7" fmla="*/ 622133 h 1075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1708" h="1075053">
                  <a:moveTo>
                    <a:pt x="400130" y="0"/>
                  </a:moveTo>
                  <a:lnTo>
                    <a:pt x="3631579" y="0"/>
                  </a:lnTo>
                  <a:lnTo>
                    <a:pt x="3990688" y="622133"/>
                  </a:lnTo>
                  <a:cubicBezTo>
                    <a:pt x="4092585" y="798231"/>
                    <a:pt x="3994022" y="1012925"/>
                    <a:pt x="3812020" y="1063847"/>
                  </a:cubicBezTo>
                  <a:lnTo>
                    <a:pt x="3729256" y="1075053"/>
                  </a:lnTo>
                  <a:lnTo>
                    <a:pt x="302453" y="1075053"/>
                  </a:lnTo>
                  <a:lnTo>
                    <a:pt x="219688" y="1063847"/>
                  </a:lnTo>
                  <a:cubicBezTo>
                    <a:pt x="37687" y="1012925"/>
                    <a:pt x="-60877" y="798231"/>
                    <a:pt x="41021" y="622133"/>
                  </a:cubicBezTo>
                  <a:close/>
                </a:path>
              </a:pathLst>
            </a:custGeom>
            <a:solidFill>
              <a:schemeClr val="accent3">
                <a:alpha val="15000"/>
              </a:schemeClr>
            </a:solidFill>
            <a:ln w="76200" cap="rnd">
              <a:noFill/>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ltLang="zh-CN" b="1" dirty="0"/>
            </a:p>
          </p:txBody>
        </p:sp>
        <p:sp>
          <p:nvSpPr>
            <p:cNvPr id="9" name="任意多边形: 形状 8"/>
            <p:cNvSpPr/>
            <p:nvPr/>
          </p:nvSpPr>
          <p:spPr>
            <a:xfrm flipV="1">
              <a:off x="1700565" y="3425777"/>
              <a:ext cx="3444592" cy="1310066"/>
            </a:xfrm>
            <a:custGeom>
              <a:avLst/>
              <a:gdLst>
                <a:gd name="connsiteX0" fmla="*/ 675160 w 3140549"/>
                <a:gd name="connsiteY0" fmla="*/ 0 h 1169671"/>
                <a:gd name="connsiteX1" fmla="*/ 2465389 w 3140549"/>
                <a:gd name="connsiteY1" fmla="*/ 0 h 1169671"/>
                <a:gd name="connsiteX2" fmla="*/ 3140549 w 3140549"/>
                <a:gd name="connsiteY2" fmla="*/ 1169671 h 1169671"/>
                <a:gd name="connsiteX3" fmla="*/ 0 w 3140549"/>
                <a:gd name="connsiteY3" fmla="*/ 1169671 h 1169671"/>
              </a:gdLst>
              <a:ahLst/>
              <a:cxnLst>
                <a:cxn ang="0">
                  <a:pos x="connsiteX0" y="connsiteY0"/>
                </a:cxn>
                <a:cxn ang="0">
                  <a:pos x="connsiteX1" y="connsiteY1"/>
                </a:cxn>
                <a:cxn ang="0">
                  <a:pos x="connsiteX2" y="connsiteY2"/>
                </a:cxn>
                <a:cxn ang="0">
                  <a:pos x="connsiteX3" y="connsiteY3"/>
                </a:cxn>
              </a:cxnLst>
              <a:rect l="l" t="t" r="r" b="b"/>
              <a:pathLst>
                <a:path w="3140549" h="1169671">
                  <a:moveTo>
                    <a:pt x="675160" y="0"/>
                  </a:moveTo>
                  <a:lnTo>
                    <a:pt x="2465389" y="0"/>
                  </a:lnTo>
                  <a:lnTo>
                    <a:pt x="3140549" y="1169671"/>
                  </a:lnTo>
                  <a:lnTo>
                    <a:pt x="0" y="1169671"/>
                  </a:lnTo>
                  <a:close/>
                </a:path>
              </a:pathLst>
            </a:custGeom>
            <a:solidFill>
              <a:schemeClr val="accent1">
                <a:alpha val="15000"/>
              </a:schemeClr>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27720" numCol="1" spcCol="0" rtlCol="0" fromWordArt="0" anchor="ctr" anchorCtr="0" forceAA="0" compatLnSpc="1">
              <a:noAutofit/>
            </a:bodyPr>
            <a:lstStyle/>
            <a:p>
              <a:pPr algn="ctr" defTabSz="914400"/>
              <a:endParaRPr lang="en-US" altLang="zh-CN" sz="1600" b="1" dirty="0">
                <a:solidFill>
                  <a:schemeClr val="tx1"/>
                </a:solidFill>
              </a:endParaRPr>
            </a:p>
          </p:txBody>
        </p:sp>
        <p:grpSp>
          <p:nvGrpSpPr>
            <p:cNvPr id="2" name="组合 1"/>
            <p:cNvGrpSpPr/>
            <p:nvPr/>
          </p:nvGrpSpPr>
          <p:grpSpPr>
            <a:xfrm>
              <a:off x="4464867" y="2610287"/>
              <a:ext cx="6470306" cy="657967"/>
              <a:chOff x="4464867" y="2610287"/>
              <a:chExt cx="6470306" cy="657967"/>
            </a:xfrm>
          </p:grpSpPr>
          <p:sp>
            <p:nvSpPr>
              <p:cNvPr id="6" name="矩形: 圆角 5"/>
              <p:cNvSpPr/>
              <p:nvPr/>
            </p:nvSpPr>
            <p:spPr>
              <a:xfrm>
                <a:off x="4464867" y="2610287"/>
                <a:ext cx="2147249" cy="480088"/>
              </a:xfrm>
              <a:prstGeom prst="roundRect">
                <a:avLst>
                  <a:gd name="adj" fmla="val 50000"/>
                </a:avLst>
              </a:prstGeom>
              <a:gradFill>
                <a:gsLst>
                  <a:gs pos="0">
                    <a:schemeClr val="accent3">
                      <a:lumMod val="40000"/>
                      <a:lumOff val="60000"/>
                    </a:schemeClr>
                  </a:gs>
                  <a:gs pos="50000">
                    <a:schemeClr val="accent3"/>
                  </a:gs>
                </a:gsLst>
                <a:lin ang="2700000" scaled="0"/>
              </a:gradFill>
              <a:ln w="6055" cap="flat">
                <a:noFill/>
                <a:prstDash val="solid"/>
                <a:miter/>
              </a:ln>
            </p:spPr>
            <p:txBody>
              <a:bodyPr wrap="square" lIns="91440" tIns="45720" rIns="91440" bIns="45720" rtlCol="0" anchor="ctr">
                <a:normAutofit/>
              </a:bodyPr>
              <a:lstStyle/>
              <a:p>
                <a:pPr algn="ctr"/>
                <a:r>
                  <a:rPr lang="en-US" altLang="zh-CN" sz="1600" b="1">
                    <a:solidFill>
                      <a:srgbClr val="FFFFFF"/>
                    </a:solidFill>
                    <a:latin typeface="Calibri" pitchFamily="34" charset="0"/>
                    <a:ea typeface="宋体" pitchFamily="2" charset="-122"/>
                  </a:rPr>
                  <a:t>Click to add text</a:t>
                </a:r>
                <a:endParaRPr lang="en-US" altLang="zh-CN" sz="1600" b="1" dirty="0">
                  <a:solidFill>
                    <a:srgbClr val="FFFFFF"/>
                  </a:solidFill>
                  <a:latin typeface="Calibri" pitchFamily="34" charset="0"/>
                  <a:ea typeface="宋体" pitchFamily="2" charset="-122"/>
                </a:endParaRPr>
              </a:p>
            </p:txBody>
          </p:sp>
          <p:sp>
            <p:nvSpPr>
              <p:cNvPr id="11" name="文本框 10"/>
              <p:cNvSpPr txBox="1"/>
              <p:nvPr/>
            </p:nvSpPr>
            <p:spPr>
              <a:xfrm>
                <a:off x="6947374" y="2735540"/>
                <a:ext cx="3987799" cy="532714"/>
              </a:xfrm>
              <a:prstGeom prst="rect">
                <a:avLst/>
              </a:prstGeom>
              <a:noFill/>
            </p:spPr>
            <p:txBody>
              <a:bodyPr wrap="square" rtlCol="0" anchor="t" anchorCtr="0">
                <a:normAutofit/>
              </a:bodyPr>
              <a:lstStyle/>
              <a:p>
                <a:pPr>
                  <a:lnSpc>
                    <a:spcPct val="120000"/>
                  </a:lnSpc>
                </a:pPr>
                <a:r>
                  <a:rPr kumimoji="1" lang="en-US" altLang="zh-CN" sz="1200">
                    <a:latin typeface="Calibri" pitchFamily="34" charset="0"/>
                    <a:ea typeface="宋体" pitchFamily="2" charset="-122"/>
                  </a:rPr>
                  <a:t>Eirmod rebum duis at duo lorem dolore elitr voluptua.</a:t>
                </a:r>
                <a:endParaRPr kumimoji="1" lang="en-US" altLang="zh-CN" sz="1200" dirty="0">
                  <a:latin typeface="Calibri" pitchFamily="34" charset="0"/>
                  <a:ea typeface="宋体" pitchFamily="2" charset="-122"/>
                </a:endParaRPr>
              </a:p>
            </p:txBody>
          </p:sp>
        </p:grpSp>
        <p:grpSp>
          <p:nvGrpSpPr>
            <p:cNvPr id="19" name="组合 18"/>
            <p:cNvGrpSpPr/>
            <p:nvPr/>
          </p:nvGrpSpPr>
          <p:grpSpPr>
            <a:xfrm>
              <a:off x="3984192" y="3893754"/>
              <a:ext cx="6429807" cy="603750"/>
              <a:chOff x="3984192" y="3893754"/>
              <a:chExt cx="6429807" cy="603750"/>
            </a:xfrm>
          </p:grpSpPr>
          <p:sp>
            <p:nvSpPr>
              <p:cNvPr id="5" name="矩形: 圆角 4"/>
              <p:cNvSpPr/>
              <p:nvPr/>
            </p:nvSpPr>
            <p:spPr>
              <a:xfrm>
                <a:off x="3984192" y="3893754"/>
                <a:ext cx="2147249" cy="480088"/>
              </a:xfrm>
              <a:prstGeom prst="roundRect">
                <a:avLst>
                  <a:gd name="adj" fmla="val 50000"/>
                </a:avLst>
              </a:prstGeom>
              <a:gradFill>
                <a:gsLst>
                  <a:gs pos="0">
                    <a:schemeClr val="accent1">
                      <a:lumMod val="60000"/>
                      <a:lumOff val="40000"/>
                    </a:schemeClr>
                  </a:gs>
                  <a:gs pos="50000">
                    <a:schemeClr val="accent1"/>
                  </a:gs>
                </a:gsLst>
                <a:lin ang="2700000" scaled="0"/>
              </a:gradFill>
              <a:ln w="6055" cap="flat">
                <a:noFill/>
                <a:prstDash val="solid"/>
                <a:miter/>
              </a:ln>
            </p:spPr>
            <p:txBody>
              <a:bodyPr wrap="square" lIns="91440" tIns="45720" rIns="91440" bIns="45720" rtlCol="0" anchor="ctr">
                <a:normAutofit/>
              </a:bodyPr>
              <a:lstStyle/>
              <a:p>
                <a:pPr algn="ctr"/>
                <a:r>
                  <a:rPr lang="en-US" altLang="zh-CN" sz="1600" b="1">
                    <a:solidFill>
                      <a:srgbClr val="FFFFFF"/>
                    </a:solidFill>
                    <a:latin typeface="Calibri" pitchFamily="34" charset="0"/>
                    <a:ea typeface="宋体" pitchFamily="2" charset="-122"/>
                  </a:rPr>
                  <a:t>Click to add text</a:t>
                </a:r>
                <a:endParaRPr lang="en-US" altLang="zh-CN" sz="1600" b="1" dirty="0">
                  <a:solidFill>
                    <a:srgbClr val="FFFFFF"/>
                  </a:solidFill>
                  <a:latin typeface="Calibri" pitchFamily="34" charset="0"/>
                  <a:ea typeface="宋体" pitchFamily="2" charset="-122"/>
                </a:endParaRPr>
              </a:p>
            </p:txBody>
          </p:sp>
          <p:sp>
            <p:nvSpPr>
              <p:cNvPr id="12" name="文本框 11"/>
              <p:cNvSpPr txBox="1"/>
              <p:nvPr/>
            </p:nvSpPr>
            <p:spPr>
              <a:xfrm>
                <a:off x="6426200" y="3964790"/>
                <a:ext cx="3987799" cy="532714"/>
              </a:xfrm>
              <a:prstGeom prst="rect">
                <a:avLst/>
              </a:prstGeom>
              <a:noFill/>
            </p:spPr>
            <p:txBody>
              <a:bodyPr wrap="square" rtlCol="0" anchor="t" anchorCtr="0">
                <a:normAutofit/>
              </a:bodyPr>
              <a:lstStyle/>
              <a:p>
                <a:pPr>
                  <a:lnSpc>
                    <a:spcPct val="120000"/>
                  </a:lnSpc>
                </a:pPr>
                <a:r>
                  <a:rPr kumimoji="1" lang="pt-BR" altLang="zh-CN" sz="1200">
                    <a:latin typeface="Calibri" pitchFamily="34" charset="0"/>
                    <a:ea typeface="宋体" pitchFamily="2" charset="-122"/>
                  </a:rPr>
                  <a:t>Ipsum diam dolore dolor eum justo sit vel ipsum molestie.</a:t>
                </a:r>
                <a:endParaRPr kumimoji="1" lang="en-US" altLang="zh-CN" sz="1200" dirty="0">
                  <a:latin typeface="Calibri" pitchFamily="34" charset="0"/>
                  <a:ea typeface="宋体" pitchFamily="2" charset="-122"/>
                </a:endParaRPr>
              </a:p>
            </p:txBody>
          </p:sp>
        </p:grpSp>
        <p:grpSp>
          <p:nvGrpSpPr>
            <p:cNvPr id="20" name="组合 19"/>
            <p:cNvGrpSpPr/>
            <p:nvPr/>
          </p:nvGrpSpPr>
          <p:grpSpPr>
            <a:xfrm>
              <a:off x="3391242" y="5210679"/>
              <a:ext cx="6489831" cy="617549"/>
              <a:chOff x="3391242" y="5210679"/>
              <a:chExt cx="6489831" cy="617549"/>
            </a:xfrm>
          </p:grpSpPr>
          <p:sp>
            <p:nvSpPr>
              <p:cNvPr id="4" name="矩形: 圆角 3"/>
              <p:cNvSpPr/>
              <p:nvPr/>
            </p:nvSpPr>
            <p:spPr>
              <a:xfrm>
                <a:off x="3391242" y="5210679"/>
                <a:ext cx="2147249" cy="480088"/>
              </a:xfrm>
              <a:prstGeom prst="roundRect">
                <a:avLst>
                  <a:gd name="adj" fmla="val 50000"/>
                </a:avLst>
              </a:prstGeom>
              <a:gradFill>
                <a:gsLst>
                  <a:gs pos="0">
                    <a:schemeClr val="accent6">
                      <a:lumMod val="40000"/>
                      <a:lumOff val="60000"/>
                    </a:schemeClr>
                  </a:gs>
                  <a:gs pos="50000">
                    <a:schemeClr val="accent6"/>
                  </a:gs>
                </a:gsLst>
                <a:lin ang="2700000" scaled="0"/>
              </a:gradFill>
              <a:ln w="6055" cap="flat">
                <a:noFill/>
                <a:prstDash val="solid"/>
                <a:miter/>
              </a:ln>
            </p:spPr>
            <p:txBody>
              <a:bodyPr wrap="square" lIns="91440" tIns="45720" rIns="91440" bIns="45720" rtlCol="0" anchor="ctr">
                <a:normAutofit/>
              </a:bodyPr>
              <a:lstStyle/>
              <a:p>
                <a:pPr algn="ctr"/>
                <a:r>
                  <a:rPr lang="en-US" altLang="zh-CN" sz="1600" b="1">
                    <a:solidFill>
                      <a:srgbClr val="FFFFFF"/>
                    </a:solidFill>
                    <a:latin typeface="Calibri" pitchFamily="34" charset="0"/>
                    <a:ea typeface="宋体" pitchFamily="2" charset="-122"/>
                  </a:rPr>
                  <a:t>Click to add text</a:t>
                </a:r>
                <a:endParaRPr lang="en-US" altLang="zh-CN" sz="1600" b="1" dirty="0">
                  <a:solidFill>
                    <a:srgbClr val="FFFFFF"/>
                  </a:solidFill>
                  <a:latin typeface="Calibri" pitchFamily="34" charset="0"/>
                  <a:ea typeface="宋体" pitchFamily="2" charset="-122"/>
                </a:endParaRPr>
              </a:p>
            </p:txBody>
          </p:sp>
          <p:sp>
            <p:nvSpPr>
              <p:cNvPr id="13" name="文本框 12"/>
              <p:cNvSpPr txBox="1"/>
              <p:nvPr/>
            </p:nvSpPr>
            <p:spPr>
              <a:xfrm>
                <a:off x="5893274" y="5295514"/>
                <a:ext cx="3987799" cy="532714"/>
              </a:xfrm>
              <a:prstGeom prst="rect">
                <a:avLst/>
              </a:prstGeom>
              <a:noFill/>
            </p:spPr>
            <p:txBody>
              <a:bodyPr wrap="square" rtlCol="0" anchor="t" anchorCtr="0">
                <a:normAutofit/>
              </a:bodyPr>
              <a:lstStyle/>
              <a:p>
                <a:pPr>
                  <a:lnSpc>
                    <a:spcPct val="120000"/>
                  </a:lnSpc>
                </a:pPr>
                <a:r>
                  <a:rPr kumimoji="1" lang="en-US" altLang="zh-CN" sz="1200">
                    <a:latin typeface="Calibri" pitchFamily="34" charset="0"/>
                    <a:ea typeface="宋体" pitchFamily="2" charset="-122"/>
                  </a:rPr>
                  <a:t>Est velit nostrud in molestie eu eos eirmod ipsum ut.</a:t>
                </a:r>
                <a:endParaRPr kumimoji="1" lang="en-US" altLang="zh-CN" sz="1200" dirty="0">
                  <a:latin typeface="Calibri" pitchFamily="34" charset="0"/>
                  <a:ea typeface="宋体" pitchFamily="2" charset="-122"/>
                </a:endParaRPr>
              </a:p>
            </p:txBody>
          </p:sp>
        </p:grpSp>
      </p:grpSp>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组合 28"/>
          <p:cNvGrpSpPr/>
          <p:nvPr/>
        </p:nvGrpSpPr>
        <p:grpSpPr>
          <a:xfrm>
            <a:off x="660400" y="1130302"/>
            <a:ext cx="10876064" cy="4450260"/>
            <a:chOff x="660400" y="1130301"/>
            <a:chExt cx="10876064" cy="4450260"/>
          </a:xfrm>
        </p:grpSpPr>
        <p:sp>
          <p:nvSpPr>
            <p:cNvPr id="9" name="矩形 8"/>
            <p:cNvSpPr/>
            <p:nvPr/>
          </p:nvSpPr>
          <p:spPr>
            <a:xfrm>
              <a:off x="1955800" y="1130301"/>
              <a:ext cx="8280400" cy="584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normAutofit/>
            </a:bodyPr>
            <a:lstStyle/>
            <a:p>
              <a:pPr algn="ctr">
                <a:buSzPct val="25000"/>
              </a:pPr>
              <a:r>
                <a:rPr lang="en-US" altLang="zh-CN" sz="2400" b="1">
                  <a:solidFill>
                    <a:schemeClr val="tx1"/>
                  </a:solidFill>
                  <a:latin typeface="Calibri" pitchFamily="34" charset="0"/>
                  <a:ea typeface="宋体" pitchFamily="2" charset="-122"/>
                </a:rPr>
                <a:t>Unified fonts make reading more fluent</a:t>
              </a:r>
              <a:endParaRPr lang="en-US" altLang="zh-CN" sz="2400" b="1" dirty="0">
                <a:solidFill>
                  <a:schemeClr val="tx1"/>
                </a:solidFill>
                <a:latin typeface="Calibri" pitchFamily="34" charset="0"/>
                <a:ea typeface="宋体" pitchFamily="2" charset="-122"/>
              </a:endParaRPr>
            </a:p>
          </p:txBody>
        </p:sp>
        <p:grpSp>
          <p:nvGrpSpPr>
            <p:cNvPr id="25" name="组合 24"/>
            <p:cNvGrpSpPr/>
            <p:nvPr/>
          </p:nvGrpSpPr>
          <p:grpSpPr>
            <a:xfrm>
              <a:off x="660400" y="2673350"/>
              <a:ext cx="3356689" cy="2907211"/>
              <a:chOff x="660400" y="2673350"/>
              <a:chExt cx="3356689" cy="2907211"/>
            </a:xfrm>
          </p:grpSpPr>
          <p:cxnSp>
            <p:nvCxnSpPr>
              <p:cNvPr id="3" name="直接连接符 2"/>
              <p:cNvCxnSpPr/>
              <p:nvPr/>
            </p:nvCxnSpPr>
            <p:spPr>
              <a:xfrm flipH="1">
                <a:off x="1014591" y="3144360"/>
                <a:ext cx="0" cy="2436201"/>
              </a:xfrm>
              <a:prstGeom prst="line">
                <a:avLst/>
              </a:prstGeom>
              <a:ln w="15875">
                <a:prstDash val="lgDash"/>
              </a:ln>
            </p:spPr>
            <p:style>
              <a:lnRef idx="1">
                <a:schemeClr val="accent1"/>
              </a:lnRef>
              <a:fillRef idx="0">
                <a:schemeClr val="accent1"/>
              </a:fillRef>
              <a:effectRef idx="0">
                <a:schemeClr val="accent1"/>
              </a:effectRef>
              <a:fontRef idx="minor">
                <a:schemeClr val="tx1"/>
              </a:fontRef>
            </p:style>
          </p:cxnSp>
          <p:sp>
            <p:nvSpPr>
              <p:cNvPr id="4" name="矩形 3"/>
              <p:cNvSpPr/>
              <p:nvPr/>
            </p:nvSpPr>
            <p:spPr>
              <a:xfrm>
                <a:off x="1315538" y="3717765"/>
                <a:ext cx="2400606" cy="12306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t" anchorCtr="0">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nSpc>
                    <a:spcPct val="120000"/>
                  </a:lnSpc>
                </a:pPr>
                <a:r>
                  <a:rPr kumimoji="1" lang="da-DK" altLang="zh-CN" sz="1200">
                    <a:solidFill>
                      <a:schemeClr val="tx1"/>
                    </a:solidFill>
                    <a:latin typeface="Calibri" pitchFamily="34" charset="0"/>
                    <a:ea typeface="宋体" pitchFamily="2" charset="-122"/>
                  </a:rPr>
                  <a:t>Erat blandit nonummy et stet gubergren sadipscing ut.</a:t>
                </a:r>
                <a:endParaRPr kumimoji="1" lang="en-US" altLang="zh-CN" sz="1200" dirty="0">
                  <a:solidFill>
                    <a:schemeClr val="tx1"/>
                  </a:solidFill>
                  <a:latin typeface="Calibri" pitchFamily="34" charset="0"/>
                  <a:ea typeface="宋体" pitchFamily="2" charset="-122"/>
                </a:endParaRPr>
              </a:p>
            </p:txBody>
          </p:sp>
          <p:sp>
            <p:nvSpPr>
              <p:cNvPr id="6" name="任意多边形: 形状 5"/>
              <p:cNvSpPr/>
              <p:nvPr/>
            </p:nvSpPr>
            <p:spPr bwMode="auto">
              <a:xfrm>
                <a:off x="660400" y="2673350"/>
                <a:ext cx="3356689" cy="1044415"/>
              </a:xfrm>
              <a:custGeom>
                <a:avLst/>
                <a:gdLst>
                  <a:gd name="T0" fmla="*/ 1122 w 1127"/>
                  <a:gd name="T1" fmla="*/ 166 h 350"/>
                  <a:gd name="T2" fmla="*/ 933 w 1127"/>
                  <a:gd name="T3" fmla="*/ 6 h 350"/>
                  <a:gd name="T4" fmla="*/ 914 w 1127"/>
                  <a:gd name="T5" fmla="*/ 14 h 350"/>
                  <a:gd name="T6" fmla="*/ 914 w 1127"/>
                  <a:gd name="T7" fmla="*/ 63 h 350"/>
                  <a:gd name="T8" fmla="*/ 112 w 1127"/>
                  <a:gd name="T9" fmla="*/ 63 h 350"/>
                  <a:gd name="T10" fmla="*/ 0 w 1127"/>
                  <a:gd name="T11" fmla="*/ 175 h 350"/>
                  <a:gd name="T12" fmla="*/ 0 w 1127"/>
                  <a:gd name="T13" fmla="*/ 175 h 350"/>
                  <a:gd name="T14" fmla="*/ 112 w 1127"/>
                  <a:gd name="T15" fmla="*/ 287 h 350"/>
                  <a:gd name="T16" fmla="*/ 914 w 1127"/>
                  <a:gd name="T17" fmla="*/ 287 h 350"/>
                  <a:gd name="T18" fmla="*/ 914 w 1127"/>
                  <a:gd name="T19" fmla="*/ 336 h 350"/>
                  <a:gd name="T20" fmla="*/ 933 w 1127"/>
                  <a:gd name="T21" fmla="*/ 344 h 350"/>
                  <a:gd name="T22" fmla="*/ 1122 w 1127"/>
                  <a:gd name="T23" fmla="*/ 184 h 350"/>
                  <a:gd name="T24" fmla="*/ 1122 w 1127"/>
                  <a:gd name="T25" fmla="*/ 166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27" h="350">
                    <a:moveTo>
                      <a:pt x="1122" y="166"/>
                    </a:moveTo>
                    <a:cubicBezTo>
                      <a:pt x="933" y="6"/>
                      <a:pt x="933" y="6"/>
                      <a:pt x="933" y="6"/>
                    </a:cubicBezTo>
                    <a:cubicBezTo>
                      <a:pt x="925" y="0"/>
                      <a:pt x="914" y="5"/>
                      <a:pt x="914" y="14"/>
                    </a:cubicBezTo>
                    <a:cubicBezTo>
                      <a:pt x="914" y="63"/>
                      <a:pt x="914" y="63"/>
                      <a:pt x="914" y="63"/>
                    </a:cubicBezTo>
                    <a:cubicBezTo>
                      <a:pt x="112" y="63"/>
                      <a:pt x="112" y="63"/>
                      <a:pt x="112" y="63"/>
                    </a:cubicBezTo>
                    <a:cubicBezTo>
                      <a:pt x="50" y="63"/>
                      <a:pt x="0" y="113"/>
                      <a:pt x="0" y="175"/>
                    </a:cubicBezTo>
                    <a:cubicBezTo>
                      <a:pt x="0" y="175"/>
                      <a:pt x="0" y="175"/>
                      <a:pt x="0" y="175"/>
                    </a:cubicBezTo>
                    <a:cubicBezTo>
                      <a:pt x="0" y="237"/>
                      <a:pt x="50" y="287"/>
                      <a:pt x="112" y="287"/>
                    </a:cubicBezTo>
                    <a:cubicBezTo>
                      <a:pt x="914" y="287"/>
                      <a:pt x="914" y="287"/>
                      <a:pt x="914" y="287"/>
                    </a:cubicBezTo>
                    <a:cubicBezTo>
                      <a:pt x="914" y="336"/>
                      <a:pt x="914" y="336"/>
                      <a:pt x="914" y="336"/>
                    </a:cubicBezTo>
                    <a:cubicBezTo>
                      <a:pt x="914" y="345"/>
                      <a:pt x="925" y="350"/>
                      <a:pt x="933" y="344"/>
                    </a:cubicBezTo>
                    <a:cubicBezTo>
                      <a:pt x="1122" y="184"/>
                      <a:pt x="1122" y="184"/>
                      <a:pt x="1122" y="184"/>
                    </a:cubicBezTo>
                    <a:cubicBezTo>
                      <a:pt x="1127" y="179"/>
                      <a:pt x="1127" y="171"/>
                      <a:pt x="1122" y="166"/>
                    </a:cubicBezTo>
                    <a:close/>
                  </a:path>
                </a:pathLst>
              </a:custGeom>
              <a:solidFill>
                <a:schemeClr val="accent1"/>
              </a:solid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rgbClr val="FFFFFF"/>
                    </a:solidFill>
                  </a:defRPr>
                </a:lvl1pPr>
                <a:lvl2pPr marL="457200" algn="l" defTabSz="914400" rtl="0" eaLnBrk="1" latinLnBrk="0" hangingPunct="1">
                  <a:defRPr sz="1800" kern="1200">
                    <a:solidFill>
                      <a:srgbClr val="FFFFFF"/>
                    </a:solidFill>
                  </a:defRPr>
                </a:lvl2pPr>
                <a:lvl3pPr marL="914400" algn="l" defTabSz="914400" rtl="0" eaLnBrk="1" latinLnBrk="0" hangingPunct="1">
                  <a:defRPr sz="1800" kern="1200">
                    <a:solidFill>
                      <a:srgbClr val="FFFFFF"/>
                    </a:solidFill>
                  </a:defRPr>
                </a:lvl3pPr>
                <a:lvl4pPr marL="1371600" algn="l" defTabSz="914400" rtl="0" eaLnBrk="1" latinLnBrk="0" hangingPunct="1">
                  <a:defRPr sz="1800" kern="1200">
                    <a:solidFill>
                      <a:srgbClr val="FFFFFF"/>
                    </a:solidFill>
                  </a:defRPr>
                </a:lvl4pPr>
                <a:lvl5pPr marL="1828800" algn="l" defTabSz="914400" rtl="0" eaLnBrk="1" latinLnBrk="0" hangingPunct="1">
                  <a:defRPr sz="1800" kern="1200">
                    <a:solidFill>
                      <a:srgbClr val="FFFFFF"/>
                    </a:solidFill>
                  </a:defRPr>
                </a:lvl5pPr>
                <a:lvl6pPr marL="2286000" algn="l" defTabSz="914400" rtl="0" eaLnBrk="1" latinLnBrk="0" hangingPunct="1">
                  <a:defRPr sz="1800" kern="1200">
                    <a:solidFill>
                      <a:srgbClr val="FFFFFF"/>
                    </a:solidFill>
                  </a:defRPr>
                </a:lvl6pPr>
                <a:lvl7pPr marL="2743200" algn="l" defTabSz="914400" rtl="0" eaLnBrk="1" latinLnBrk="0" hangingPunct="1">
                  <a:defRPr sz="1800" kern="1200">
                    <a:solidFill>
                      <a:srgbClr val="FFFFFF"/>
                    </a:solidFill>
                  </a:defRPr>
                </a:lvl7pPr>
                <a:lvl8pPr marL="3200400" algn="l" defTabSz="914400" rtl="0" eaLnBrk="1" latinLnBrk="0" hangingPunct="1">
                  <a:defRPr sz="1800" kern="1200">
                    <a:solidFill>
                      <a:srgbClr val="FFFFFF"/>
                    </a:solidFill>
                  </a:defRPr>
                </a:lvl8pPr>
                <a:lvl9pPr marL="3657600" algn="l" defTabSz="914400" rtl="0" eaLnBrk="1" latinLnBrk="0" hangingPunct="1">
                  <a:defRPr sz="1800" kern="1200">
                    <a:solidFill>
                      <a:srgbClr val="FFFFFF"/>
                    </a:solidFill>
                  </a:defRPr>
                </a:lvl9pPr>
              </a:lstStyle>
              <a:p>
                <a:pPr algn="ctr" defTabSz="913765"/>
                <a:endParaRPr lang="zh-CN" altLang="en-US" sz="1200" b="1">
                  <a:solidFill>
                    <a:schemeClr val="tx1">
                      <a:lumMod val="10000"/>
                      <a:lumOff val="90000"/>
                    </a:schemeClr>
                  </a:solidFill>
                </a:endParaRPr>
              </a:p>
            </p:txBody>
          </p:sp>
          <p:sp>
            <p:nvSpPr>
              <p:cNvPr id="7" name="椭圆 6"/>
              <p:cNvSpPr/>
              <p:nvPr/>
            </p:nvSpPr>
            <p:spPr>
              <a:xfrm>
                <a:off x="828682" y="2992312"/>
                <a:ext cx="406490" cy="406490"/>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defPPr>
                  <a:defRPr lang="zh-CN"/>
                </a:defPPr>
                <a:lvl1pPr marL="0" algn="l" defTabSz="914400" rtl="0" eaLnBrk="1" latinLnBrk="0" hangingPunct="1">
                  <a:defRPr sz="1800" kern="1200">
                    <a:solidFill>
                      <a:srgbClr val="FFFFFF"/>
                    </a:solidFill>
                  </a:defRPr>
                </a:lvl1pPr>
                <a:lvl2pPr marL="457200" algn="l" defTabSz="914400" rtl="0" eaLnBrk="1" latinLnBrk="0" hangingPunct="1">
                  <a:defRPr sz="1800" kern="1200">
                    <a:solidFill>
                      <a:srgbClr val="FFFFFF"/>
                    </a:solidFill>
                  </a:defRPr>
                </a:lvl2pPr>
                <a:lvl3pPr marL="914400" algn="l" defTabSz="914400" rtl="0" eaLnBrk="1" latinLnBrk="0" hangingPunct="1">
                  <a:defRPr sz="1800" kern="1200">
                    <a:solidFill>
                      <a:srgbClr val="FFFFFF"/>
                    </a:solidFill>
                  </a:defRPr>
                </a:lvl3pPr>
                <a:lvl4pPr marL="1371600" algn="l" defTabSz="914400" rtl="0" eaLnBrk="1" latinLnBrk="0" hangingPunct="1">
                  <a:defRPr sz="1800" kern="1200">
                    <a:solidFill>
                      <a:srgbClr val="FFFFFF"/>
                    </a:solidFill>
                  </a:defRPr>
                </a:lvl4pPr>
                <a:lvl5pPr marL="1828800" algn="l" defTabSz="914400" rtl="0" eaLnBrk="1" latinLnBrk="0" hangingPunct="1">
                  <a:defRPr sz="1800" kern="1200">
                    <a:solidFill>
                      <a:srgbClr val="FFFFFF"/>
                    </a:solidFill>
                  </a:defRPr>
                </a:lvl5pPr>
                <a:lvl6pPr marL="2286000" algn="l" defTabSz="914400" rtl="0" eaLnBrk="1" latinLnBrk="0" hangingPunct="1">
                  <a:defRPr sz="1800" kern="1200">
                    <a:solidFill>
                      <a:srgbClr val="FFFFFF"/>
                    </a:solidFill>
                  </a:defRPr>
                </a:lvl6pPr>
                <a:lvl7pPr marL="2743200" algn="l" defTabSz="914400" rtl="0" eaLnBrk="1" latinLnBrk="0" hangingPunct="1">
                  <a:defRPr sz="1800" kern="1200">
                    <a:solidFill>
                      <a:srgbClr val="FFFFFF"/>
                    </a:solidFill>
                  </a:defRPr>
                </a:lvl7pPr>
                <a:lvl8pPr marL="3200400" algn="l" defTabSz="914400" rtl="0" eaLnBrk="1" latinLnBrk="0" hangingPunct="1">
                  <a:defRPr sz="1800" kern="1200">
                    <a:solidFill>
                      <a:srgbClr val="FFFFFF"/>
                    </a:solidFill>
                  </a:defRPr>
                </a:lvl8pPr>
                <a:lvl9pPr marL="3657600" algn="l" defTabSz="914400" rtl="0" eaLnBrk="1" latinLnBrk="0" hangingPunct="1">
                  <a:defRPr sz="1800" kern="1200">
                    <a:solidFill>
                      <a:srgbClr val="FFFFFF"/>
                    </a:solidFill>
                  </a:defRPr>
                </a:lvl9pPr>
              </a:lstStyle>
              <a:p>
                <a:pPr algn="ctr"/>
                <a:r>
                  <a:rPr lang="en-US" altLang="zh-CN" sz="1200" b="1" dirty="0">
                    <a:solidFill>
                      <a:schemeClr val="accent1"/>
                    </a:solidFill>
                    <a:latin typeface="Calibri" pitchFamily="34" charset="0"/>
                    <a:ea typeface="宋体" pitchFamily="2" charset="-122"/>
                  </a:rPr>
                  <a:t>01</a:t>
                </a:r>
                <a:endParaRPr lang="zh-CN" altLang="en-US" sz="1100" b="1" dirty="0">
                  <a:solidFill>
                    <a:schemeClr val="accent1"/>
                  </a:solidFill>
                  <a:latin typeface="Calibri" pitchFamily="34" charset="0"/>
                  <a:ea typeface="宋体" pitchFamily="2" charset="-122"/>
                </a:endParaRPr>
              </a:p>
            </p:txBody>
          </p:sp>
          <p:sp>
            <p:nvSpPr>
              <p:cNvPr id="8" name="矩形 7"/>
              <p:cNvSpPr/>
              <p:nvPr/>
            </p:nvSpPr>
            <p:spPr>
              <a:xfrm>
                <a:off x="1320375" y="2992312"/>
                <a:ext cx="2137217" cy="4224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chorCtr="0">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r>
                  <a:rPr kumimoji="1" lang="en-US" altLang="zh-CN" b="1">
                    <a:solidFill>
                      <a:srgbClr val="FFFFFF"/>
                    </a:solidFill>
                    <a:latin typeface="Calibri" pitchFamily="34" charset="0"/>
                    <a:ea typeface="宋体" pitchFamily="2" charset="-122"/>
                  </a:rPr>
                  <a:t>Click to add text</a:t>
                </a:r>
                <a:endParaRPr kumimoji="1" lang="en-US" altLang="zh-CN" b="1" dirty="0">
                  <a:solidFill>
                    <a:srgbClr val="FFFFFF"/>
                  </a:solidFill>
                  <a:latin typeface="Calibri" pitchFamily="34" charset="0"/>
                  <a:ea typeface="宋体" pitchFamily="2" charset="-122"/>
                </a:endParaRPr>
              </a:p>
            </p:txBody>
          </p:sp>
        </p:grpSp>
        <p:grpSp>
          <p:nvGrpSpPr>
            <p:cNvPr id="26" name="组合 25"/>
            <p:cNvGrpSpPr/>
            <p:nvPr/>
          </p:nvGrpSpPr>
          <p:grpSpPr>
            <a:xfrm>
              <a:off x="4420087" y="2673350"/>
              <a:ext cx="3356689" cy="2907211"/>
              <a:chOff x="4420087" y="2673350"/>
              <a:chExt cx="3356689" cy="2907211"/>
            </a:xfrm>
          </p:grpSpPr>
          <p:cxnSp>
            <p:nvCxnSpPr>
              <p:cNvPr id="11" name="直接连接符 10"/>
              <p:cNvCxnSpPr/>
              <p:nvPr/>
            </p:nvCxnSpPr>
            <p:spPr>
              <a:xfrm flipH="1">
                <a:off x="4774279" y="3144360"/>
                <a:ext cx="0" cy="2436201"/>
              </a:xfrm>
              <a:prstGeom prst="line">
                <a:avLst/>
              </a:prstGeom>
              <a:ln w="15875">
                <a:solidFill>
                  <a:schemeClr val="accent2"/>
                </a:solidFill>
                <a:prstDash val="lgDash"/>
              </a:ln>
            </p:spPr>
            <p:style>
              <a:lnRef idx="1">
                <a:schemeClr val="accent1"/>
              </a:lnRef>
              <a:fillRef idx="0">
                <a:schemeClr val="accent1"/>
              </a:fillRef>
              <a:effectRef idx="0">
                <a:schemeClr val="accent1"/>
              </a:effectRef>
              <a:fontRef idx="minor">
                <a:schemeClr val="tx1"/>
              </a:fontRef>
            </p:style>
          </p:cxnSp>
          <p:sp>
            <p:nvSpPr>
              <p:cNvPr id="12" name="矩形 11"/>
              <p:cNvSpPr/>
              <p:nvPr/>
            </p:nvSpPr>
            <p:spPr>
              <a:xfrm>
                <a:off x="5075225" y="3717765"/>
                <a:ext cx="2400606" cy="12306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t" anchorCtr="0">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nSpc>
                    <a:spcPct val="120000"/>
                  </a:lnSpc>
                </a:pPr>
                <a:r>
                  <a:rPr kumimoji="1" lang="da-DK" altLang="zh-CN" sz="1200">
                    <a:solidFill>
                      <a:schemeClr val="tx1"/>
                    </a:solidFill>
                    <a:latin typeface="Calibri" pitchFamily="34" charset="0"/>
                    <a:ea typeface="宋体" pitchFamily="2" charset="-122"/>
                  </a:rPr>
                  <a:t>Commodo diam est consetetur diam duo sea sit quod eos.</a:t>
                </a:r>
                <a:endParaRPr kumimoji="1" lang="en-US" altLang="zh-CN" sz="1200" dirty="0">
                  <a:solidFill>
                    <a:schemeClr val="tx1"/>
                  </a:solidFill>
                  <a:latin typeface="Calibri" pitchFamily="34" charset="0"/>
                  <a:ea typeface="宋体" pitchFamily="2" charset="-122"/>
                </a:endParaRPr>
              </a:p>
            </p:txBody>
          </p:sp>
          <p:sp>
            <p:nvSpPr>
              <p:cNvPr id="14" name="任意多边形: 形状 13"/>
              <p:cNvSpPr/>
              <p:nvPr/>
            </p:nvSpPr>
            <p:spPr bwMode="auto">
              <a:xfrm>
                <a:off x="4420087" y="2673350"/>
                <a:ext cx="3356689" cy="1044415"/>
              </a:xfrm>
              <a:custGeom>
                <a:avLst/>
                <a:gdLst>
                  <a:gd name="T0" fmla="*/ 1122 w 1127"/>
                  <a:gd name="T1" fmla="*/ 166 h 350"/>
                  <a:gd name="T2" fmla="*/ 933 w 1127"/>
                  <a:gd name="T3" fmla="*/ 6 h 350"/>
                  <a:gd name="T4" fmla="*/ 914 w 1127"/>
                  <a:gd name="T5" fmla="*/ 14 h 350"/>
                  <a:gd name="T6" fmla="*/ 914 w 1127"/>
                  <a:gd name="T7" fmla="*/ 63 h 350"/>
                  <a:gd name="T8" fmla="*/ 112 w 1127"/>
                  <a:gd name="T9" fmla="*/ 63 h 350"/>
                  <a:gd name="T10" fmla="*/ 0 w 1127"/>
                  <a:gd name="T11" fmla="*/ 175 h 350"/>
                  <a:gd name="T12" fmla="*/ 0 w 1127"/>
                  <a:gd name="T13" fmla="*/ 175 h 350"/>
                  <a:gd name="T14" fmla="*/ 112 w 1127"/>
                  <a:gd name="T15" fmla="*/ 287 h 350"/>
                  <a:gd name="T16" fmla="*/ 914 w 1127"/>
                  <a:gd name="T17" fmla="*/ 287 h 350"/>
                  <a:gd name="T18" fmla="*/ 914 w 1127"/>
                  <a:gd name="T19" fmla="*/ 336 h 350"/>
                  <a:gd name="T20" fmla="*/ 933 w 1127"/>
                  <a:gd name="T21" fmla="*/ 344 h 350"/>
                  <a:gd name="T22" fmla="*/ 1122 w 1127"/>
                  <a:gd name="T23" fmla="*/ 184 h 350"/>
                  <a:gd name="T24" fmla="*/ 1122 w 1127"/>
                  <a:gd name="T25" fmla="*/ 166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27" h="350">
                    <a:moveTo>
                      <a:pt x="1122" y="166"/>
                    </a:moveTo>
                    <a:cubicBezTo>
                      <a:pt x="933" y="6"/>
                      <a:pt x="933" y="6"/>
                      <a:pt x="933" y="6"/>
                    </a:cubicBezTo>
                    <a:cubicBezTo>
                      <a:pt x="925" y="0"/>
                      <a:pt x="914" y="5"/>
                      <a:pt x="914" y="14"/>
                    </a:cubicBezTo>
                    <a:cubicBezTo>
                      <a:pt x="914" y="63"/>
                      <a:pt x="914" y="63"/>
                      <a:pt x="914" y="63"/>
                    </a:cubicBezTo>
                    <a:cubicBezTo>
                      <a:pt x="112" y="63"/>
                      <a:pt x="112" y="63"/>
                      <a:pt x="112" y="63"/>
                    </a:cubicBezTo>
                    <a:cubicBezTo>
                      <a:pt x="50" y="63"/>
                      <a:pt x="0" y="113"/>
                      <a:pt x="0" y="175"/>
                    </a:cubicBezTo>
                    <a:cubicBezTo>
                      <a:pt x="0" y="175"/>
                      <a:pt x="0" y="175"/>
                      <a:pt x="0" y="175"/>
                    </a:cubicBezTo>
                    <a:cubicBezTo>
                      <a:pt x="0" y="237"/>
                      <a:pt x="50" y="287"/>
                      <a:pt x="112" y="287"/>
                    </a:cubicBezTo>
                    <a:cubicBezTo>
                      <a:pt x="914" y="287"/>
                      <a:pt x="914" y="287"/>
                      <a:pt x="914" y="287"/>
                    </a:cubicBezTo>
                    <a:cubicBezTo>
                      <a:pt x="914" y="336"/>
                      <a:pt x="914" y="336"/>
                      <a:pt x="914" y="336"/>
                    </a:cubicBezTo>
                    <a:cubicBezTo>
                      <a:pt x="914" y="345"/>
                      <a:pt x="925" y="350"/>
                      <a:pt x="933" y="344"/>
                    </a:cubicBezTo>
                    <a:cubicBezTo>
                      <a:pt x="1122" y="184"/>
                      <a:pt x="1122" y="184"/>
                      <a:pt x="1122" y="184"/>
                    </a:cubicBezTo>
                    <a:cubicBezTo>
                      <a:pt x="1127" y="179"/>
                      <a:pt x="1127" y="171"/>
                      <a:pt x="1122" y="166"/>
                    </a:cubicBezTo>
                    <a:close/>
                  </a:path>
                </a:pathLst>
              </a:custGeom>
              <a:solidFill>
                <a:schemeClr val="accent2"/>
              </a:solid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rgbClr val="FFFFFF"/>
                    </a:solidFill>
                  </a:defRPr>
                </a:lvl1pPr>
                <a:lvl2pPr marL="457200" algn="l" defTabSz="914400" rtl="0" eaLnBrk="1" latinLnBrk="0" hangingPunct="1">
                  <a:defRPr sz="1800" kern="1200">
                    <a:solidFill>
                      <a:srgbClr val="FFFFFF"/>
                    </a:solidFill>
                  </a:defRPr>
                </a:lvl2pPr>
                <a:lvl3pPr marL="914400" algn="l" defTabSz="914400" rtl="0" eaLnBrk="1" latinLnBrk="0" hangingPunct="1">
                  <a:defRPr sz="1800" kern="1200">
                    <a:solidFill>
                      <a:srgbClr val="FFFFFF"/>
                    </a:solidFill>
                  </a:defRPr>
                </a:lvl3pPr>
                <a:lvl4pPr marL="1371600" algn="l" defTabSz="914400" rtl="0" eaLnBrk="1" latinLnBrk="0" hangingPunct="1">
                  <a:defRPr sz="1800" kern="1200">
                    <a:solidFill>
                      <a:srgbClr val="FFFFFF"/>
                    </a:solidFill>
                  </a:defRPr>
                </a:lvl4pPr>
                <a:lvl5pPr marL="1828800" algn="l" defTabSz="914400" rtl="0" eaLnBrk="1" latinLnBrk="0" hangingPunct="1">
                  <a:defRPr sz="1800" kern="1200">
                    <a:solidFill>
                      <a:srgbClr val="FFFFFF"/>
                    </a:solidFill>
                  </a:defRPr>
                </a:lvl5pPr>
                <a:lvl6pPr marL="2286000" algn="l" defTabSz="914400" rtl="0" eaLnBrk="1" latinLnBrk="0" hangingPunct="1">
                  <a:defRPr sz="1800" kern="1200">
                    <a:solidFill>
                      <a:srgbClr val="FFFFFF"/>
                    </a:solidFill>
                  </a:defRPr>
                </a:lvl6pPr>
                <a:lvl7pPr marL="2743200" algn="l" defTabSz="914400" rtl="0" eaLnBrk="1" latinLnBrk="0" hangingPunct="1">
                  <a:defRPr sz="1800" kern="1200">
                    <a:solidFill>
                      <a:srgbClr val="FFFFFF"/>
                    </a:solidFill>
                  </a:defRPr>
                </a:lvl7pPr>
                <a:lvl8pPr marL="3200400" algn="l" defTabSz="914400" rtl="0" eaLnBrk="1" latinLnBrk="0" hangingPunct="1">
                  <a:defRPr sz="1800" kern="1200">
                    <a:solidFill>
                      <a:srgbClr val="FFFFFF"/>
                    </a:solidFill>
                  </a:defRPr>
                </a:lvl8pPr>
                <a:lvl9pPr marL="3657600" algn="l" defTabSz="914400" rtl="0" eaLnBrk="1" latinLnBrk="0" hangingPunct="1">
                  <a:defRPr sz="1800" kern="1200">
                    <a:solidFill>
                      <a:srgbClr val="FFFFFF"/>
                    </a:solidFill>
                  </a:defRPr>
                </a:lvl9pPr>
              </a:lstStyle>
              <a:p>
                <a:pPr algn="ctr" defTabSz="913765"/>
                <a:endParaRPr lang="zh-CN" altLang="en-US" sz="1200" b="1">
                  <a:solidFill>
                    <a:schemeClr val="tx1">
                      <a:lumMod val="10000"/>
                      <a:lumOff val="90000"/>
                    </a:schemeClr>
                  </a:solidFill>
                </a:endParaRPr>
              </a:p>
            </p:txBody>
          </p:sp>
          <p:sp>
            <p:nvSpPr>
              <p:cNvPr id="15" name="椭圆 14"/>
              <p:cNvSpPr/>
              <p:nvPr/>
            </p:nvSpPr>
            <p:spPr>
              <a:xfrm>
                <a:off x="4588369" y="2992312"/>
                <a:ext cx="406490" cy="406490"/>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defPPr>
                  <a:defRPr lang="zh-CN"/>
                </a:defPPr>
                <a:lvl1pPr marL="0" algn="l" defTabSz="914400" rtl="0" eaLnBrk="1" latinLnBrk="0" hangingPunct="1">
                  <a:defRPr sz="1800" kern="1200">
                    <a:solidFill>
                      <a:srgbClr val="FFFFFF"/>
                    </a:solidFill>
                  </a:defRPr>
                </a:lvl1pPr>
                <a:lvl2pPr marL="457200" algn="l" defTabSz="914400" rtl="0" eaLnBrk="1" latinLnBrk="0" hangingPunct="1">
                  <a:defRPr sz="1800" kern="1200">
                    <a:solidFill>
                      <a:srgbClr val="FFFFFF"/>
                    </a:solidFill>
                  </a:defRPr>
                </a:lvl2pPr>
                <a:lvl3pPr marL="914400" algn="l" defTabSz="914400" rtl="0" eaLnBrk="1" latinLnBrk="0" hangingPunct="1">
                  <a:defRPr sz="1800" kern="1200">
                    <a:solidFill>
                      <a:srgbClr val="FFFFFF"/>
                    </a:solidFill>
                  </a:defRPr>
                </a:lvl3pPr>
                <a:lvl4pPr marL="1371600" algn="l" defTabSz="914400" rtl="0" eaLnBrk="1" latinLnBrk="0" hangingPunct="1">
                  <a:defRPr sz="1800" kern="1200">
                    <a:solidFill>
                      <a:srgbClr val="FFFFFF"/>
                    </a:solidFill>
                  </a:defRPr>
                </a:lvl4pPr>
                <a:lvl5pPr marL="1828800" algn="l" defTabSz="914400" rtl="0" eaLnBrk="1" latinLnBrk="0" hangingPunct="1">
                  <a:defRPr sz="1800" kern="1200">
                    <a:solidFill>
                      <a:srgbClr val="FFFFFF"/>
                    </a:solidFill>
                  </a:defRPr>
                </a:lvl5pPr>
                <a:lvl6pPr marL="2286000" algn="l" defTabSz="914400" rtl="0" eaLnBrk="1" latinLnBrk="0" hangingPunct="1">
                  <a:defRPr sz="1800" kern="1200">
                    <a:solidFill>
                      <a:srgbClr val="FFFFFF"/>
                    </a:solidFill>
                  </a:defRPr>
                </a:lvl6pPr>
                <a:lvl7pPr marL="2743200" algn="l" defTabSz="914400" rtl="0" eaLnBrk="1" latinLnBrk="0" hangingPunct="1">
                  <a:defRPr sz="1800" kern="1200">
                    <a:solidFill>
                      <a:srgbClr val="FFFFFF"/>
                    </a:solidFill>
                  </a:defRPr>
                </a:lvl7pPr>
                <a:lvl8pPr marL="3200400" algn="l" defTabSz="914400" rtl="0" eaLnBrk="1" latinLnBrk="0" hangingPunct="1">
                  <a:defRPr sz="1800" kern="1200">
                    <a:solidFill>
                      <a:srgbClr val="FFFFFF"/>
                    </a:solidFill>
                  </a:defRPr>
                </a:lvl8pPr>
                <a:lvl9pPr marL="3657600" algn="l" defTabSz="914400" rtl="0" eaLnBrk="1" latinLnBrk="0" hangingPunct="1">
                  <a:defRPr sz="1800" kern="1200">
                    <a:solidFill>
                      <a:srgbClr val="FFFFFF"/>
                    </a:solidFill>
                  </a:defRPr>
                </a:lvl9pPr>
              </a:lstStyle>
              <a:p>
                <a:pPr algn="ctr"/>
                <a:r>
                  <a:rPr lang="en-US" altLang="zh-CN" sz="1200" b="1" dirty="0">
                    <a:solidFill>
                      <a:schemeClr val="accent2"/>
                    </a:solidFill>
                    <a:latin typeface="Calibri" pitchFamily="34" charset="0"/>
                    <a:ea typeface="宋体" pitchFamily="2" charset="-122"/>
                  </a:rPr>
                  <a:t>02</a:t>
                </a:r>
                <a:endParaRPr lang="zh-CN" altLang="en-US" sz="1100" b="1" dirty="0">
                  <a:solidFill>
                    <a:schemeClr val="accent2"/>
                  </a:solidFill>
                  <a:latin typeface="Calibri" pitchFamily="34" charset="0"/>
                  <a:ea typeface="宋体" pitchFamily="2" charset="-122"/>
                </a:endParaRPr>
              </a:p>
            </p:txBody>
          </p:sp>
          <p:sp>
            <p:nvSpPr>
              <p:cNvPr id="16" name="矩形 15"/>
              <p:cNvSpPr/>
              <p:nvPr/>
            </p:nvSpPr>
            <p:spPr>
              <a:xfrm>
                <a:off x="5080062" y="2992312"/>
                <a:ext cx="2137217" cy="4224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chorCtr="0">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r>
                  <a:rPr kumimoji="1" lang="en-US" altLang="zh-CN" b="1">
                    <a:solidFill>
                      <a:srgbClr val="FFFFFF"/>
                    </a:solidFill>
                    <a:latin typeface="Calibri" pitchFamily="34" charset="0"/>
                    <a:ea typeface="宋体" pitchFamily="2" charset="-122"/>
                  </a:rPr>
                  <a:t>Click to add text</a:t>
                </a:r>
                <a:endParaRPr kumimoji="1" lang="en-US" altLang="zh-CN" b="1" dirty="0">
                  <a:solidFill>
                    <a:srgbClr val="FFFFFF"/>
                  </a:solidFill>
                  <a:latin typeface="Calibri" pitchFamily="34" charset="0"/>
                  <a:ea typeface="宋体" pitchFamily="2" charset="-122"/>
                </a:endParaRPr>
              </a:p>
            </p:txBody>
          </p:sp>
        </p:grpSp>
        <p:grpSp>
          <p:nvGrpSpPr>
            <p:cNvPr id="27" name="组合 26"/>
            <p:cNvGrpSpPr/>
            <p:nvPr/>
          </p:nvGrpSpPr>
          <p:grpSpPr>
            <a:xfrm>
              <a:off x="8179775" y="2673350"/>
              <a:ext cx="3356689" cy="2907211"/>
              <a:chOff x="8179775" y="2673350"/>
              <a:chExt cx="3356689" cy="2907211"/>
            </a:xfrm>
          </p:grpSpPr>
          <p:cxnSp>
            <p:nvCxnSpPr>
              <p:cNvPr id="18" name="直接连接符 17"/>
              <p:cNvCxnSpPr/>
              <p:nvPr/>
            </p:nvCxnSpPr>
            <p:spPr>
              <a:xfrm flipH="1">
                <a:off x="8533967" y="3144360"/>
                <a:ext cx="0" cy="2436201"/>
              </a:xfrm>
              <a:prstGeom prst="line">
                <a:avLst/>
              </a:prstGeom>
              <a:ln w="15875">
                <a:prstDash val="lgDash"/>
              </a:ln>
            </p:spPr>
            <p:style>
              <a:lnRef idx="1">
                <a:schemeClr val="accent1"/>
              </a:lnRef>
              <a:fillRef idx="0">
                <a:schemeClr val="accent1"/>
              </a:fillRef>
              <a:effectRef idx="0">
                <a:schemeClr val="accent1"/>
              </a:effectRef>
              <a:fontRef idx="minor">
                <a:schemeClr val="tx1"/>
              </a:fontRef>
            </p:style>
          </p:cxnSp>
          <p:sp>
            <p:nvSpPr>
              <p:cNvPr id="19" name="矩形 18"/>
              <p:cNvSpPr/>
              <p:nvPr/>
            </p:nvSpPr>
            <p:spPr>
              <a:xfrm>
                <a:off x="8834913" y="3717765"/>
                <a:ext cx="2400606" cy="12306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t" anchorCtr="0">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nSpc>
                    <a:spcPct val="120000"/>
                  </a:lnSpc>
                </a:pPr>
                <a:r>
                  <a:rPr kumimoji="1" lang="da-DK" altLang="zh-CN" sz="1200">
                    <a:solidFill>
                      <a:schemeClr val="tx1"/>
                    </a:solidFill>
                    <a:latin typeface="Calibri" pitchFamily="34" charset="0"/>
                    <a:ea typeface="宋体" pitchFamily="2" charset="-122"/>
                  </a:rPr>
                  <a:t>Accusam sanctus vel mazim tempor ea nihil erat ea lorem.</a:t>
                </a:r>
                <a:endParaRPr kumimoji="1" lang="en-US" altLang="zh-CN" sz="1200" dirty="0">
                  <a:solidFill>
                    <a:schemeClr val="tx1"/>
                  </a:solidFill>
                  <a:latin typeface="Calibri" pitchFamily="34" charset="0"/>
                  <a:ea typeface="宋体" pitchFamily="2" charset="-122"/>
                </a:endParaRPr>
              </a:p>
            </p:txBody>
          </p:sp>
          <p:sp>
            <p:nvSpPr>
              <p:cNvPr id="21" name="任意多边形: 形状 20"/>
              <p:cNvSpPr/>
              <p:nvPr/>
            </p:nvSpPr>
            <p:spPr bwMode="auto">
              <a:xfrm>
                <a:off x="8179775" y="2673350"/>
                <a:ext cx="3356689" cy="1044415"/>
              </a:xfrm>
              <a:custGeom>
                <a:avLst/>
                <a:gdLst>
                  <a:gd name="T0" fmla="*/ 1122 w 1127"/>
                  <a:gd name="T1" fmla="*/ 166 h 350"/>
                  <a:gd name="T2" fmla="*/ 933 w 1127"/>
                  <a:gd name="T3" fmla="*/ 6 h 350"/>
                  <a:gd name="T4" fmla="*/ 914 w 1127"/>
                  <a:gd name="T5" fmla="*/ 14 h 350"/>
                  <a:gd name="T6" fmla="*/ 914 w 1127"/>
                  <a:gd name="T7" fmla="*/ 63 h 350"/>
                  <a:gd name="T8" fmla="*/ 112 w 1127"/>
                  <a:gd name="T9" fmla="*/ 63 h 350"/>
                  <a:gd name="T10" fmla="*/ 0 w 1127"/>
                  <a:gd name="T11" fmla="*/ 175 h 350"/>
                  <a:gd name="T12" fmla="*/ 0 w 1127"/>
                  <a:gd name="T13" fmla="*/ 175 h 350"/>
                  <a:gd name="T14" fmla="*/ 112 w 1127"/>
                  <a:gd name="T15" fmla="*/ 287 h 350"/>
                  <a:gd name="T16" fmla="*/ 914 w 1127"/>
                  <a:gd name="T17" fmla="*/ 287 h 350"/>
                  <a:gd name="T18" fmla="*/ 914 w 1127"/>
                  <a:gd name="T19" fmla="*/ 336 h 350"/>
                  <a:gd name="T20" fmla="*/ 933 w 1127"/>
                  <a:gd name="T21" fmla="*/ 344 h 350"/>
                  <a:gd name="T22" fmla="*/ 1122 w 1127"/>
                  <a:gd name="T23" fmla="*/ 184 h 350"/>
                  <a:gd name="T24" fmla="*/ 1122 w 1127"/>
                  <a:gd name="T25" fmla="*/ 166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27" h="350">
                    <a:moveTo>
                      <a:pt x="1122" y="166"/>
                    </a:moveTo>
                    <a:cubicBezTo>
                      <a:pt x="933" y="6"/>
                      <a:pt x="933" y="6"/>
                      <a:pt x="933" y="6"/>
                    </a:cubicBezTo>
                    <a:cubicBezTo>
                      <a:pt x="925" y="0"/>
                      <a:pt x="914" y="5"/>
                      <a:pt x="914" y="14"/>
                    </a:cubicBezTo>
                    <a:cubicBezTo>
                      <a:pt x="914" y="63"/>
                      <a:pt x="914" y="63"/>
                      <a:pt x="914" y="63"/>
                    </a:cubicBezTo>
                    <a:cubicBezTo>
                      <a:pt x="112" y="63"/>
                      <a:pt x="112" y="63"/>
                      <a:pt x="112" y="63"/>
                    </a:cubicBezTo>
                    <a:cubicBezTo>
                      <a:pt x="50" y="63"/>
                      <a:pt x="0" y="113"/>
                      <a:pt x="0" y="175"/>
                    </a:cubicBezTo>
                    <a:cubicBezTo>
                      <a:pt x="0" y="175"/>
                      <a:pt x="0" y="175"/>
                      <a:pt x="0" y="175"/>
                    </a:cubicBezTo>
                    <a:cubicBezTo>
                      <a:pt x="0" y="237"/>
                      <a:pt x="50" y="287"/>
                      <a:pt x="112" y="287"/>
                    </a:cubicBezTo>
                    <a:cubicBezTo>
                      <a:pt x="914" y="287"/>
                      <a:pt x="914" y="287"/>
                      <a:pt x="914" y="287"/>
                    </a:cubicBezTo>
                    <a:cubicBezTo>
                      <a:pt x="914" y="336"/>
                      <a:pt x="914" y="336"/>
                      <a:pt x="914" y="336"/>
                    </a:cubicBezTo>
                    <a:cubicBezTo>
                      <a:pt x="914" y="345"/>
                      <a:pt x="925" y="350"/>
                      <a:pt x="933" y="344"/>
                    </a:cubicBezTo>
                    <a:cubicBezTo>
                      <a:pt x="1122" y="184"/>
                      <a:pt x="1122" y="184"/>
                      <a:pt x="1122" y="184"/>
                    </a:cubicBezTo>
                    <a:cubicBezTo>
                      <a:pt x="1127" y="179"/>
                      <a:pt x="1127" y="171"/>
                      <a:pt x="1122" y="166"/>
                    </a:cubicBezTo>
                    <a:close/>
                  </a:path>
                </a:pathLst>
              </a:custGeom>
              <a:solidFill>
                <a:schemeClr val="accent1"/>
              </a:solid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rgbClr val="FFFFFF"/>
                    </a:solidFill>
                  </a:defRPr>
                </a:lvl1pPr>
                <a:lvl2pPr marL="457200" algn="l" defTabSz="914400" rtl="0" eaLnBrk="1" latinLnBrk="0" hangingPunct="1">
                  <a:defRPr sz="1800" kern="1200">
                    <a:solidFill>
                      <a:srgbClr val="FFFFFF"/>
                    </a:solidFill>
                  </a:defRPr>
                </a:lvl2pPr>
                <a:lvl3pPr marL="914400" algn="l" defTabSz="914400" rtl="0" eaLnBrk="1" latinLnBrk="0" hangingPunct="1">
                  <a:defRPr sz="1800" kern="1200">
                    <a:solidFill>
                      <a:srgbClr val="FFFFFF"/>
                    </a:solidFill>
                  </a:defRPr>
                </a:lvl3pPr>
                <a:lvl4pPr marL="1371600" algn="l" defTabSz="914400" rtl="0" eaLnBrk="1" latinLnBrk="0" hangingPunct="1">
                  <a:defRPr sz="1800" kern="1200">
                    <a:solidFill>
                      <a:srgbClr val="FFFFFF"/>
                    </a:solidFill>
                  </a:defRPr>
                </a:lvl4pPr>
                <a:lvl5pPr marL="1828800" algn="l" defTabSz="914400" rtl="0" eaLnBrk="1" latinLnBrk="0" hangingPunct="1">
                  <a:defRPr sz="1800" kern="1200">
                    <a:solidFill>
                      <a:srgbClr val="FFFFFF"/>
                    </a:solidFill>
                  </a:defRPr>
                </a:lvl5pPr>
                <a:lvl6pPr marL="2286000" algn="l" defTabSz="914400" rtl="0" eaLnBrk="1" latinLnBrk="0" hangingPunct="1">
                  <a:defRPr sz="1800" kern="1200">
                    <a:solidFill>
                      <a:srgbClr val="FFFFFF"/>
                    </a:solidFill>
                  </a:defRPr>
                </a:lvl6pPr>
                <a:lvl7pPr marL="2743200" algn="l" defTabSz="914400" rtl="0" eaLnBrk="1" latinLnBrk="0" hangingPunct="1">
                  <a:defRPr sz="1800" kern="1200">
                    <a:solidFill>
                      <a:srgbClr val="FFFFFF"/>
                    </a:solidFill>
                  </a:defRPr>
                </a:lvl7pPr>
                <a:lvl8pPr marL="3200400" algn="l" defTabSz="914400" rtl="0" eaLnBrk="1" latinLnBrk="0" hangingPunct="1">
                  <a:defRPr sz="1800" kern="1200">
                    <a:solidFill>
                      <a:srgbClr val="FFFFFF"/>
                    </a:solidFill>
                  </a:defRPr>
                </a:lvl8pPr>
                <a:lvl9pPr marL="3657600" algn="l" defTabSz="914400" rtl="0" eaLnBrk="1" latinLnBrk="0" hangingPunct="1">
                  <a:defRPr sz="1800" kern="1200">
                    <a:solidFill>
                      <a:srgbClr val="FFFFFF"/>
                    </a:solidFill>
                  </a:defRPr>
                </a:lvl9pPr>
              </a:lstStyle>
              <a:p>
                <a:pPr algn="ctr" defTabSz="913765"/>
                <a:endParaRPr lang="zh-CN" altLang="en-US" sz="1200" b="1">
                  <a:solidFill>
                    <a:schemeClr val="tx1">
                      <a:lumMod val="10000"/>
                      <a:lumOff val="90000"/>
                    </a:schemeClr>
                  </a:solidFill>
                </a:endParaRPr>
              </a:p>
            </p:txBody>
          </p:sp>
          <p:sp>
            <p:nvSpPr>
              <p:cNvPr id="22" name="椭圆 21"/>
              <p:cNvSpPr/>
              <p:nvPr/>
            </p:nvSpPr>
            <p:spPr>
              <a:xfrm>
                <a:off x="8348057" y="2992312"/>
                <a:ext cx="406490" cy="406490"/>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defPPr>
                  <a:defRPr lang="zh-CN"/>
                </a:defPPr>
                <a:lvl1pPr marL="0" algn="l" defTabSz="914400" rtl="0" eaLnBrk="1" latinLnBrk="0" hangingPunct="1">
                  <a:defRPr sz="1800" kern="1200">
                    <a:solidFill>
                      <a:srgbClr val="FFFFFF"/>
                    </a:solidFill>
                  </a:defRPr>
                </a:lvl1pPr>
                <a:lvl2pPr marL="457200" algn="l" defTabSz="914400" rtl="0" eaLnBrk="1" latinLnBrk="0" hangingPunct="1">
                  <a:defRPr sz="1800" kern="1200">
                    <a:solidFill>
                      <a:srgbClr val="FFFFFF"/>
                    </a:solidFill>
                  </a:defRPr>
                </a:lvl2pPr>
                <a:lvl3pPr marL="914400" algn="l" defTabSz="914400" rtl="0" eaLnBrk="1" latinLnBrk="0" hangingPunct="1">
                  <a:defRPr sz="1800" kern="1200">
                    <a:solidFill>
                      <a:srgbClr val="FFFFFF"/>
                    </a:solidFill>
                  </a:defRPr>
                </a:lvl3pPr>
                <a:lvl4pPr marL="1371600" algn="l" defTabSz="914400" rtl="0" eaLnBrk="1" latinLnBrk="0" hangingPunct="1">
                  <a:defRPr sz="1800" kern="1200">
                    <a:solidFill>
                      <a:srgbClr val="FFFFFF"/>
                    </a:solidFill>
                  </a:defRPr>
                </a:lvl4pPr>
                <a:lvl5pPr marL="1828800" algn="l" defTabSz="914400" rtl="0" eaLnBrk="1" latinLnBrk="0" hangingPunct="1">
                  <a:defRPr sz="1800" kern="1200">
                    <a:solidFill>
                      <a:srgbClr val="FFFFFF"/>
                    </a:solidFill>
                  </a:defRPr>
                </a:lvl5pPr>
                <a:lvl6pPr marL="2286000" algn="l" defTabSz="914400" rtl="0" eaLnBrk="1" latinLnBrk="0" hangingPunct="1">
                  <a:defRPr sz="1800" kern="1200">
                    <a:solidFill>
                      <a:srgbClr val="FFFFFF"/>
                    </a:solidFill>
                  </a:defRPr>
                </a:lvl6pPr>
                <a:lvl7pPr marL="2743200" algn="l" defTabSz="914400" rtl="0" eaLnBrk="1" latinLnBrk="0" hangingPunct="1">
                  <a:defRPr sz="1800" kern="1200">
                    <a:solidFill>
                      <a:srgbClr val="FFFFFF"/>
                    </a:solidFill>
                  </a:defRPr>
                </a:lvl7pPr>
                <a:lvl8pPr marL="3200400" algn="l" defTabSz="914400" rtl="0" eaLnBrk="1" latinLnBrk="0" hangingPunct="1">
                  <a:defRPr sz="1800" kern="1200">
                    <a:solidFill>
                      <a:srgbClr val="FFFFFF"/>
                    </a:solidFill>
                  </a:defRPr>
                </a:lvl8pPr>
                <a:lvl9pPr marL="3657600" algn="l" defTabSz="914400" rtl="0" eaLnBrk="1" latinLnBrk="0" hangingPunct="1">
                  <a:defRPr sz="1800" kern="1200">
                    <a:solidFill>
                      <a:srgbClr val="FFFFFF"/>
                    </a:solidFill>
                  </a:defRPr>
                </a:lvl9pPr>
              </a:lstStyle>
              <a:p>
                <a:pPr algn="ctr"/>
                <a:r>
                  <a:rPr lang="en-US" altLang="zh-CN" sz="1200" b="1" dirty="0">
                    <a:solidFill>
                      <a:schemeClr val="accent1"/>
                    </a:solidFill>
                    <a:latin typeface="Calibri" pitchFamily="34" charset="0"/>
                    <a:ea typeface="宋体" pitchFamily="2" charset="-122"/>
                  </a:rPr>
                  <a:t>03</a:t>
                </a:r>
                <a:endParaRPr lang="zh-CN" altLang="en-US" sz="1100" b="1" dirty="0">
                  <a:solidFill>
                    <a:schemeClr val="accent1"/>
                  </a:solidFill>
                  <a:latin typeface="Calibri" pitchFamily="34" charset="0"/>
                  <a:ea typeface="宋体" pitchFamily="2" charset="-122"/>
                </a:endParaRPr>
              </a:p>
            </p:txBody>
          </p:sp>
          <p:sp>
            <p:nvSpPr>
              <p:cNvPr id="23" name="矩形 22"/>
              <p:cNvSpPr/>
              <p:nvPr/>
            </p:nvSpPr>
            <p:spPr>
              <a:xfrm>
                <a:off x="8839750" y="2992312"/>
                <a:ext cx="2137217" cy="4224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chorCtr="0">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r>
                  <a:rPr kumimoji="1" lang="en-US" altLang="zh-CN" b="1">
                    <a:solidFill>
                      <a:srgbClr val="FFFFFF"/>
                    </a:solidFill>
                    <a:latin typeface="Calibri" pitchFamily="34" charset="0"/>
                    <a:ea typeface="宋体" pitchFamily="2" charset="-122"/>
                  </a:rPr>
                  <a:t>Click to add text</a:t>
                </a:r>
                <a:endParaRPr kumimoji="1" lang="en-US" altLang="zh-CN" b="1" dirty="0">
                  <a:solidFill>
                    <a:srgbClr val="FFFFFF"/>
                  </a:solidFill>
                  <a:latin typeface="Calibri" pitchFamily="34" charset="0"/>
                  <a:ea typeface="宋体" pitchFamily="2" charset="-122"/>
                </a:endParaRPr>
              </a:p>
            </p:txBody>
          </p:sp>
        </p:grpSp>
      </p:grpSp>
    </p:spTree>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1332075" y="1157505"/>
            <a:ext cx="9740520" cy="4976595"/>
            <a:chOff x="1332075" y="1157505"/>
            <a:chExt cx="9740520" cy="4976595"/>
          </a:xfrm>
        </p:grpSpPr>
        <p:sp>
          <p:nvSpPr>
            <p:cNvPr id="437" name="文本框 436"/>
            <p:cNvSpPr txBox="1"/>
            <p:nvPr/>
          </p:nvSpPr>
          <p:spPr>
            <a:xfrm>
              <a:off x="1837991" y="1157505"/>
              <a:ext cx="8516018" cy="600400"/>
            </a:xfrm>
            <a:prstGeom prst="rect">
              <a:avLst/>
            </a:prstGeom>
            <a:noFill/>
          </p:spPr>
          <p:txBody>
            <a:bodyPr wrap="square" rtlCol="0" anchor="b" anchorCtr="0">
              <a:normAutofit/>
            </a:bodyPr>
            <a:lstStyle/>
            <a:p>
              <a:pPr algn="ctr" defTabSz="913765">
                <a:buSzPct val="25000"/>
                <a:defRPr/>
              </a:pPr>
              <a:r>
                <a:rPr lang="en-US" altLang="zh-CN" sz="2400" b="1">
                  <a:latin typeface="Calibri" pitchFamily="34" charset="0"/>
                  <a:ea typeface="宋体" pitchFamily="2" charset="-122"/>
                </a:rPr>
                <a:t>Unified fonts make reading more fluent</a:t>
              </a:r>
              <a:endParaRPr lang="en-US" altLang="zh-CN" sz="2400" b="1" dirty="0">
                <a:solidFill>
                  <a:schemeClr val="accent1"/>
                </a:solidFill>
                <a:latin typeface="Calibri" pitchFamily="34" charset="0"/>
                <a:ea typeface="宋体" pitchFamily="2" charset="-122"/>
              </a:endParaRPr>
            </a:p>
          </p:txBody>
        </p:sp>
        <p:sp>
          <p:nvSpPr>
            <p:cNvPr id="472" name="任意多边形: 形状 471"/>
            <p:cNvSpPr/>
            <p:nvPr/>
          </p:nvSpPr>
          <p:spPr>
            <a:xfrm>
              <a:off x="4196216" y="3128926"/>
              <a:ext cx="1372447" cy="341564"/>
            </a:xfrm>
            <a:custGeom>
              <a:avLst/>
              <a:gdLst>
                <a:gd name="connsiteX0" fmla="*/ 0 w 1161573"/>
                <a:gd name="connsiteY0" fmla="*/ 289084 h 289083"/>
                <a:gd name="connsiteX1" fmla="*/ 710184 w 1161573"/>
                <a:gd name="connsiteY1" fmla="*/ 0 h 289083"/>
                <a:gd name="connsiteX2" fmla="*/ 1161574 w 1161573"/>
                <a:gd name="connsiteY2" fmla="*/ 105442 h 289083"/>
              </a:gdLst>
              <a:ahLst/>
              <a:cxnLst>
                <a:cxn ang="0">
                  <a:pos x="connsiteX0" y="connsiteY0"/>
                </a:cxn>
                <a:cxn ang="0">
                  <a:pos x="connsiteX1" y="connsiteY1"/>
                </a:cxn>
                <a:cxn ang="0">
                  <a:pos x="connsiteX2" y="connsiteY2"/>
                </a:cxn>
              </a:cxnLst>
              <a:rect l="l" t="t" r="r" b="b"/>
              <a:pathLst>
                <a:path w="1161573" h="289083">
                  <a:moveTo>
                    <a:pt x="0" y="289084"/>
                  </a:moveTo>
                  <a:cubicBezTo>
                    <a:pt x="183261" y="110204"/>
                    <a:pt x="433864" y="0"/>
                    <a:pt x="710184" y="0"/>
                  </a:cubicBezTo>
                  <a:cubicBezTo>
                    <a:pt x="872300" y="0"/>
                    <a:pt x="1025557" y="37909"/>
                    <a:pt x="1161574" y="105442"/>
                  </a:cubicBezTo>
                </a:path>
              </a:pathLst>
            </a:custGeom>
            <a:noFill/>
            <a:ln w="19050" cap="rnd">
              <a:solidFill>
                <a:schemeClr val="accent1">
                  <a:alpha val="50000"/>
                </a:schemeClr>
              </a:solidFill>
              <a:prstDash val="sysDot"/>
              <a:round/>
              <a:tailEnd type="triangle"/>
            </a:ln>
          </p:spPr>
          <p:txBody>
            <a:bodyPr rtlCol="0" anchor="ctr"/>
            <a:lstStyle/>
            <a:p>
              <a:endParaRPr lang="zh-CN" altLang="en-US"/>
            </a:p>
          </p:txBody>
        </p:sp>
        <p:sp>
          <p:nvSpPr>
            <p:cNvPr id="475" name="任意多边形: 形状 474"/>
            <p:cNvSpPr/>
            <p:nvPr/>
          </p:nvSpPr>
          <p:spPr>
            <a:xfrm>
              <a:off x="5908709" y="2437023"/>
              <a:ext cx="1596857" cy="761458"/>
            </a:xfrm>
            <a:custGeom>
              <a:avLst/>
              <a:gdLst>
                <a:gd name="connsiteX0" fmla="*/ 0 w 1351502"/>
                <a:gd name="connsiteY0" fmla="*/ 644462 h 644461"/>
                <a:gd name="connsiteX1" fmla="*/ 866870 w 1351502"/>
                <a:gd name="connsiteY1" fmla="*/ 0 h 644461"/>
                <a:gd name="connsiteX2" fmla="*/ 1351502 w 1351502"/>
                <a:gd name="connsiteY2" fmla="*/ 140589 h 644461"/>
              </a:gdLst>
              <a:ahLst/>
              <a:cxnLst>
                <a:cxn ang="0">
                  <a:pos x="connsiteX0" y="connsiteY0"/>
                </a:cxn>
                <a:cxn ang="0">
                  <a:pos x="connsiteX1" y="connsiteY1"/>
                </a:cxn>
                <a:cxn ang="0">
                  <a:pos x="connsiteX2" y="connsiteY2"/>
                </a:cxn>
              </a:cxnLst>
              <a:rect l="l" t="t" r="r" b="b"/>
              <a:pathLst>
                <a:path w="1351502" h="644461">
                  <a:moveTo>
                    <a:pt x="0" y="644462"/>
                  </a:moveTo>
                  <a:cubicBezTo>
                    <a:pt x="111823" y="271653"/>
                    <a:pt x="457581" y="0"/>
                    <a:pt x="866870" y="0"/>
                  </a:cubicBezTo>
                  <a:cubicBezTo>
                    <a:pt x="1045178" y="0"/>
                    <a:pt x="1211389" y="51530"/>
                    <a:pt x="1351502" y="140589"/>
                  </a:cubicBezTo>
                </a:path>
              </a:pathLst>
            </a:custGeom>
            <a:noFill/>
            <a:ln w="19050" cap="rnd">
              <a:solidFill>
                <a:schemeClr val="accent1">
                  <a:alpha val="50000"/>
                </a:schemeClr>
              </a:solidFill>
              <a:prstDash val="sysDot"/>
              <a:round/>
              <a:tailEnd type="triangle"/>
            </a:ln>
          </p:spPr>
          <p:txBody>
            <a:bodyPr rtlCol="0" anchor="ctr"/>
            <a:lstStyle/>
            <a:p>
              <a:endParaRPr lang="zh-CN" altLang="en-US"/>
            </a:p>
          </p:txBody>
        </p:sp>
        <p:sp>
          <p:nvSpPr>
            <p:cNvPr id="478" name="任意多边形: 形状 477"/>
            <p:cNvSpPr/>
            <p:nvPr/>
          </p:nvSpPr>
          <p:spPr>
            <a:xfrm>
              <a:off x="7743585" y="1895624"/>
              <a:ext cx="1485327" cy="688193"/>
            </a:xfrm>
            <a:custGeom>
              <a:avLst/>
              <a:gdLst>
                <a:gd name="connsiteX0" fmla="*/ 0 w 1257109"/>
                <a:gd name="connsiteY0" fmla="*/ 582454 h 582453"/>
                <a:gd name="connsiteX1" fmla="*/ 830770 w 1257109"/>
                <a:gd name="connsiteY1" fmla="*/ 0 h 582453"/>
                <a:gd name="connsiteX2" fmla="*/ 1257109 w 1257109"/>
                <a:gd name="connsiteY2" fmla="*/ 109538 h 582453"/>
              </a:gdLst>
              <a:ahLst/>
              <a:cxnLst>
                <a:cxn ang="0">
                  <a:pos x="connsiteX0" y="connsiteY0"/>
                </a:cxn>
                <a:cxn ang="0">
                  <a:pos x="connsiteX1" y="connsiteY1"/>
                </a:cxn>
                <a:cxn ang="0">
                  <a:pos x="connsiteX2" y="connsiteY2"/>
                </a:cxn>
              </a:cxnLst>
              <a:rect l="l" t="t" r="r" b="b"/>
              <a:pathLst>
                <a:path w="1257109" h="582453">
                  <a:moveTo>
                    <a:pt x="0" y="582454"/>
                  </a:moveTo>
                  <a:cubicBezTo>
                    <a:pt x="123063" y="242792"/>
                    <a:pt x="448627" y="0"/>
                    <a:pt x="830770" y="0"/>
                  </a:cubicBezTo>
                  <a:cubicBezTo>
                    <a:pt x="985361" y="0"/>
                    <a:pt x="1130712" y="39719"/>
                    <a:pt x="1257109" y="109538"/>
                  </a:cubicBezTo>
                </a:path>
              </a:pathLst>
            </a:custGeom>
            <a:noFill/>
            <a:ln w="19050" cap="rnd">
              <a:solidFill>
                <a:schemeClr val="accent1">
                  <a:alpha val="50000"/>
                </a:schemeClr>
              </a:solidFill>
              <a:prstDash val="sysDot"/>
              <a:round/>
              <a:tailEnd type="triangle"/>
            </a:ln>
          </p:spPr>
          <p:txBody>
            <a:bodyPr rtlCol="0" anchor="ctr"/>
            <a:lstStyle/>
            <a:p>
              <a:endParaRPr lang="zh-CN" altLang="en-US" dirty="0"/>
            </a:p>
          </p:txBody>
        </p:sp>
        <p:grpSp>
          <p:nvGrpSpPr>
            <p:cNvPr id="6" name="组合 5"/>
            <p:cNvGrpSpPr/>
            <p:nvPr/>
          </p:nvGrpSpPr>
          <p:grpSpPr>
            <a:xfrm>
              <a:off x="1832278" y="2773454"/>
              <a:ext cx="1802809" cy="1838295"/>
              <a:chOff x="1832278" y="2773454"/>
              <a:chExt cx="1802809" cy="1838295"/>
            </a:xfrm>
          </p:grpSpPr>
          <p:sp>
            <p:nvSpPr>
              <p:cNvPr id="524" name="任意多边形: 形状 523"/>
              <p:cNvSpPr/>
              <p:nvPr/>
            </p:nvSpPr>
            <p:spPr bwMode="auto">
              <a:xfrm>
                <a:off x="2145758" y="3470208"/>
                <a:ext cx="636425" cy="1058735"/>
              </a:xfrm>
              <a:custGeom>
                <a:avLst/>
                <a:gdLst>
                  <a:gd name="T0" fmla="*/ 126 w 183"/>
                  <a:gd name="T1" fmla="*/ 0 h 304"/>
                  <a:gd name="T2" fmla="*/ 65 w 183"/>
                  <a:gd name="T3" fmla="*/ 0 h 304"/>
                  <a:gd name="T4" fmla="*/ 66 w 183"/>
                  <a:gd name="T5" fmla="*/ 4 h 304"/>
                  <a:gd name="T6" fmla="*/ 43 w 183"/>
                  <a:gd name="T7" fmla="*/ 4 h 304"/>
                  <a:gd name="T8" fmla="*/ 23 w 183"/>
                  <a:gd name="T9" fmla="*/ 154 h 304"/>
                  <a:gd name="T10" fmla="*/ 0 w 183"/>
                  <a:gd name="T11" fmla="*/ 304 h 304"/>
                  <a:gd name="T12" fmla="*/ 20 w 183"/>
                  <a:gd name="T13" fmla="*/ 304 h 304"/>
                  <a:gd name="T14" fmla="*/ 90 w 183"/>
                  <a:gd name="T15" fmla="*/ 73 h 304"/>
                  <a:gd name="T16" fmla="*/ 143 w 183"/>
                  <a:gd name="T17" fmla="*/ 131 h 304"/>
                  <a:gd name="T18" fmla="*/ 127 w 183"/>
                  <a:gd name="T19" fmla="*/ 259 h 304"/>
                  <a:gd name="T20" fmla="*/ 148 w 183"/>
                  <a:gd name="T21" fmla="*/ 259 h 304"/>
                  <a:gd name="T22" fmla="*/ 183 w 183"/>
                  <a:gd name="T23" fmla="*/ 133 h 304"/>
                  <a:gd name="T24" fmla="*/ 126 w 183"/>
                  <a:gd name="T25" fmla="*/ 0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3" h="304">
                    <a:moveTo>
                      <a:pt x="126" y="0"/>
                    </a:moveTo>
                    <a:cubicBezTo>
                      <a:pt x="65" y="0"/>
                      <a:pt x="65" y="0"/>
                      <a:pt x="65" y="0"/>
                    </a:cubicBezTo>
                    <a:cubicBezTo>
                      <a:pt x="66" y="4"/>
                      <a:pt x="66" y="4"/>
                      <a:pt x="66" y="4"/>
                    </a:cubicBezTo>
                    <a:cubicBezTo>
                      <a:pt x="43" y="4"/>
                      <a:pt x="43" y="4"/>
                      <a:pt x="43" y="4"/>
                    </a:cubicBezTo>
                    <a:cubicBezTo>
                      <a:pt x="23" y="154"/>
                      <a:pt x="23" y="154"/>
                      <a:pt x="23" y="154"/>
                    </a:cubicBezTo>
                    <a:cubicBezTo>
                      <a:pt x="5" y="178"/>
                      <a:pt x="0" y="304"/>
                      <a:pt x="0" y="304"/>
                    </a:cubicBezTo>
                    <a:cubicBezTo>
                      <a:pt x="20" y="304"/>
                      <a:pt x="20" y="304"/>
                      <a:pt x="20" y="304"/>
                    </a:cubicBezTo>
                    <a:cubicBezTo>
                      <a:pt x="90" y="73"/>
                      <a:pt x="90" y="73"/>
                      <a:pt x="90" y="73"/>
                    </a:cubicBezTo>
                    <a:cubicBezTo>
                      <a:pt x="143" y="131"/>
                      <a:pt x="143" y="131"/>
                      <a:pt x="143" y="131"/>
                    </a:cubicBezTo>
                    <a:cubicBezTo>
                      <a:pt x="140" y="161"/>
                      <a:pt x="127" y="259"/>
                      <a:pt x="127" y="259"/>
                    </a:cubicBezTo>
                    <a:cubicBezTo>
                      <a:pt x="148" y="259"/>
                      <a:pt x="148" y="259"/>
                      <a:pt x="148" y="259"/>
                    </a:cubicBezTo>
                    <a:cubicBezTo>
                      <a:pt x="183" y="133"/>
                      <a:pt x="183" y="133"/>
                      <a:pt x="183" y="133"/>
                    </a:cubicBezTo>
                    <a:lnTo>
                      <a:pt x="126" y="0"/>
                    </a:lnTo>
                    <a:close/>
                  </a:path>
                </a:pathLst>
              </a:custGeom>
              <a:solidFill>
                <a:srgbClr val="422685"/>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25" name="任意多边形: 形状 524"/>
              <p:cNvSpPr/>
              <p:nvPr/>
            </p:nvSpPr>
            <p:spPr bwMode="auto">
              <a:xfrm>
                <a:off x="2145758" y="3065642"/>
                <a:ext cx="580827" cy="574911"/>
              </a:xfrm>
              <a:custGeom>
                <a:avLst/>
                <a:gdLst>
                  <a:gd name="T0" fmla="*/ 131 w 167"/>
                  <a:gd name="T1" fmla="*/ 52 h 165"/>
                  <a:gd name="T2" fmla="*/ 167 w 167"/>
                  <a:gd name="T3" fmla="*/ 50 h 165"/>
                  <a:gd name="T4" fmla="*/ 164 w 167"/>
                  <a:gd name="T5" fmla="*/ 41 h 165"/>
                  <a:gd name="T6" fmla="*/ 137 w 167"/>
                  <a:gd name="T7" fmla="*/ 16 h 165"/>
                  <a:gd name="T8" fmla="*/ 124 w 167"/>
                  <a:gd name="T9" fmla="*/ 7 h 165"/>
                  <a:gd name="T10" fmla="*/ 31 w 167"/>
                  <a:gd name="T11" fmla="*/ 16 h 165"/>
                  <a:gd name="T12" fmla="*/ 0 w 167"/>
                  <a:gd name="T13" fmla="*/ 82 h 165"/>
                  <a:gd name="T14" fmla="*/ 37 w 167"/>
                  <a:gd name="T15" fmla="*/ 96 h 165"/>
                  <a:gd name="T16" fmla="*/ 39 w 167"/>
                  <a:gd name="T17" fmla="*/ 91 h 165"/>
                  <a:gd name="T18" fmla="*/ 37 w 167"/>
                  <a:gd name="T19" fmla="*/ 161 h 165"/>
                  <a:gd name="T20" fmla="*/ 142 w 167"/>
                  <a:gd name="T21" fmla="*/ 151 h 165"/>
                  <a:gd name="T22" fmla="*/ 131 w 167"/>
                  <a:gd name="T23" fmla="*/ 52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7" h="165">
                    <a:moveTo>
                      <a:pt x="131" y="52"/>
                    </a:moveTo>
                    <a:cubicBezTo>
                      <a:pt x="167" y="50"/>
                      <a:pt x="167" y="50"/>
                      <a:pt x="167" y="50"/>
                    </a:cubicBezTo>
                    <a:cubicBezTo>
                      <a:pt x="166" y="33"/>
                      <a:pt x="164" y="41"/>
                      <a:pt x="164" y="41"/>
                    </a:cubicBezTo>
                    <a:cubicBezTo>
                      <a:pt x="137" y="16"/>
                      <a:pt x="137" y="16"/>
                      <a:pt x="137" y="16"/>
                    </a:cubicBezTo>
                    <a:cubicBezTo>
                      <a:pt x="131" y="9"/>
                      <a:pt x="128" y="7"/>
                      <a:pt x="124" y="7"/>
                    </a:cubicBezTo>
                    <a:cubicBezTo>
                      <a:pt x="100" y="7"/>
                      <a:pt x="53" y="0"/>
                      <a:pt x="31" y="16"/>
                    </a:cubicBezTo>
                    <a:cubicBezTo>
                      <a:pt x="19" y="26"/>
                      <a:pt x="0" y="82"/>
                      <a:pt x="0" y="82"/>
                    </a:cubicBezTo>
                    <a:cubicBezTo>
                      <a:pt x="37" y="96"/>
                      <a:pt x="37" y="96"/>
                      <a:pt x="37" y="96"/>
                    </a:cubicBezTo>
                    <a:cubicBezTo>
                      <a:pt x="39" y="91"/>
                      <a:pt x="39" y="91"/>
                      <a:pt x="39" y="91"/>
                    </a:cubicBezTo>
                    <a:cubicBezTo>
                      <a:pt x="38" y="117"/>
                      <a:pt x="37" y="161"/>
                      <a:pt x="37" y="161"/>
                    </a:cubicBezTo>
                    <a:cubicBezTo>
                      <a:pt x="97" y="165"/>
                      <a:pt x="142" y="151"/>
                      <a:pt x="142" y="151"/>
                    </a:cubicBezTo>
                    <a:cubicBezTo>
                      <a:pt x="137" y="129"/>
                      <a:pt x="131" y="90"/>
                      <a:pt x="131" y="52"/>
                    </a:cubicBezTo>
                  </a:path>
                </a:pathLst>
              </a:custGeom>
              <a:solidFill>
                <a:srgbClr val="7B6FE5"/>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26" name="任意多边形: 形状 525"/>
              <p:cNvSpPr/>
              <p:nvPr/>
            </p:nvSpPr>
            <p:spPr bwMode="auto">
              <a:xfrm>
                <a:off x="1832278" y="2818406"/>
                <a:ext cx="1802809" cy="1184127"/>
              </a:xfrm>
              <a:custGeom>
                <a:avLst/>
                <a:gdLst>
                  <a:gd name="T0" fmla="*/ 1524 w 1524"/>
                  <a:gd name="T1" fmla="*/ 148 h 1001"/>
                  <a:gd name="T2" fmla="*/ 935 w 1524"/>
                  <a:gd name="T3" fmla="*/ 0 h 1001"/>
                  <a:gd name="T4" fmla="*/ 1015 w 1524"/>
                  <a:gd name="T5" fmla="*/ 168 h 1001"/>
                  <a:gd name="T6" fmla="*/ 0 w 1524"/>
                  <a:gd name="T7" fmla="*/ 645 h 1001"/>
                  <a:gd name="T8" fmla="*/ 167 w 1524"/>
                  <a:gd name="T9" fmla="*/ 1001 h 1001"/>
                  <a:gd name="T10" fmla="*/ 1183 w 1524"/>
                  <a:gd name="T11" fmla="*/ 524 h 1001"/>
                  <a:gd name="T12" fmla="*/ 1262 w 1524"/>
                  <a:gd name="T13" fmla="*/ 695 h 1001"/>
                  <a:gd name="T14" fmla="*/ 1524 w 1524"/>
                  <a:gd name="T15" fmla="*/ 148 h 10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24" h="1001">
                    <a:moveTo>
                      <a:pt x="1524" y="148"/>
                    </a:moveTo>
                    <a:lnTo>
                      <a:pt x="935" y="0"/>
                    </a:lnTo>
                    <a:lnTo>
                      <a:pt x="1015" y="168"/>
                    </a:lnTo>
                    <a:lnTo>
                      <a:pt x="0" y="645"/>
                    </a:lnTo>
                    <a:lnTo>
                      <a:pt x="167" y="1001"/>
                    </a:lnTo>
                    <a:lnTo>
                      <a:pt x="1183" y="524"/>
                    </a:lnTo>
                    <a:lnTo>
                      <a:pt x="1262" y="695"/>
                    </a:lnTo>
                    <a:lnTo>
                      <a:pt x="1524" y="148"/>
                    </a:lnTo>
                    <a:close/>
                  </a:path>
                </a:pathLst>
              </a:custGeom>
              <a:solidFill>
                <a:srgbClr val="FF524D"/>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27" name="任意多边形: 形状 526"/>
              <p:cNvSpPr/>
              <p:nvPr/>
            </p:nvSpPr>
            <p:spPr bwMode="auto">
              <a:xfrm>
                <a:off x="1832278" y="2818406"/>
                <a:ext cx="1802809" cy="1184127"/>
              </a:xfrm>
              <a:custGeom>
                <a:avLst/>
                <a:gdLst>
                  <a:gd name="T0" fmla="*/ 1524 w 1524"/>
                  <a:gd name="T1" fmla="*/ 148 h 1001"/>
                  <a:gd name="T2" fmla="*/ 935 w 1524"/>
                  <a:gd name="T3" fmla="*/ 0 h 1001"/>
                  <a:gd name="T4" fmla="*/ 1015 w 1524"/>
                  <a:gd name="T5" fmla="*/ 168 h 1001"/>
                  <a:gd name="T6" fmla="*/ 0 w 1524"/>
                  <a:gd name="T7" fmla="*/ 645 h 1001"/>
                  <a:gd name="T8" fmla="*/ 167 w 1524"/>
                  <a:gd name="T9" fmla="*/ 1001 h 1001"/>
                  <a:gd name="T10" fmla="*/ 1183 w 1524"/>
                  <a:gd name="T11" fmla="*/ 524 h 1001"/>
                  <a:gd name="T12" fmla="*/ 1262 w 1524"/>
                  <a:gd name="T13" fmla="*/ 695 h 1001"/>
                  <a:gd name="T14" fmla="*/ 1524 w 1524"/>
                  <a:gd name="T15" fmla="*/ 148 h 10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24" h="1001">
                    <a:moveTo>
                      <a:pt x="1524" y="148"/>
                    </a:moveTo>
                    <a:lnTo>
                      <a:pt x="935" y="0"/>
                    </a:lnTo>
                    <a:lnTo>
                      <a:pt x="1015" y="168"/>
                    </a:lnTo>
                    <a:lnTo>
                      <a:pt x="0" y="645"/>
                    </a:lnTo>
                    <a:lnTo>
                      <a:pt x="167" y="1001"/>
                    </a:lnTo>
                    <a:lnTo>
                      <a:pt x="1183" y="524"/>
                    </a:lnTo>
                    <a:lnTo>
                      <a:pt x="1262" y="695"/>
                    </a:lnTo>
                    <a:lnTo>
                      <a:pt x="1524" y="14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28" name="任意多边形: 形状 527"/>
              <p:cNvSpPr/>
              <p:nvPr/>
            </p:nvSpPr>
            <p:spPr bwMode="auto">
              <a:xfrm>
                <a:off x="2117368" y="4528943"/>
                <a:ext cx="209382" cy="82806"/>
              </a:xfrm>
              <a:custGeom>
                <a:avLst/>
                <a:gdLst>
                  <a:gd name="T0" fmla="*/ 8 w 60"/>
                  <a:gd name="T1" fmla="*/ 0 h 24"/>
                  <a:gd name="T2" fmla="*/ 0 w 60"/>
                  <a:gd name="T3" fmla="*/ 24 h 24"/>
                  <a:gd name="T4" fmla="*/ 60 w 60"/>
                  <a:gd name="T5" fmla="*/ 24 h 24"/>
                  <a:gd name="T6" fmla="*/ 26 w 60"/>
                  <a:gd name="T7" fmla="*/ 6 h 24"/>
                  <a:gd name="T8" fmla="*/ 28 w 60"/>
                  <a:gd name="T9" fmla="*/ 0 h 24"/>
                  <a:gd name="T10" fmla="*/ 8 w 60"/>
                  <a:gd name="T11" fmla="*/ 0 h 24"/>
                </a:gdLst>
                <a:ahLst/>
                <a:cxnLst>
                  <a:cxn ang="0">
                    <a:pos x="T0" y="T1"/>
                  </a:cxn>
                  <a:cxn ang="0">
                    <a:pos x="T2" y="T3"/>
                  </a:cxn>
                  <a:cxn ang="0">
                    <a:pos x="T4" y="T5"/>
                  </a:cxn>
                  <a:cxn ang="0">
                    <a:pos x="T6" y="T7"/>
                  </a:cxn>
                  <a:cxn ang="0">
                    <a:pos x="T8" y="T9"/>
                  </a:cxn>
                  <a:cxn ang="0">
                    <a:pos x="T10" y="T11"/>
                  </a:cxn>
                </a:cxnLst>
                <a:rect l="0" t="0" r="r" b="b"/>
                <a:pathLst>
                  <a:path w="60" h="24">
                    <a:moveTo>
                      <a:pt x="8" y="0"/>
                    </a:moveTo>
                    <a:cubicBezTo>
                      <a:pt x="0" y="24"/>
                      <a:pt x="0" y="24"/>
                      <a:pt x="0" y="24"/>
                    </a:cubicBezTo>
                    <a:cubicBezTo>
                      <a:pt x="60" y="24"/>
                      <a:pt x="60" y="24"/>
                      <a:pt x="60" y="24"/>
                    </a:cubicBezTo>
                    <a:cubicBezTo>
                      <a:pt x="60" y="24"/>
                      <a:pt x="43" y="9"/>
                      <a:pt x="26" y="6"/>
                    </a:cubicBezTo>
                    <a:cubicBezTo>
                      <a:pt x="28" y="0"/>
                      <a:pt x="28" y="0"/>
                      <a:pt x="28" y="0"/>
                    </a:cubicBezTo>
                    <a:lnTo>
                      <a:pt x="8" y="0"/>
                    </a:lnTo>
                    <a:close/>
                  </a:path>
                </a:pathLst>
              </a:custGeom>
              <a:solidFill>
                <a:srgbClr val="24224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29" name="任意多边形: 形状 528"/>
              <p:cNvSpPr/>
              <p:nvPr/>
            </p:nvSpPr>
            <p:spPr bwMode="auto">
              <a:xfrm>
                <a:off x="2570436" y="4364514"/>
                <a:ext cx="208198" cy="80440"/>
              </a:xfrm>
              <a:custGeom>
                <a:avLst/>
                <a:gdLst>
                  <a:gd name="T0" fmla="*/ 5 w 60"/>
                  <a:gd name="T1" fmla="*/ 0 h 23"/>
                  <a:gd name="T2" fmla="*/ 0 w 60"/>
                  <a:gd name="T3" fmla="*/ 23 h 23"/>
                  <a:gd name="T4" fmla="*/ 60 w 60"/>
                  <a:gd name="T5" fmla="*/ 23 h 23"/>
                  <a:gd name="T6" fmla="*/ 27 w 60"/>
                  <a:gd name="T7" fmla="*/ 9 h 23"/>
                  <a:gd name="T8" fmla="*/ 26 w 60"/>
                  <a:gd name="T9" fmla="*/ 0 h 23"/>
                  <a:gd name="T10" fmla="*/ 5 w 60"/>
                  <a:gd name="T11" fmla="*/ 0 h 23"/>
                </a:gdLst>
                <a:ahLst/>
                <a:cxnLst>
                  <a:cxn ang="0">
                    <a:pos x="T0" y="T1"/>
                  </a:cxn>
                  <a:cxn ang="0">
                    <a:pos x="T2" y="T3"/>
                  </a:cxn>
                  <a:cxn ang="0">
                    <a:pos x="T4" y="T5"/>
                  </a:cxn>
                  <a:cxn ang="0">
                    <a:pos x="T6" y="T7"/>
                  </a:cxn>
                  <a:cxn ang="0">
                    <a:pos x="T8" y="T9"/>
                  </a:cxn>
                  <a:cxn ang="0">
                    <a:pos x="T10" y="T11"/>
                  </a:cxn>
                </a:cxnLst>
                <a:rect l="0" t="0" r="r" b="b"/>
                <a:pathLst>
                  <a:path w="60" h="23">
                    <a:moveTo>
                      <a:pt x="5" y="0"/>
                    </a:moveTo>
                    <a:cubicBezTo>
                      <a:pt x="0" y="23"/>
                      <a:pt x="0" y="23"/>
                      <a:pt x="0" y="23"/>
                    </a:cubicBezTo>
                    <a:cubicBezTo>
                      <a:pt x="60" y="23"/>
                      <a:pt x="60" y="23"/>
                      <a:pt x="60" y="23"/>
                    </a:cubicBezTo>
                    <a:cubicBezTo>
                      <a:pt x="60" y="23"/>
                      <a:pt x="44" y="11"/>
                      <a:pt x="27" y="9"/>
                    </a:cubicBezTo>
                    <a:cubicBezTo>
                      <a:pt x="26" y="0"/>
                      <a:pt x="26" y="0"/>
                      <a:pt x="26" y="0"/>
                    </a:cubicBezTo>
                    <a:lnTo>
                      <a:pt x="5" y="0"/>
                    </a:lnTo>
                    <a:close/>
                  </a:path>
                </a:pathLst>
              </a:custGeom>
              <a:solidFill>
                <a:srgbClr val="24224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30" name="任意多边形: 形状 529"/>
              <p:cNvSpPr/>
              <p:nvPr/>
            </p:nvSpPr>
            <p:spPr bwMode="auto">
              <a:xfrm>
                <a:off x="2131563" y="3362560"/>
                <a:ext cx="104099" cy="107648"/>
              </a:xfrm>
              <a:custGeom>
                <a:avLst/>
                <a:gdLst>
                  <a:gd name="T0" fmla="*/ 0 w 88"/>
                  <a:gd name="T1" fmla="*/ 85 h 91"/>
                  <a:gd name="T2" fmla="*/ 32 w 88"/>
                  <a:gd name="T3" fmla="*/ 0 h 91"/>
                  <a:gd name="T4" fmla="*/ 88 w 88"/>
                  <a:gd name="T5" fmla="*/ 20 h 91"/>
                  <a:gd name="T6" fmla="*/ 59 w 88"/>
                  <a:gd name="T7" fmla="*/ 91 h 91"/>
                  <a:gd name="T8" fmla="*/ 0 w 88"/>
                  <a:gd name="T9" fmla="*/ 85 h 91"/>
                </a:gdLst>
                <a:ahLst/>
                <a:cxnLst>
                  <a:cxn ang="0">
                    <a:pos x="T0" y="T1"/>
                  </a:cxn>
                  <a:cxn ang="0">
                    <a:pos x="T2" y="T3"/>
                  </a:cxn>
                  <a:cxn ang="0">
                    <a:pos x="T4" y="T5"/>
                  </a:cxn>
                  <a:cxn ang="0">
                    <a:pos x="T6" y="T7"/>
                  </a:cxn>
                  <a:cxn ang="0">
                    <a:pos x="T8" y="T9"/>
                  </a:cxn>
                </a:cxnLst>
                <a:rect l="0" t="0" r="r" b="b"/>
                <a:pathLst>
                  <a:path w="88" h="91">
                    <a:moveTo>
                      <a:pt x="0" y="85"/>
                    </a:moveTo>
                    <a:lnTo>
                      <a:pt x="32" y="0"/>
                    </a:lnTo>
                    <a:lnTo>
                      <a:pt x="88" y="20"/>
                    </a:lnTo>
                    <a:lnTo>
                      <a:pt x="59" y="91"/>
                    </a:lnTo>
                    <a:lnTo>
                      <a:pt x="0" y="85"/>
                    </a:lnTo>
                    <a:close/>
                  </a:path>
                </a:pathLst>
              </a:custGeom>
              <a:solidFill>
                <a:srgbClr val="EAAAAA"/>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31" name="任意多边形: 形状 530"/>
              <p:cNvSpPr/>
              <p:nvPr/>
            </p:nvSpPr>
            <p:spPr bwMode="auto">
              <a:xfrm>
                <a:off x="2343310" y="2853894"/>
                <a:ext cx="216479" cy="236589"/>
              </a:xfrm>
              <a:custGeom>
                <a:avLst/>
                <a:gdLst>
                  <a:gd name="T0" fmla="*/ 56 w 62"/>
                  <a:gd name="T1" fmla="*/ 0 h 68"/>
                  <a:gd name="T2" fmla="*/ 62 w 62"/>
                  <a:gd name="T3" fmla="*/ 25 h 68"/>
                  <a:gd name="T4" fmla="*/ 58 w 62"/>
                  <a:gd name="T5" fmla="*/ 30 h 68"/>
                  <a:gd name="T6" fmla="*/ 56 w 62"/>
                  <a:gd name="T7" fmla="*/ 31 h 68"/>
                  <a:gd name="T8" fmla="*/ 53 w 62"/>
                  <a:gd name="T9" fmla="*/ 47 h 68"/>
                  <a:gd name="T10" fmla="*/ 42 w 62"/>
                  <a:gd name="T11" fmla="*/ 54 h 68"/>
                  <a:gd name="T12" fmla="*/ 40 w 62"/>
                  <a:gd name="T13" fmla="*/ 66 h 68"/>
                  <a:gd name="T14" fmla="*/ 15 w 62"/>
                  <a:gd name="T15" fmla="*/ 68 h 68"/>
                  <a:gd name="T16" fmla="*/ 17 w 62"/>
                  <a:gd name="T17" fmla="*/ 45 h 68"/>
                  <a:gd name="T18" fmla="*/ 7 w 62"/>
                  <a:gd name="T19" fmla="*/ 16 h 68"/>
                  <a:gd name="T20" fmla="*/ 47 w 62"/>
                  <a:gd name="T21" fmla="*/ 1 h 68"/>
                  <a:gd name="T22" fmla="*/ 56 w 62"/>
                  <a:gd name="T23"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2" h="68">
                    <a:moveTo>
                      <a:pt x="56" y="0"/>
                    </a:moveTo>
                    <a:cubicBezTo>
                      <a:pt x="62" y="25"/>
                      <a:pt x="62" y="25"/>
                      <a:pt x="62" y="25"/>
                    </a:cubicBezTo>
                    <a:cubicBezTo>
                      <a:pt x="62" y="27"/>
                      <a:pt x="60" y="30"/>
                      <a:pt x="58" y="30"/>
                    </a:cubicBezTo>
                    <a:cubicBezTo>
                      <a:pt x="56" y="31"/>
                      <a:pt x="56" y="31"/>
                      <a:pt x="56" y="31"/>
                    </a:cubicBezTo>
                    <a:cubicBezTo>
                      <a:pt x="56" y="31"/>
                      <a:pt x="56" y="43"/>
                      <a:pt x="53" y="47"/>
                    </a:cubicBezTo>
                    <a:cubicBezTo>
                      <a:pt x="50" y="50"/>
                      <a:pt x="43" y="50"/>
                      <a:pt x="42" y="54"/>
                    </a:cubicBezTo>
                    <a:cubicBezTo>
                      <a:pt x="41" y="58"/>
                      <a:pt x="40" y="66"/>
                      <a:pt x="40" y="66"/>
                    </a:cubicBezTo>
                    <a:cubicBezTo>
                      <a:pt x="15" y="68"/>
                      <a:pt x="15" y="68"/>
                      <a:pt x="15" y="68"/>
                    </a:cubicBezTo>
                    <a:cubicBezTo>
                      <a:pt x="15" y="68"/>
                      <a:pt x="19" y="48"/>
                      <a:pt x="17" y="45"/>
                    </a:cubicBezTo>
                    <a:cubicBezTo>
                      <a:pt x="15" y="42"/>
                      <a:pt x="0" y="28"/>
                      <a:pt x="7" y="16"/>
                    </a:cubicBezTo>
                    <a:cubicBezTo>
                      <a:pt x="47" y="1"/>
                      <a:pt x="47" y="1"/>
                      <a:pt x="47" y="1"/>
                    </a:cubicBezTo>
                    <a:lnTo>
                      <a:pt x="56" y="0"/>
                    </a:lnTo>
                    <a:close/>
                  </a:path>
                </a:pathLst>
              </a:custGeom>
              <a:solidFill>
                <a:srgbClr val="EAAAAA"/>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32" name="任意多边形: 形状 531"/>
              <p:cNvSpPr/>
              <p:nvPr/>
            </p:nvSpPr>
            <p:spPr bwMode="auto">
              <a:xfrm>
                <a:off x="2343310" y="2773454"/>
                <a:ext cx="254334" cy="257882"/>
              </a:xfrm>
              <a:custGeom>
                <a:avLst/>
                <a:gdLst>
                  <a:gd name="T0" fmla="*/ 71 w 73"/>
                  <a:gd name="T1" fmla="*/ 14 h 74"/>
                  <a:gd name="T2" fmla="*/ 29 w 73"/>
                  <a:gd name="T3" fmla="*/ 10 h 74"/>
                  <a:gd name="T4" fmla="*/ 24 w 73"/>
                  <a:gd name="T5" fmla="*/ 12 h 74"/>
                  <a:gd name="T6" fmla="*/ 7 w 73"/>
                  <a:gd name="T7" fmla="*/ 39 h 74"/>
                  <a:gd name="T8" fmla="*/ 17 w 73"/>
                  <a:gd name="T9" fmla="*/ 68 h 74"/>
                  <a:gd name="T10" fmla="*/ 18 w 73"/>
                  <a:gd name="T11" fmla="*/ 74 h 74"/>
                  <a:gd name="T12" fmla="*/ 29 w 73"/>
                  <a:gd name="T13" fmla="*/ 61 h 74"/>
                  <a:gd name="T14" fmla="*/ 23 w 73"/>
                  <a:gd name="T15" fmla="*/ 52 h 74"/>
                  <a:gd name="T16" fmla="*/ 28 w 73"/>
                  <a:gd name="T17" fmla="*/ 46 h 74"/>
                  <a:gd name="T18" fmla="*/ 34 w 73"/>
                  <a:gd name="T19" fmla="*/ 57 h 74"/>
                  <a:gd name="T20" fmla="*/ 38 w 73"/>
                  <a:gd name="T21" fmla="*/ 43 h 74"/>
                  <a:gd name="T22" fmla="*/ 43 w 73"/>
                  <a:gd name="T23" fmla="*/ 31 h 74"/>
                  <a:gd name="T24" fmla="*/ 47 w 73"/>
                  <a:gd name="T25" fmla="*/ 24 h 74"/>
                  <a:gd name="T26" fmla="*/ 71 w 73"/>
                  <a:gd name="T27" fmla="*/ 1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3" h="74">
                    <a:moveTo>
                      <a:pt x="71" y="14"/>
                    </a:moveTo>
                    <a:cubicBezTo>
                      <a:pt x="66" y="0"/>
                      <a:pt x="41" y="6"/>
                      <a:pt x="29" y="10"/>
                    </a:cubicBezTo>
                    <a:cubicBezTo>
                      <a:pt x="28" y="10"/>
                      <a:pt x="26" y="11"/>
                      <a:pt x="24" y="12"/>
                    </a:cubicBezTo>
                    <a:cubicBezTo>
                      <a:pt x="10" y="20"/>
                      <a:pt x="7" y="39"/>
                      <a:pt x="7" y="39"/>
                    </a:cubicBezTo>
                    <a:cubicBezTo>
                      <a:pt x="0" y="51"/>
                      <a:pt x="15" y="65"/>
                      <a:pt x="17" y="68"/>
                    </a:cubicBezTo>
                    <a:cubicBezTo>
                      <a:pt x="18" y="69"/>
                      <a:pt x="18" y="71"/>
                      <a:pt x="18" y="74"/>
                    </a:cubicBezTo>
                    <a:cubicBezTo>
                      <a:pt x="28" y="71"/>
                      <a:pt x="29" y="61"/>
                      <a:pt x="29" y="61"/>
                    </a:cubicBezTo>
                    <a:cubicBezTo>
                      <a:pt x="26" y="60"/>
                      <a:pt x="23" y="58"/>
                      <a:pt x="23" y="52"/>
                    </a:cubicBezTo>
                    <a:cubicBezTo>
                      <a:pt x="22" y="46"/>
                      <a:pt x="26" y="45"/>
                      <a:pt x="28" y="46"/>
                    </a:cubicBezTo>
                    <a:cubicBezTo>
                      <a:pt x="31" y="46"/>
                      <a:pt x="32" y="58"/>
                      <a:pt x="34" y="57"/>
                    </a:cubicBezTo>
                    <a:cubicBezTo>
                      <a:pt x="36" y="56"/>
                      <a:pt x="38" y="43"/>
                      <a:pt x="38" y="43"/>
                    </a:cubicBezTo>
                    <a:cubicBezTo>
                      <a:pt x="43" y="39"/>
                      <a:pt x="43" y="31"/>
                      <a:pt x="43" y="31"/>
                    </a:cubicBezTo>
                    <a:cubicBezTo>
                      <a:pt x="47" y="24"/>
                      <a:pt x="47" y="24"/>
                      <a:pt x="47" y="24"/>
                    </a:cubicBezTo>
                    <a:cubicBezTo>
                      <a:pt x="73" y="31"/>
                      <a:pt x="71" y="14"/>
                      <a:pt x="71" y="14"/>
                    </a:cubicBezTo>
                    <a:close/>
                  </a:path>
                </a:pathLst>
              </a:custGeom>
              <a:solidFill>
                <a:srgbClr val="24224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33" name="任意多边形: 形状 532"/>
              <p:cNvSpPr/>
              <p:nvPr/>
            </p:nvSpPr>
            <p:spPr bwMode="auto">
              <a:xfrm>
                <a:off x="2128014" y="3375573"/>
                <a:ext cx="399836" cy="143137"/>
              </a:xfrm>
              <a:custGeom>
                <a:avLst/>
                <a:gdLst>
                  <a:gd name="T0" fmla="*/ 1 w 115"/>
                  <a:gd name="T1" fmla="*/ 27 h 41"/>
                  <a:gd name="T2" fmla="*/ 80 w 115"/>
                  <a:gd name="T3" fmla="*/ 23 h 41"/>
                  <a:gd name="T4" fmla="*/ 99 w 115"/>
                  <a:gd name="T5" fmla="*/ 24 h 41"/>
                  <a:gd name="T6" fmla="*/ 115 w 115"/>
                  <a:gd name="T7" fmla="*/ 12 h 41"/>
                  <a:gd name="T8" fmla="*/ 113 w 115"/>
                  <a:gd name="T9" fmla="*/ 10 h 41"/>
                  <a:gd name="T10" fmla="*/ 94 w 115"/>
                  <a:gd name="T11" fmla="*/ 11 h 41"/>
                  <a:gd name="T12" fmla="*/ 101 w 115"/>
                  <a:gd name="T13" fmla="*/ 1 h 41"/>
                  <a:gd name="T14" fmla="*/ 79 w 115"/>
                  <a:gd name="T15" fmla="*/ 11 h 41"/>
                  <a:gd name="T16" fmla="*/ 23 w 115"/>
                  <a:gd name="T17" fmla="*/ 13 h 41"/>
                  <a:gd name="T18" fmla="*/ 1 w 115"/>
                  <a:gd name="T19" fmla="*/ 27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5" h="41">
                    <a:moveTo>
                      <a:pt x="1" y="27"/>
                    </a:moveTo>
                    <a:cubicBezTo>
                      <a:pt x="1" y="35"/>
                      <a:pt x="16" y="41"/>
                      <a:pt x="80" y="23"/>
                    </a:cubicBezTo>
                    <a:cubicBezTo>
                      <a:pt x="80" y="23"/>
                      <a:pt x="93" y="26"/>
                      <a:pt x="99" y="24"/>
                    </a:cubicBezTo>
                    <a:cubicBezTo>
                      <a:pt x="106" y="21"/>
                      <a:pt x="115" y="12"/>
                      <a:pt x="115" y="12"/>
                    </a:cubicBezTo>
                    <a:cubicBezTo>
                      <a:pt x="113" y="10"/>
                      <a:pt x="113" y="10"/>
                      <a:pt x="113" y="10"/>
                    </a:cubicBezTo>
                    <a:cubicBezTo>
                      <a:pt x="113" y="10"/>
                      <a:pt x="96" y="13"/>
                      <a:pt x="94" y="11"/>
                    </a:cubicBezTo>
                    <a:cubicBezTo>
                      <a:pt x="92" y="9"/>
                      <a:pt x="102" y="2"/>
                      <a:pt x="101" y="1"/>
                    </a:cubicBezTo>
                    <a:cubicBezTo>
                      <a:pt x="100" y="0"/>
                      <a:pt x="86" y="5"/>
                      <a:pt x="79" y="11"/>
                    </a:cubicBezTo>
                    <a:cubicBezTo>
                      <a:pt x="79" y="11"/>
                      <a:pt x="39" y="12"/>
                      <a:pt x="23" y="13"/>
                    </a:cubicBezTo>
                    <a:cubicBezTo>
                      <a:pt x="7" y="14"/>
                      <a:pt x="0" y="19"/>
                      <a:pt x="1" y="27"/>
                    </a:cubicBezTo>
                    <a:close/>
                  </a:path>
                </a:pathLst>
              </a:custGeom>
              <a:solidFill>
                <a:srgbClr val="EAAAAA"/>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34" name="任意多边形: 形状 533"/>
              <p:cNvSpPr/>
              <p:nvPr/>
            </p:nvSpPr>
            <p:spPr bwMode="auto">
              <a:xfrm>
                <a:off x="2395360" y="3083385"/>
                <a:ext cx="87538" cy="37854"/>
              </a:xfrm>
              <a:custGeom>
                <a:avLst/>
                <a:gdLst>
                  <a:gd name="T0" fmla="*/ 0 w 25"/>
                  <a:gd name="T1" fmla="*/ 2 h 11"/>
                  <a:gd name="T2" fmla="*/ 14 w 25"/>
                  <a:gd name="T3" fmla="*/ 10 h 11"/>
                  <a:gd name="T4" fmla="*/ 25 w 25"/>
                  <a:gd name="T5" fmla="*/ 0 h 11"/>
                  <a:gd name="T6" fmla="*/ 1 w 25"/>
                  <a:gd name="T7" fmla="*/ 0 h 11"/>
                  <a:gd name="T8" fmla="*/ 0 w 25"/>
                  <a:gd name="T9" fmla="*/ 2 h 11"/>
                </a:gdLst>
                <a:ahLst/>
                <a:cxnLst>
                  <a:cxn ang="0">
                    <a:pos x="T0" y="T1"/>
                  </a:cxn>
                  <a:cxn ang="0">
                    <a:pos x="T2" y="T3"/>
                  </a:cxn>
                  <a:cxn ang="0">
                    <a:pos x="T4" y="T5"/>
                  </a:cxn>
                  <a:cxn ang="0">
                    <a:pos x="T6" y="T7"/>
                  </a:cxn>
                  <a:cxn ang="0">
                    <a:pos x="T8" y="T9"/>
                  </a:cxn>
                </a:cxnLst>
                <a:rect l="0" t="0" r="r" b="b"/>
                <a:pathLst>
                  <a:path w="25" h="11">
                    <a:moveTo>
                      <a:pt x="0" y="2"/>
                    </a:moveTo>
                    <a:cubicBezTo>
                      <a:pt x="0" y="2"/>
                      <a:pt x="4" y="11"/>
                      <a:pt x="14" y="10"/>
                    </a:cubicBezTo>
                    <a:cubicBezTo>
                      <a:pt x="25" y="9"/>
                      <a:pt x="25" y="0"/>
                      <a:pt x="25" y="0"/>
                    </a:cubicBezTo>
                    <a:cubicBezTo>
                      <a:pt x="1" y="0"/>
                      <a:pt x="1" y="0"/>
                      <a:pt x="1" y="0"/>
                    </a:cubicBezTo>
                    <a:lnTo>
                      <a:pt x="0" y="2"/>
                    </a:lnTo>
                    <a:close/>
                  </a:path>
                </a:pathLst>
              </a:custGeom>
              <a:solidFill>
                <a:srgbClr val="EAAAAA"/>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35" name="任意多边形: 形状 534"/>
              <p:cNvSpPr/>
              <p:nvPr/>
            </p:nvSpPr>
            <p:spPr bwMode="auto">
              <a:xfrm>
                <a:off x="2280614" y="3222973"/>
                <a:ext cx="28391" cy="145502"/>
              </a:xfrm>
              <a:custGeom>
                <a:avLst/>
                <a:gdLst>
                  <a:gd name="T0" fmla="*/ 24 w 24"/>
                  <a:gd name="T1" fmla="*/ 0 h 123"/>
                  <a:gd name="T2" fmla="*/ 0 w 24"/>
                  <a:gd name="T3" fmla="*/ 123 h 123"/>
                  <a:gd name="T4" fmla="*/ 6 w 24"/>
                  <a:gd name="T5" fmla="*/ 120 h 123"/>
                  <a:gd name="T6" fmla="*/ 24 w 24"/>
                  <a:gd name="T7" fmla="*/ 0 h 123"/>
                </a:gdLst>
                <a:ahLst/>
                <a:cxnLst>
                  <a:cxn ang="0">
                    <a:pos x="T0" y="T1"/>
                  </a:cxn>
                  <a:cxn ang="0">
                    <a:pos x="T2" y="T3"/>
                  </a:cxn>
                  <a:cxn ang="0">
                    <a:pos x="T4" y="T5"/>
                  </a:cxn>
                  <a:cxn ang="0">
                    <a:pos x="T6" y="T7"/>
                  </a:cxn>
                </a:cxnLst>
                <a:rect l="0" t="0" r="r" b="b"/>
                <a:pathLst>
                  <a:path w="24" h="123">
                    <a:moveTo>
                      <a:pt x="24" y="0"/>
                    </a:moveTo>
                    <a:lnTo>
                      <a:pt x="0" y="123"/>
                    </a:lnTo>
                    <a:lnTo>
                      <a:pt x="6" y="120"/>
                    </a:lnTo>
                    <a:lnTo>
                      <a:pt x="24" y="0"/>
                    </a:lnTo>
                    <a:close/>
                  </a:path>
                </a:pathLst>
              </a:custGeom>
              <a:solidFill>
                <a:srgbClr val="6C62E5"/>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36" name="任意多边形: 形状 535"/>
              <p:cNvSpPr/>
              <p:nvPr/>
            </p:nvSpPr>
            <p:spPr bwMode="auto">
              <a:xfrm>
                <a:off x="2280614" y="3222973"/>
                <a:ext cx="28391" cy="145502"/>
              </a:xfrm>
              <a:custGeom>
                <a:avLst/>
                <a:gdLst>
                  <a:gd name="T0" fmla="*/ 24 w 24"/>
                  <a:gd name="T1" fmla="*/ 0 h 123"/>
                  <a:gd name="T2" fmla="*/ 0 w 24"/>
                  <a:gd name="T3" fmla="*/ 123 h 123"/>
                  <a:gd name="T4" fmla="*/ 6 w 24"/>
                  <a:gd name="T5" fmla="*/ 120 h 123"/>
                  <a:gd name="T6" fmla="*/ 24 w 24"/>
                  <a:gd name="T7" fmla="*/ 0 h 123"/>
                </a:gdLst>
                <a:ahLst/>
                <a:cxnLst>
                  <a:cxn ang="0">
                    <a:pos x="T0" y="T1"/>
                  </a:cxn>
                  <a:cxn ang="0">
                    <a:pos x="T2" y="T3"/>
                  </a:cxn>
                  <a:cxn ang="0">
                    <a:pos x="T4" y="T5"/>
                  </a:cxn>
                  <a:cxn ang="0">
                    <a:pos x="T6" y="T7"/>
                  </a:cxn>
                </a:cxnLst>
                <a:rect l="0" t="0" r="r" b="b"/>
                <a:pathLst>
                  <a:path w="24" h="123">
                    <a:moveTo>
                      <a:pt x="24" y="0"/>
                    </a:moveTo>
                    <a:lnTo>
                      <a:pt x="0" y="123"/>
                    </a:lnTo>
                    <a:lnTo>
                      <a:pt x="6" y="120"/>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37" name="任意多边形: 形状 536"/>
              <p:cNvSpPr/>
              <p:nvPr/>
            </p:nvSpPr>
            <p:spPr bwMode="auto">
              <a:xfrm>
                <a:off x="2273516" y="3364926"/>
                <a:ext cx="14195" cy="28391"/>
              </a:xfrm>
              <a:custGeom>
                <a:avLst/>
                <a:gdLst>
                  <a:gd name="T0" fmla="*/ 12 w 12"/>
                  <a:gd name="T1" fmla="*/ 0 h 24"/>
                  <a:gd name="T2" fmla="*/ 6 w 12"/>
                  <a:gd name="T3" fmla="*/ 3 h 24"/>
                  <a:gd name="T4" fmla="*/ 0 w 12"/>
                  <a:gd name="T5" fmla="*/ 24 h 24"/>
                  <a:gd name="T6" fmla="*/ 12 w 12"/>
                  <a:gd name="T7" fmla="*/ 21 h 24"/>
                  <a:gd name="T8" fmla="*/ 12 w 12"/>
                  <a:gd name="T9" fmla="*/ 0 h 24"/>
                </a:gdLst>
                <a:ahLst/>
                <a:cxnLst>
                  <a:cxn ang="0">
                    <a:pos x="T0" y="T1"/>
                  </a:cxn>
                  <a:cxn ang="0">
                    <a:pos x="T2" y="T3"/>
                  </a:cxn>
                  <a:cxn ang="0">
                    <a:pos x="T4" y="T5"/>
                  </a:cxn>
                  <a:cxn ang="0">
                    <a:pos x="T6" y="T7"/>
                  </a:cxn>
                  <a:cxn ang="0">
                    <a:pos x="T8" y="T9"/>
                  </a:cxn>
                </a:cxnLst>
                <a:rect l="0" t="0" r="r" b="b"/>
                <a:pathLst>
                  <a:path w="12" h="24">
                    <a:moveTo>
                      <a:pt x="12" y="0"/>
                    </a:moveTo>
                    <a:lnTo>
                      <a:pt x="6" y="3"/>
                    </a:lnTo>
                    <a:lnTo>
                      <a:pt x="0" y="24"/>
                    </a:lnTo>
                    <a:lnTo>
                      <a:pt x="12" y="21"/>
                    </a:lnTo>
                    <a:lnTo>
                      <a:pt x="12" y="0"/>
                    </a:lnTo>
                    <a:close/>
                  </a:path>
                </a:pathLst>
              </a:custGeom>
              <a:solidFill>
                <a:srgbClr val="E0494D"/>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38" name="任意多边形: 形状 537"/>
              <p:cNvSpPr/>
              <p:nvPr/>
            </p:nvSpPr>
            <p:spPr bwMode="auto">
              <a:xfrm>
                <a:off x="2273516" y="3364926"/>
                <a:ext cx="14195" cy="28391"/>
              </a:xfrm>
              <a:custGeom>
                <a:avLst/>
                <a:gdLst>
                  <a:gd name="T0" fmla="*/ 12 w 12"/>
                  <a:gd name="T1" fmla="*/ 0 h 24"/>
                  <a:gd name="T2" fmla="*/ 6 w 12"/>
                  <a:gd name="T3" fmla="*/ 3 h 24"/>
                  <a:gd name="T4" fmla="*/ 0 w 12"/>
                  <a:gd name="T5" fmla="*/ 24 h 24"/>
                  <a:gd name="T6" fmla="*/ 12 w 12"/>
                  <a:gd name="T7" fmla="*/ 21 h 24"/>
                  <a:gd name="T8" fmla="*/ 12 w 12"/>
                  <a:gd name="T9" fmla="*/ 0 h 24"/>
                </a:gdLst>
                <a:ahLst/>
                <a:cxnLst>
                  <a:cxn ang="0">
                    <a:pos x="T0" y="T1"/>
                  </a:cxn>
                  <a:cxn ang="0">
                    <a:pos x="T2" y="T3"/>
                  </a:cxn>
                  <a:cxn ang="0">
                    <a:pos x="T4" y="T5"/>
                  </a:cxn>
                  <a:cxn ang="0">
                    <a:pos x="T6" y="T7"/>
                  </a:cxn>
                  <a:cxn ang="0">
                    <a:pos x="T8" y="T9"/>
                  </a:cxn>
                </a:cxnLst>
                <a:rect l="0" t="0" r="r" b="b"/>
                <a:pathLst>
                  <a:path w="12" h="24">
                    <a:moveTo>
                      <a:pt x="12" y="0"/>
                    </a:moveTo>
                    <a:lnTo>
                      <a:pt x="6" y="3"/>
                    </a:lnTo>
                    <a:lnTo>
                      <a:pt x="0" y="24"/>
                    </a:lnTo>
                    <a:lnTo>
                      <a:pt x="12" y="21"/>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39" name="任意多边形: 形状 538"/>
              <p:cNvSpPr/>
              <p:nvPr/>
            </p:nvSpPr>
            <p:spPr bwMode="auto">
              <a:xfrm>
                <a:off x="2767988" y="3083385"/>
                <a:ext cx="121844" cy="59147"/>
              </a:xfrm>
              <a:custGeom>
                <a:avLst/>
                <a:gdLst>
                  <a:gd name="T0" fmla="*/ 0 w 35"/>
                  <a:gd name="T1" fmla="*/ 17 h 17"/>
                  <a:gd name="T2" fmla="*/ 22 w 35"/>
                  <a:gd name="T3" fmla="*/ 0 h 17"/>
                  <a:gd name="T4" fmla="*/ 31 w 35"/>
                  <a:gd name="T5" fmla="*/ 9 h 17"/>
                  <a:gd name="T6" fmla="*/ 17 w 35"/>
                  <a:gd name="T7" fmla="*/ 13 h 17"/>
                  <a:gd name="T8" fmla="*/ 0 w 35"/>
                  <a:gd name="T9" fmla="*/ 17 h 17"/>
                </a:gdLst>
                <a:ahLst/>
                <a:cxnLst>
                  <a:cxn ang="0">
                    <a:pos x="T0" y="T1"/>
                  </a:cxn>
                  <a:cxn ang="0">
                    <a:pos x="T2" y="T3"/>
                  </a:cxn>
                  <a:cxn ang="0">
                    <a:pos x="T4" y="T5"/>
                  </a:cxn>
                  <a:cxn ang="0">
                    <a:pos x="T6" y="T7"/>
                  </a:cxn>
                  <a:cxn ang="0">
                    <a:pos x="T8" y="T9"/>
                  </a:cxn>
                </a:cxnLst>
                <a:rect l="0" t="0" r="r" b="b"/>
                <a:pathLst>
                  <a:path w="35" h="17">
                    <a:moveTo>
                      <a:pt x="0" y="17"/>
                    </a:moveTo>
                    <a:cubicBezTo>
                      <a:pt x="0" y="17"/>
                      <a:pt x="9" y="0"/>
                      <a:pt x="22" y="0"/>
                    </a:cubicBezTo>
                    <a:cubicBezTo>
                      <a:pt x="35" y="1"/>
                      <a:pt x="31" y="9"/>
                      <a:pt x="31" y="9"/>
                    </a:cubicBezTo>
                    <a:cubicBezTo>
                      <a:pt x="31" y="9"/>
                      <a:pt x="23" y="13"/>
                      <a:pt x="17" y="13"/>
                    </a:cubicBezTo>
                    <a:cubicBezTo>
                      <a:pt x="11" y="14"/>
                      <a:pt x="0" y="17"/>
                      <a:pt x="0" y="17"/>
                    </a:cubicBezTo>
                    <a:close/>
                  </a:path>
                </a:pathLst>
              </a:custGeom>
              <a:solidFill>
                <a:srgbClr val="EAAAAA"/>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grpSp>
        <p:grpSp>
          <p:nvGrpSpPr>
            <p:cNvPr id="2" name="组合 1"/>
            <p:cNvGrpSpPr/>
            <p:nvPr/>
          </p:nvGrpSpPr>
          <p:grpSpPr>
            <a:xfrm>
              <a:off x="1332075" y="4611749"/>
              <a:ext cx="2462892" cy="1522351"/>
              <a:chOff x="1332075" y="4611749"/>
              <a:chExt cx="2462892" cy="1522351"/>
            </a:xfrm>
          </p:grpSpPr>
          <p:sp>
            <p:nvSpPr>
              <p:cNvPr id="453" name="矩形: 圆角 452"/>
              <p:cNvSpPr/>
              <p:nvPr/>
            </p:nvSpPr>
            <p:spPr>
              <a:xfrm>
                <a:off x="1332075" y="4611749"/>
                <a:ext cx="2296504" cy="637774"/>
              </a:xfrm>
              <a:prstGeom prst="roundRect">
                <a:avLst/>
              </a:prstGeom>
              <a:solidFill>
                <a:schemeClr val="accent1">
                  <a:alpha val="15000"/>
                </a:schemeClr>
              </a:solidFill>
              <a:ln w="9525" cap="flat">
                <a:noFill/>
                <a:prstDash val="solid"/>
                <a:miter/>
              </a:ln>
            </p:spPr>
            <p:txBody>
              <a:bodyPr wrap="square" rtlCol="0" anchor="ctr">
                <a:normAutofit/>
              </a:bodyPr>
              <a:lstStyle/>
              <a:p>
                <a:pPr algn="ctr"/>
                <a:r>
                  <a:rPr kumimoji="1" lang="en-US" altLang="zh-CN" b="1">
                    <a:latin typeface="Calibri" pitchFamily="34" charset="0"/>
                    <a:ea typeface="宋体" pitchFamily="2" charset="-122"/>
                  </a:rPr>
                  <a:t>Click to add text</a:t>
                </a:r>
                <a:endParaRPr kumimoji="1" lang="en-US" altLang="zh-CN" b="1" dirty="0">
                  <a:latin typeface="Calibri" pitchFamily="34" charset="0"/>
                  <a:ea typeface="宋体" pitchFamily="2" charset="-122"/>
                </a:endParaRPr>
              </a:p>
            </p:txBody>
          </p:sp>
          <p:sp>
            <p:nvSpPr>
              <p:cNvPr id="483" name="文本框 482"/>
              <p:cNvSpPr txBox="1"/>
              <p:nvPr/>
            </p:nvSpPr>
            <p:spPr>
              <a:xfrm>
                <a:off x="1465492" y="5354211"/>
                <a:ext cx="2329475" cy="779889"/>
              </a:xfrm>
              <a:prstGeom prst="rect">
                <a:avLst/>
              </a:prstGeom>
              <a:noFill/>
            </p:spPr>
            <p:txBody>
              <a:bodyPr wrap="square" rtlCol="0" anchor="t" anchorCtr="0">
                <a:normAutofit/>
              </a:bodyPr>
              <a:lstStyle/>
              <a:p>
                <a:pPr>
                  <a:lnSpc>
                    <a:spcPct val="120000"/>
                  </a:lnSpc>
                </a:pPr>
                <a:r>
                  <a:rPr kumimoji="1" lang="en-US" altLang="zh-CN" sz="1200">
                    <a:latin typeface="Calibri" pitchFamily="34" charset="0"/>
                    <a:ea typeface="宋体" pitchFamily="2" charset="-122"/>
                  </a:rPr>
                  <a:t>Sanctus ex gubergren sed accusam velit no consetetur.</a:t>
                </a:r>
                <a:endParaRPr kumimoji="1" lang="en-US" altLang="zh-CN" sz="1200" dirty="0">
                  <a:latin typeface="Calibri" pitchFamily="34" charset="0"/>
                  <a:ea typeface="宋体" pitchFamily="2" charset="-122"/>
                </a:endParaRPr>
              </a:p>
            </p:txBody>
          </p:sp>
        </p:grpSp>
        <p:grpSp>
          <p:nvGrpSpPr>
            <p:cNvPr id="3" name="组合 2"/>
            <p:cNvGrpSpPr/>
            <p:nvPr/>
          </p:nvGrpSpPr>
          <p:grpSpPr>
            <a:xfrm>
              <a:off x="3757951" y="3973975"/>
              <a:ext cx="2462892" cy="1726521"/>
              <a:chOff x="3757951" y="3973975"/>
              <a:chExt cx="2462892" cy="1726521"/>
            </a:xfrm>
          </p:grpSpPr>
          <p:sp>
            <p:nvSpPr>
              <p:cNvPr id="454" name="矩形: 圆角 453"/>
              <p:cNvSpPr/>
              <p:nvPr/>
            </p:nvSpPr>
            <p:spPr>
              <a:xfrm>
                <a:off x="3757951" y="3973975"/>
                <a:ext cx="2296504" cy="637774"/>
              </a:xfrm>
              <a:prstGeom prst="roundRect">
                <a:avLst/>
              </a:prstGeom>
              <a:gradFill>
                <a:gsLst>
                  <a:gs pos="0">
                    <a:schemeClr val="accent1">
                      <a:lumMod val="60000"/>
                      <a:lumOff val="40000"/>
                    </a:schemeClr>
                  </a:gs>
                  <a:gs pos="50000">
                    <a:schemeClr val="accent1"/>
                  </a:gs>
                </a:gsLst>
                <a:lin ang="2700000" scaled="0"/>
              </a:gradFill>
              <a:ln w="12700">
                <a:miter lim="400000"/>
              </a:ln>
            </p:spPr>
            <p:txBody>
              <a:bodyPr wrap="square" lIns="90000" tIns="46800" rIns="90000" bIns="46800" anchor="ctr">
                <a:normAutofit/>
              </a:bodyPr>
              <a:lstStyle/>
              <a:p>
                <a:pPr algn="ctr"/>
                <a:r>
                  <a:rPr kumimoji="1" lang="en-US" altLang="zh-CN" b="1">
                    <a:solidFill>
                      <a:srgbClr val="FFFFFF"/>
                    </a:solidFill>
                    <a:latin typeface="Calibri" pitchFamily="34" charset="0"/>
                    <a:ea typeface="宋体" pitchFamily="2" charset="-122"/>
                  </a:rPr>
                  <a:t>Click to add text</a:t>
                </a:r>
                <a:endParaRPr kumimoji="1" lang="en-US" altLang="zh-CN" b="1" dirty="0">
                  <a:solidFill>
                    <a:srgbClr val="FFFFFF"/>
                  </a:solidFill>
                  <a:latin typeface="Calibri" pitchFamily="34" charset="0"/>
                  <a:ea typeface="宋体" pitchFamily="2" charset="-122"/>
                </a:endParaRPr>
              </a:p>
            </p:txBody>
          </p:sp>
          <p:sp>
            <p:nvSpPr>
              <p:cNvPr id="484" name="文本框 483"/>
              <p:cNvSpPr txBox="1"/>
              <p:nvPr/>
            </p:nvSpPr>
            <p:spPr>
              <a:xfrm>
                <a:off x="3891368" y="4749469"/>
                <a:ext cx="2329475" cy="951027"/>
              </a:xfrm>
              <a:prstGeom prst="rect">
                <a:avLst/>
              </a:prstGeom>
              <a:noFill/>
            </p:spPr>
            <p:txBody>
              <a:bodyPr wrap="square" rtlCol="0" anchor="t" anchorCtr="0">
                <a:normAutofit/>
              </a:bodyPr>
              <a:lstStyle/>
              <a:p>
                <a:pPr>
                  <a:lnSpc>
                    <a:spcPct val="120000"/>
                  </a:lnSpc>
                </a:pPr>
                <a:r>
                  <a:rPr kumimoji="1" lang="en-US" altLang="zh-CN" sz="1200">
                    <a:latin typeface="Calibri" pitchFamily="34" charset="0"/>
                    <a:ea typeface="宋体" pitchFamily="2" charset="-122"/>
                  </a:rPr>
                  <a:t>Justo ea ullamcorper ut at ipsum volutpat sadipscing dolore.</a:t>
                </a:r>
                <a:endParaRPr kumimoji="1" lang="en-US" altLang="zh-CN" sz="1200" dirty="0">
                  <a:latin typeface="Calibri" pitchFamily="34" charset="0"/>
                  <a:ea typeface="宋体" pitchFamily="2" charset="-122"/>
                </a:endParaRPr>
              </a:p>
            </p:txBody>
          </p:sp>
        </p:grpSp>
        <p:grpSp>
          <p:nvGrpSpPr>
            <p:cNvPr id="4" name="组合 3"/>
            <p:cNvGrpSpPr/>
            <p:nvPr/>
          </p:nvGrpSpPr>
          <p:grpSpPr>
            <a:xfrm>
              <a:off x="6183827" y="3336201"/>
              <a:ext cx="2462892" cy="1686754"/>
              <a:chOff x="6183827" y="3336201"/>
              <a:chExt cx="2462892" cy="1686754"/>
            </a:xfrm>
          </p:grpSpPr>
          <p:sp>
            <p:nvSpPr>
              <p:cNvPr id="455" name="矩形: 圆角 454"/>
              <p:cNvSpPr/>
              <p:nvPr/>
            </p:nvSpPr>
            <p:spPr>
              <a:xfrm>
                <a:off x="6183827" y="3336201"/>
                <a:ext cx="2296504" cy="637774"/>
              </a:xfrm>
              <a:prstGeom prst="roundRect">
                <a:avLst/>
              </a:prstGeom>
              <a:solidFill>
                <a:schemeClr val="accent1">
                  <a:alpha val="15000"/>
                </a:schemeClr>
              </a:solidFill>
              <a:ln w="9525" cap="flat">
                <a:noFill/>
                <a:prstDash val="solid"/>
                <a:miter/>
              </a:ln>
            </p:spPr>
            <p:txBody>
              <a:bodyPr wrap="square" rtlCol="0" anchor="ctr">
                <a:normAutofit/>
              </a:bodyPr>
              <a:lstStyle/>
              <a:p>
                <a:pPr algn="ctr"/>
                <a:r>
                  <a:rPr kumimoji="1" lang="en-US" altLang="zh-CN" b="1">
                    <a:latin typeface="Calibri" pitchFamily="34" charset="0"/>
                    <a:ea typeface="宋体" pitchFamily="2" charset="-122"/>
                  </a:rPr>
                  <a:t>Click to add text</a:t>
                </a:r>
                <a:endParaRPr kumimoji="1" lang="en-US" altLang="zh-CN" b="1" dirty="0">
                  <a:latin typeface="Calibri" pitchFamily="34" charset="0"/>
                  <a:ea typeface="宋体" pitchFamily="2" charset="-122"/>
                </a:endParaRPr>
              </a:p>
            </p:txBody>
          </p:sp>
          <p:sp>
            <p:nvSpPr>
              <p:cNvPr id="485" name="文本框 484"/>
              <p:cNvSpPr txBox="1"/>
              <p:nvPr/>
            </p:nvSpPr>
            <p:spPr>
              <a:xfrm>
                <a:off x="6317244" y="4071928"/>
                <a:ext cx="2329475" cy="951027"/>
              </a:xfrm>
              <a:prstGeom prst="rect">
                <a:avLst/>
              </a:prstGeom>
              <a:noFill/>
            </p:spPr>
            <p:txBody>
              <a:bodyPr wrap="square" rtlCol="0" anchor="t" anchorCtr="0">
                <a:normAutofit/>
              </a:bodyPr>
              <a:lstStyle/>
              <a:p>
                <a:pPr>
                  <a:lnSpc>
                    <a:spcPct val="120000"/>
                  </a:lnSpc>
                </a:pPr>
                <a:r>
                  <a:rPr kumimoji="1" lang="nb-NO" altLang="zh-CN" sz="1200">
                    <a:latin typeface="Calibri" pitchFamily="34" charset="0"/>
                    <a:ea typeface="宋体" pitchFamily="2" charset="-122"/>
                  </a:rPr>
                  <a:t>Gubergren vel et sadipscing vel elitr diam accumsan kasd.</a:t>
                </a:r>
                <a:endParaRPr kumimoji="1" lang="en-US" altLang="zh-CN" sz="1200" dirty="0">
                  <a:latin typeface="Calibri" pitchFamily="34" charset="0"/>
                  <a:ea typeface="宋体" pitchFamily="2" charset="-122"/>
                </a:endParaRPr>
              </a:p>
            </p:txBody>
          </p:sp>
        </p:grpSp>
        <p:grpSp>
          <p:nvGrpSpPr>
            <p:cNvPr id="5" name="组合 4"/>
            <p:cNvGrpSpPr/>
            <p:nvPr/>
          </p:nvGrpSpPr>
          <p:grpSpPr>
            <a:xfrm>
              <a:off x="8609704" y="2679845"/>
              <a:ext cx="2462891" cy="1695751"/>
              <a:chOff x="8609704" y="2679845"/>
              <a:chExt cx="2462891" cy="1695751"/>
            </a:xfrm>
          </p:grpSpPr>
          <p:sp>
            <p:nvSpPr>
              <p:cNvPr id="456" name="矩形: 圆角 455"/>
              <p:cNvSpPr/>
              <p:nvPr/>
            </p:nvSpPr>
            <p:spPr>
              <a:xfrm>
                <a:off x="8609704" y="2679845"/>
                <a:ext cx="2296504" cy="637774"/>
              </a:xfrm>
              <a:prstGeom prst="roundRect">
                <a:avLst/>
              </a:prstGeom>
              <a:solidFill>
                <a:schemeClr val="accent1">
                  <a:alpha val="15000"/>
                </a:schemeClr>
              </a:solidFill>
              <a:ln w="9525" cap="flat">
                <a:noFill/>
                <a:prstDash val="solid"/>
                <a:miter/>
              </a:ln>
            </p:spPr>
            <p:txBody>
              <a:bodyPr wrap="square" rtlCol="0" anchor="ctr">
                <a:normAutofit/>
              </a:bodyPr>
              <a:lstStyle/>
              <a:p>
                <a:pPr algn="ctr"/>
                <a:r>
                  <a:rPr kumimoji="1" lang="en-US" altLang="zh-CN" b="1">
                    <a:latin typeface="Calibri" pitchFamily="34" charset="0"/>
                    <a:ea typeface="宋体" pitchFamily="2" charset="-122"/>
                  </a:rPr>
                  <a:t>Click to add text</a:t>
                </a:r>
                <a:endParaRPr kumimoji="1" lang="en-US" altLang="zh-CN" b="1" dirty="0">
                  <a:latin typeface="Calibri" pitchFamily="34" charset="0"/>
                  <a:ea typeface="宋体" pitchFamily="2" charset="-122"/>
                </a:endParaRPr>
              </a:p>
            </p:txBody>
          </p:sp>
          <p:sp>
            <p:nvSpPr>
              <p:cNvPr id="486" name="文本框 485"/>
              <p:cNvSpPr txBox="1"/>
              <p:nvPr/>
            </p:nvSpPr>
            <p:spPr>
              <a:xfrm>
                <a:off x="8743120" y="3424569"/>
                <a:ext cx="2329475" cy="951027"/>
              </a:xfrm>
              <a:prstGeom prst="rect">
                <a:avLst/>
              </a:prstGeom>
              <a:noFill/>
            </p:spPr>
            <p:txBody>
              <a:bodyPr wrap="square" rtlCol="0" anchor="t" anchorCtr="0">
                <a:normAutofit/>
              </a:bodyPr>
              <a:lstStyle/>
              <a:p>
                <a:pPr>
                  <a:lnSpc>
                    <a:spcPct val="120000"/>
                  </a:lnSpc>
                </a:pPr>
                <a:r>
                  <a:rPr kumimoji="1" lang="en-US" altLang="zh-CN" sz="1200">
                    <a:latin typeface="Calibri" pitchFamily="34" charset="0"/>
                    <a:ea typeface="宋体" pitchFamily="2" charset="-122"/>
                  </a:rPr>
                  <a:t>Ipsum duis sit consectetuer eos lorem justo amet ut.</a:t>
                </a:r>
                <a:endParaRPr kumimoji="1" lang="en-US" altLang="zh-CN" sz="1200" dirty="0">
                  <a:latin typeface="Calibri" pitchFamily="34" charset="0"/>
                  <a:ea typeface="宋体" pitchFamily="2" charset="-122"/>
                </a:endParaRPr>
              </a:p>
            </p:txBody>
          </p:sp>
        </p:grpSp>
      </p:grpSp>
    </p:spTree>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1" name="组合 30"/>
          <p:cNvGrpSpPr/>
          <p:nvPr/>
        </p:nvGrpSpPr>
        <p:grpSpPr>
          <a:xfrm>
            <a:off x="673100" y="1144444"/>
            <a:ext cx="10845800" cy="4748357"/>
            <a:chOff x="673100" y="1144443"/>
            <a:chExt cx="10845800" cy="4748357"/>
          </a:xfrm>
        </p:grpSpPr>
        <p:sp>
          <p:nvSpPr>
            <p:cNvPr id="11" name="文本框 10"/>
            <p:cNvSpPr txBox="1"/>
            <p:nvPr/>
          </p:nvSpPr>
          <p:spPr>
            <a:xfrm>
              <a:off x="1308100" y="1144443"/>
              <a:ext cx="9575800" cy="644239"/>
            </a:xfrm>
            <a:prstGeom prst="rect">
              <a:avLst/>
            </a:prstGeom>
            <a:noFill/>
          </p:spPr>
          <p:txBody>
            <a:bodyPr wrap="square" anchor="b">
              <a:normAutofit/>
            </a:bodyPr>
            <a:lstStyle/>
            <a:p>
              <a:pPr algn="ctr" defTabSz="913765">
                <a:buSzPct val="25000"/>
                <a:defRPr/>
              </a:pPr>
              <a:r>
                <a:rPr lang="en-US" altLang="zh-CN" sz="2400" b="1">
                  <a:latin typeface="Calibri" pitchFamily="34" charset="0"/>
                  <a:ea typeface="宋体" pitchFamily="2" charset="-122"/>
                </a:rPr>
                <a:t>Unified fonts make reading more fluent</a:t>
              </a:r>
              <a:endParaRPr lang="en-US" altLang="zh-CN" sz="2400" b="1" dirty="0">
                <a:latin typeface="Calibri" pitchFamily="34" charset="0"/>
                <a:ea typeface="宋体" pitchFamily="2" charset="-122"/>
              </a:endParaRPr>
            </a:p>
          </p:txBody>
        </p:sp>
        <p:sp>
          <p:nvSpPr>
            <p:cNvPr id="3" name="椭圆 2"/>
            <p:cNvSpPr/>
            <p:nvPr/>
          </p:nvSpPr>
          <p:spPr bwMode="auto">
            <a:xfrm>
              <a:off x="4439896" y="2468552"/>
              <a:ext cx="3312209" cy="3310922"/>
            </a:xfrm>
            <a:prstGeom prst="ellipse">
              <a:avLst/>
            </a:prstGeom>
            <a:solidFill>
              <a:schemeClr val="accent1">
                <a:alpha val="10000"/>
              </a:schemeClr>
            </a:solidFill>
            <a:ln w="12700">
              <a:solidFill>
                <a:schemeClr val="accent1"/>
              </a:solidFill>
              <a:prstDash val="dash"/>
            </a:ln>
          </p:spPr>
          <p:txBody>
            <a:bodyPr vert="horz" wrap="square" lIns="91440" tIns="45720" rIns="91440" bIns="45720" numCol="1" anchor="t" anchorCtr="0" compatLnSpc="1"/>
            <a:lstStyle/>
            <a:p>
              <a:endParaRPr lang="zh-CN" altLang="en-US"/>
            </a:p>
          </p:txBody>
        </p:sp>
        <p:sp>
          <p:nvSpPr>
            <p:cNvPr id="4" name="椭圆 3"/>
            <p:cNvSpPr/>
            <p:nvPr/>
          </p:nvSpPr>
          <p:spPr bwMode="auto">
            <a:xfrm>
              <a:off x="5117276" y="3145933"/>
              <a:ext cx="1956161" cy="1956161"/>
            </a:xfrm>
            <a:prstGeom prst="ellipse">
              <a:avLst/>
            </a:prstGeom>
            <a:blipFill>
              <a:blip r:embed="rId1"/>
              <a:srcRect/>
              <a:stretch>
                <a:fillRect l="-25769" t="1044" r="-28810" b="-1044"/>
              </a:stretch>
            </a:blipFill>
            <a:ln w="12700" cap="flat" cmpd="sng" algn="ctr">
              <a:noFill/>
              <a:prstDash val="solid"/>
              <a:miter lim="800000"/>
            </a:ln>
            <a:effectLst/>
            <a:extLst>
              <a:ext uri="{91240B29-F687-4F45-9708-019B960494DF}">
                <a14:hiddenLine xmlns:a14="http://schemas.microsoft.com/office/drawing/2010/main" w="12700">
                  <a:solidFill>
                    <a:schemeClr val="accent1">
                      <a:shade val="50000"/>
                    </a:schemeClr>
                  </a:solidFill>
                  <a:prstDash val="solid"/>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altLang="zh-CN" dirty="0"/>
            </a:p>
          </p:txBody>
        </p:sp>
        <p:grpSp>
          <p:nvGrpSpPr>
            <p:cNvPr id="29" name="组合 28"/>
            <p:cNvGrpSpPr/>
            <p:nvPr/>
          </p:nvGrpSpPr>
          <p:grpSpPr>
            <a:xfrm>
              <a:off x="5712237" y="1983264"/>
              <a:ext cx="5806663" cy="1501359"/>
              <a:chOff x="5712237" y="1983264"/>
              <a:chExt cx="5806663" cy="1501359"/>
            </a:xfrm>
          </p:grpSpPr>
          <p:sp>
            <p:nvSpPr>
              <p:cNvPr id="10" name="任意多边形: 形状 9"/>
              <p:cNvSpPr/>
              <p:nvPr/>
            </p:nvSpPr>
            <p:spPr bwMode="auto">
              <a:xfrm>
                <a:off x="7464926" y="3317210"/>
                <a:ext cx="186731" cy="167413"/>
              </a:xfrm>
              <a:custGeom>
                <a:avLst/>
                <a:gdLst>
                  <a:gd name="T0" fmla="*/ 145 w 145"/>
                  <a:gd name="T1" fmla="*/ 0 h 130"/>
                  <a:gd name="T2" fmla="*/ 0 w 145"/>
                  <a:gd name="T3" fmla="*/ 98 h 130"/>
                  <a:gd name="T4" fmla="*/ 127 w 145"/>
                  <a:gd name="T5" fmla="*/ 130 h 130"/>
                  <a:gd name="T6" fmla="*/ 145 w 145"/>
                  <a:gd name="T7" fmla="*/ 0 h 130"/>
                </a:gdLst>
                <a:ahLst/>
                <a:cxnLst>
                  <a:cxn ang="0">
                    <a:pos x="T0" y="T1"/>
                  </a:cxn>
                  <a:cxn ang="0">
                    <a:pos x="T2" y="T3"/>
                  </a:cxn>
                  <a:cxn ang="0">
                    <a:pos x="T4" y="T5"/>
                  </a:cxn>
                  <a:cxn ang="0">
                    <a:pos x="T6" y="T7"/>
                  </a:cxn>
                </a:cxnLst>
                <a:rect l="0" t="0" r="r" b="b"/>
                <a:pathLst>
                  <a:path w="145" h="130">
                    <a:moveTo>
                      <a:pt x="145" y="0"/>
                    </a:moveTo>
                    <a:lnTo>
                      <a:pt x="0" y="98"/>
                    </a:lnTo>
                    <a:lnTo>
                      <a:pt x="127" y="130"/>
                    </a:lnTo>
                    <a:lnTo>
                      <a:pt x="145" y="0"/>
                    </a:lnTo>
                    <a:close/>
                  </a:path>
                </a:pathLst>
              </a:custGeom>
              <a:solidFill>
                <a:schemeClr val="accent1"/>
              </a:solidFill>
              <a:ln>
                <a:noFill/>
              </a:ln>
            </p:spPr>
            <p:txBody>
              <a:bodyPr vert="horz" wrap="square" lIns="91440" tIns="45720" rIns="91440" bIns="45720" numCol="1" anchor="t" anchorCtr="0" compatLnSpc="1"/>
              <a:lstStyle/>
              <a:p>
                <a:endParaRPr lang="zh-CN" altLang="en-US"/>
              </a:p>
            </p:txBody>
          </p:sp>
          <p:sp>
            <p:nvSpPr>
              <p:cNvPr id="5" name="椭圆 4"/>
              <p:cNvSpPr/>
              <p:nvPr/>
            </p:nvSpPr>
            <p:spPr bwMode="auto">
              <a:xfrm>
                <a:off x="5712237" y="2113121"/>
                <a:ext cx="768814" cy="770101"/>
              </a:xfrm>
              <a:prstGeom prst="ellipse">
                <a:avLst/>
              </a:prstGeom>
              <a:solidFill>
                <a:schemeClr val="accent1"/>
              </a:solidFill>
              <a:ln w="12700" cap="rnd">
                <a:noFill/>
                <a:prstDash val="solid"/>
                <a:round/>
              </a:ln>
              <a:effectLst>
                <a:outerShdw blurRad="254000" dist="127000" algn="ctr" rotWithShape="0">
                  <a:schemeClr val="accent1">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a:bodyPr>
              <a:lstStyle/>
              <a:p>
                <a:pPr algn="ctr" defTabSz="914400"/>
                <a:r>
                  <a:rPr lang="en-US" altLang="zh-CN" sz="1400" b="1" dirty="0">
                    <a:solidFill>
                      <a:srgbClr val="FFFFFF"/>
                    </a:solidFill>
                    <a:latin typeface="Calibri" pitchFamily="34" charset="0"/>
                    <a:ea typeface="宋体" pitchFamily="2" charset="-122"/>
                  </a:rPr>
                  <a:t>01</a:t>
                </a:r>
                <a:endParaRPr lang="zh-CN" altLang="en-US" sz="1400" b="1" dirty="0">
                  <a:solidFill>
                    <a:srgbClr val="FFFFFF"/>
                  </a:solidFill>
                  <a:latin typeface="Calibri" pitchFamily="34" charset="0"/>
                  <a:ea typeface="宋体" pitchFamily="2" charset="-122"/>
                </a:endParaRPr>
              </a:p>
            </p:txBody>
          </p:sp>
          <p:sp>
            <p:nvSpPr>
              <p:cNvPr id="12" name="矩形 11"/>
              <p:cNvSpPr/>
              <p:nvPr/>
            </p:nvSpPr>
            <p:spPr>
              <a:xfrm flipH="1">
                <a:off x="7302500" y="1983264"/>
                <a:ext cx="4216400" cy="570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r>
                  <a:rPr kumimoji="1" lang="en-US" altLang="zh-CN" b="1">
                    <a:solidFill>
                      <a:schemeClr val="tx1"/>
                    </a:solidFill>
                    <a:latin typeface="Calibri" pitchFamily="34" charset="0"/>
                    <a:ea typeface="宋体" pitchFamily="2" charset="-122"/>
                  </a:rPr>
                  <a:t>Click to add text</a:t>
                </a:r>
                <a:endParaRPr kumimoji="1" lang="en-US" altLang="zh-CN" b="1" dirty="0">
                  <a:solidFill>
                    <a:schemeClr val="tx1"/>
                  </a:solidFill>
                  <a:latin typeface="Calibri" pitchFamily="34" charset="0"/>
                  <a:ea typeface="宋体" pitchFamily="2" charset="-122"/>
                </a:endParaRPr>
              </a:p>
            </p:txBody>
          </p:sp>
          <p:sp>
            <p:nvSpPr>
              <p:cNvPr id="13" name="矩形 12"/>
              <p:cNvSpPr/>
              <p:nvPr/>
            </p:nvSpPr>
            <p:spPr>
              <a:xfrm flipH="1">
                <a:off x="7302500" y="2559604"/>
                <a:ext cx="4216400" cy="570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nSpc>
                    <a:spcPct val="120000"/>
                  </a:lnSpc>
                </a:pPr>
                <a:r>
                  <a:rPr kumimoji="1" lang="en-US" altLang="zh-CN" sz="1200">
                    <a:solidFill>
                      <a:schemeClr val="tx1"/>
                    </a:solidFill>
                    <a:latin typeface="Calibri" pitchFamily="34" charset="0"/>
                    <a:ea typeface="宋体" pitchFamily="2" charset="-122"/>
                  </a:rPr>
                  <a:t>Tation et luptatum vel duo invidunt commodo at illum.</a:t>
                </a:r>
                <a:endParaRPr kumimoji="1" lang="en-US" altLang="zh-CN" sz="1200" dirty="0">
                  <a:solidFill>
                    <a:schemeClr val="tx1"/>
                  </a:solidFill>
                  <a:latin typeface="Calibri" pitchFamily="34" charset="0"/>
                  <a:ea typeface="宋体" pitchFamily="2" charset="-122"/>
                </a:endParaRPr>
              </a:p>
            </p:txBody>
          </p:sp>
        </p:grpSp>
        <p:grpSp>
          <p:nvGrpSpPr>
            <p:cNvPr id="27" name="组合 26"/>
            <p:cNvGrpSpPr/>
            <p:nvPr/>
          </p:nvGrpSpPr>
          <p:grpSpPr>
            <a:xfrm>
              <a:off x="6032898" y="4503157"/>
              <a:ext cx="5486002" cy="1389643"/>
              <a:chOff x="6032898" y="4503157"/>
              <a:chExt cx="5486002" cy="1389643"/>
            </a:xfrm>
          </p:grpSpPr>
          <p:sp>
            <p:nvSpPr>
              <p:cNvPr id="8" name="任意多边形: 形状 7"/>
              <p:cNvSpPr/>
              <p:nvPr/>
            </p:nvSpPr>
            <p:spPr bwMode="auto">
              <a:xfrm>
                <a:off x="6032898" y="5667435"/>
                <a:ext cx="126204" cy="225365"/>
              </a:xfrm>
              <a:custGeom>
                <a:avLst/>
                <a:gdLst>
                  <a:gd name="T0" fmla="*/ 98 w 98"/>
                  <a:gd name="T1" fmla="*/ 0 h 175"/>
                  <a:gd name="T2" fmla="*/ 98 w 98"/>
                  <a:gd name="T3" fmla="*/ 175 h 175"/>
                  <a:gd name="T4" fmla="*/ 0 w 98"/>
                  <a:gd name="T5" fmla="*/ 87 h 175"/>
                  <a:gd name="T6" fmla="*/ 98 w 98"/>
                  <a:gd name="T7" fmla="*/ 0 h 175"/>
                </a:gdLst>
                <a:ahLst/>
                <a:cxnLst>
                  <a:cxn ang="0">
                    <a:pos x="T0" y="T1"/>
                  </a:cxn>
                  <a:cxn ang="0">
                    <a:pos x="T2" y="T3"/>
                  </a:cxn>
                  <a:cxn ang="0">
                    <a:pos x="T4" y="T5"/>
                  </a:cxn>
                  <a:cxn ang="0">
                    <a:pos x="T6" y="T7"/>
                  </a:cxn>
                </a:cxnLst>
                <a:rect l="0" t="0" r="r" b="b"/>
                <a:pathLst>
                  <a:path w="98" h="175">
                    <a:moveTo>
                      <a:pt x="98" y="0"/>
                    </a:moveTo>
                    <a:lnTo>
                      <a:pt x="98" y="175"/>
                    </a:lnTo>
                    <a:lnTo>
                      <a:pt x="0" y="87"/>
                    </a:lnTo>
                    <a:lnTo>
                      <a:pt x="98" y="0"/>
                    </a:lnTo>
                    <a:close/>
                  </a:path>
                </a:pathLst>
              </a:custGeom>
              <a:solidFill>
                <a:schemeClr val="accent1"/>
              </a:solidFill>
              <a:ln>
                <a:noFill/>
              </a:ln>
            </p:spPr>
            <p:txBody>
              <a:bodyPr vert="horz" wrap="square" lIns="91440" tIns="45720" rIns="91440" bIns="45720" numCol="1" anchor="t" anchorCtr="0" compatLnSpc="1"/>
              <a:lstStyle/>
              <a:p>
                <a:endParaRPr lang="zh-CN" altLang="en-US"/>
              </a:p>
            </p:txBody>
          </p:sp>
          <p:sp>
            <p:nvSpPr>
              <p:cNvPr id="7" name="椭圆 6"/>
              <p:cNvSpPr/>
              <p:nvPr/>
            </p:nvSpPr>
            <p:spPr bwMode="auto">
              <a:xfrm>
                <a:off x="7073436" y="4666819"/>
                <a:ext cx="768814" cy="768814"/>
              </a:xfrm>
              <a:prstGeom prst="ellipse">
                <a:avLst/>
              </a:prstGeom>
              <a:solidFill>
                <a:schemeClr val="accent2"/>
              </a:solidFill>
              <a:ln w="12700" cap="rnd">
                <a:noFill/>
                <a:prstDash val="solid"/>
                <a:round/>
              </a:ln>
              <a:effectLst>
                <a:outerShdw blurRad="254000" dist="127000" algn="ctr" rotWithShape="0">
                  <a:schemeClr val="accent2">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noAutofit/>
              </a:bodyPr>
              <a:lstStyle/>
              <a:p>
                <a:pPr algn="ctr" defTabSz="914400"/>
                <a:r>
                  <a:rPr lang="en-US" altLang="zh-CN" sz="1400" b="1" dirty="0">
                    <a:solidFill>
                      <a:srgbClr val="FFFFFF"/>
                    </a:solidFill>
                    <a:latin typeface="Calibri" pitchFamily="34" charset="0"/>
                    <a:ea typeface="宋体" pitchFamily="2" charset="-122"/>
                  </a:rPr>
                  <a:t>02</a:t>
                </a:r>
                <a:endParaRPr lang="zh-CN" altLang="en-US" sz="1400" b="1" dirty="0">
                  <a:solidFill>
                    <a:srgbClr val="FFFFFF"/>
                  </a:solidFill>
                  <a:latin typeface="Calibri" pitchFamily="34" charset="0"/>
                  <a:ea typeface="宋体" pitchFamily="2" charset="-122"/>
                </a:endParaRPr>
              </a:p>
            </p:txBody>
          </p:sp>
          <p:sp>
            <p:nvSpPr>
              <p:cNvPr id="16" name="矩形 15"/>
              <p:cNvSpPr/>
              <p:nvPr/>
            </p:nvSpPr>
            <p:spPr>
              <a:xfrm flipH="1">
                <a:off x="7975600" y="4503157"/>
                <a:ext cx="3543300" cy="570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r>
                  <a:rPr kumimoji="1" lang="en-US" altLang="zh-CN" b="1">
                    <a:solidFill>
                      <a:schemeClr val="tx1"/>
                    </a:solidFill>
                    <a:latin typeface="Calibri" pitchFamily="34" charset="0"/>
                    <a:ea typeface="宋体" pitchFamily="2" charset="-122"/>
                  </a:rPr>
                  <a:t>Click to add text</a:t>
                </a:r>
                <a:endParaRPr kumimoji="1" lang="en-US" altLang="zh-CN" b="1" dirty="0">
                  <a:solidFill>
                    <a:schemeClr val="tx1"/>
                  </a:solidFill>
                  <a:latin typeface="Calibri" pitchFamily="34" charset="0"/>
                  <a:ea typeface="宋体" pitchFamily="2" charset="-122"/>
                </a:endParaRPr>
              </a:p>
            </p:txBody>
          </p:sp>
          <p:sp>
            <p:nvSpPr>
              <p:cNvPr id="17" name="矩形 16"/>
              <p:cNvSpPr/>
              <p:nvPr/>
            </p:nvSpPr>
            <p:spPr>
              <a:xfrm flipH="1">
                <a:off x="7975600" y="5079497"/>
                <a:ext cx="3543300" cy="570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nSpc>
                    <a:spcPct val="120000"/>
                  </a:lnSpc>
                </a:pPr>
                <a:r>
                  <a:rPr kumimoji="1" lang="fr-FR" altLang="zh-CN" sz="1200">
                    <a:solidFill>
                      <a:schemeClr val="tx1"/>
                    </a:solidFill>
                    <a:latin typeface="Calibri" pitchFamily="34" charset="0"/>
                    <a:ea typeface="宋体" pitchFamily="2" charset="-122"/>
                  </a:rPr>
                  <a:t>Consequat nibh sanctus et ipsum clita et te no amet.</a:t>
                </a:r>
                <a:endParaRPr kumimoji="1" lang="en-US" altLang="zh-CN" sz="1200" dirty="0">
                  <a:solidFill>
                    <a:schemeClr val="tx1"/>
                  </a:solidFill>
                  <a:latin typeface="Calibri" pitchFamily="34" charset="0"/>
                  <a:ea typeface="宋体" pitchFamily="2" charset="-122"/>
                </a:endParaRPr>
              </a:p>
            </p:txBody>
          </p:sp>
        </p:grpSp>
        <p:grpSp>
          <p:nvGrpSpPr>
            <p:cNvPr id="28" name="组合 27"/>
            <p:cNvGrpSpPr/>
            <p:nvPr/>
          </p:nvGrpSpPr>
          <p:grpSpPr>
            <a:xfrm>
              <a:off x="673100" y="3317210"/>
              <a:ext cx="4444176" cy="2332953"/>
              <a:chOff x="673100" y="3317210"/>
              <a:chExt cx="4444176" cy="2332953"/>
            </a:xfrm>
          </p:grpSpPr>
          <p:sp>
            <p:nvSpPr>
              <p:cNvPr id="9" name="任意多边形: 形状 8"/>
              <p:cNvSpPr/>
              <p:nvPr/>
            </p:nvSpPr>
            <p:spPr bwMode="auto">
              <a:xfrm>
                <a:off x="4484968" y="3317210"/>
                <a:ext cx="186731" cy="167413"/>
              </a:xfrm>
              <a:custGeom>
                <a:avLst/>
                <a:gdLst>
                  <a:gd name="T0" fmla="*/ 145 w 145"/>
                  <a:gd name="T1" fmla="*/ 130 h 130"/>
                  <a:gd name="T2" fmla="*/ 0 w 145"/>
                  <a:gd name="T3" fmla="*/ 33 h 130"/>
                  <a:gd name="T4" fmla="*/ 128 w 145"/>
                  <a:gd name="T5" fmla="*/ 0 h 130"/>
                  <a:gd name="T6" fmla="*/ 145 w 145"/>
                  <a:gd name="T7" fmla="*/ 130 h 130"/>
                </a:gdLst>
                <a:ahLst/>
                <a:cxnLst>
                  <a:cxn ang="0">
                    <a:pos x="T0" y="T1"/>
                  </a:cxn>
                  <a:cxn ang="0">
                    <a:pos x="T2" y="T3"/>
                  </a:cxn>
                  <a:cxn ang="0">
                    <a:pos x="T4" y="T5"/>
                  </a:cxn>
                  <a:cxn ang="0">
                    <a:pos x="T6" y="T7"/>
                  </a:cxn>
                </a:cxnLst>
                <a:rect l="0" t="0" r="r" b="b"/>
                <a:pathLst>
                  <a:path w="145" h="130">
                    <a:moveTo>
                      <a:pt x="145" y="130"/>
                    </a:moveTo>
                    <a:lnTo>
                      <a:pt x="0" y="33"/>
                    </a:lnTo>
                    <a:lnTo>
                      <a:pt x="128" y="0"/>
                    </a:lnTo>
                    <a:lnTo>
                      <a:pt x="145" y="130"/>
                    </a:lnTo>
                    <a:close/>
                  </a:path>
                </a:pathLst>
              </a:custGeom>
              <a:solidFill>
                <a:schemeClr val="accent1"/>
              </a:solidFill>
              <a:ln>
                <a:noFill/>
              </a:ln>
            </p:spPr>
            <p:txBody>
              <a:bodyPr vert="horz" wrap="square" lIns="91440" tIns="45720" rIns="91440" bIns="45720" numCol="1" anchor="t" anchorCtr="0" compatLnSpc="1"/>
              <a:lstStyle/>
              <a:p>
                <a:endParaRPr lang="zh-CN" altLang="en-US"/>
              </a:p>
            </p:txBody>
          </p:sp>
          <p:sp>
            <p:nvSpPr>
              <p:cNvPr id="6" name="椭圆 5"/>
              <p:cNvSpPr/>
              <p:nvPr/>
            </p:nvSpPr>
            <p:spPr bwMode="auto">
              <a:xfrm>
                <a:off x="4349750" y="4657804"/>
                <a:ext cx="767526" cy="768814"/>
              </a:xfrm>
              <a:prstGeom prst="ellipse">
                <a:avLst/>
              </a:prstGeom>
              <a:solidFill>
                <a:schemeClr val="accent2"/>
              </a:solidFill>
              <a:ln w="12700" cap="rnd">
                <a:noFill/>
                <a:prstDash val="solid"/>
                <a:round/>
              </a:ln>
              <a:effectLst>
                <a:outerShdw blurRad="254000" dist="127000" algn="ctr" rotWithShape="0">
                  <a:schemeClr val="accent2">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noAutofit/>
              </a:bodyPr>
              <a:lstStyle/>
              <a:p>
                <a:pPr algn="ctr" defTabSz="914400"/>
                <a:r>
                  <a:rPr lang="en-US" altLang="zh-CN" sz="1400" b="1" dirty="0">
                    <a:solidFill>
                      <a:srgbClr val="FFFFFF"/>
                    </a:solidFill>
                    <a:latin typeface="Calibri" pitchFamily="34" charset="0"/>
                    <a:ea typeface="宋体" pitchFamily="2" charset="-122"/>
                  </a:rPr>
                  <a:t>03</a:t>
                </a:r>
                <a:endParaRPr lang="zh-CN" altLang="en-US" sz="1400" b="1" dirty="0">
                  <a:solidFill>
                    <a:srgbClr val="FFFFFF"/>
                  </a:solidFill>
                  <a:latin typeface="Calibri" pitchFamily="34" charset="0"/>
                  <a:ea typeface="宋体" pitchFamily="2" charset="-122"/>
                </a:endParaRPr>
              </a:p>
            </p:txBody>
          </p:sp>
          <p:sp>
            <p:nvSpPr>
              <p:cNvPr id="19" name="矩形 18"/>
              <p:cNvSpPr/>
              <p:nvPr/>
            </p:nvSpPr>
            <p:spPr>
              <a:xfrm flipH="1">
                <a:off x="673100" y="4503157"/>
                <a:ext cx="3543300" cy="570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r"/>
                <a:r>
                  <a:rPr kumimoji="1" lang="en-US" altLang="zh-CN" b="1">
                    <a:solidFill>
                      <a:schemeClr val="tx1"/>
                    </a:solidFill>
                    <a:latin typeface="Calibri" pitchFamily="34" charset="0"/>
                    <a:ea typeface="宋体" pitchFamily="2" charset="-122"/>
                  </a:rPr>
                  <a:t>Click to add text</a:t>
                </a:r>
                <a:endParaRPr kumimoji="1" lang="en-US" altLang="zh-CN" b="1" dirty="0">
                  <a:solidFill>
                    <a:schemeClr val="tx1"/>
                  </a:solidFill>
                  <a:latin typeface="Calibri" pitchFamily="34" charset="0"/>
                  <a:ea typeface="宋体" pitchFamily="2" charset="-122"/>
                </a:endParaRPr>
              </a:p>
            </p:txBody>
          </p:sp>
          <p:sp>
            <p:nvSpPr>
              <p:cNvPr id="20" name="矩形 19"/>
              <p:cNvSpPr/>
              <p:nvPr/>
            </p:nvSpPr>
            <p:spPr>
              <a:xfrm flipH="1">
                <a:off x="673100" y="5079497"/>
                <a:ext cx="3543300" cy="570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r">
                  <a:lnSpc>
                    <a:spcPct val="120000"/>
                  </a:lnSpc>
                </a:pPr>
                <a:r>
                  <a:rPr kumimoji="1" lang="pt-BR" altLang="zh-CN" sz="1200">
                    <a:solidFill>
                      <a:schemeClr val="tx1"/>
                    </a:solidFill>
                    <a:latin typeface="Calibri" pitchFamily="34" charset="0"/>
                    <a:ea typeface="宋体" pitchFamily="2" charset="-122"/>
                  </a:rPr>
                  <a:t>Dolor te amet elitr justo iusto duis diam dolore sit.</a:t>
                </a:r>
                <a:endParaRPr kumimoji="1" lang="en-US" altLang="zh-CN" sz="1200" dirty="0">
                  <a:solidFill>
                    <a:schemeClr val="tx1"/>
                  </a:solidFill>
                  <a:latin typeface="Calibri" pitchFamily="34" charset="0"/>
                  <a:ea typeface="宋体" pitchFamily="2" charset="-122"/>
                </a:endParaRPr>
              </a:p>
            </p:txBody>
          </p:sp>
        </p:grpSp>
      </p:grpSp>
    </p:spTree>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6" name="组合 125"/>
          <p:cNvGrpSpPr/>
          <p:nvPr/>
        </p:nvGrpSpPr>
        <p:grpSpPr>
          <a:xfrm>
            <a:off x="403377" y="1329887"/>
            <a:ext cx="11115523" cy="4528516"/>
            <a:chOff x="403377" y="1329886"/>
            <a:chExt cx="11115523" cy="4528516"/>
          </a:xfrm>
        </p:grpSpPr>
        <p:grpSp>
          <p:nvGrpSpPr>
            <p:cNvPr id="117" name="组合 116"/>
            <p:cNvGrpSpPr/>
            <p:nvPr/>
          </p:nvGrpSpPr>
          <p:grpSpPr>
            <a:xfrm>
              <a:off x="3557411" y="1693203"/>
              <a:ext cx="1992875" cy="3820298"/>
              <a:chOff x="3547659" y="1229068"/>
              <a:chExt cx="1992875" cy="4742224"/>
            </a:xfrm>
          </p:grpSpPr>
          <p:grpSp>
            <p:nvGrpSpPr>
              <p:cNvPr id="61" name="组合 60"/>
              <p:cNvGrpSpPr/>
              <p:nvPr/>
            </p:nvGrpSpPr>
            <p:grpSpPr>
              <a:xfrm>
                <a:off x="3547659" y="1229068"/>
                <a:ext cx="1992875" cy="2371112"/>
                <a:chOff x="3547659" y="1272610"/>
                <a:chExt cx="1992875" cy="2371112"/>
              </a:xfrm>
            </p:grpSpPr>
            <p:sp>
              <p:nvSpPr>
                <p:cNvPr id="62" name="任意多边形: 形状 61"/>
                <p:cNvSpPr/>
                <p:nvPr/>
              </p:nvSpPr>
              <p:spPr bwMode="auto">
                <a:xfrm flipV="1">
                  <a:off x="3547659" y="1290667"/>
                  <a:ext cx="1952625" cy="2353055"/>
                </a:xfrm>
                <a:custGeom>
                  <a:avLst/>
                  <a:gdLst>
                    <a:gd name="T0" fmla="*/ 516 w 516"/>
                    <a:gd name="T1" fmla="*/ 478 h 478"/>
                    <a:gd name="T2" fmla="*/ 280 w 516"/>
                    <a:gd name="T3" fmla="*/ 478 h 478"/>
                    <a:gd name="T4" fmla="*/ 140 w 516"/>
                    <a:gd name="T5" fmla="*/ 309 h 478"/>
                    <a:gd name="T6" fmla="*/ 140 w 516"/>
                    <a:gd name="T7" fmla="*/ 169 h 478"/>
                    <a:gd name="T8" fmla="*/ 0 w 516"/>
                    <a:gd name="T9" fmla="*/ 0 h 478"/>
                    <a:gd name="T10" fmla="*/ 0 w 516"/>
                    <a:gd name="T11" fmla="*/ 0 h 478"/>
                  </a:gdLst>
                  <a:ahLst/>
                  <a:cxnLst>
                    <a:cxn ang="0">
                      <a:pos x="T0" y="T1"/>
                    </a:cxn>
                    <a:cxn ang="0">
                      <a:pos x="T2" y="T3"/>
                    </a:cxn>
                    <a:cxn ang="0">
                      <a:pos x="T4" y="T5"/>
                    </a:cxn>
                    <a:cxn ang="0">
                      <a:pos x="T6" y="T7"/>
                    </a:cxn>
                    <a:cxn ang="0">
                      <a:pos x="T8" y="T9"/>
                    </a:cxn>
                    <a:cxn ang="0">
                      <a:pos x="T10" y="T11"/>
                    </a:cxn>
                  </a:cxnLst>
                  <a:rect l="0" t="0" r="r" b="b"/>
                  <a:pathLst>
                    <a:path w="516" h="478">
                      <a:moveTo>
                        <a:pt x="516" y="478"/>
                      </a:moveTo>
                      <a:cubicBezTo>
                        <a:pt x="280" y="478"/>
                        <a:pt x="280" y="478"/>
                        <a:pt x="280" y="478"/>
                      </a:cubicBezTo>
                      <a:cubicBezTo>
                        <a:pt x="203" y="478"/>
                        <a:pt x="140" y="402"/>
                        <a:pt x="140" y="309"/>
                      </a:cubicBezTo>
                      <a:cubicBezTo>
                        <a:pt x="140" y="169"/>
                        <a:pt x="140" y="169"/>
                        <a:pt x="140" y="169"/>
                      </a:cubicBezTo>
                      <a:cubicBezTo>
                        <a:pt x="140" y="76"/>
                        <a:pt x="77" y="0"/>
                        <a:pt x="0" y="0"/>
                      </a:cubicBezTo>
                      <a:cubicBezTo>
                        <a:pt x="0" y="0"/>
                        <a:pt x="0" y="0"/>
                        <a:pt x="0" y="0"/>
                      </a:cubicBezTo>
                    </a:path>
                  </a:pathLst>
                </a:custGeom>
                <a:noFill/>
                <a:ln w="15875" cap="flat">
                  <a:solidFill>
                    <a:schemeClr val="accent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zh-CN" altLang="en-US" dirty="0"/>
                </a:p>
              </p:txBody>
            </p:sp>
            <p:sp>
              <p:nvSpPr>
                <p:cNvPr id="63" name="椭圆 62"/>
                <p:cNvSpPr/>
                <p:nvPr/>
              </p:nvSpPr>
              <p:spPr>
                <a:xfrm>
                  <a:off x="5494815" y="1272610"/>
                  <a:ext cx="45719" cy="45719"/>
                </a:xfrm>
                <a:prstGeom prst="ellipse">
                  <a:avLst/>
                </a:prstGeom>
                <a:solidFill>
                  <a:schemeClr val="accent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64" name="组合 63"/>
              <p:cNvGrpSpPr/>
              <p:nvPr/>
            </p:nvGrpSpPr>
            <p:grpSpPr>
              <a:xfrm>
                <a:off x="3554413" y="3600180"/>
                <a:ext cx="1986121" cy="2371112"/>
                <a:chOff x="3554413" y="3643722"/>
                <a:chExt cx="1986121" cy="2371112"/>
              </a:xfrm>
            </p:grpSpPr>
            <p:sp>
              <p:nvSpPr>
                <p:cNvPr id="65" name="任意多边形: 形状 64"/>
                <p:cNvSpPr/>
                <p:nvPr/>
              </p:nvSpPr>
              <p:spPr bwMode="auto">
                <a:xfrm>
                  <a:off x="3554413" y="3643722"/>
                  <a:ext cx="1952625" cy="2353055"/>
                </a:xfrm>
                <a:custGeom>
                  <a:avLst/>
                  <a:gdLst>
                    <a:gd name="T0" fmla="*/ 516 w 516"/>
                    <a:gd name="T1" fmla="*/ 478 h 478"/>
                    <a:gd name="T2" fmla="*/ 280 w 516"/>
                    <a:gd name="T3" fmla="*/ 478 h 478"/>
                    <a:gd name="T4" fmla="*/ 140 w 516"/>
                    <a:gd name="T5" fmla="*/ 309 h 478"/>
                    <a:gd name="T6" fmla="*/ 140 w 516"/>
                    <a:gd name="T7" fmla="*/ 169 h 478"/>
                    <a:gd name="T8" fmla="*/ 0 w 516"/>
                    <a:gd name="T9" fmla="*/ 0 h 478"/>
                    <a:gd name="T10" fmla="*/ 0 w 516"/>
                    <a:gd name="T11" fmla="*/ 0 h 478"/>
                  </a:gdLst>
                  <a:ahLst/>
                  <a:cxnLst>
                    <a:cxn ang="0">
                      <a:pos x="T0" y="T1"/>
                    </a:cxn>
                    <a:cxn ang="0">
                      <a:pos x="T2" y="T3"/>
                    </a:cxn>
                    <a:cxn ang="0">
                      <a:pos x="T4" y="T5"/>
                    </a:cxn>
                    <a:cxn ang="0">
                      <a:pos x="T6" y="T7"/>
                    </a:cxn>
                    <a:cxn ang="0">
                      <a:pos x="T8" y="T9"/>
                    </a:cxn>
                    <a:cxn ang="0">
                      <a:pos x="T10" y="T11"/>
                    </a:cxn>
                  </a:cxnLst>
                  <a:rect l="0" t="0" r="r" b="b"/>
                  <a:pathLst>
                    <a:path w="516" h="478">
                      <a:moveTo>
                        <a:pt x="516" y="478"/>
                      </a:moveTo>
                      <a:cubicBezTo>
                        <a:pt x="280" y="478"/>
                        <a:pt x="280" y="478"/>
                        <a:pt x="280" y="478"/>
                      </a:cubicBezTo>
                      <a:cubicBezTo>
                        <a:pt x="203" y="478"/>
                        <a:pt x="140" y="402"/>
                        <a:pt x="140" y="309"/>
                      </a:cubicBezTo>
                      <a:cubicBezTo>
                        <a:pt x="140" y="169"/>
                        <a:pt x="140" y="169"/>
                        <a:pt x="140" y="169"/>
                      </a:cubicBezTo>
                      <a:cubicBezTo>
                        <a:pt x="140" y="76"/>
                        <a:pt x="77" y="0"/>
                        <a:pt x="0" y="0"/>
                      </a:cubicBezTo>
                      <a:cubicBezTo>
                        <a:pt x="0" y="0"/>
                        <a:pt x="0" y="0"/>
                        <a:pt x="0" y="0"/>
                      </a:cubicBezTo>
                    </a:path>
                  </a:pathLst>
                </a:custGeom>
                <a:noFill/>
                <a:ln w="15875" cap="flat">
                  <a:solidFill>
                    <a:schemeClr val="accent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zh-CN" altLang="en-US" dirty="0"/>
                </a:p>
              </p:txBody>
            </p:sp>
            <p:sp>
              <p:nvSpPr>
                <p:cNvPr id="66" name="椭圆 65"/>
                <p:cNvSpPr/>
                <p:nvPr/>
              </p:nvSpPr>
              <p:spPr>
                <a:xfrm>
                  <a:off x="5494815" y="5969115"/>
                  <a:ext cx="45719" cy="45719"/>
                </a:xfrm>
                <a:prstGeom prst="ellipse">
                  <a:avLst/>
                </a:prstGeom>
                <a:solidFill>
                  <a:schemeClr val="accent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67" name="组合 66"/>
              <p:cNvGrpSpPr/>
              <p:nvPr/>
            </p:nvGrpSpPr>
            <p:grpSpPr>
              <a:xfrm>
                <a:off x="3573206" y="2575198"/>
                <a:ext cx="1967328" cy="2045792"/>
                <a:chOff x="3573206" y="2625090"/>
                <a:chExt cx="1967328" cy="2045792"/>
              </a:xfrm>
            </p:grpSpPr>
            <p:grpSp>
              <p:nvGrpSpPr>
                <p:cNvPr id="68" name="组合 67"/>
                <p:cNvGrpSpPr/>
                <p:nvPr/>
              </p:nvGrpSpPr>
              <p:grpSpPr>
                <a:xfrm>
                  <a:off x="3573206" y="2625090"/>
                  <a:ext cx="1967328" cy="1023988"/>
                  <a:chOff x="3573206" y="2625090"/>
                  <a:chExt cx="1967328" cy="1023988"/>
                </a:xfrm>
              </p:grpSpPr>
              <p:sp>
                <p:nvSpPr>
                  <p:cNvPr id="72" name="任意多边形: 形状 71"/>
                  <p:cNvSpPr/>
                  <p:nvPr/>
                </p:nvSpPr>
                <p:spPr bwMode="auto">
                  <a:xfrm flipV="1">
                    <a:off x="3573206" y="2647949"/>
                    <a:ext cx="1952625" cy="1001129"/>
                  </a:xfrm>
                  <a:custGeom>
                    <a:avLst/>
                    <a:gdLst>
                      <a:gd name="T0" fmla="*/ 516 w 516"/>
                      <a:gd name="T1" fmla="*/ 478 h 478"/>
                      <a:gd name="T2" fmla="*/ 280 w 516"/>
                      <a:gd name="T3" fmla="*/ 478 h 478"/>
                      <a:gd name="T4" fmla="*/ 140 w 516"/>
                      <a:gd name="T5" fmla="*/ 309 h 478"/>
                      <a:gd name="T6" fmla="*/ 140 w 516"/>
                      <a:gd name="T7" fmla="*/ 169 h 478"/>
                      <a:gd name="T8" fmla="*/ 0 w 516"/>
                      <a:gd name="T9" fmla="*/ 0 h 478"/>
                      <a:gd name="T10" fmla="*/ 0 w 516"/>
                      <a:gd name="T11" fmla="*/ 0 h 478"/>
                      <a:gd name="connsiteX0" fmla="*/ 12971 w 12971"/>
                      <a:gd name="connsiteY0" fmla="*/ 10000 h 10000"/>
                      <a:gd name="connsiteX1" fmla="*/ 8397 w 12971"/>
                      <a:gd name="connsiteY1" fmla="*/ 10000 h 10000"/>
                      <a:gd name="connsiteX2" fmla="*/ 5684 w 12971"/>
                      <a:gd name="connsiteY2" fmla="*/ 6464 h 10000"/>
                      <a:gd name="connsiteX3" fmla="*/ 5684 w 12971"/>
                      <a:gd name="connsiteY3" fmla="*/ 3536 h 10000"/>
                      <a:gd name="connsiteX4" fmla="*/ 2971 w 12971"/>
                      <a:gd name="connsiteY4" fmla="*/ 0 h 10000"/>
                      <a:gd name="connsiteX5" fmla="*/ 0 w 12971"/>
                      <a:gd name="connsiteY5" fmla="*/ 0 h 10000"/>
                      <a:gd name="connsiteX0-1" fmla="*/ 12971 w 12971"/>
                      <a:gd name="connsiteY0-2" fmla="*/ 10000 h 10000"/>
                      <a:gd name="connsiteX1-3" fmla="*/ 8397 w 12971"/>
                      <a:gd name="connsiteY1-4" fmla="*/ 10000 h 10000"/>
                      <a:gd name="connsiteX2-5" fmla="*/ 5684 w 12971"/>
                      <a:gd name="connsiteY2-6" fmla="*/ 6464 h 10000"/>
                      <a:gd name="connsiteX3-7" fmla="*/ 5684 w 12971"/>
                      <a:gd name="connsiteY3-8" fmla="*/ 3536 h 10000"/>
                      <a:gd name="connsiteX4-9" fmla="*/ 2971 w 12971"/>
                      <a:gd name="connsiteY4-10" fmla="*/ 0 h 10000"/>
                      <a:gd name="connsiteX5-11" fmla="*/ 0 w 12971"/>
                      <a:gd name="connsiteY5-12" fmla="*/ 0 h 10000"/>
                      <a:gd name="connsiteX0-13" fmla="*/ 12971 w 12971"/>
                      <a:gd name="connsiteY0-14" fmla="*/ 10000 h 10000"/>
                      <a:gd name="connsiteX1-15" fmla="*/ 8397 w 12971"/>
                      <a:gd name="connsiteY1-16" fmla="*/ 10000 h 10000"/>
                      <a:gd name="connsiteX2-17" fmla="*/ 5684 w 12971"/>
                      <a:gd name="connsiteY2-18" fmla="*/ 6464 h 10000"/>
                      <a:gd name="connsiteX3-19" fmla="*/ 5684 w 12971"/>
                      <a:gd name="connsiteY3-20" fmla="*/ 3536 h 10000"/>
                      <a:gd name="connsiteX4-21" fmla="*/ 2971 w 12971"/>
                      <a:gd name="connsiteY4-22" fmla="*/ 0 h 10000"/>
                      <a:gd name="connsiteX5-23" fmla="*/ 0 w 12971"/>
                      <a:gd name="connsiteY5-24" fmla="*/ 0 h 1000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Lst>
                    <a:rect l="l" t="t" r="r" b="b"/>
                    <a:pathLst>
                      <a:path w="12971" h="10000">
                        <a:moveTo>
                          <a:pt x="12971" y="10000"/>
                        </a:moveTo>
                        <a:lnTo>
                          <a:pt x="8397" y="10000"/>
                        </a:lnTo>
                        <a:cubicBezTo>
                          <a:pt x="6905" y="10000"/>
                          <a:pt x="5684" y="8410"/>
                          <a:pt x="5684" y="6464"/>
                        </a:cubicBezTo>
                        <a:lnTo>
                          <a:pt x="5684" y="3536"/>
                        </a:lnTo>
                        <a:cubicBezTo>
                          <a:pt x="5684" y="1590"/>
                          <a:pt x="4463" y="0"/>
                          <a:pt x="2971" y="0"/>
                        </a:cubicBezTo>
                        <a:lnTo>
                          <a:pt x="0" y="0"/>
                        </a:lnTo>
                      </a:path>
                    </a:pathLst>
                  </a:custGeom>
                  <a:noFill/>
                  <a:ln w="15875" cap="flat">
                    <a:solidFill>
                      <a:schemeClr val="accent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zh-CN" altLang="en-US" dirty="0"/>
                  </a:p>
                </p:txBody>
              </p:sp>
              <p:sp>
                <p:nvSpPr>
                  <p:cNvPr id="73" name="椭圆 72"/>
                  <p:cNvSpPr/>
                  <p:nvPr/>
                </p:nvSpPr>
                <p:spPr>
                  <a:xfrm>
                    <a:off x="5494815" y="2625090"/>
                    <a:ext cx="45719" cy="45719"/>
                  </a:xfrm>
                  <a:prstGeom prst="ellipse">
                    <a:avLst/>
                  </a:prstGeom>
                  <a:solidFill>
                    <a:schemeClr val="accent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69" name="组合 68"/>
                <p:cNvGrpSpPr/>
                <p:nvPr/>
              </p:nvGrpSpPr>
              <p:grpSpPr>
                <a:xfrm flipV="1">
                  <a:off x="3573206" y="3646894"/>
                  <a:ext cx="1967328" cy="1023988"/>
                  <a:chOff x="3573206" y="2625090"/>
                  <a:chExt cx="1967328" cy="1023988"/>
                </a:xfrm>
              </p:grpSpPr>
              <p:sp>
                <p:nvSpPr>
                  <p:cNvPr id="70" name="任意多边形: 形状 69"/>
                  <p:cNvSpPr/>
                  <p:nvPr/>
                </p:nvSpPr>
                <p:spPr bwMode="auto">
                  <a:xfrm flipV="1">
                    <a:off x="3573206" y="2647949"/>
                    <a:ext cx="1952625" cy="1001129"/>
                  </a:xfrm>
                  <a:custGeom>
                    <a:avLst/>
                    <a:gdLst>
                      <a:gd name="T0" fmla="*/ 516 w 516"/>
                      <a:gd name="T1" fmla="*/ 478 h 478"/>
                      <a:gd name="T2" fmla="*/ 280 w 516"/>
                      <a:gd name="T3" fmla="*/ 478 h 478"/>
                      <a:gd name="T4" fmla="*/ 140 w 516"/>
                      <a:gd name="T5" fmla="*/ 309 h 478"/>
                      <a:gd name="T6" fmla="*/ 140 w 516"/>
                      <a:gd name="T7" fmla="*/ 169 h 478"/>
                      <a:gd name="T8" fmla="*/ 0 w 516"/>
                      <a:gd name="T9" fmla="*/ 0 h 478"/>
                      <a:gd name="T10" fmla="*/ 0 w 516"/>
                      <a:gd name="T11" fmla="*/ 0 h 478"/>
                      <a:gd name="connsiteX0" fmla="*/ 12971 w 12971"/>
                      <a:gd name="connsiteY0" fmla="*/ 10000 h 10000"/>
                      <a:gd name="connsiteX1" fmla="*/ 8397 w 12971"/>
                      <a:gd name="connsiteY1" fmla="*/ 10000 h 10000"/>
                      <a:gd name="connsiteX2" fmla="*/ 5684 w 12971"/>
                      <a:gd name="connsiteY2" fmla="*/ 6464 h 10000"/>
                      <a:gd name="connsiteX3" fmla="*/ 5684 w 12971"/>
                      <a:gd name="connsiteY3" fmla="*/ 3536 h 10000"/>
                      <a:gd name="connsiteX4" fmla="*/ 2971 w 12971"/>
                      <a:gd name="connsiteY4" fmla="*/ 0 h 10000"/>
                      <a:gd name="connsiteX5" fmla="*/ 0 w 12971"/>
                      <a:gd name="connsiteY5" fmla="*/ 0 h 10000"/>
                      <a:gd name="connsiteX0-1" fmla="*/ 12971 w 12971"/>
                      <a:gd name="connsiteY0-2" fmla="*/ 10000 h 10000"/>
                      <a:gd name="connsiteX1-3" fmla="*/ 8397 w 12971"/>
                      <a:gd name="connsiteY1-4" fmla="*/ 10000 h 10000"/>
                      <a:gd name="connsiteX2-5" fmla="*/ 5684 w 12971"/>
                      <a:gd name="connsiteY2-6" fmla="*/ 6464 h 10000"/>
                      <a:gd name="connsiteX3-7" fmla="*/ 5684 w 12971"/>
                      <a:gd name="connsiteY3-8" fmla="*/ 3536 h 10000"/>
                      <a:gd name="connsiteX4-9" fmla="*/ 2971 w 12971"/>
                      <a:gd name="connsiteY4-10" fmla="*/ 0 h 10000"/>
                      <a:gd name="connsiteX5-11" fmla="*/ 0 w 12971"/>
                      <a:gd name="connsiteY5-12" fmla="*/ 0 h 10000"/>
                      <a:gd name="connsiteX0-13" fmla="*/ 12971 w 12971"/>
                      <a:gd name="connsiteY0-14" fmla="*/ 10000 h 10000"/>
                      <a:gd name="connsiteX1-15" fmla="*/ 8397 w 12971"/>
                      <a:gd name="connsiteY1-16" fmla="*/ 10000 h 10000"/>
                      <a:gd name="connsiteX2-17" fmla="*/ 5684 w 12971"/>
                      <a:gd name="connsiteY2-18" fmla="*/ 6464 h 10000"/>
                      <a:gd name="connsiteX3-19" fmla="*/ 5684 w 12971"/>
                      <a:gd name="connsiteY3-20" fmla="*/ 3536 h 10000"/>
                      <a:gd name="connsiteX4-21" fmla="*/ 2971 w 12971"/>
                      <a:gd name="connsiteY4-22" fmla="*/ 0 h 10000"/>
                      <a:gd name="connsiteX5-23" fmla="*/ 0 w 12971"/>
                      <a:gd name="connsiteY5-24" fmla="*/ 0 h 1000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Lst>
                    <a:rect l="l" t="t" r="r" b="b"/>
                    <a:pathLst>
                      <a:path w="12971" h="10000">
                        <a:moveTo>
                          <a:pt x="12971" y="10000"/>
                        </a:moveTo>
                        <a:lnTo>
                          <a:pt x="8397" y="10000"/>
                        </a:lnTo>
                        <a:cubicBezTo>
                          <a:pt x="6905" y="10000"/>
                          <a:pt x="5684" y="8410"/>
                          <a:pt x="5684" y="6464"/>
                        </a:cubicBezTo>
                        <a:lnTo>
                          <a:pt x="5684" y="3536"/>
                        </a:lnTo>
                        <a:cubicBezTo>
                          <a:pt x="5684" y="1590"/>
                          <a:pt x="4463" y="0"/>
                          <a:pt x="2971" y="0"/>
                        </a:cubicBezTo>
                        <a:lnTo>
                          <a:pt x="0" y="0"/>
                        </a:lnTo>
                      </a:path>
                    </a:pathLst>
                  </a:custGeom>
                  <a:noFill/>
                  <a:ln w="15875" cap="flat">
                    <a:solidFill>
                      <a:schemeClr val="accent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zh-CN" altLang="en-US" dirty="0"/>
                  </a:p>
                </p:txBody>
              </p:sp>
              <p:sp>
                <p:nvSpPr>
                  <p:cNvPr id="71" name="椭圆 70"/>
                  <p:cNvSpPr/>
                  <p:nvPr/>
                </p:nvSpPr>
                <p:spPr>
                  <a:xfrm>
                    <a:off x="5494815" y="2625090"/>
                    <a:ext cx="45719" cy="45719"/>
                  </a:xfrm>
                  <a:prstGeom prst="ellipse">
                    <a:avLst/>
                  </a:prstGeom>
                  <a:solidFill>
                    <a:schemeClr val="accent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grpSp>
        <p:sp>
          <p:nvSpPr>
            <p:cNvPr id="2" name="矩形: 圆角 1"/>
            <p:cNvSpPr/>
            <p:nvPr/>
          </p:nvSpPr>
          <p:spPr>
            <a:xfrm>
              <a:off x="5701866" y="1343236"/>
              <a:ext cx="1737915" cy="726634"/>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b="1" dirty="0">
                  <a:solidFill>
                    <a:srgbClr val="FFFFFF"/>
                  </a:solidFill>
                  <a:latin typeface="Calibri" pitchFamily="34" charset="0"/>
                  <a:ea typeface="宋体" pitchFamily="2" charset="-122"/>
                </a:rPr>
                <a:t>Click to add text</a:t>
              </a:r>
              <a:endParaRPr lang="en-US" altLang="zh-CN" sz="1400" b="1" dirty="0">
                <a:solidFill>
                  <a:srgbClr val="FFFFFF"/>
                </a:solidFill>
                <a:latin typeface="Calibri" pitchFamily="34" charset="0"/>
                <a:ea typeface="宋体" pitchFamily="2" charset="-122"/>
              </a:endParaRPr>
            </a:p>
          </p:txBody>
        </p:sp>
        <p:sp>
          <p:nvSpPr>
            <p:cNvPr id="3" name="矩形: 圆角 2"/>
            <p:cNvSpPr/>
            <p:nvPr/>
          </p:nvSpPr>
          <p:spPr>
            <a:xfrm>
              <a:off x="7754808" y="1333769"/>
              <a:ext cx="1737915" cy="726634"/>
            </a:xfrm>
            <a:prstGeom prst="roundRect">
              <a:avLst/>
            </a:prstGeom>
            <a:solidFill>
              <a:schemeClr val="accent2">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chorCtr="0">
              <a:noAutofit/>
            </a:bodyPr>
            <a:lstStyle/>
            <a:p>
              <a:pPr algn="ctr">
                <a:lnSpc>
                  <a:spcPct val="130000"/>
                </a:lnSpc>
              </a:pPr>
              <a:r>
                <a:rPr lang="en-US" altLang="zh-CN" sz="1200" b="1" dirty="0">
                  <a:solidFill>
                    <a:schemeClr val="tx1"/>
                  </a:solidFill>
                  <a:latin typeface="Calibri" pitchFamily="34" charset="0"/>
                  <a:ea typeface="宋体" pitchFamily="2" charset="-122"/>
                </a:rPr>
                <a:t>Click to add text</a:t>
              </a:r>
              <a:endParaRPr lang="en-US" altLang="zh-CN" sz="1200" b="1" dirty="0">
                <a:solidFill>
                  <a:schemeClr val="tx1"/>
                </a:solidFill>
                <a:latin typeface="Calibri" pitchFamily="34" charset="0"/>
                <a:ea typeface="宋体" pitchFamily="2" charset="-122"/>
              </a:endParaRPr>
            </a:p>
          </p:txBody>
        </p:sp>
        <p:sp>
          <p:nvSpPr>
            <p:cNvPr id="4" name="矩形: 圆角 3"/>
            <p:cNvSpPr/>
            <p:nvPr/>
          </p:nvSpPr>
          <p:spPr>
            <a:xfrm>
              <a:off x="9780985" y="1329886"/>
              <a:ext cx="1737915" cy="726634"/>
            </a:xfrm>
            <a:prstGeom prst="roundRect">
              <a:avLst/>
            </a:prstGeom>
            <a:solidFill>
              <a:schemeClr val="accent2">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chorCtr="0">
              <a:noAutofit/>
            </a:bodyPr>
            <a:lstStyle/>
            <a:p>
              <a:pPr algn="ctr">
                <a:lnSpc>
                  <a:spcPct val="130000"/>
                </a:lnSpc>
              </a:pPr>
              <a:r>
                <a:rPr lang="en-US" altLang="zh-CN" sz="1200" b="1" dirty="0">
                  <a:solidFill>
                    <a:schemeClr val="tx1"/>
                  </a:solidFill>
                  <a:latin typeface="Calibri" pitchFamily="34" charset="0"/>
                  <a:ea typeface="宋体" pitchFamily="2" charset="-122"/>
                </a:rPr>
                <a:t>Click to add text</a:t>
              </a:r>
              <a:endParaRPr lang="en-US" altLang="zh-CN" sz="1200" b="1" dirty="0">
                <a:solidFill>
                  <a:schemeClr val="tx1"/>
                </a:solidFill>
                <a:latin typeface="Calibri" pitchFamily="34" charset="0"/>
                <a:ea typeface="宋体" pitchFamily="2" charset="-122"/>
              </a:endParaRPr>
            </a:p>
          </p:txBody>
        </p:sp>
        <p:sp>
          <p:nvSpPr>
            <p:cNvPr id="18" name="矩形: 圆角 17"/>
            <p:cNvSpPr/>
            <p:nvPr/>
          </p:nvSpPr>
          <p:spPr>
            <a:xfrm>
              <a:off x="5689896" y="2390965"/>
              <a:ext cx="1737915" cy="726634"/>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b="1" dirty="0">
                  <a:solidFill>
                    <a:srgbClr val="FFFFFF"/>
                  </a:solidFill>
                  <a:latin typeface="Calibri" pitchFamily="34" charset="0"/>
                  <a:ea typeface="宋体" pitchFamily="2" charset="-122"/>
                </a:rPr>
                <a:t>Click to add text</a:t>
              </a:r>
              <a:endParaRPr lang="en-US" altLang="zh-CN" sz="1400" b="1" dirty="0">
                <a:solidFill>
                  <a:srgbClr val="FFFFFF"/>
                </a:solidFill>
                <a:latin typeface="Calibri" pitchFamily="34" charset="0"/>
                <a:ea typeface="宋体" pitchFamily="2" charset="-122"/>
              </a:endParaRPr>
            </a:p>
          </p:txBody>
        </p:sp>
        <p:sp>
          <p:nvSpPr>
            <p:cNvPr id="19" name="矩形: 圆角 18"/>
            <p:cNvSpPr/>
            <p:nvPr/>
          </p:nvSpPr>
          <p:spPr>
            <a:xfrm>
              <a:off x="7754808" y="2371836"/>
              <a:ext cx="1737915" cy="726634"/>
            </a:xfrm>
            <a:prstGeom prst="round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chorCtr="0">
              <a:noAutofit/>
            </a:bodyPr>
            <a:lstStyle/>
            <a:p>
              <a:pPr algn="ctr">
                <a:lnSpc>
                  <a:spcPct val="130000"/>
                </a:lnSpc>
              </a:pPr>
              <a:r>
                <a:rPr lang="en-US" altLang="zh-CN" sz="1200" b="1" dirty="0">
                  <a:solidFill>
                    <a:schemeClr val="tx1"/>
                  </a:solidFill>
                  <a:latin typeface="Calibri" pitchFamily="34" charset="0"/>
                  <a:ea typeface="宋体" pitchFamily="2" charset="-122"/>
                </a:rPr>
                <a:t>Click to add text</a:t>
              </a:r>
              <a:endParaRPr lang="en-US" altLang="zh-CN" sz="1200" b="1" dirty="0">
                <a:solidFill>
                  <a:schemeClr val="tx1"/>
                </a:solidFill>
                <a:latin typeface="Calibri" pitchFamily="34" charset="0"/>
                <a:ea typeface="宋体" pitchFamily="2" charset="-122"/>
              </a:endParaRPr>
            </a:p>
          </p:txBody>
        </p:sp>
        <p:sp>
          <p:nvSpPr>
            <p:cNvPr id="29" name="矩形: 圆角 28"/>
            <p:cNvSpPr/>
            <p:nvPr/>
          </p:nvSpPr>
          <p:spPr>
            <a:xfrm>
              <a:off x="5689896" y="5131768"/>
              <a:ext cx="1737915" cy="726634"/>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b="1" dirty="0">
                  <a:solidFill>
                    <a:srgbClr val="FFFFFF"/>
                  </a:solidFill>
                  <a:latin typeface="Calibri" pitchFamily="34" charset="0"/>
                  <a:ea typeface="宋体" pitchFamily="2" charset="-122"/>
                </a:rPr>
                <a:t>Click to add text</a:t>
              </a:r>
              <a:endParaRPr lang="en-US" altLang="zh-CN" sz="1400" b="1" dirty="0">
                <a:solidFill>
                  <a:srgbClr val="FFFFFF"/>
                </a:solidFill>
                <a:latin typeface="Calibri" pitchFamily="34" charset="0"/>
                <a:ea typeface="宋体" pitchFamily="2" charset="-122"/>
              </a:endParaRPr>
            </a:p>
          </p:txBody>
        </p:sp>
        <p:sp>
          <p:nvSpPr>
            <p:cNvPr id="30" name="矩形: 圆角 29"/>
            <p:cNvSpPr/>
            <p:nvPr/>
          </p:nvSpPr>
          <p:spPr>
            <a:xfrm>
              <a:off x="7754807" y="5131768"/>
              <a:ext cx="1737915" cy="726634"/>
            </a:xfrm>
            <a:prstGeom prst="round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chorCtr="0">
              <a:noAutofit/>
            </a:bodyPr>
            <a:lstStyle/>
            <a:p>
              <a:pPr algn="ctr">
                <a:lnSpc>
                  <a:spcPct val="130000"/>
                </a:lnSpc>
              </a:pPr>
              <a:r>
                <a:rPr lang="en-US" altLang="zh-CN" sz="1200" b="1">
                  <a:solidFill>
                    <a:schemeClr val="tx1"/>
                  </a:solidFill>
                  <a:latin typeface="Calibri" pitchFamily="34" charset="0"/>
                  <a:ea typeface="宋体" pitchFamily="2" charset="-122"/>
                </a:rPr>
                <a:t>Click to add text</a:t>
              </a:r>
              <a:endParaRPr lang="en-US" altLang="zh-CN" sz="1200" b="1" dirty="0">
                <a:solidFill>
                  <a:schemeClr val="tx1"/>
                </a:solidFill>
                <a:latin typeface="Calibri" pitchFamily="34" charset="0"/>
                <a:ea typeface="宋体" pitchFamily="2" charset="-122"/>
              </a:endParaRPr>
            </a:p>
          </p:txBody>
        </p:sp>
        <p:sp>
          <p:nvSpPr>
            <p:cNvPr id="31" name="矩形: 圆角 30"/>
            <p:cNvSpPr/>
            <p:nvPr/>
          </p:nvSpPr>
          <p:spPr>
            <a:xfrm>
              <a:off x="9780984" y="5131768"/>
              <a:ext cx="1737915" cy="726634"/>
            </a:xfrm>
            <a:prstGeom prst="round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chorCtr="0">
              <a:noAutofit/>
            </a:bodyPr>
            <a:lstStyle/>
            <a:p>
              <a:pPr algn="ctr">
                <a:lnSpc>
                  <a:spcPct val="130000"/>
                </a:lnSpc>
              </a:pPr>
              <a:r>
                <a:rPr lang="en-US" altLang="zh-CN" sz="1200" b="1" dirty="0">
                  <a:solidFill>
                    <a:schemeClr val="tx1"/>
                  </a:solidFill>
                  <a:latin typeface="Calibri" pitchFamily="34" charset="0"/>
                  <a:ea typeface="宋体" pitchFamily="2" charset="-122"/>
                </a:rPr>
                <a:t>Click to add text</a:t>
              </a:r>
              <a:endParaRPr lang="en-US" altLang="zh-CN" sz="1200" b="1" dirty="0">
                <a:solidFill>
                  <a:schemeClr val="tx1"/>
                </a:solidFill>
                <a:latin typeface="Calibri" pitchFamily="34" charset="0"/>
                <a:ea typeface="宋体" pitchFamily="2" charset="-122"/>
              </a:endParaRPr>
            </a:p>
          </p:txBody>
        </p:sp>
        <p:sp>
          <p:nvSpPr>
            <p:cNvPr id="45" name="矩形: 圆角 44"/>
            <p:cNvSpPr/>
            <p:nvPr/>
          </p:nvSpPr>
          <p:spPr>
            <a:xfrm>
              <a:off x="5689896" y="3886743"/>
              <a:ext cx="1737915" cy="726634"/>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b="1" dirty="0">
                  <a:solidFill>
                    <a:srgbClr val="FFFFFF"/>
                  </a:solidFill>
                  <a:latin typeface="Calibri" pitchFamily="34" charset="0"/>
                  <a:ea typeface="宋体" pitchFamily="2" charset="-122"/>
                </a:rPr>
                <a:t>Click to add text</a:t>
              </a:r>
              <a:endParaRPr lang="en-US" altLang="zh-CN" sz="1400" b="1" dirty="0">
                <a:solidFill>
                  <a:srgbClr val="FFFFFF"/>
                </a:solidFill>
                <a:latin typeface="Calibri" pitchFamily="34" charset="0"/>
                <a:ea typeface="宋体" pitchFamily="2" charset="-122"/>
              </a:endParaRPr>
            </a:p>
          </p:txBody>
        </p:sp>
        <p:sp>
          <p:nvSpPr>
            <p:cNvPr id="46" name="矩形: 圆角 45"/>
            <p:cNvSpPr/>
            <p:nvPr/>
          </p:nvSpPr>
          <p:spPr>
            <a:xfrm>
              <a:off x="7754808" y="3886743"/>
              <a:ext cx="1737915" cy="726634"/>
            </a:xfrm>
            <a:prstGeom prst="roundRect">
              <a:avLst/>
            </a:prstGeom>
            <a:solidFill>
              <a:schemeClr val="accent2">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chorCtr="0">
              <a:noAutofit/>
            </a:bodyPr>
            <a:lstStyle/>
            <a:p>
              <a:pPr algn="ctr">
                <a:lnSpc>
                  <a:spcPct val="130000"/>
                </a:lnSpc>
              </a:pPr>
              <a:r>
                <a:rPr lang="en-US" altLang="zh-CN" sz="1200" b="1" dirty="0">
                  <a:solidFill>
                    <a:schemeClr val="tx1"/>
                  </a:solidFill>
                  <a:latin typeface="Calibri" pitchFamily="34" charset="0"/>
                  <a:ea typeface="宋体" pitchFamily="2" charset="-122"/>
                </a:rPr>
                <a:t>Click to add text</a:t>
              </a:r>
              <a:endParaRPr lang="en-US" altLang="zh-CN" sz="1200" b="1" dirty="0">
                <a:solidFill>
                  <a:schemeClr val="tx1"/>
                </a:solidFill>
                <a:latin typeface="Calibri" pitchFamily="34" charset="0"/>
                <a:ea typeface="宋体" pitchFamily="2" charset="-122"/>
              </a:endParaRPr>
            </a:p>
          </p:txBody>
        </p:sp>
        <p:grpSp>
          <p:nvGrpSpPr>
            <p:cNvPr id="118" name="组合 117"/>
            <p:cNvGrpSpPr/>
            <p:nvPr/>
          </p:nvGrpSpPr>
          <p:grpSpPr>
            <a:xfrm>
              <a:off x="7491897" y="1683689"/>
              <a:ext cx="216544" cy="3834260"/>
              <a:chOff x="7259526" y="2009389"/>
              <a:chExt cx="628104" cy="3834260"/>
            </a:xfrm>
          </p:grpSpPr>
          <p:cxnSp>
            <p:nvCxnSpPr>
              <p:cNvPr id="16" name="直接连接符 15"/>
              <p:cNvCxnSpPr/>
              <p:nvPr/>
            </p:nvCxnSpPr>
            <p:spPr>
              <a:xfrm>
                <a:off x="7261365" y="2009389"/>
                <a:ext cx="626265"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p:nvPr/>
            </p:nvCxnSpPr>
            <p:spPr>
              <a:xfrm>
                <a:off x="7259526" y="2990646"/>
                <a:ext cx="626265"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p:nvPr/>
            </p:nvCxnSpPr>
            <p:spPr>
              <a:xfrm>
                <a:off x="7259526" y="5843649"/>
                <a:ext cx="626265"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5" name="直接连接符 54"/>
              <p:cNvCxnSpPr/>
              <p:nvPr/>
            </p:nvCxnSpPr>
            <p:spPr>
              <a:xfrm>
                <a:off x="7259526" y="4486424"/>
                <a:ext cx="626265"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56" name="椭圆 55"/>
            <p:cNvSpPr/>
            <p:nvPr/>
          </p:nvSpPr>
          <p:spPr>
            <a:xfrm>
              <a:off x="403377" y="1910926"/>
              <a:ext cx="3384852" cy="3384852"/>
            </a:xfrm>
            <a:prstGeom prst="ellipse">
              <a:avLst/>
            </a:pr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t> </a:t>
              </a:r>
              <a:endParaRPr lang="zh-CN" altLang="en-US" dirty="0"/>
            </a:p>
          </p:txBody>
        </p:sp>
        <p:sp>
          <p:nvSpPr>
            <p:cNvPr id="57" name="椭圆 56"/>
            <p:cNvSpPr/>
            <p:nvPr/>
          </p:nvSpPr>
          <p:spPr>
            <a:xfrm>
              <a:off x="634195" y="2141744"/>
              <a:ext cx="2923216" cy="2923216"/>
            </a:xfrm>
            <a:prstGeom prst="ellipse">
              <a:avLst/>
            </a:prstGeom>
            <a:solidFill>
              <a:schemeClr val="accent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t> </a:t>
              </a:r>
              <a:endParaRPr lang="zh-CN" altLang="en-US" dirty="0"/>
            </a:p>
          </p:txBody>
        </p:sp>
        <p:sp>
          <p:nvSpPr>
            <p:cNvPr id="58" name="椭圆 57"/>
            <p:cNvSpPr/>
            <p:nvPr/>
          </p:nvSpPr>
          <p:spPr>
            <a:xfrm>
              <a:off x="867078" y="2374627"/>
              <a:ext cx="2457450" cy="24574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t> </a:t>
              </a:r>
              <a:endParaRPr lang="zh-CN" altLang="en-US" dirty="0"/>
            </a:p>
          </p:txBody>
        </p:sp>
        <p:sp>
          <p:nvSpPr>
            <p:cNvPr id="60" name="文本框 59"/>
            <p:cNvSpPr txBox="1"/>
            <p:nvPr/>
          </p:nvSpPr>
          <p:spPr>
            <a:xfrm>
              <a:off x="930780" y="3273837"/>
              <a:ext cx="2330047" cy="646331"/>
            </a:xfrm>
            <a:prstGeom prst="rect">
              <a:avLst/>
            </a:prstGeom>
            <a:noFill/>
          </p:spPr>
          <p:txBody>
            <a:bodyPr wrap="square">
              <a:spAutoFit/>
            </a:bodyPr>
            <a:lstStyle/>
            <a:p>
              <a:pPr algn="ctr">
                <a:buSzPct val="25000"/>
              </a:pPr>
              <a:r>
                <a:rPr lang="en-US" altLang="zh-CN" b="1" dirty="0">
                  <a:latin typeface="Calibri" pitchFamily="34" charset="0"/>
                  <a:ea typeface="宋体" pitchFamily="2" charset="-122"/>
                </a:rPr>
                <a:t>Unified fonts make reading more fluent.</a:t>
              </a:r>
              <a:endParaRPr lang="en-US" altLang="zh-CN" b="1" dirty="0">
                <a:latin typeface="Calibri" pitchFamily="34" charset="0"/>
                <a:ea typeface="宋体" pitchFamily="2" charset="-122"/>
              </a:endParaRPr>
            </a:p>
          </p:txBody>
        </p:sp>
        <p:grpSp>
          <p:nvGrpSpPr>
            <p:cNvPr id="125" name="组合 124"/>
            <p:cNvGrpSpPr/>
            <p:nvPr/>
          </p:nvGrpSpPr>
          <p:grpSpPr>
            <a:xfrm>
              <a:off x="9512958" y="1686222"/>
              <a:ext cx="216544" cy="3834260"/>
              <a:chOff x="9512958" y="1686222"/>
              <a:chExt cx="216544" cy="3834260"/>
            </a:xfrm>
          </p:grpSpPr>
          <p:cxnSp>
            <p:nvCxnSpPr>
              <p:cNvPr id="120" name="直接连接符 119"/>
              <p:cNvCxnSpPr/>
              <p:nvPr/>
            </p:nvCxnSpPr>
            <p:spPr>
              <a:xfrm>
                <a:off x="9513592" y="1686222"/>
                <a:ext cx="21591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22" name="直接连接符 121"/>
              <p:cNvCxnSpPr/>
              <p:nvPr/>
            </p:nvCxnSpPr>
            <p:spPr>
              <a:xfrm>
                <a:off x="9512958" y="5520482"/>
                <a:ext cx="21591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gr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extBox 6"/>
          <p:cNvSpPr txBox="1"/>
          <p:nvPr/>
        </p:nvSpPr>
        <p:spPr>
          <a:xfrm>
            <a:off x="547832" y="187607"/>
            <a:ext cx="5548168" cy="461665"/>
          </a:xfrm>
          <a:prstGeom prst="rect">
            <a:avLst/>
          </a:prstGeom>
        </p:spPr>
        <p:txBody>
          <a:bodyPr vert="horz" wrap="square" lIns="0" tIns="0" rIns="0" bIns="0" rtlCol="0" anchor="ctr">
            <a:noAutofit/>
          </a:bodyPr>
          <a:lstStyle>
            <a:defPPr>
              <a:defRPr lang="zh-CN"/>
            </a:defPPr>
            <a:lvl1pPr marL="12700" marR="0" lvl="0" indent="0" fontAlgn="auto">
              <a:lnSpc>
                <a:spcPct val="100000"/>
              </a:lnSpc>
              <a:spcBef>
                <a:spcPts val="100"/>
              </a:spcBef>
              <a:spcAft>
                <a:spcPts val="0"/>
              </a:spcAft>
              <a:buClrTx/>
              <a:buSzTx/>
              <a:buFontTx/>
              <a:buNone/>
              <a:defRPr kumimoji="0" sz="3200" b="1" i="0" u="none" strike="noStrike" cap="none" spc="0" normalizeH="0" baseline="0">
                <a:ln>
                  <a:noFill/>
                </a:ln>
                <a:solidFill>
                  <a:srgbClr val="F05A23"/>
                </a:solidFill>
                <a:effectLst/>
                <a:uLnTx/>
                <a:uFillTx/>
                <a:latin typeface="Arial" panose="020B0604020202090204"/>
                <a:ea typeface="华文楷体" panose="02010600040101010101" pitchFamily="2" charset="-122"/>
              </a:defRPr>
            </a:lvl1pPr>
          </a:lstStyle>
          <a:p>
            <a:r>
              <a:rPr lang="en-US" altLang="zh-CN" sz="2400" dirty="0"/>
              <a:t>2</a:t>
            </a:r>
            <a:r>
              <a:rPr lang="zh-CN" altLang="en-US" sz="2400" dirty="0"/>
              <a:t>、</a:t>
            </a:r>
            <a:endParaRPr lang="en-US" sz="2400" dirty="0"/>
          </a:p>
        </p:txBody>
      </p:sp>
      <p:pic>
        <p:nvPicPr>
          <p:cNvPr id="40" name="图片 39"/>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9949418" y="253211"/>
            <a:ext cx="1837445" cy="501494"/>
          </a:xfrm>
          <a:prstGeom prst="rect">
            <a:avLst/>
          </a:prstGeom>
        </p:spPr>
      </p:pic>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8" name="组合 57"/>
          <p:cNvGrpSpPr/>
          <p:nvPr/>
        </p:nvGrpSpPr>
        <p:grpSpPr>
          <a:xfrm>
            <a:off x="660401" y="1130300"/>
            <a:ext cx="10020299" cy="5003800"/>
            <a:chOff x="660400" y="1130300"/>
            <a:chExt cx="10020299" cy="5003800"/>
          </a:xfrm>
        </p:grpSpPr>
        <p:grpSp>
          <p:nvGrpSpPr>
            <p:cNvPr id="52" name="组合 51"/>
            <p:cNvGrpSpPr/>
            <p:nvPr/>
          </p:nvGrpSpPr>
          <p:grpSpPr>
            <a:xfrm>
              <a:off x="9182100" y="1130300"/>
              <a:ext cx="1498599" cy="1376174"/>
              <a:chOff x="9182100" y="1130300"/>
              <a:chExt cx="1498599" cy="1376174"/>
            </a:xfrm>
          </p:grpSpPr>
          <p:sp>
            <p:nvSpPr>
              <p:cNvPr id="12" name="任意多边形: 形状 11"/>
              <p:cNvSpPr/>
              <p:nvPr/>
            </p:nvSpPr>
            <p:spPr bwMode="auto">
              <a:xfrm>
                <a:off x="9182100" y="1452799"/>
                <a:ext cx="1323637" cy="1053675"/>
              </a:xfrm>
              <a:custGeom>
                <a:avLst/>
                <a:gdLst>
                  <a:gd name="T0" fmla="*/ 3 w 103"/>
                  <a:gd name="T1" fmla="*/ 82 h 82"/>
                  <a:gd name="T2" fmla="*/ 0 w 103"/>
                  <a:gd name="T3" fmla="*/ 79 h 82"/>
                  <a:gd name="T4" fmla="*/ 3 w 103"/>
                  <a:gd name="T5" fmla="*/ 75 h 82"/>
                  <a:gd name="T6" fmla="*/ 96 w 103"/>
                  <a:gd name="T7" fmla="*/ 2 h 82"/>
                  <a:gd name="T8" fmla="*/ 100 w 103"/>
                  <a:gd name="T9" fmla="*/ 0 h 82"/>
                  <a:gd name="T10" fmla="*/ 102 w 103"/>
                  <a:gd name="T11" fmla="*/ 4 h 82"/>
                  <a:gd name="T12" fmla="*/ 3 w 103"/>
                  <a:gd name="T13" fmla="*/ 82 h 82"/>
                </a:gdLst>
                <a:ahLst/>
                <a:cxnLst>
                  <a:cxn ang="0">
                    <a:pos x="T0" y="T1"/>
                  </a:cxn>
                  <a:cxn ang="0">
                    <a:pos x="T2" y="T3"/>
                  </a:cxn>
                  <a:cxn ang="0">
                    <a:pos x="T4" y="T5"/>
                  </a:cxn>
                  <a:cxn ang="0">
                    <a:pos x="T6" y="T7"/>
                  </a:cxn>
                  <a:cxn ang="0">
                    <a:pos x="T8" y="T9"/>
                  </a:cxn>
                  <a:cxn ang="0">
                    <a:pos x="T10" y="T11"/>
                  </a:cxn>
                  <a:cxn ang="0">
                    <a:pos x="T12" y="T13"/>
                  </a:cxn>
                </a:cxnLst>
                <a:rect l="0" t="0" r="r" b="b"/>
                <a:pathLst>
                  <a:path w="103" h="82">
                    <a:moveTo>
                      <a:pt x="3" y="82"/>
                    </a:moveTo>
                    <a:cubicBezTo>
                      <a:pt x="1" y="82"/>
                      <a:pt x="0" y="80"/>
                      <a:pt x="0" y="79"/>
                    </a:cubicBezTo>
                    <a:cubicBezTo>
                      <a:pt x="0" y="77"/>
                      <a:pt x="1" y="75"/>
                      <a:pt x="3" y="75"/>
                    </a:cubicBezTo>
                    <a:cubicBezTo>
                      <a:pt x="47" y="75"/>
                      <a:pt x="85" y="45"/>
                      <a:pt x="96" y="2"/>
                    </a:cubicBezTo>
                    <a:cubicBezTo>
                      <a:pt x="96" y="1"/>
                      <a:pt x="98" y="0"/>
                      <a:pt x="100" y="0"/>
                    </a:cubicBezTo>
                    <a:cubicBezTo>
                      <a:pt x="101" y="0"/>
                      <a:pt x="103" y="2"/>
                      <a:pt x="102" y="4"/>
                    </a:cubicBezTo>
                    <a:cubicBezTo>
                      <a:pt x="91" y="50"/>
                      <a:pt x="50" y="82"/>
                      <a:pt x="3" y="82"/>
                    </a:cubicBezTo>
                    <a:close/>
                  </a:path>
                </a:pathLst>
              </a:custGeom>
              <a:solidFill>
                <a:srgbClr val="E54D4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3" name="任意多边形: 形状 12"/>
              <p:cNvSpPr/>
              <p:nvPr/>
            </p:nvSpPr>
            <p:spPr bwMode="auto">
              <a:xfrm>
                <a:off x="10210464" y="1130300"/>
                <a:ext cx="470235" cy="441832"/>
              </a:xfrm>
              <a:custGeom>
                <a:avLst/>
                <a:gdLst>
                  <a:gd name="T0" fmla="*/ 0 w 298"/>
                  <a:gd name="T1" fmla="*/ 242 h 280"/>
                  <a:gd name="T2" fmla="*/ 187 w 298"/>
                  <a:gd name="T3" fmla="*/ 0 h 280"/>
                  <a:gd name="T4" fmla="*/ 298 w 298"/>
                  <a:gd name="T5" fmla="*/ 280 h 280"/>
                  <a:gd name="T6" fmla="*/ 0 w 298"/>
                  <a:gd name="T7" fmla="*/ 242 h 280"/>
                </a:gdLst>
                <a:ahLst/>
                <a:cxnLst>
                  <a:cxn ang="0">
                    <a:pos x="T0" y="T1"/>
                  </a:cxn>
                  <a:cxn ang="0">
                    <a:pos x="T2" y="T3"/>
                  </a:cxn>
                  <a:cxn ang="0">
                    <a:pos x="T4" y="T5"/>
                  </a:cxn>
                  <a:cxn ang="0">
                    <a:pos x="T6" y="T7"/>
                  </a:cxn>
                </a:cxnLst>
                <a:rect l="0" t="0" r="r" b="b"/>
                <a:pathLst>
                  <a:path w="298" h="280">
                    <a:moveTo>
                      <a:pt x="0" y="242"/>
                    </a:moveTo>
                    <a:lnTo>
                      <a:pt x="187" y="0"/>
                    </a:lnTo>
                    <a:lnTo>
                      <a:pt x="298" y="280"/>
                    </a:lnTo>
                    <a:lnTo>
                      <a:pt x="0" y="242"/>
                    </a:lnTo>
                    <a:close/>
                  </a:path>
                </a:pathLst>
              </a:custGeom>
              <a:solidFill>
                <a:srgbClr val="E54D4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grpSp>
        <p:grpSp>
          <p:nvGrpSpPr>
            <p:cNvPr id="57" name="组合 56"/>
            <p:cNvGrpSpPr/>
            <p:nvPr/>
          </p:nvGrpSpPr>
          <p:grpSpPr>
            <a:xfrm>
              <a:off x="660400" y="2529434"/>
              <a:ext cx="9183194" cy="3604666"/>
              <a:chOff x="660400" y="2529434"/>
              <a:chExt cx="9183194" cy="3604666"/>
            </a:xfrm>
          </p:grpSpPr>
          <p:grpSp>
            <p:nvGrpSpPr>
              <p:cNvPr id="53" name="组合 52"/>
              <p:cNvGrpSpPr/>
              <p:nvPr/>
            </p:nvGrpSpPr>
            <p:grpSpPr>
              <a:xfrm>
                <a:off x="660400" y="5304748"/>
                <a:ext cx="6158517" cy="829352"/>
                <a:chOff x="660400" y="5304748"/>
                <a:chExt cx="6158517" cy="829352"/>
              </a:xfrm>
            </p:grpSpPr>
            <p:sp>
              <p:nvSpPr>
                <p:cNvPr id="14" name="矩形 13"/>
                <p:cNvSpPr/>
                <p:nvPr/>
              </p:nvSpPr>
              <p:spPr bwMode="auto">
                <a:xfrm>
                  <a:off x="5140326" y="5306494"/>
                  <a:ext cx="1678591" cy="827606"/>
                </a:xfrm>
                <a:prstGeom prst="rect">
                  <a:avLst/>
                </a:prstGeom>
                <a:solidFill>
                  <a:schemeClr val="accent1">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r>
                    <a:rPr lang="en-US" dirty="0">
                      <a:solidFill>
                        <a:schemeClr val="accent1"/>
                      </a:solidFill>
                      <a:latin typeface="Calibri" pitchFamily="34" charset="0"/>
                      <a:ea typeface="宋体" pitchFamily="2" charset="-122"/>
                    </a:rPr>
                    <a:t>01</a:t>
                  </a:r>
                  <a:endParaRPr dirty="0">
                    <a:solidFill>
                      <a:schemeClr val="accent1"/>
                    </a:solidFill>
                    <a:latin typeface="Calibri" pitchFamily="34" charset="0"/>
                    <a:ea typeface="宋体" pitchFamily="2" charset="-122"/>
                  </a:endParaRPr>
                </a:p>
              </p:txBody>
            </p:sp>
            <p:grpSp>
              <p:nvGrpSpPr>
                <p:cNvPr id="40" name="组合 39"/>
                <p:cNvGrpSpPr/>
                <p:nvPr/>
              </p:nvGrpSpPr>
              <p:grpSpPr>
                <a:xfrm>
                  <a:off x="660400" y="5304748"/>
                  <a:ext cx="3913370" cy="829352"/>
                  <a:chOff x="803939" y="5232245"/>
                  <a:chExt cx="4112731" cy="829352"/>
                </a:xfrm>
              </p:grpSpPr>
              <p:sp>
                <p:nvSpPr>
                  <p:cNvPr id="38" name="矩形 37"/>
                  <p:cNvSpPr/>
                  <p:nvPr/>
                </p:nvSpPr>
                <p:spPr>
                  <a:xfrm>
                    <a:off x="803940" y="5232245"/>
                    <a:ext cx="4104199" cy="3888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normAutofit/>
                  </a:bodyPr>
                  <a:lstStyle/>
                  <a:p>
                    <a:pPr algn="r"/>
                    <a:r>
                      <a:rPr kumimoji="1" lang="en-US" altLang="zh-CN" b="1">
                        <a:solidFill>
                          <a:schemeClr val="tx1"/>
                        </a:solidFill>
                        <a:latin typeface="Calibri" pitchFamily="34" charset="0"/>
                        <a:ea typeface="宋体" pitchFamily="2" charset="-122"/>
                      </a:rPr>
                      <a:t>Click to add text</a:t>
                    </a:r>
                    <a:endParaRPr kumimoji="1" lang="en-US" altLang="zh-CN" b="1" dirty="0">
                      <a:solidFill>
                        <a:schemeClr val="tx1"/>
                      </a:solidFill>
                      <a:latin typeface="Calibri" pitchFamily="34" charset="0"/>
                      <a:ea typeface="宋体" pitchFamily="2" charset="-122"/>
                    </a:endParaRPr>
                  </a:p>
                </p:txBody>
              </p:sp>
              <p:sp>
                <p:nvSpPr>
                  <p:cNvPr id="39" name="矩形 38"/>
                  <p:cNvSpPr/>
                  <p:nvPr/>
                </p:nvSpPr>
                <p:spPr>
                  <a:xfrm>
                    <a:off x="803939" y="5646462"/>
                    <a:ext cx="4112731" cy="415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normAutofit/>
                  </a:bodyPr>
                  <a:lstStyle/>
                  <a:p>
                    <a:pPr algn="r">
                      <a:lnSpc>
                        <a:spcPct val="120000"/>
                      </a:lnSpc>
                    </a:pPr>
                    <a:r>
                      <a:rPr kumimoji="1" lang="en-US" altLang="zh-CN" sz="1200">
                        <a:solidFill>
                          <a:schemeClr val="tx1"/>
                        </a:solidFill>
                        <a:latin typeface="Calibri" pitchFamily="34" charset="0"/>
                        <a:ea typeface="宋体" pitchFamily="2" charset="-122"/>
                      </a:rPr>
                      <a:t>At accusam duo suscipit nonumy dolore invidunt et.</a:t>
                    </a:r>
                    <a:endParaRPr kumimoji="1" lang="en-US" altLang="zh-CN" sz="1200" dirty="0">
                      <a:solidFill>
                        <a:schemeClr val="tx1"/>
                      </a:solidFill>
                      <a:latin typeface="Calibri" pitchFamily="34" charset="0"/>
                      <a:ea typeface="宋体" pitchFamily="2" charset="-122"/>
                    </a:endParaRPr>
                  </a:p>
                </p:txBody>
              </p:sp>
            </p:grpSp>
          </p:grpSp>
          <p:grpSp>
            <p:nvGrpSpPr>
              <p:cNvPr id="54" name="组合 53"/>
              <p:cNvGrpSpPr/>
              <p:nvPr/>
            </p:nvGrpSpPr>
            <p:grpSpPr>
              <a:xfrm>
                <a:off x="1670882" y="4379644"/>
                <a:ext cx="6277235" cy="830179"/>
                <a:chOff x="1670882" y="4379644"/>
                <a:chExt cx="6277235" cy="830179"/>
              </a:xfrm>
            </p:grpSpPr>
            <p:sp>
              <p:nvSpPr>
                <p:cNvPr id="15" name="矩形 14"/>
                <p:cNvSpPr/>
                <p:nvPr/>
              </p:nvSpPr>
              <p:spPr bwMode="auto">
                <a:xfrm>
                  <a:off x="6269526" y="4382217"/>
                  <a:ext cx="1678591" cy="827606"/>
                </a:xfrm>
                <a:prstGeom prst="rect">
                  <a:avLst/>
                </a:prstGeom>
                <a:gradFill>
                  <a:gsLst>
                    <a:gs pos="0">
                      <a:schemeClr val="accent1">
                        <a:lumMod val="60000"/>
                        <a:lumOff val="40000"/>
                      </a:schemeClr>
                    </a:gs>
                    <a:gs pos="50000">
                      <a:schemeClr val="accent1"/>
                    </a:gs>
                  </a:gsLst>
                  <a:lin ang="2700000" scaled="0"/>
                </a:gradFill>
                <a:ln w="6055" cap="flat">
                  <a:noFill/>
                  <a:prstDash val="solid"/>
                  <a:miter/>
                </a:ln>
              </p:spPr>
              <p:txBody>
                <a:bodyPr rot="0" spcFirstLastPara="0" vertOverflow="overflow" horzOverflow="overflow" vert="horz" wrap="square" lIns="108000" tIns="108000" rIns="108000" bIns="108000" numCol="1" spcCol="0" rtlCol="0" fromWordArt="0" anchor="ctr" anchorCtr="0" forceAA="0" compatLnSpc="1">
                  <a:noAutofit/>
                </a:bodyPr>
                <a:lstStyle/>
                <a:p>
                  <a:pPr algn="ctr"/>
                  <a:r>
                    <a:rPr lang="en-US" b="1" dirty="0">
                      <a:solidFill>
                        <a:srgbClr val="FFFFFF"/>
                      </a:solidFill>
                      <a:latin typeface="Calibri" pitchFamily="34" charset="0"/>
                      <a:ea typeface="宋体" pitchFamily="2" charset="-122"/>
                    </a:rPr>
                    <a:t>02</a:t>
                  </a:r>
                  <a:endParaRPr b="1" dirty="0">
                    <a:solidFill>
                      <a:srgbClr val="FFFFFF"/>
                    </a:solidFill>
                    <a:latin typeface="Calibri" pitchFamily="34" charset="0"/>
                    <a:ea typeface="宋体" pitchFamily="2" charset="-122"/>
                  </a:endParaRPr>
                </a:p>
              </p:txBody>
            </p:sp>
            <p:grpSp>
              <p:nvGrpSpPr>
                <p:cNvPr id="41" name="组合 40"/>
                <p:cNvGrpSpPr/>
                <p:nvPr/>
              </p:nvGrpSpPr>
              <p:grpSpPr>
                <a:xfrm>
                  <a:off x="1670882" y="4379644"/>
                  <a:ext cx="3913370" cy="829352"/>
                  <a:chOff x="803939" y="5232245"/>
                  <a:chExt cx="4112731" cy="829352"/>
                </a:xfrm>
              </p:grpSpPr>
              <p:sp>
                <p:nvSpPr>
                  <p:cNvPr id="42" name="矩形 41"/>
                  <p:cNvSpPr/>
                  <p:nvPr/>
                </p:nvSpPr>
                <p:spPr>
                  <a:xfrm>
                    <a:off x="803940" y="5232245"/>
                    <a:ext cx="4104199" cy="3888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normAutofit/>
                  </a:bodyPr>
                  <a:lstStyle/>
                  <a:p>
                    <a:pPr algn="r"/>
                    <a:r>
                      <a:rPr kumimoji="1" lang="en-US" altLang="zh-CN" b="1">
                        <a:solidFill>
                          <a:schemeClr val="tx1"/>
                        </a:solidFill>
                        <a:latin typeface="Calibri" pitchFamily="34" charset="0"/>
                        <a:ea typeface="宋体" pitchFamily="2" charset="-122"/>
                      </a:rPr>
                      <a:t>Click to add text</a:t>
                    </a:r>
                    <a:endParaRPr kumimoji="1" lang="en-US" altLang="zh-CN" b="1" dirty="0">
                      <a:solidFill>
                        <a:schemeClr val="tx1"/>
                      </a:solidFill>
                      <a:latin typeface="Calibri" pitchFamily="34" charset="0"/>
                      <a:ea typeface="宋体" pitchFamily="2" charset="-122"/>
                    </a:endParaRPr>
                  </a:p>
                </p:txBody>
              </p:sp>
              <p:sp>
                <p:nvSpPr>
                  <p:cNvPr id="43" name="矩形 42"/>
                  <p:cNvSpPr/>
                  <p:nvPr/>
                </p:nvSpPr>
                <p:spPr>
                  <a:xfrm>
                    <a:off x="803939" y="5646462"/>
                    <a:ext cx="4112731" cy="415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normAutofit/>
                  </a:bodyPr>
                  <a:lstStyle/>
                  <a:p>
                    <a:pPr algn="r">
                      <a:lnSpc>
                        <a:spcPct val="120000"/>
                      </a:lnSpc>
                    </a:pPr>
                    <a:r>
                      <a:rPr kumimoji="1" lang="en-US" altLang="zh-CN" sz="1200">
                        <a:solidFill>
                          <a:schemeClr val="tx1"/>
                        </a:solidFill>
                        <a:latin typeface="Calibri" pitchFamily="34" charset="0"/>
                        <a:ea typeface="宋体" pitchFamily="2" charset="-122"/>
                      </a:rPr>
                      <a:t>At accusam duo suscipit nonumy dolore invidunt et.</a:t>
                    </a:r>
                    <a:endParaRPr kumimoji="1" lang="en-US" altLang="zh-CN" sz="1200" dirty="0">
                      <a:solidFill>
                        <a:schemeClr val="tx1"/>
                      </a:solidFill>
                      <a:latin typeface="Calibri" pitchFamily="34" charset="0"/>
                      <a:ea typeface="宋体" pitchFamily="2" charset="-122"/>
                    </a:endParaRPr>
                  </a:p>
                </p:txBody>
              </p:sp>
            </p:grpSp>
          </p:grpSp>
          <p:grpSp>
            <p:nvGrpSpPr>
              <p:cNvPr id="55" name="组合 54"/>
              <p:cNvGrpSpPr/>
              <p:nvPr/>
            </p:nvGrpSpPr>
            <p:grpSpPr>
              <a:xfrm>
                <a:off x="2681364" y="3454539"/>
                <a:ext cx="6173842" cy="831009"/>
                <a:chOff x="2681364" y="3454539"/>
                <a:chExt cx="6173842" cy="831009"/>
              </a:xfrm>
            </p:grpSpPr>
            <p:sp>
              <p:nvSpPr>
                <p:cNvPr id="16" name="矩形 15"/>
                <p:cNvSpPr/>
                <p:nvPr/>
              </p:nvSpPr>
              <p:spPr bwMode="auto">
                <a:xfrm>
                  <a:off x="7199994" y="3478982"/>
                  <a:ext cx="1655212" cy="806566"/>
                </a:xfrm>
                <a:prstGeom prst="rect">
                  <a:avLst/>
                </a:prstGeom>
                <a:solidFill>
                  <a:schemeClr val="accent1">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r>
                    <a:rPr lang="en-US" dirty="0">
                      <a:solidFill>
                        <a:schemeClr val="accent1"/>
                      </a:solidFill>
                      <a:latin typeface="Calibri" pitchFamily="34" charset="0"/>
                      <a:ea typeface="宋体" pitchFamily="2" charset="-122"/>
                    </a:rPr>
                    <a:t>03</a:t>
                  </a:r>
                  <a:endParaRPr dirty="0">
                    <a:solidFill>
                      <a:schemeClr val="accent1"/>
                    </a:solidFill>
                    <a:latin typeface="Calibri" pitchFamily="34" charset="0"/>
                    <a:ea typeface="宋体" pitchFamily="2" charset="-122"/>
                  </a:endParaRPr>
                </a:p>
              </p:txBody>
            </p:sp>
            <p:grpSp>
              <p:nvGrpSpPr>
                <p:cNvPr id="44" name="组合 43"/>
                <p:cNvGrpSpPr/>
                <p:nvPr/>
              </p:nvGrpSpPr>
              <p:grpSpPr>
                <a:xfrm>
                  <a:off x="2681364" y="3454539"/>
                  <a:ext cx="3913370" cy="829352"/>
                  <a:chOff x="803939" y="5232245"/>
                  <a:chExt cx="4112731" cy="829352"/>
                </a:xfrm>
              </p:grpSpPr>
              <p:sp>
                <p:nvSpPr>
                  <p:cNvPr id="45" name="矩形 44"/>
                  <p:cNvSpPr/>
                  <p:nvPr/>
                </p:nvSpPr>
                <p:spPr>
                  <a:xfrm>
                    <a:off x="803940" y="5232245"/>
                    <a:ext cx="4104199" cy="3888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normAutofit/>
                  </a:bodyPr>
                  <a:lstStyle/>
                  <a:p>
                    <a:pPr algn="r"/>
                    <a:r>
                      <a:rPr kumimoji="1" lang="en-US" altLang="zh-CN" b="1">
                        <a:solidFill>
                          <a:schemeClr val="tx1"/>
                        </a:solidFill>
                        <a:latin typeface="Calibri" pitchFamily="34" charset="0"/>
                        <a:ea typeface="宋体" pitchFamily="2" charset="-122"/>
                      </a:rPr>
                      <a:t>Click to add text</a:t>
                    </a:r>
                    <a:endParaRPr kumimoji="1" lang="en-US" altLang="zh-CN" b="1" dirty="0">
                      <a:solidFill>
                        <a:schemeClr val="tx1"/>
                      </a:solidFill>
                      <a:latin typeface="Calibri" pitchFamily="34" charset="0"/>
                      <a:ea typeface="宋体" pitchFamily="2" charset="-122"/>
                    </a:endParaRPr>
                  </a:p>
                </p:txBody>
              </p:sp>
              <p:sp>
                <p:nvSpPr>
                  <p:cNvPr id="46" name="矩形 45"/>
                  <p:cNvSpPr/>
                  <p:nvPr/>
                </p:nvSpPr>
                <p:spPr>
                  <a:xfrm>
                    <a:off x="803939" y="5646462"/>
                    <a:ext cx="4112731" cy="415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normAutofit/>
                  </a:bodyPr>
                  <a:lstStyle/>
                  <a:p>
                    <a:pPr algn="r">
                      <a:lnSpc>
                        <a:spcPct val="120000"/>
                      </a:lnSpc>
                    </a:pPr>
                    <a:r>
                      <a:rPr kumimoji="1" lang="en-US" altLang="zh-CN" sz="1200">
                        <a:solidFill>
                          <a:schemeClr val="tx1"/>
                        </a:solidFill>
                        <a:latin typeface="Calibri" pitchFamily="34" charset="0"/>
                        <a:ea typeface="宋体" pitchFamily="2" charset="-122"/>
                      </a:rPr>
                      <a:t>At accusam duo suscipit nonumy dolore invidunt et.</a:t>
                    </a:r>
                    <a:endParaRPr kumimoji="1" lang="en-US" altLang="zh-CN" sz="1200" dirty="0">
                      <a:solidFill>
                        <a:schemeClr val="tx1"/>
                      </a:solidFill>
                      <a:latin typeface="Calibri" pitchFamily="34" charset="0"/>
                      <a:ea typeface="宋体" pitchFamily="2" charset="-122"/>
                    </a:endParaRPr>
                  </a:p>
                </p:txBody>
              </p:sp>
            </p:grpSp>
          </p:grpSp>
          <p:grpSp>
            <p:nvGrpSpPr>
              <p:cNvPr id="56" name="组合 55"/>
              <p:cNvGrpSpPr/>
              <p:nvPr/>
            </p:nvGrpSpPr>
            <p:grpSpPr>
              <a:xfrm>
                <a:off x="3691847" y="2529434"/>
                <a:ext cx="6151747" cy="852878"/>
                <a:chOff x="3691847" y="2529434"/>
                <a:chExt cx="6151747" cy="852878"/>
              </a:xfrm>
            </p:grpSpPr>
            <p:sp>
              <p:nvSpPr>
                <p:cNvPr id="17" name="矩形 16"/>
                <p:cNvSpPr/>
                <p:nvPr/>
              </p:nvSpPr>
              <p:spPr bwMode="auto">
                <a:xfrm>
                  <a:off x="8165003" y="2575746"/>
                  <a:ext cx="1678591" cy="806566"/>
                </a:xfrm>
                <a:prstGeom prst="rect">
                  <a:avLst/>
                </a:prstGeom>
                <a:solidFill>
                  <a:schemeClr val="accent1">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r>
                    <a:rPr lang="en-US" dirty="0">
                      <a:solidFill>
                        <a:schemeClr val="accent1"/>
                      </a:solidFill>
                      <a:latin typeface="Calibri" pitchFamily="34" charset="0"/>
                      <a:ea typeface="宋体" pitchFamily="2" charset="-122"/>
                    </a:rPr>
                    <a:t>04</a:t>
                  </a:r>
                  <a:endParaRPr dirty="0">
                    <a:solidFill>
                      <a:schemeClr val="accent1"/>
                    </a:solidFill>
                    <a:latin typeface="Calibri" pitchFamily="34" charset="0"/>
                    <a:ea typeface="宋体" pitchFamily="2" charset="-122"/>
                  </a:endParaRPr>
                </a:p>
              </p:txBody>
            </p:sp>
            <p:grpSp>
              <p:nvGrpSpPr>
                <p:cNvPr id="47" name="组合 46"/>
                <p:cNvGrpSpPr/>
                <p:nvPr/>
              </p:nvGrpSpPr>
              <p:grpSpPr>
                <a:xfrm>
                  <a:off x="3691847" y="2529434"/>
                  <a:ext cx="3913370" cy="829352"/>
                  <a:chOff x="803939" y="5232245"/>
                  <a:chExt cx="4112731" cy="829352"/>
                </a:xfrm>
              </p:grpSpPr>
              <p:sp>
                <p:nvSpPr>
                  <p:cNvPr id="48" name="矩形 47"/>
                  <p:cNvSpPr/>
                  <p:nvPr/>
                </p:nvSpPr>
                <p:spPr>
                  <a:xfrm>
                    <a:off x="803940" y="5232245"/>
                    <a:ext cx="4104199" cy="3888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normAutofit/>
                  </a:bodyPr>
                  <a:lstStyle/>
                  <a:p>
                    <a:pPr algn="r"/>
                    <a:r>
                      <a:rPr kumimoji="1" lang="en-US" altLang="zh-CN" b="1">
                        <a:solidFill>
                          <a:schemeClr val="tx1"/>
                        </a:solidFill>
                        <a:latin typeface="Calibri" pitchFamily="34" charset="0"/>
                        <a:ea typeface="宋体" pitchFamily="2" charset="-122"/>
                      </a:rPr>
                      <a:t>Click to add text</a:t>
                    </a:r>
                    <a:endParaRPr kumimoji="1" lang="en-US" altLang="zh-CN" b="1" dirty="0">
                      <a:solidFill>
                        <a:schemeClr val="tx1"/>
                      </a:solidFill>
                      <a:latin typeface="Calibri" pitchFamily="34" charset="0"/>
                      <a:ea typeface="宋体" pitchFamily="2" charset="-122"/>
                    </a:endParaRPr>
                  </a:p>
                </p:txBody>
              </p:sp>
              <p:sp>
                <p:nvSpPr>
                  <p:cNvPr id="49" name="矩形 48"/>
                  <p:cNvSpPr/>
                  <p:nvPr/>
                </p:nvSpPr>
                <p:spPr>
                  <a:xfrm>
                    <a:off x="803939" y="5646462"/>
                    <a:ext cx="4112731" cy="415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normAutofit/>
                  </a:bodyPr>
                  <a:lstStyle/>
                  <a:p>
                    <a:pPr algn="r">
                      <a:lnSpc>
                        <a:spcPct val="120000"/>
                      </a:lnSpc>
                    </a:pPr>
                    <a:r>
                      <a:rPr kumimoji="1" lang="en-US" altLang="zh-CN" sz="1200">
                        <a:solidFill>
                          <a:schemeClr val="tx1"/>
                        </a:solidFill>
                        <a:latin typeface="Calibri" pitchFamily="34" charset="0"/>
                        <a:ea typeface="宋体" pitchFamily="2" charset="-122"/>
                      </a:rPr>
                      <a:t>At accusam duo suscipit nonumy dolore invidunt et.</a:t>
                    </a:r>
                    <a:endParaRPr kumimoji="1" lang="en-US" altLang="zh-CN" sz="1200" dirty="0">
                      <a:solidFill>
                        <a:schemeClr val="tx1"/>
                      </a:solidFill>
                      <a:latin typeface="Calibri" pitchFamily="34" charset="0"/>
                      <a:ea typeface="宋体" pitchFamily="2" charset="-122"/>
                    </a:endParaRPr>
                  </a:p>
                </p:txBody>
              </p:sp>
            </p:grpSp>
          </p:grpSp>
        </p:grpSp>
        <p:sp>
          <p:nvSpPr>
            <p:cNvPr id="51" name="矩形 50"/>
            <p:cNvSpPr/>
            <p:nvPr/>
          </p:nvSpPr>
          <p:spPr>
            <a:xfrm>
              <a:off x="660400" y="1130300"/>
              <a:ext cx="5664773" cy="1168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normAutofit/>
            </a:bodyPr>
            <a:lstStyle/>
            <a:p>
              <a:pPr>
                <a:buSzPct val="25000"/>
              </a:pPr>
              <a:r>
                <a:rPr lang="en-US" altLang="zh-CN" sz="2800" b="1" dirty="0">
                  <a:solidFill>
                    <a:schemeClr val="tx1"/>
                  </a:solidFill>
                  <a:latin typeface="Calibri" pitchFamily="34" charset="0"/>
                  <a:ea typeface="宋体" pitchFamily="2" charset="-122"/>
                </a:rPr>
                <a:t>Unified fonts make reading more fluent.</a:t>
              </a:r>
              <a:endParaRPr lang="en-US" altLang="zh-CN" sz="2800" b="1" dirty="0">
                <a:solidFill>
                  <a:schemeClr val="tx1"/>
                </a:solidFill>
                <a:latin typeface="Calibri" pitchFamily="34" charset="0"/>
                <a:ea typeface="宋体" pitchFamily="2" charset="-122"/>
              </a:endParaRPr>
            </a:p>
          </p:txBody>
        </p:sp>
      </p:grpSp>
    </p:spTree>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3" name="组合 52"/>
          <p:cNvGrpSpPr/>
          <p:nvPr/>
        </p:nvGrpSpPr>
        <p:grpSpPr>
          <a:xfrm>
            <a:off x="660400" y="1001197"/>
            <a:ext cx="10871200" cy="5229985"/>
            <a:chOff x="660400" y="1001195"/>
            <a:chExt cx="10871200" cy="5229985"/>
          </a:xfrm>
        </p:grpSpPr>
        <p:grpSp>
          <p:nvGrpSpPr>
            <p:cNvPr id="52" name="组合 51"/>
            <p:cNvGrpSpPr/>
            <p:nvPr/>
          </p:nvGrpSpPr>
          <p:grpSpPr>
            <a:xfrm>
              <a:off x="660400" y="1909958"/>
              <a:ext cx="10858501" cy="4321222"/>
              <a:chOff x="660400" y="1909958"/>
              <a:chExt cx="10858501" cy="4321222"/>
            </a:xfrm>
          </p:grpSpPr>
          <p:grpSp>
            <p:nvGrpSpPr>
              <p:cNvPr id="51" name="组合 50"/>
              <p:cNvGrpSpPr/>
              <p:nvPr/>
            </p:nvGrpSpPr>
            <p:grpSpPr>
              <a:xfrm>
                <a:off x="951856" y="2064172"/>
                <a:ext cx="8457518" cy="3778200"/>
                <a:chOff x="951856" y="2064172"/>
                <a:chExt cx="8457518" cy="3778200"/>
              </a:xfrm>
            </p:grpSpPr>
            <p:grpSp>
              <p:nvGrpSpPr>
                <p:cNvPr id="39" name="组合 38"/>
                <p:cNvGrpSpPr/>
                <p:nvPr/>
              </p:nvGrpSpPr>
              <p:grpSpPr>
                <a:xfrm>
                  <a:off x="951856" y="2064172"/>
                  <a:ext cx="8457518" cy="3778200"/>
                  <a:chOff x="951856" y="2064172"/>
                  <a:chExt cx="8457518" cy="3778200"/>
                </a:xfrm>
              </p:grpSpPr>
              <p:sp>
                <p:nvSpPr>
                  <p:cNvPr id="38" name="任意多边形: 形状 37"/>
                  <p:cNvSpPr/>
                  <p:nvPr/>
                </p:nvSpPr>
                <p:spPr>
                  <a:xfrm>
                    <a:off x="951856" y="2064172"/>
                    <a:ext cx="8310314" cy="3709439"/>
                  </a:xfrm>
                  <a:custGeom>
                    <a:avLst/>
                    <a:gdLst>
                      <a:gd name="connsiteX0" fmla="*/ 7455403 w 8310314"/>
                      <a:gd name="connsiteY0" fmla="*/ 3361166 h 3709439"/>
                      <a:gd name="connsiteX1" fmla="*/ 7813730 w 8310314"/>
                      <a:gd name="connsiteY1" fmla="*/ 3361166 h 3709439"/>
                      <a:gd name="connsiteX2" fmla="*/ 8310314 w 8310314"/>
                      <a:gd name="connsiteY2" fmla="*/ 3578099 h 3709439"/>
                      <a:gd name="connsiteX3" fmla="*/ 8252760 w 8310314"/>
                      <a:gd name="connsiteY3" fmla="*/ 3709439 h 3709439"/>
                      <a:gd name="connsiteX4" fmla="*/ 5594227 w 8310314"/>
                      <a:gd name="connsiteY4" fmla="*/ 2548221 h 3709439"/>
                      <a:gd name="connsiteX5" fmla="*/ 5952646 w 8310314"/>
                      <a:gd name="connsiteY5" fmla="*/ 2548221 h 3709439"/>
                      <a:gd name="connsiteX6" fmla="*/ 6694017 w 8310314"/>
                      <a:gd name="connsiteY6" fmla="*/ 2872052 h 3709439"/>
                      <a:gd name="connsiteX7" fmla="*/ 6694017 w 8310314"/>
                      <a:gd name="connsiteY7" fmla="*/ 3028572 h 3709439"/>
                      <a:gd name="connsiteX8" fmla="*/ 453327 w 8310314"/>
                      <a:gd name="connsiteY8" fmla="*/ 0 h 3709439"/>
                      <a:gd name="connsiteX9" fmla="*/ 394574 w 8310314"/>
                      <a:gd name="connsiteY9" fmla="*/ 120364 h 3709439"/>
                      <a:gd name="connsiteX10" fmla="*/ 4922308 w 8310314"/>
                      <a:gd name="connsiteY10" fmla="*/ 2098123 h 3709439"/>
                      <a:gd name="connsiteX11" fmla="*/ 4922308 w 8310314"/>
                      <a:gd name="connsiteY11" fmla="*/ 2254643 h 3709439"/>
                      <a:gd name="connsiteX12" fmla="*/ 331487 w 8310314"/>
                      <a:gd name="connsiteY12" fmla="*/ 249399 h 3709439"/>
                      <a:gd name="connsiteX13" fmla="*/ 270520 w 8310314"/>
                      <a:gd name="connsiteY13" fmla="*/ 374191 h 3709439"/>
                      <a:gd name="connsiteX14" fmla="*/ 0 w 8310314"/>
                      <a:gd name="connsiteY14" fmla="*/ 10238 h 3709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310314" h="3709439">
                        <a:moveTo>
                          <a:pt x="7455403" y="3361166"/>
                        </a:moveTo>
                        <a:lnTo>
                          <a:pt x="7813730" y="3361166"/>
                        </a:lnTo>
                        <a:lnTo>
                          <a:pt x="8310314" y="3578099"/>
                        </a:lnTo>
                        <a:cubicBezTo>
                          <a:pt x="8278955" y="3614070"/>
                          <a:pt x="8258110" y="3659356"/>
                          <a:pt x="8252760" y="3709439"/>
                        </a:cubicBezTo>
                        <a:close/>
                        <a:moveTo>
                          <a:pt x="5594227" y="2548221"/>
                        </a:moveTo>
                        <a:lnTo>
                          <a:pt x="5952646" y="2548221"/>
                        </a:lnTo>
                        <a:lnTo>
                          <a:pt x="6694017" y="2872052"/>
                        </a:lnTo>
                        <a:lnTo>
                          <a:pt x="6694017" y="3028572"/>
                        </a:lnTo>
                        <a:close/>
                        <a:moveTo>
                          <a:pt x="453327" y="0"/>
                        </a:moveTo>
                        <a:lnTo>
                          <a:pt x="394574" y="120364"/>
                        </a:lnTo>
                        <a:lnTo>
                          <a:pt x="4922308" y="2098123"/>
                        </a:lnTo>
                        <a:lnTo>
                          <a:pt x="4922308" y="2254643"/>
                        </a:lnTo>
                        <a:lnTo>
                          <a:pt x="331487" y="249399"/>
                        </a:lnTo>
                        <a:lnTo>
                          <a:pt x="270520" y="374191"/>
                        </a:lnTo>
                        <a:lnTo>
                          <a:pt x="0" y="10238"/>
                        </a:lnTo>
                        <a:close/>
                      </a:path>
                    </a:pathLst>
                  </a:custGeom>
                  <a:solidFill>
                    <a:schemeClr val="accent1">
                      <a:alpha val="10000"/>
                    </a:schemeClr>
                  </a:solidFill>
                  <a:ln w="9216" cap="flat">
                    <a:noFill/>
                    <a:prstDash val="solid"/>
                    <a:miter/>
                  </a:ln>
                </p:spPr>
                <p:txBody>
                  <a:bodyPr rtlCol="0" anchor="ctr"/>
                  <a:lstStyle/>
                  <a:p>
                    <a:endParaRPr lang="zh-CN" altLang="en-US"/>
                  </a:p>
                </p:txBody>
              </p:sp>
              <p:sp>
                <p:nvSpPr>
                  <p:cNvPr id="36" name="任意多边形: 形状 35"/>
                  <p:cNvSpPr/>
                  <p:nvPr/>
                </p:nvSpPr>
                <p:spPr>
                  <a:xfrm>
                    <a:off x="9198622" y="5631620"/>
                    <a:ext cx="210752" cy="210752"/>
                  </a:xfrm>
                  <a:custGeom>
                    <a:avLst/>
                    <a:gdLst>
                      <a:gd name="connsiteX0" fmla="*/ 255671 w 511341"/>
                      <a:gd name="connsiteY0" fmla="*/ 511341 h 511341"/>
                      <a:gd name="connsiteX1" fmla="*/ 0 w 511341"/>
                      <a:gd name="connsiteY1" fmla="*/ 255671 h 511341"/>
                      <a:gd name="connsiteX2" fmla="*/ 255671 w 511341"/>
                      <a:gd name="connsiteY2" fmla="*/ 0 h 511341"/>
                      <a:gd name="connsiteX3" fmla="*/ 511342 w 511341"/>
                      <a:gd name="connsiteY3" fmla="*/ 255671 h 511341"/>
                      <a:gd name="connsiteX4" fmla="*/ 255671 w 511341"/>
                      <a:gd name="connsiteY4" fmla="*/ 511341 h 511341"/>
                      <a:gd name="connsiteX5" fmla="*/ 255671 w 511341"/>
                      <a:gd name="connsiteY5" fmla="*/ 33112 h 511341"/>
                      <a:gd name="connsiteX6" fmla="*/ 33204 w 511341"/>
                      <a:gd name="connsiteY6" fmla="*/ 255579 h 511341"/>
                      <a:gd name="connsiteX7" fmla="*/ 255671 w 511341"/>
                      <a:gd name="connsiteY7" fmla="*/ 478045 h 511341"/>
                      <a:gd name="connsiteX8" fmla="*/ 478138 w 511341"/>
                      <a:gd name="connsiteY8" fmla="*/ 255579 h 511341"/>
                      <a:gd name="connsiteX9" fmla="*/ 255671 w 511341"/>
                      <a:gd name="connsiteY9" fmla="*/ 33112 h 511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1341" h="511341">
                        <a:moveTo>
                          <a:pt x="255671" y="511341"/>
                        </a:moveTo>
                        <a:cubicBezTo>
                          <a:pt x="114646" y="511341"/>
                          <a:pt x="0" y="396603"/>
                          <a:pt x="0" y="255671"/>
                        </a:cubicBezTo>
                        <a:cubicBezTo>
                          <a:pt x="0" y="114738"/>
                          <a:pt x="114738" y="0"/>
                          <a:pt x="255671" y="0"/>
                        </a:cubicBezTo>
                        <a:cubicBezTo>
                          <a:pt x="396696" y="0"/>
                          <a:pt x="511342" y="114738"/>
                          <a:pt x="511342" y="255671"/>
                        </a:cubicBezTo>
                        <a:cubicBezTo>
                          <a:pt x="511342" y="396603"/>
                          <a:pt x="396603" y="511341"/>
                          <a:pt x="255671" y="511341"/>
                        </a:cubicBezTo>
                        <a:close/>
                        <a:moveTo>
                          <a:pt x="255671" y="33112"/>
                        </a:moveTo>
                        <a:cubicBezTo>
                          <a:pt x="133001" y="33112"/>
                          <a:pt x="33204" y="132908"/>
                          <a:pt x="33204" y="255579"/>
                        </a:cubicBezTo>
                        <a:cubicBezTo>
                          <a:pt x="33204" y="378249"/>
                          <a:pt x="133001" y="478045"/>
                          <a:pt x="255671" y="478045"/>
                        </a:cubicBezTo>
                        <a:cubicBezTo>
                          <a:pt x="378341" y="478045"/>
                          <a:pt x="478138" y="378249"/>
                          <a:pt x="478138" y="255579"/>
                        </a:cubicBezTo>
                        <a:cubicBezTo>
                          <a:pt x="478138" y="132908"/>
                          <a:pt x="378341" y="33112"/>
                          <a:pt x="255671" y="33112"/>
                        </a:cubicBezTo>
                        <a:close/>
                      </a:path>
                    </a:pathLst>
                  </a:custGeom>
                  <a:solidFill>
                    <a:schemeClr val="accent1"/>
                  </a:solidFill>
                  <a:ln w="9216" cap="flat">
                    <a:noFill/>
                    <a:prstDash val="solid"/>
                    <a:miter/>
                  </a:ln>
                </p:spPr>
                <p:txBody>
                  <a:bodyPr rtlCol="0" anchor="ctr"/>
                  <a:lstStyle/>
                  <a:p>
                    <a:endParaRPr lang="zh-CN" altLang="en-US"/>
                  </a:p>
                </p:txBody>
              </p:sp>
            </p:grpSp>
            <p:grpSp>
              <p:nvGrpSpPr>
                <p:cNvPr id="50" name="组合 49"/>
                <p:cNvGrpSpPr/>
                <p:nvPr/>
              </p:nvGrpSpPr>
              <p:grpSpPr>
                <a:xfrm>
                  <a:off x="2258895" y="3008364"/>
                  <a:ext cx="5257206" cy="2199303"/>
                  <a:chOff x="2258895" y="3008364"/>
                  <a:chExt cx="5257206" cy="2199303"/>
                </a:xfrm>
              </p:grpSpPr>
              <p:sp>
                <p:nvSpPr>
                  <p:cNvPr id="10" name="任意多边形: 形状 9"/>
                  <p:cNvSpPr/>
                  <p:nvPr/>
                </p:nvSpPr>
                <p:spPr>
                  <a:xfrm>
                    <a:off x="2258895" y="3008364"/>
                    <a:ext cx="1718675" cy="571200"/>
                  </a:xfrm>
                  <a:custGeom>
                    <a:avLst/>
                    <a:gdLst>
                      <a:gd name="connsiteX0" fmla="*/ 152000 w 1718675"/>
                      <a:gd name="connsiteY0" fmla="*/ 419200 h 571200"/>
                      <a:gd name="connsiteX1" fmla="*/ 152000 w 1718675"/>
                      <a:gd name="connsiteY1" fmla="*/ 0 h 571200"/>
                      <a:gd name="connsiteX2" fmla="*/ 0 w 1718675"/>
                      <a:gd name="connsiteY2" fmla="*/ 0 h 571200"/>
                      <a:gd name="connsiteX3" fmla="*/ 0 w 1718675"/>
                      <a:gd name="connsiteY3" fmla="*/ 419200 h 571200"/>
                      <a:gd name="connsiteX4" fmla="*/ 0 w 1718675"/>
                      <a:gd name="connsiteY4" fmla="*/ 419200 h 571200"/>
                      <a:gd name="connsiteX5" fmla="*/ 0 w 1718675"/>
                      <a:gd name="connsiteY5" fmla="*/ 495108 h 571200"/>
                      <a:gd name="connsiteX6" fmla="*/ 76092 w 1718675"/>
                      <a:gd name="connsiteY6" fmla="*/ 571201 h 571200"/>
                      <a:gd name="connsiteX7" fmla="*/ 1718676 w 1718675"/>
                      <a:gd name="connsiteY7" fmla="*/ 571201 h 571200"/>
                      <a:gd name="connsiteX8" fmla="*/ 1718676 w 1718675"/>
                      <a:gd name="connsiteY8" fmla="*/ 419200 h 571200"/>
                      <a:gd name="connsiteX9" fmla="*/ 152000 w 1718675"/>
                      <a:gd name="connsiteY9" fmla="*/ 419200 h 57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18675" h="571200">
                        <a:moveTo>
                          <a:pt x="152000" y="419200"/>
                        </a:moveTo>
                        <a:lnTo>
                          <a:pt x="152000" y="0"/>
                        </a:lnTo>
                        <a:lnTo>
                          <a:pt x="0" y="0"/>
                        </a:lnTo>
                        <a:lnTo>
                          <a:pt x="0" y="419200"/>
                        </a:lnTo>
                        <a:lnTo>
                          <a:pt x="0" y="419200"/>
                        </a:lnTo>
                        <a:lnTo>
                          <a:pt x="0" y="495108"/>
                        </a:lnTo>
                        <a:cubicBezTo>
                          <a:pt x="0" y="537167"/>
                          <a:pt x="34034" y="571201"/>
                          <a:pt x="76092" y="571201"/>
                        </a:cubicBezTo>
                        <a:lnTo>
                          <a:pt x="1718676" y="571201"/>
                        </a:lnTo>
                        <a:lnTo>
                          <a:pt x="1718676" y="419200"/>
                        </a:lnTo>
                        <a:lnTo>
                          <a:pt x="152000" y="419200"/>
                        </a:lnTo>
                        <a:close/>
                      </a:path>
                    </a:pathLst>
                  </a:custGeom>
                  <a:solidFill>
                    <a:schemeClr val="tx2">
                      <a:alpha val="15000"/>
                    </a:schemeClr>
                  </a:solidFill>
                  <a:ln w="9216" cap="flat">
                    <a:noFill/>
                    <a:prstDash val="solid"/>
                    <a:miter/>
                  </a:ln>
                </p:spPr>
                <p:txBody>
                  <a:bodyPr rtlCol="0" anchor="ctr"/>
                  <a:lstStyle/>
                  <a:p>
                    <a:endParaRPr lang="zh-CN" altLang="en-US"/>
                  </a:p>
                </p:txBody>
              </p:sp>
              <p:sp>
                <p:nvSpPr>
                  <p:cNvPr id="11" name="任意多边形: 形状 10"/>
                  <p:cNvSpPr/>
                  <p:nvPr/>
                </p:nvSpPr>
                <p:spPr>
                  <a:xfrm>
                    <a:off x="4028114" y="3821216"/>
                    <a:ext cx="1718675" cy="571200"/>
                  </a:xfrm>
                  <a:custGeom>
                    <a:avLst/>
                    <a:gdLst>
                      <a:gd name="connsiteX0" fmla="*/ 152000 w 1718675"/>
                      <a:gd name="connsiteY0" fmla="*/ 419200 h 571200"/>
                      <a:gd name="connsiteX1" fmla="*/ 152000 w 1718675"/>
                      <a:gd name="connsiteY1" fmla="*/ 0 h 571200"/>
                      <a:gd name="connsiteX2" fmla="*/ 0 w 1718675"/>
                      <a:gd name="connsiteY2" fmla="*/ 0 h 571200"/>
                      <a:gd name="connsiteX3" fmla="*/ 0 w 1718675"/>
                      <a:gd name="connsiteY3" fmla="*/ 419200 h 571200"/>
                      <a:gd name="connsiteX4" fmla="*/ 0 w 1718675"/>
                      <a:gd name="connsiteY4" fmla="*/ 419200 h 571200"/>
                      <a:gd name="connsiteX5" fmla="*/ 0 w 1718675"/>
                      <a:gd name="connsiteY5" fmla="*/ 495108 h 571200"/>
                      <a:gd name="connsiteX6" fmla="*/ 76092 w 1718675"/>
                      <a:gd name="connsiteY6" fmla="*/ 571201 h 571200"/>
                      <a:gd name="connsiteX7" fmla="*/ 1718675 w 1718675"/>
                      <a:gd name="connsiteY7" fmla="*/ 571201 h 571200"/>
                      <a:gd name="connsiteX8" fmla="*/ 1718675 w 1718675"/>
                      <a:gd name="connsiteY8" fmla="*/ 419200 h 571200"/>
                      <a:gd name="connsiteX9" fmla="*/ 152000 w 1718675"/>
                      <a:gd name="connsiteY9" fmla="*/ 419200 h 57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18675" h="571200">
                        <a:moveTo>
                          <a:pt x="152000" y="419200"/>
                        </a:moveTo>
                        <a:lnTo>
                          <a:pt x="152000" y="0"/>
                        </a:lnTo>
                        <a:lnTo>
                          <a:pt x="0" y="0"/>
                        </a:lnTo>
                        <a:lnTo>
                          <a:pt x="0" y="419200"/>
                        </a:lnTo>
                        <a:lnTo>
                          <a:pt x="0" y="419200"/>
                        </a:lnTo>
                        <a:lnTo>
                          <a:pt x="0" y="495108"/>
                        </a:lnTo>
                        <a:cubicBezTo>
                          <a:pt x="0" y="537167"/>
                          <a:pt x="34034" y="571201"/>
                          <a:pt x="76092" y="571201"/>
                        </a:cubicBezTo>
                        <a:lnTo>
                          <a:pt x="1718675" y="571201"/>
                        </a:lnTo>
                        <a:lnTo>
                          <a:pt x="1718675" y="419200"/>
                        </a:lnTo>
                        <a:lnTo>
                          <a:pt x="152000" y="419200"/>
                        </a:lnTo>
                        <a:close/>
                      </a:path>
                    </a:pathLst>
                  </a:custGeom>
                  <a:solidFill>
                    <a:schemeClr val="tx2">
                      <a:alpha val="15000"/>
                    </a:schemeClr>
                  </a:solidFill>
                  <a:ln w="9216" cap="flat">
                    <a:noFill/>
                    <a:prstDash val="solid"/>
                    <a:miter/>
                  </a:ln>
                </p:spPr>
                <p:txBody>
                  <a:bodyPr rtlCol="0" anchor="ctr"/>
                  <a:lstStyle/>
                  <a:p>
                    <a:endParaRPr lang="zh-CN" altLang="en-US"/>
                  </a:p>
                </p:txBody>
              </p:sp>
              <p:sp>
                <p:nvSpPr>
                  <p:cNvPr id="12" name="任意多边形: 形状 11"/>
                  <p:cNvSpPr/>
                  <p:nvPr/>
                </p:nvSpPr>
                <p:spPr>
                  <a:xfrm>
                    <a:off x="5797426" y="4636466"/>
                    <a:ext cx="1718675" cy="571201"/>
                  </a:xfrm>
                  <a:custGeom>
                    <a:avLst/>
                    <a:gdLst>
                      <a:gd name="connsiteX0" fmla="*/ 152000 w 1718675"/>
                      <a:gd name="connsiteY0" fmla="*/ 419200 h 571201"/>
                      <a:gd name="connsiteX1" fmla="*/ 152000 w 1718675"/>
                      <a:gd name="connsiteY1" fmla="*/ 0 h 571201"/>
                      <a:gd name="connsiteX2" fmla="*/ 0 w 1718675"/>
                      <a:gd name="connsiteY2" fmla="*/ 0 h 571201"/>
                      <a:gd name="connsiteX3" fmla="*/ 0 w 1718675"/>
                      <a:gd name="connsiteY3" fmla="*/ 419200 h 571201"/>
                      <a:gd name="connsiteX4" fmla="*/ 0 w 1718675"/>
                      <a:gd name="connsiteY4" fmla="*/ 419200 h 571201"/>
                      <a:gd name="connsiteX5" fmla="*/ 0 w 1718675"/>
                      <a:gd name="connsiteY5" fmla="*/ 495109 h 571201"/>
                      <a:gd name="connsiteX6" fmla="*/ 76092 w 1718675"/>
                      <a:gd name="connsiteY6" fmla="*/ 571201 h 571201"/>
                      <a:gd name="connsiteX7" fmla="*/ 1718675 w 1718675"/>
                      <a:gd name="connsiteY7" fmla="*/ 571201 h 571201"/>
                      <a:gd name="connsiteX8" fmla="*/ 1718675 w 1718675"/>
                      <a:gd name="connsiteY8" fmla="*/ 419200 h 571201"/>
                      <a:gd name="connsiteX9" fmla="*/ 152000 w 1718675"/>
                      <a:gd name="connsiteY9" fmla="*/ 419200 h 571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18675" h="571201">
                        <a:moveTo>
                          <a:pt x="152000" y="419200"/>
                        </a:moveTo>
                        <a:lnTo>
                          <a:pt x="152000" y="0"/>
                        </a:lnTo>
                        <a:lnTo>
                          <a:pt x="0" y="0"/>
                        </a:lnTo>
                        <a:lnTo>
                          <a:pt x="0" y="419200"/>
                        </a:lnTo>
                        <a:lnTo>
                          <a:pt x="0" y="419200"/>
                        </a:lnTo>
                        <a:lnTo>
                          <a:pt x="0" y="495109"/>
                        </a:lnTo>
                        <a:cubicBezTo>
                          <a:pt x="0" y="537167"/>
                          <a:pt x="34126" y="571201"/>
                          <a:pt x="76092" y="571201"/>
                        </a:cubicBezTo>
                        <a:lnTo>
                          <a:pt x="1718675" y="571201"/>
                        </a:lnTo>
                        <a:lnTo>
                          <a:pt x="1718675" y="419200"/>
                        </a:lnTo>
                        <a:lnTo>
                          <a:pt x="152000" y="419200"/>
                        </a:lnTo>
                        <a:close/>
                      </a:path>
                    </a:pathLst>
                  </a:custGeom>
                  <a:solidFill>
                    <a:schemeClr val="tx2">
                      <a:alpha val="15000"/>
                    </a:schemeClr>
                  </a:solidFill>
                  <a:ln w="9216" cap="flat">
                    <a:noFill/>
                    <a:prstDash val="solid"/>
                    <a:miter/>
                  </a:ln>
                </p:spPr>
                <p:txBody>
                  <a:bodyPr rtlCol="0" anchor="ctr"/>
                  <a:lstStyle/>
                  <a:p>
                    <a:endParaRPr lang="zh-CN" altLang="en-US"/>
                  </a:p>
                </p:txBody>
              </p:sp>
            </p:grpSp>
          </p:grpSp>
          <p:sp>
            <p:nvSpPr>
              <p:cNvPr id="15" name="任意多边形: 形状 14"/>
              <p:cNvSpPr/>
              <p:nvPr/>
            </p:nvSpPr>
            <p:spPr>
              <a:xfrm>
                <a:off x="660400" y="1909958"/>
                <a:ext cx="167311" cy="167403"/>
              </a:xfrm>
              <a:custGeom>
                <a:avLst/>
                <a:gdLst>
                  <a:gd name="connsiteX0" fmla="*/ 83656 w 167311"/>
                  <a:gd name="connsiteY0" fmla="*/ 167403 h 167403"/>
                  <a:gd name="connsiteX1" fmla="*/ 0 w 167311"/>
                  <a:gd name="connsiteY1" fmla="*/ 83748 h 167403"/>
                  <a:gd name="connsiteX2" fmla="*/ 83656 w 167311"/>
                  <a:gd name="connsiteY2" fmla="*/ 0 h 167403"/>
                  <a:gd name="connsiteX3" fmla="*/ 167311 w 167311"/>
                  <a:gd name="connsiteY3" fmla="*/ 83656 h 167403"/>
                  <a:gd name="connsiteX4" fmla="*/ 83656 w 167311"/>
                  <a:gd name="connsiteY4" fmla="*/ 167403 h 167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311" h="167403">
                    <a:moveTo>
                      <a:pt x="83656" y="167403"/>
                    </a:moveTo>
                    <a:cubicBezTo>
                      <a:pt x="37539" y="167403"/>
                      <a:pt x="0" y="129864"/>
                      <a:pt x="0" y="83748"/>
                    </a:cubicBezTo>
                    <a:cubicBezTo>
                      <a:pt x="0" y="37539"/>
                      <a:pt x="37539" y="0"/>
                      <a:pt x="83656" y="0"/>
                    </a:cubicBezTo>
                    <a:cubicBezTo>
                      <a:pt x="129772" y="0"/>
                      <a:pt x="167311" y="37539"/>
                      <a:pt x="167311" y="83656"/>
                    </a:cubicBezTo>
                    <a:cubicBezTo>
                      <a:pt x="167311" y="129864"/>
                      <a:pt x="129865" y="167403"/>
                      <a:pt x="83656" y="167403"/>
                    </a:cubicBezTo>
                    <a:close/>
                  </a:path>
                </a:pathLst>
              </a:custGeom>
              <a:solidFill>
                <a:srgbClr val="D1D3D4"/>
              </a:solidFill>
              <a:ln w="9216" cap="flat">
                <a:noFill/>
                <a:prstDash val="solid"/>
                <a:miter/>
              </a:ln>
            </p:spPr>
            <p:txBody>
              <a:bodyPr rtlCol="0" anchor="ctr"/>
              <a:lstStyle/>
              <a:p>
                <a:endParaRPr lang="zh-CN" altLang="en-US"/>
              </a:p>
            </p:txBody>
          </p:sp>
          <p:sp>
            <p:nvSpPr>
              <p:cNvPr id="16" name="任意多边形: 形状 15"/>
              <p:cNvSpPr/>
              <p:nvPr/>
            </p:nvSpPr>
            <p:spPr>
              <a:xfrm>
                <a:off x="10162552" y="6063869"/>
                <a:ext cx="167311" cy="167311"/>
              </a:xfrm>
              <a:custGeom>
                <a:avLst/>
                <a:gdLst>
                  <a:gd name="connsiteX0" fmla="*/ 83656 w 167311"/>
                  <a:gd name="connsiteY0" fmla="*/ 167311 h 167311"/>
                  <a:gd name="connsiteX1" fmla="*/ 0 w 167311"/>
                  <a:gd name="connsiteY1" fmla="*/ 83656 h 167311"/>
                  <a:gd name="connsiteX2" fmla="*/ 83656 w 167311"/>
                  <a:gd name="connsiteY2" fmla="*/ 0 h 167311"/>
                  <a:gd name="connsiteX3" fmla="*/ 167311 w 167311"/>
                  <a:gd name="connsiteY3" fmla="*/ 83656 h 167311"/>
                  <a:gd name="connsiteX4" fmla="*/ 83656 w 167311"/>
                  <a:gd name="connsiteY4" fmla="*/ 167311 h 1673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311" h="167311">
                    <a:moveTo>
                      <a:pt x="83656" y="167311"/>
                    </a:moveTo>
                    <a:cubicBezTo>
                      <a:pt x="37540" y="167311"/>
                      <a:pt x="0" y="129772"/>
                      <a:pt x="0" y="83656"/>
                    </a:cubicBezTo>
                    <a:cubicBezTo>
                      <a:pt x="0" y="37539"/>
                      <a:pt x="37540" y="0"/>
                      <a:pt x="83656" y="0"/>
                    </a:cubicBezTo>
                    <a:cubicBezTo>
                      <a:pt x="129773" y="0"/>
                      <a:pt x="167311" y="37539"/>
                      <a:pt x="167311" y="83656"/>
                    </a:cubicBezTo>
                    <a:cubicBezTo>
                      <a:pt x="167311" y="129772"/>
                      <a:pt x="129773" y="167311"/>
                      <a:pt x="83656" y="167311"/>
                    </a:cubicBezTo>
                    <a:close/>
                  </a:path>
                </a:pathLst>
              </a:custGeom>
              <a:solidFill>
                <a:srgbClr val="D1D3D4"/>
              </a:solidFill>
              <a:ln w="9216" cap="flat">
                <a:noFill/>
                <a:prstDash val="solid"/>
                <a:miter/>
              </a:ln>
            </p:spPr>
            <p:txBody>
              <a:bodyPr rtlCol="0" anchor="ctr"/>
              <a:lstStyle/>
              <a:p>
                <a:endParaRPr lang="zh-CN" altLang="en-US"/>
              </a:p>
            </p:txBody>
          </p:sp>
          <p:sp>
            <p:nvSpPr>
              <p:cNvPr id="37" name="任意多边形: 形状 36"/>
              <p:cNvSpPr/>
              <p:nvPr/>
            </p:nvSpPr>
            <p:spPr>
              <a:xfrm>
                <a:off x="726161" y="1993613"/>
                <a:ext cx="9520046" cy="4171805"/>
              </a:xfrm>
              <a:custGeom>
                <a:avLst/>
                <a:gdLst>
                  <a:gd name="connsiteX0" fmla="*/ 0 w 9520046"/>
                  <a:gd name="connsiteY0" fmla="*/ 0 h 4171805"/>
                  <a:gd name="connsiteX1" fmla="*/ 35879 w 9520046"/>
                  <a:gd name="connsiteY1" fmla="*/ 0 h 4171805"/>
                  <a:gd name="connsiteX2" fmla="*/ 35879 w 9520046"/>
                  <a:gd name="connsiteY2" fmla="*/ 4135926 h 4171805"/>
                  <a:gd name="connsiteX3" fmla="*/ 9520046 w 9520046"/>
                  <a:gd name="connsiteY3" fmla="*/ 4135926 h 4171805"/>
                  <a:gd name="connsiteX4" fmla="*/ 9520046 w 9520046"/>
                  <a:gd name="connsiteY4" fmla="*/ 4171805 h 4171805"/>
                  <a:gd name="connsiteX5" fmla="*/ 35879 w 9520046"/>
                  <a:gd name="connsiteY5" fmla="*/ 4171805 h 4171805"/>
                  <a:gd name="connsiteX6" fmla="*/ 0 w 9520046"/>
                  <a:gd name="connsiteY6" fmla="*/ 4171805 h 4171805"/>
                  <a:gd name="connsiteX7" fmla="*/ 0 w 9520046"/>
                  <a:gd name="connsiteY7" fmla="*/ 4135926 h 4171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520046" h="4171805">
                    <a:moveTo>
                      <a:pt x="0" y="0"/>
                    </a:moveTo>
                    <a:lnTo>
                      <a:pt x="35879" y="0"/>
                    </a:lnTo>
                    <a:lnTo>
                      <a:pt x="35879" y="4135926"/>
                    </a:lnTo>
                    <a:lnTo>
                      <a:pt x="9520046" y="4135926"/>
                    </a:lnTo>
                    <a:lnTo>
                      <a:pt x="9520046" y="4171805"/>
                    </a:lnTo>
                    <a:lnTo>
                      <a:pt x="35879" y="4171805"/>
                    </a:lnTo>
                    <a:lnTo>
                      <a:pt x="0" y="4171805"/>
                    </a:lnTo>
                    <a:lnTo>
                      <a:pt x="0" y="4135926"/>
                    </a:lnTo>
                    <a:close/>
                  </a:path>
                </a:pathLst>
              </a:custGeom>
              <a:solidFill>
                <a:srgbClr val="D1D3D4"/>
              </a:solidFill>
              <a:ln w="9216" cap="flat">
                <a:noFill/>
                <a:prstDash val="solid"/>
                <a:miter/>
              </a:ln>
            </p:spPr>
            <p:txBody>
              <a:bodyPr rtlCol="0" anchor="ctr"/>
              <a:lstStyle/>
              <a:p>
                <a:endParaRPr lang="zh-CN" altLang="en-US"/>
              </a:p>
            </p:txBody>
          </p:sp>
          <p:grpSp>
            <p:nvGrpSpPr>
              <p:cNvPr id="48" name="组合 47"/>
              <p:cNvGrpSpPr/>
              <p:nvPr/>
            </p:nvGrpSpPr>
            <p:grpSpPr>
              <a:xfrm>
                <a:off x="7227504" y="4708132"/>
                <a:ext cx="2791625" cy="836740"/>
                <a:chOff x="7227504" y="4708132"/>
                <a:chExt cx="2791625" cy="836740"/>
              </a:xfrm>
            </p:grpSpPr>
            <p:sp>
              <p:nvSpPr>
                <p:cNvPr id="8" name="矩形: 圆角 7"/>
                <p:cNvSpPr/>
                <p:nvPr/>
              </p:nvSpPr>
              <p:spPr>
                <a:xfrm>
                  <a:off x="7645874" y="4827666"/>
                  <a:ext cx="2373255" cy="597671"/>
                </a:xfrm>
                <a:prstGeom prst="roundRect">
                  <a:avLst/>
                </a:prstGeom>
                <a:solidFill>
                  <a:schemeClr val="accent2"/>
                </a:solidFill>
                <a:ln w="12700" cap="flat">
                  <a:noFill/>
                  <a:prstDash val="solid"/>
                  <a:miter/>
                </a:ln>
                <a:effectLst>
                  <a:outerShdw blurRad="127000" dist="63500" dir="2700000" algn="tl" rotWithShape="0">
                    <a:schemeClr val="accent2">
                      <a:alpha val="40000"/>
                    </a:schemeClr>
                  </a:outerShdw>
                </a:effectLst>
              </p:spPr>
              <p:txBody>
                <a:bodyPr rot="0" spcFirstLastPara="0" vertOverflow="overflow" horzOverflow="overflow" vert="horz" wrap="square" lIns="91440" tIns="45720" rIns="91440" bIns="45720" numCol="1" spcCol="0" rtlCol="0" fromWordArt="0" anchor="ctr" anchorCtr="0" forceAA="0" compatLnSpc="1">
                  <a:noAutofit/>
                </a:bodyPr>
                <a:lstStyle/>
                <a:p>
                  <a:pPr algn="r"/>
                  <a:r>
                    <a:rPr lang="en-US" altLang="zh-CN" b="1" dirty="0">
                      <a:solidFill>
                        <a:srgbClr val="FFFFFF"/>
                      </a:solidFill>
                      <a:latin typeface="Calibri" pitchFamily="34" charset="0"/>
                      <a:ea typeface="宋体" pitchFamily="2" charset="-122"/>
                    </a:rPr>
                    <a:t>Click to add text</a:t>
                  </a:r>
                  <a:endParaRPr lang="zh-CN" altLang="en-US" b="1" dirty="0">
                    <a:solidFill>
                      <a:srgbClr val="FFFFFF"/>
                    </a:solidFill>
                    <a:latin typeface="Calibri" pitchFamily="34" charset="0"/>
                    <a:ea typeface="宋体" pitchFamily="2" charset="-122"/>
                  </a:endParaRPr>
                </a:p>
              </p:txBody>
            </p:sp>
            <p:sp>
              <p:nvSpPr>
                <p:cNvPr id="28" name="任意多边形: 形状 27"/>
                <p:cNvSpPr/>
                <p:nvPr/>
              </p:nvSpPr>
              <p:spPr>
                <a:xfrm>
                  <a:off x="7227504" y="4708132"/>
                  <a:ext cx="836740" cy="836740"/>
                </a:xfrm>
                <a:custGeom>
                  <a:avLst/>
                  <a:gdLst>
                    <a:gd name="connsiteX0" fmla="*/ 418370 w 836740"/>
                    <a:gd name="connsiteY0" fmla="*/ 0 h 836740"/>
                    <a:gd name="connsiteX1" fmla="*/ 0 w 836740"/>
                    <a:gd name="connsiteY1" fmla="*/ 418370 h 836740"/>
                    <a:gd name="connsiteX2" fmla="*/ 418370 w 836740"/>
                    <a:gd name="connsiteY2" fmla="*/ 836741 h 836740"/>
                    <a:gd name="connsiteX3" fmla="*/ 836740 w 836740"/>
                    <a:gd name="connsiteY3" fmla="*/ 418370 h 836740"/>
                    <a:gd name="connsiteX4" fmla="*/ 418370 w 836740"/>
                    <a:gd name="connsiteY4" fmla="*/ 0 h 8367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6740" h="836740">
                      <a:moveTo>
                        <a:pt x="418370" y="0"/>
                      </a:moveTo>
                      <a:cubicBezTo>
                        <a:pt x="187326" y="0"/>
                        <a:pt x="0" y="187326"/>
                        <a:pt x="0" y="418370"/>
                      </a:cubicBezTo>
                      <a:cubicBezTo>
                        <a:pt x="0" y="649415"/>
                        <a:pt x="187326" y="836741"/>
                        <a:pt x="418370" y="836741"/>
                      </a:cubicBezTo>
                      <a:cubicBezTo>
                        <a:pt x="649415" y="836741"/>
                        <a:pt x="836740" y="649415"/>
                        <a:pt x="836740" y="418370"/>
                      </a:cubicBezTo>
                      <a:cubicBezTo>
                        <a:pt x="836740" y="187326"/>
                        <a:pt x="649415" y="0"/>
                        <a:pt x="418370" y="0"/>
                      </a:cubicBezTo>
                      <a:close/>
                    </a:path>
                  </a:pathLst>
                </a:custGeom>
                <a:solidFill>
                  <a:schemeClr val="bg1"/>
                </a:solidFill>
                <a:ln w="9216" cap="flat">
                  <a:noFill/>
                  <a:prstDash val="solid"/>
                  <a:miter/>
                </a:ln>
              </p:spPr>
              <p:txBody>
                <a:bodyPr rtlCol="0" anchor="ctr"/>
                <a:lstStyle/>
                <a:p>
                  <a:endParaRPr lang="zh-CN" altLang="en-US"/>
                </a:p>
              </p:txBody>
            </p:sp>
            <p:sp>
              <p:nvSpPr>
                <p:cNvPr id="34" name="任意多边形: 形状 33"/>
                <p:cNvSpPr/>
                <p:nvPr/>
              </p:nvSpPr>
              <p:spPr>
                <a:xfrm>
                  <a:off x="7347038" y="4827666"/>
                  <a:ext cx="597672" cy="597671"/>
                </a:xfrm>
                <a:custGeom>
                  <a:avLst/>
                  <a:gdLst>
                    <a:gd name="connsiteX0" fmla="*/ 298836 w 597672"/>
                    <a:gd name="connsiteY0" fmla="*/ 0 h 597671"/>
                    <a:gd name="connsiteX1" fmla="*/ 597672 w 597672"/>
                    <a:gd name="connsiteY1" fmla="*/ 298836 h 597671"/>
                    <a:gd name="connsiteX2" fmla="*/ 298836 w 597672"/>
                    <a:gd name="connsiteY2" fmla="*/ 597672 h 597671"/>
                    <a:gd name="connsiteX3" fmla="*/ 0 w 597672"/>
                    <a:gd name="connsiteY3" fmla="*/ 298836 h 597671"/>
                    <a:gd name="connsiteX4" fmla="*/ 298836 w 597672"/>
                    <a:gd name="connsiteY4" fmla="*/ 0 h 5976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7672" h="597671">
                      <a:moveTo>
                        <a:pt x="298836" y="0"/>
                      </a:moveTo>
                      <a:cubicBezTo>
                        <a:pt x="463842" y="0"/>
                        <a:pt x="597672" y="133831"/>
                        <a:pt x="597672" y="298836"/>
                      </a:cubicBezTo>
                      <a:cubicBezTo>
                        <a:pt x="597672" y="463934"/>
                        <a:pt x="463842" y="597672"/>
                        <a:pt x="298836" y="597672"/>
                      </a:cubicBezTo>
                      <a:cubicBezTo>
                        <a:pt x="133738" y="597672"/>
                        <a:pt x="0" y="463841"/>
                        <a:pt x="0" y="298836"/>
                      </a:cubicBezTo>
                      <a:cubicBezTo>
                        <a:pt x="-92" y="133738"/>
                        <a:pt x="133738" y="0"/>
                        <a:pt x="298836" y="0"/>
                      </a:cubicBezTo>
                      <a:close/>
                    </a:path>
                  </a:pathLst>
                </a:custGeom>
                <a:solidFill>
                  <a:schemeClr val="accent2">
                    <a:alpha val="15000"/>
                  </a:schemeClr>
                </a:solidFill>
                <a:ln w="12700" cap="flat">
                  <a:noFill/>
                  <a:prstDash val="solid"/>
                  <a:miter/>
                </a:ln>
                <a:effectLst/>
              </p:spPr>
              <p:txBody>
                <a:bodyPr rot="0" spcFirstLastPara="0" vertOverflow="overflow" horzOverflow="overflow" vert="horz" wrap="square" lIns="91440" tIns="45720" rIns="91440" bIns="45720" numCol="1" spcCol="0" rtlCol="0" fromWordArt="0" anchor="ctr" anchorCtr="0" forceAA="0" compatLnSpc="1">
                  <a:noAutofit/>
                </a:bodyPr>
                <a:lstStyle/>
                <a:p>
                  <a:pPr algn="ctr"/>
                  <a:r>
                    <a:rPr lang="en-US" altLang="zh-CN" b="1" dirty="0">
                      <a:solidFill>
                        <a:schemeClr val="accent2"/>
                      </a:solidFill>
                      <a:latin typeface="Calibri" pitchFamily="34" charset="0"/>
                      <a:ea typeface="宋体" pitchFamily="2" charset="-122"/>
                    </a:rPr>
                    <a:t>04</a:t>
                  </a:r>
                  <a:endParaRPr lang="zh-CN" altLang="en-US" b="1" dirty="0">
                    <a:solidFill>
                      <a:schemeClr val="accent2"/>
                    </a:solidFill>
                    <a:latin typeface="Calibri" pitchFamily="34" charset="0"/>
                    <a:ea typeface="宋体" pitchFamily="2" charset="-122"/>
                  </a:endParaRPr>
                </a:p>
              </p:txBody>
            </p:sp>
          </p:grpSp>
          <p:grpSp>
            <p:nvGrpSpPr>
              <p:cNvPr id="45" name="组合 44"/>
              <p:cNvGrpSpPr/>
              <p:nvPr/>
            </p:nvGrpSpPr>
            <p:grpSpPr>
              <a:xfrm>
                <a:off x="1909146" y="2269206"/>
                <a:ext cx="6556834" cy="836740"/>
                <a:chOff x="1909146" y="2269206"/>
                <a:chExt cx="6556834" cy="836740"/>
              </a:xfrm>
            </p:grpSpPr>
            <p:grpSp>
              <p:nvGrpSpPr>
                <p:cNvPr id="44" name="组合 43"/>
                <p:cNvGrpSpPr/>
                <p:nvPr/>
              </p:nvGrpSpPr>
              <p:grpSpPr>
                <a:xfrm>
                  <a:off x="1909146" y="2269206"/>
                  <a:ext cx="2791626" cy="836740"/>
                  <a:chOff x="1909146" y="2269206"/>
                  <a:chExt cx="2791626" cy="836740"/>
                </a:xfrm>
              </p:grpSpPr>
              <p:sp>
                <p:nvSpPr>
                  <p:cNvPr id="20" name="矩形: 圆角 19"/>
                  <p:cNvSpPr/>
                  <p:nvPr/>
                </p:nvSpPr>
                <p:spPr>
                  <a:xfrm>
                    <a:off x="2327517" y="2388741"/>
                    <a:ext cx="2373255" cy="597671"/>
                  </a:xfrm>
                  <a:prstGeom prst="roundRect">
                    <a:avLst/>
                  </a:prstGeom>
                  <a:solidFill>
                    <a:schemeClr val="accent1"/>
                  </a:solidFill>
                  <a:ln w="12700" cap="flat">
                    <a:noFill/>
                    <a:prstDash val="solid"/>
                    <a:miter/>
                  </a:ln>
                  <a:effectLst>
                    <a:outerShdw blurRad="127000" dist="63500" dir="2700000" algn="tl" rotWithShape="0">
                      <a:schemeClr val="accent1">
                        <a:alpha val="40000"/>
                      </a:schemeClr>
                    </a:outerShdw>
                  </a:effectLst>
                </p:spPr>
                <p:txBody>
                  <a:bodyPr rot="0" spcFirstLastPara="0" vertOverflow="overflow" horzOverflow="overflow" vert="horz" wrap="square" lIns="91440" tIns="45720" rIns="91440" bIns="45720" numCol="1" spcCol="0" rtlCol="0" fromWordArt="0" anchor="ctr" anchorCtr="0" forceAA="0" compatLnSpc="1">
                    <a:noAutofit/>
                  </a:bodyPr>
                  <a:lstStyle/>
                  <a:p>
                    <a:pPr algn="r"/>
                    <a:r>
                      <a:rPr lang="en-US" altLang="zh-CN" b="1" dirty="0">
                        <a:solidFill>
                          <a:srgbClr val="FFFFFF"/>
                        </a:solidFill>
                        <a:latin typeface="Calibri" pitchFamily="34" charset="0"/>
                        <a:ea typeface="宋体" pitchFamily="2" charset="-122"/>
                      </a:rPr>
                      <a:t>Click to add text</a:t>
                    </a:r>
                    <a:endParaRPr lang="zh-CN" altLang="en-US" b="1" dirty="0">
                      <a:solidFill>
                        <a:srgbClr val="FFFFFF"/>
                      </a:solidFill>
                      <a:latin typeface="Calibri" pitchFamily="34" charset="0"/>
                      <a:ea typeface="宋体" pitchFamily="2" charset="-122"/>
                    </a:endParaRPr>
                  </a:p>
                </p:txBody>
              </p:sp>
              <p:sp>
                <p:nvSpPr>
                  <p:cNvPr id="21" name="任意多边形: 形状 20"/>
                  <p:cNvSpPr/>
                  <p:nvPr/>
                </p:nvSpPr>
                <p:spPr>
                  <a:xfrm>
                    <a:off x="1909146" y="2269206"/>
                    <a:ext cx="836740" cy="836740"/>
                  </a:xfrm>
                  <a:custGeom>
                    <a:avLst/>
                    <a:gdLst>
                      <a:gd name="connsiteX0" fmla="*/ 418370 w 836740"/>
                      <a:gd name="connsiteY0" fmla="*/ 0 h 836740"/>
                      <a:gd name="connsiteX1" fmla="*/ 836741 w 836740"/>
                      <a:gd name="connsiteY1" fmla="*/ 418370 h 836740"/>
                      <a:gd name="connsiteX2" fmla="*/ 418370 w 836740"/>
                      <a:gd name="connsiteY2" fmla="*/ 836741 h 836740"/>
                      <a:gd name="connsiteX3" fmla="*/ 0 w 836740"/>
                      <a:gd name="connsiteY3" fmla="*/ 418370 h 836740"/>
                      <a:gd name="connsiteX4" fmla="*/ 418370 w 836740"/>
                      <a:gd name="connsiteY4" fmla="*/ 0 h 8367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6740" h="836740">
                        <a:moveTo>
                          <a:pt x="418370" y="0"/>
                        </a:moveTo>
                        <a:cubicBezTo>
                          <a:pt x="649415" y="0"/>
                          <a:pt x="836741" y="187326"/>
                          <a:pt x="836741" y="418370"/>
                        </a:cubicBezTo>
                        <a:cubicBezTo>
                          <a:pt x="836741" y="649415"/>
                          <a:pt x="649415" y="836741"/>
                          <a:pt x="418370" y="836741"/>
                        </a:cubicBezTo>
                        <a:cubicBezTo>
                          <a:pt x="187326" y="836741"/>
                          <a:pt x="0" y="649415"/>
                          <a:pt x="0" y="418370"/>
                        </a:cubicBezTo>
                        <a:cubicBezTo>
                          <a:pt x="0" y="187326"/>
                          <a:pt x="187326" y="0"/>
                          <a:pt x="418370" y="0"/>
                        </a:cubicBezTo>
                        <a:close/>
                      </a:path>
                    </a:pathLst>
                  </a:custGeom>
                  <a:solidFill>
                    <a:schemeClr val="bg1"/>
                  </a:solidFill>
                  <a:ln w="9216" cap="flat">
                    <a:noFill/>
                    <a:prstDash val="solid"/>
                    <a:miter/>
                  </a:ln>
                </p:spPr>
                <p:txBody>
                  <a:bodyPr rtlCol="0" anchor="ctr"/>
                  <a:lstStyle/>
                  <a:p>
                    <a:endParaRPr lang="zh-CN" altLang="en-US"/>
                  </a:p>
                </p:txBody>
              </p:sp>
              <p:sp>
                <p:nvSpPr>
                  <p:cNvPr id="22" name="任意多边形: 形状 21"/>
                  <p:cNvSpPr/>
                  <p:nvPr/>
                </p:nvSpPr>
                <p:spPr>
                  <a:xfrm>
                    <a:off x="2028681" y="2388741"/>
                    <a:ext cx="597671" cy="597671"/>
                  </a:xfrm>
                  <a:custGeom>
                    <a:avLst/>
                    <a:gdLst>
                      <a:gd name="connsiteX0" fmla="*/ 298836 w 597671"/>
                      <a:gd name="connsiteY0" fmla="*/ 0 h 597671"/>
                      <a:gd name="connsiteX1" fmla="*/ 597672 w 597671"/>
                      <a:gd name="connsiteY1" fmla="*/ 298836 h 597671"/>
                      <a:gd name="connsiteX2" fmla="*/ 298836 w 597671"/>
                      <a:gd name="connsiteY2" fmla="*/ 597672 h 597671"/>
                      <a:gd name="connsiteX3" fmla="*/ 0 w 597671"/>
                      <a:gd name="connsiteY3" fmla="*/ 298836 h 597671"/>
                      <a:gd name="connsiteX4" fmla="*/ 298836 w 597671"/>
                      <a:gd name="connsiteY4" fmla="*/ 0 h 5976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7671" h="597671">
                        <a:moveTo>
                          <a:pt x="298836" y="0"/>
                        </a:moveTo>
                        <a:cubicBezTo>
                          <a:pt x="463933" y="0"/>
                          <a:pt x="597672" y="133831"/>
                          <a:pt x="597672" y="298836"/>
                        </a:cubicBezTo>
                        <a:cubicBezTo>
                          <a:pt x="597672" y="463934"/>
                          <a:pt x="463841" y="597672"/>
                          <a:pt x="298836" y="597672"/>
                        </a:cubicBezTo>
                        <a:cubicBezTo>
                          <a:pt x="133738" y="597672"/>
                          <a:pt x="0" y="463841"/>
                          <a:pt x="0" y="298836"/>
                        </a:cubicBezTo>
                        <a:cubicBezTo>
                          <a:pt x="0" y="133831"/>
                          <a:pt x="133738" y="0"/>
                          <a:pt x="298836" y="0"/>
                        </a:cubicBezTo>
                        <a:close/>
                      </a:path>
                    </a:pathLst>
                  </a:custGeom>
                  <a:solidFill>
                    <a:schemeClr val="accent1">
                      <a:alpha val="15000"/>
                    </a:schemeClr>
                  </a:solidFill>
                  <a:ln w="12700" cap="flat">
                    <a:noFill/>
                    <a:prstDash val="solid"/>
                    <a:miter/>
                  </a:ln>
                  <a:effectLst/>
                </p:spPr>
                <p:txBody>
                  <a:bodyPr rot="0" spcFirstLastPara="0" vertOverflow="overflow" horzOverflow="overflow" vert="horz" wrap="square" lIns="91440" tIns="45720" rIns="91440" bIns="45720" numCol="1" spcCol="0" rtlCol="0" fromWordArt="0" anchor="ctr" anchorCtr="0" forceAA="0" compatLnSpc="1">
                    <a:noAutofit/>
                  </a:bodyPr>
                  <a:lstStyle/>
                  <a:p>
                    <a:pPr algn="ctr"/>
                    <a:r>
                      <a:rPr lang="en-US" altLang="zh-CN" b="1" dirty="0">
                        <a:solidFill>
                          <a:schemeClr val="accent1"/>
                        </a:solidFill>
                        <a:latin typeface="Calibri" pitchFamily="34" charset="0"/>
                        <a:ea typeface="宋体" pitchFamily="2" charset="-122"/>
                      </a:rPr>
                      <a:t>01</a:t>
                    </a:r>
                    <a:endParaRPr lang="zh-CN" altLang="en-US" b="1" dirty="0">
                      <a:solidFill>
                        <a:schemeClr val="accent1"/>
                      </a:solidFill>
                      <a:latin typeface="Calibri" pitchFamily="34" charset="0"/>
                      <a:ea typeface="宋体" pitchFamily="2" charset="-122"/>
                    </a:endParaRPr>
                  </a:p>
                </p:txBody>
              </p:sp>
            </p:grpSp>
            <p:sp>
              <p:nvSpPr>
                <p:cNvPr id="40" name="文本框 39"/>
                <p:cNvSpPr txBox="1"/>
                <p:nvPr/>
              </p:nvSpPr>
              <p:spPr>
                <a:xfrm>
                  <a:off x="4824917" y="2535846"/>
                  <a:ext cx="3641063" cy="444582"/>
                </a:xfrm>
                <a:prstGeom prst="rect">
                  <a:avLst/>
                </a:prstGeom>
                <a:noFill/>
              </p:spPr>
              <p:txBody>
                <a:bodyPr wrap="square" rtlCol="0">
                  <a:normAutofit/>
                </a:bodyPr>
                <a:lstStyle/>
                <a:p>
                  <a:pPr algn="l"/>
                  <a:r>
                    <a:rPr lang="nb-NO" altLang="zh-CN" sz="1200">
                      <a:latin typeface="Calibri" pitchFamily="34" charset="0"/>
                      <a:ea typeface="宋体" pitchFamily="2" charset="-122"/>
                      <a:rtl val="0"/>
                    </a:rPr>
                    <a:t>Erat et nihil stet sed consetetur voluptua sadipscing ut.</a:t>
                  </a:r>
                  <a:endParaRPr lang="nb-NO" altLang="zh-CN" sz="1100" dirty="0">
                    <a:latin typeface="Calibri" pitchFamily="34" charset="0"/>
                    <a:ea typeface="宋体" pitchFamily="2" charset="-122"/>
                    <a:rtl val="0"/>
                  </a:endParaRPr>
                </a:p>
              </p:txBody>
            </p:sp>
          </p:grpSp>
          <p:grpSp>
            <p:nvGrpSpPr>
              <p:cNvPr id="46" name="组合 45"/>
              <p:cNvGrpSpPr/>
              <p:nvPr/>
            </p:nvGrpSpPr>
            <p:grpSpPr>
              <a:xfrm>
                <a:off x="3685836" y="3082151"/>
                <a:ext cx="6599301" cy="836740"/>
                <a:chOff x="3685836" y="3082151"/>
                <a:chExt cx="6599301" cy="836740"/>
              </a:xfrm>
            </p:grpSpPr>
            <p:sp>
              <p:nvSpPr>
                <p:cNvPr id="24" name="矩形: 圆角 23"/>
                <p:cNvSpPr/>
                <p:nvPr/>
              </p:nvSpPr>
              <p:spPr>
                <a:xfrm>
                  <a:off x="4104207" y="3201685"/>
                  <a:ext cx="2373255" cy="597671"/>
                </a:xfrm>
                <a:prstGeom prst="roundRect">
                  <a:avLst/>
                </a:prstGeom>
                <a:solidFill>
                  <a:schemeClr val="accent2"/>
                </a:solidFill>
                <a:ln w="12700" cap="flat">
                  <a:noFill/>
                  <a:prstDash val="solid"/>
                  <a:miter/>
                </a:ln>
                <a:effectLst>
                  <a:outerShdw blurRad="127000" dist="63500" dir="2700000" algn="tl" rotWithShape="0">
                    <a:schemeClr val="accent2">
                      <a:alpha val="40000"/>
                    </a:schemeClr>
                  </a:outerShdw>
                </a:effectLst>
              </p:spPr>
              <p:txBody>
                <a:bodyPr rot="0" spcFirstLastPara="0" vertOverflow="overflow" horzOverflow="overflow" vert="horz" wrap="square" lIns="91440" tIns="45720" rIns="91440" bIns="45720" numCol="1" spcCol="0" rtlCol="0" fromWordArt="0" anchor="ctr" anchorCtr="0" forceAA="0" compatLnSpc="1">
                  <a:noAutofit/>
                </a:bodyPr>
                <a:lstStyle/>
                <a:p>
                  <a:pPr algn="r"/>
                  <a:r>
                    <a:rPr lang="en-US" altLang="zh-CN" b="1" dirty="0">
                      <a:solidFill>
                        <a:srgbClr val="FFFFFF"/>
                      </a:solidFill>
                      <a:latin typeface="Calibri" pitchFamily="34" charset="0"/>
                      <a:ea typeface="宋体" pitchFamily="2" charset="-122"/>
                    </a:rPr>
                    <a:t>Click to add text</a:t>
                  </a:r>
                  <a:endParaRPr lang="zh-CN" altLang="en-US" b="1" dirty="0">
                    <a:solidFill>
                      <a:srgbClr val="FFFFFF"/>
                    </a:solidFill>
                    <a:latin typeface="Calibri" pitchFamily="34" charset="0"/>
                    <a:ea typeface="宋体" pitchFamily="2" charset="-122"/>
                  </a:endParaRPr>
                </a:p>
              </p:txBody>
            </p:sp>
            <p:sp>
              <p:nvSpPr>
                <p:cNvPr id="25" name="任意多边形: 形状 24"/>
                <p:cNvSpPr/>
                <p:nvPr/>
              </p:nvSpPr>
              <p:spPr>
                <a:xfrm>
                  <a:off x="3685836" y="3082151"/>
                  <a:ext cx="836740" cy="836740"/>
                </a:xfrm>
                <a:custGeom>
                  <a:avLst/>
                  <a:gdLst>
                    <a:gd name="connsiteX0" fmla="*/ 418370 w 836740"/>
                    <a:gd name="connsiteY0" fmla="*/ 0 h 836740"/>
                    <a:gd name="connsiteX1" fmla="*/ 0 w 836740"/>
                    <a:gd name="connsiteY1" fmla="*/ 418370 h 836740"/>
                    <a:gd name="connsiteX2" fmla="*/ 418370 w 836740"/>
                    <a:gd name="connsiteY2" fmla="*/ 836741 h 836740"/>
                    <a:gd name="connsiteX3" fmla="*/ 836741 w 836740"/>
                    <a:gd name="connsiteY3" fmla="*/ 418370 h 836740"/>
                    <a:gd name="connsiteX4" fmla="*/ 418370 w 836740"/>
                    <a:gd name="connsiteY4" fmla="*/ 0 h 8367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6740" h="836740">
                      <a:moveTo>
                        <a:pt x="418370" y="0"/>
                      </a:moveTo>
                      <a:cubicBezTo>
                        <a:pt x="187326" y="0"/>
                        <a:pt x="0" y="187326"/>
                        <a:pt x="0" y="418370"/>
                      </a:cubicBezTo>
                      <a:cubicBezTo>
                        <a:pt x="0" y="649415"/>
                        <a:pt x="187326" y="836741"/>
                        <a:pt x="418370" y="836741"/>
                      </a:cubicBezTo>
                      <a:cubicBezTo>
                        <a:pt x="649415" y="836741"/>
                        <a:pt x="836741" y="649415"/>
                        <a:pt x="836741" y="418370"/>
                      </a:cubicBezTo>
                      <a:cubicBezTo>
                        <a:pt x="836741" y="187326"/>
                        <a:pt x="649415" y="0"/>
                        <a:pt x="418370" y="0"/>
                      </a:cubicBezTo>
                      <a:close/>
                    </a:path>
                  </a:pathLst>
                </a:custGeom>
                <a:solidFill>
                  <a:schemeClr val="bg1"/>
                </a:solidFill>
                <a:ln w="9216" cap="flat">
                  <a:noFill/>
                  <a:prstDash val="solid"/>
                  <a:miter/>
                </a:ln>
              </p:spPr>
              <p:txBody>
                <a:bodyPr rtlCol="0" anchor="ctr"/>
                <a:lstStyle/>
                <a:p>
                  <a:endParaRPr lang="zh-CN" altLang="en-US"/>
                </a:p>
              </p:txBody>
            </p:sp>
            <p:sp>
              <p:nvSpPr>
                <p:cNvPr id="26" name="任意多边形: 形状 25"/>
                <p:cNvSpPr/>
                <p:nvPr/>
              </p:nvSpPr>
              <p:spPr>
                <a:xfrm>
                  <a:off x="3805311" y="3201710"/>
                  <a:ext cx="597666" cy="597666"/>
                </a:xfrm>
                <a:custGeom>
                  <a:avLst/>
                  <a:gdLst>
                    <a:gd name="connsiteX0" fmla="*/ 597666 w 597666"/>
                    <a:gd name="connsiteY0" fmla="*/ 298833 h 597666"/>
                    <a:gd name="connsiteX1" fmla="*/ 298833 w 597666"/>
                    <a:gd name="connsiteY1" fmla="*/ 597666 h 597666"/>
                    <a:gd name="connsiteX2" fmla="*/ 0 w 597666"/>
                    <a:gd name="connsiteY2" fmla="*/ 298833 h 597666"/>
                    <a:gd name="connsiteX3" fmla="*/ 298833 w 597666"/>
                    <a:gd name="connsiteY3" fmla="*/ 0 h 597666"/>
                    <a:gd name="connsiteX4" fmla="*/ 597666 w 597666"/>
                    <a:gd name="connsiteY4" fmla="*/ 298833 h 597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7666" h="597666">
                      <a:moveTo>
                        <a:pt x="597666" y="298833"/>
                      </a:moveTo>
                      <a:cubicBezTo>
                        <a:pt x="597666" y="463874"/>
                        <a:pt x="463874" y="597666"/>
                        <a:pt x="298833" y="597666"/>
                      </a:cubicBezTo>
                      <a:cubicBezTo>
                        <a:pt x="133792" y="597666"/>
                        <a:pt x="0" y="463874"/>
                        <a:pt x="0" y="298833"/>
                      </a:cubicBezTo>
                      <a:cubicBezTo>
                        <a:pt x="0" y="133792"/>
                        <a:pt x="133792" y="0"/>
                        <a:pt x="298833" y="0"/>
                      </a:cubicBezTo>
                      <a:cubicBezTo>
                        <a:pt x="463874" y="0"/>
                        <a:pt x="597666" y="133792"/>
                        <a:pt x="597666" y="298833"/>
                      </a:cubicBezTo>
                      <a:close/>
                    </a:path>
                  </a:pathLst>
                </a:custGeom>
                <a:solidFill>
                  <a:schemeClr val="accent2">
                    <a:alpha val="15000"/>
                  </a:schemeClr>
                </a:solidFill>
                <a:ln w="12700" cap="flat">
                  <a:noFill/>
                  <a:prstDash val="solid"/>
                  <a:miter/>
                </a:ln>
                <a:effectLst/>
              </p:spPr>
              <p:txBody>
                <a:bodyPr rot="0" spcFirstLastPara="0" vertOverflow="overflow" horzOverflow="overflow" vert="horz" wrap="square" lIns="91440" tIns="45720" rIns="91440" bIns="45720" numCol="1" spcCol="0" rtlCol="0" fromWordArt="0" anchor="ctr" anchorCtr="0" forceAA="0" compatLnSpc="1">
                  <a:noAutofit/>
                </a:bodyPr>
                <a:lstStyle/>
                <a:p>
                  <a:pPr algn="ctr"/>
                  <a:r>
                    <a:rPr lang="en-US" altLang="zh-CN" b="1" dirty="0">
                      <a:solidFill>
                        <a:schemeClr val="accent2"/>
                      </a:solidFill>
                      <a:latin typeface="Calibri" pitchFamily="34" charset="0"/>
                      <a:ea typeface="宋体" pitchFamily="2" charset="-122"/>
                    </a:rPr>
                    <a:t>02</a:t>
                  </a:r>
                  <a:endParaRPr lang="zh-CN" altLang="en-US" b="1" dirty="0">
                    <a:solidFill>
                      <a:schemeClr val="accent2"/>
                    </a:solidFill>
                    <a:latin typeface="Calibri" pitchFamily="34" charset="0"/>
                    <a:ea typeface="宋体" pitchFamily="2" charset="-122"/>
                  </a:endParaRPr>
                </a:p>
              </p:txBody>
            </p:sp>
            <p:sp>
              <p:nvSpPr>
                <p:cNvPr id="41" name="文本框 40"/>
                <p:cNvSpPr txBox="1"/>
                <p:nvPr/>
              </p:nvSpPr>
              <p:spPr>
                <a:xfrm>
                  <a:off x="6644074" y="3311923"/>
                  <a:ext cx="3641063" cy="444582"/>
                </a:xfrm>
                <a:prstGeom prst="rect">
                  <a:avLst/>
                </a:prstGeom>
                <a:noFill/>
              </p:spPr>
              <p:txBody>
                <a:bodyPr wrap="square" rtlCol="0">
                  <a:normAutofit/>
                </a:bodyPr>
                <a:lstStyle/>
                <a:p>
                  <a:pPr algn="l"/>
                  <a:r>
                    <a:rPr lang="nb-NO" altLang="zh-CN" sz="1200">
                      <a:latin typeface="Calibri" pitchFamily="34" charset="0"/>
                      <a:ea typeface="宋体" pitchFamily="2" charset="-122"/>
                      <a:rtl val="0"/>
                    </a:rPr>
                    <a:t>Erat et nihil stet sed consetetur voluptua sadipscing ut.</a:t>
                  </a:r>
                  <a:endParaRPr lang="nb-NO" altLang="zh-CN" sz="1100" dirty="0">
                    <a:latin typeface="Calibri" pitchFamily="34" charset="0"/>
                    <a:ea typeface="宋体" pitchFamily="2" charset="-122"/>
                    <a:rtl val="0"/>
                  </a:endParaRPr>
                </a:p>
              </p:txBody>
            </p:sp>
          </p:grpSp>
          <p:grpSp>
            <p:nvGrpSpPr>
              <p:cNvPr id="47" name="组合 46"/>
              <p:cNvGrpSpPr/>
              <p:nvPr/>
            </p:nvGrpSpPr>
            <p:grpSpPr>
              <a:xfrm>
                <a:off x="5455794" y="3895095"/>
                <a:ext cx="6063107" cy="836740"/>
                <a:chOff x="5455794" y="3895095"/>
                <a:chExt cx="6063107" cy="836740"/>
              </a:xfrm>
            </p:grpSpPr>
            <p:sp>
              <p:nvSpPr>
                <p:cNvPr id="9" name="矩形: 圆角 8"/>
                <p:cNvSpPr/>
                <p:nvPr/>
              </p:nvSpPr>
              <p:spPr>
                <a:xfrm>
                  <a:off x="5874164" y="4014629"/>
                  <a:ext cx="2373255" cy="597671"/>
                </a:xfrm>
                <a:prstGeom prst="roundRect">
                  <a:avLst/>
                </a:prstGeom>
                <a:solidFill>
                  <a:schemeClr val="accent1"/>
                </a:solidFill>
                <a:ln w="12700" cap="flat">
                  <a:noFill/>
                  <a:prstDash val="solid"/>
                  <a:miter/>
                </a:ln>
                <a:effectLst>
                  <a:outerShdw blurRad="127000" dist="63500" dir="2700000" algn="tl" rotWithShape="0">
                    <a:schemeClr val="accent1">
                      <a:alpha val="40000"/>
                    </a:schemeClr>
                  </a:outerShdw>
                </a:effectLst>
              </p:spPr>
              <p:txBody>
                <a:bodyPr rot="0" spcFirstLastPara="0" vertOverflow="overflow" horzOverflow="overflow" vert="horz" wrap="square" lIns="91440" tIns="45720" rIns="91440" bIns="45720" numCol="1" spcCol="0" rtlCol="0" fromWordArt="0" anchor="ctr" anchorCtr="0" forceAA="0" compatLnSpc="1">
                  <a:noAutofit/>
                </a:bodyPr>
                <a:lstStyle/>
                <a:p>
                  <a:pPr algn="r"/>
                  <a:r>
                    <a:rPr lang="en-US" altLang="zh-CN" b="1" dirty="0">
                      <a:solidFill>
                        <a:srgbClr val="FFFFFF"/>
                      </a:solidFill>
                      <a:latin typeface="Calibri" pitchFamily="34" charset="0"/>
                      <a:ea typeface="宋体" pitchFamily="2" charset="-122"/>
                    </a:rPr>
                    <a:t>Click to add text</a:t>
                  </a:r>
                  <a:endParaRPr lang="zh-CN" altLang="en-US" b="1" dirty="0">
                    <a:solidFill>
                      <a:srgbClr val="FFFFFF"/>
                    </a:solidFill>
                    <a:latin typeface="Calibri" pitchFamily="34" charset="0"/>
                    <a:ea typeface="宋体" pitchFamily="2" charset="-122"/>
                  </a:endParaRPr>
                </a:p>
              </p:txBody>
            </p:sp>
            <p:sp>
              <p:nvSpPr>
                <p:cNvPr id="29" name="任意多边形: 形状 28"/>
                <p:cNvSpPr/>
                <p:nvPr/>
              </p:nvSpPr>
              <p:spPr>
                <a:xfrm>
                  <a:off x="5455794" y="3895095"/>
                  <a:ext cx="836740" cy="836740"/>
                </a:xfrm>
                <a:custGeom>
                  <a:avLst/>
                  <a:gdLst>
                    <a:gd name="connsiteX0" fmla="*/ 418371 w 836740"/>
                    <a:gd name="connsiteY0" fmla="*/ 0 h 836740"/>
                    <a:gd name="connsiteX1" fmla="*/ 0 w 836740"/>
                    <a:gd name="connsiteY1" fmla="*/ 418370 h 836740"/>
                    <a:gd name="connsiteX2" fmla="*/ 418371 w 836740"/>
                    <a:gd name="connsiteY2" fmla="*/ 836741 h 836740"/>
                    <a:gd name="connsiteX3" fmla="*/ 836741 w 836740"/>
                    <a:gd name="connsiteY3" fmla="*/ 418370 h 836740"/>
                    <a:gd name="connsiteX4" fmla="*/ 418371 w 836740"/>
                    <a:gd name="connsiteY4" fmla="*/ 0 h 8367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6740" h="836740">
                      <a:moveTo>
                        <a:pt x="418371" y="0"/>
                      </a:moveTo>
                      <a:cubicBezTo>
                        <a:pt x="187326" y="0"/>
                        <a:pt x="0" y="187326"/>
                        <a:pt x="0" y="418370"/>
                      </a:cubicBezTo>
                      <a:cubicBezTo>
                        <a:pt x="0" y="649415"/>
                        <a:pt x="187326" y="836741"/>
                        <a:pt x="418371" y="836741"/>
                      </a:cubicBezTo>
                      <a:cubicBezTo>
                        <a:pt x="649415" y="836741"/>
                        <a:pt x="836741" y="649415"/>
                        <a:pt x="836741" y="418370"/>
                      </a:cubicBezTo>
                      <a:cubicBezTo>
                        <a:pt x="836741" y="187326"/>
                        <a:pt x="649415" y="0"/>
                        <a:pt x="418371" y="0"/>
                      </a:cubicBezTo>
                      <a:close/>
                    </a:path>
                  </a:pathLst>
                </a:custGeom>
                <a:solidFill>
                  <a:schemeClr val="bg1"/>
                </a:solidFill>
                <a:ln w="9216" cap="flat">
                  <a:noFill/>
                  <a:prstDash val="solid"/>
                  <a:miter/>
                </a:ln>
              </p:spPr>
              <p:txBody>
                <a:bodyPr rtlCol="0" anchor="ctr"/>
                <a:lstStyle/>
                <a:p>
                  <a:endParaRPr lang="zh-CN" altLang="en-US"/>
                </a:p>
              </p:txBody>
            </p:sp>
            <p:sp>
              <p:nvSpPr>
                <p:cNvPr id="35" name="任意多边形: 形状 34"/>
                <p:cNvSpPr/>
                <p:nvPr/>
              </p:nvSpPr>
              <p:spPr>
                <a:xfrm>
                  <a:off x="5575328" y="4014629"/>
                  <a:ext cx="597671" cy="597671"/>
                </a:xfrm>
                <a:custGeom>
                  <a:avLst/>
                  <a:gdLst>
                    <a:gd name="connsiteX0" fmla="*/ 298836 w 597671"/>
                    <a:gd name="connsiteY0" fmla="*/ 0 h 597671"/>
                    <a:gd name="connsiteX1" fmla="*/ 597672 w 597671"/>
                    <a:gd name="connsiteY1" fmla="*/ 298836 h 597671"/>
                    <a:gd name="connsiteX2" fmla="*/ 298836 w 597671"/>
                    <a:gd name="connsiteY2" fmla="*/ 597672 h 597671"/>
                    <a:gd name="connsiteX3" fmla="*/ 0 w 597671"/>
                    <a:gd name="connsiteY3" fmla="*/ 298836 h 597671"/>
                    <a:gd name="connsiteX4" fmla="*/ 298836 w 597671"/>
                    <a:gd name="connsiteY4" fmla="*/ 0 h 5976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7671" h="597671">
                      <a:moveTo>
                        <a:pt x="298836" y="0"/>
                      </a:moveTo>
                      <a:cubicBezTo>
                        <a:pt x="463841" y="0"/>
                        <a:pt x="597672" y="133830"/>
                        <a:pt x="597672" y="298836"/>
                      </a:cubicBezTo>
                      <a:cubicBezTo>
                        <a:pt x="597672" y="463933"/>
                        <a:pt x="463841" y="597672"/>
                        <a:pt x="298836" y="597672"/>
                      </a:cubicBezTo>
                      <a:cubicBezTo>
                        <a:pt x="133738" y="597672"/>
                        <a:pt x="0" y="463841"/>
                        <a:pt x="0" y="298836"/>
                      </a:cubicBezTo>
                      <a:cubicBezTo>
                        <a:pt x="0" y="133830"/>
                        <a:pt x="133738" y="0"/>
                        <a:pt x="298836" y="0"/>
                      </a:cubicBezTo>
                      <a:close/>
                    </a:path>
                  </a:pathLst>
                </a:custGeom>
                <a:solidFill>
                  <a:schemeClr val="accent1">
                    <a:alpha val="15000"/>
                  </a:schemeClr>
                </a:solidFill>
                <a:ln w="12700" cap="flat">
                  <a:noFill/>
                  <a:prstDash val="solid"/>
                  <a:miter/>
                </a:ln>
                <a:effectLst/>
              </p:spPr>
              <p:txBody>
                <a:bodyPr rot="0" spcFirstLastPara="0" vertOverflow="overflow" horzOverflow="overflow" vert="horz" wrap="square" lIns="91440" tIns="45720" rIns="91440" bIns="45720" numCol="1" spcCol="0" rtlCol="0" fromWordArt="0" anchor="ctr" anchorCtr="0" forceAA="0" compatLnSpc="1">
                  <a:noAutofit/>
                </a:bodyPr>
                <a:lstStyle/>
                <a:p>
                  <a:pPr algn="ctr"/>
                  <a:r>
                    <a:rPr lang="en-US" altLang="zh-CN" b="1" dirty="0">
                      <a:solidFill>
                        <a:schemeClr val="accent1"/>
                      </a:solidFill>
                      <a:latin typeface="Calibri" pitchFamily="34" charset="0"/>
                      <a:ea typeface="宋体" pitchFamily="2" charset="-122"/>
                    </a:rPr>
                    <a:t>03</a:t>
                  </a:r>
                  <a:endParaRPr lang="zh-CN" altLang="en-US" b="1" dirty="0">
                    <a:solidFill>
                      <a:schemeClr val="accent1"/>
                    </a:solidFill>
                    <a:latin typeface="Calibri" pitchFamily="34" charset="0"/>
                    <a:ea typeface="宋体" pitchFamily="2" charset="-122"/>
                  </a:endParaRPr>
                </a:p>
              </p:txBody>
            </p:sp>
            <p:sp>
              <p:nvSpPr>
                <p:cNvPr id="42" name="文本框 41"/>
                <p:cNvSpPr txBox="1"/>
                <p:nvPr/>
              </p:nvSpPr>
              <p:spPr>
                <a:xfrm>
                  <a:off x="8362835" y="4176586"/>
                  <a:ext cx="3156066" cy="444582"/>
                </a:xfrm>
                <a:prstGeom prst="rect">
                  <a:avLst/>
                </a:prstGeom>
                <a:noFill/>
              </p:spPr>
              <p:txBody>
                <a:bodyPr wrap="square" rtlCol="0">
                  <a:normAutofit lnSpcReduction="10000"/>
                </a:bodyPr>
                <a:lstStyle/>
                <a:p>
                  <a:pPr algn="l"/>
                  <a:r>
                    <a:rPr lang="nb-NO" altLang="zh-CN" sz="1200">
                      <a:latin typeface="Calibri" pitchFamily="34" charset="0"/>
                      <a:ea typeface="宋体" pitchFamily="2" charset="-122"/>
                      <a:rtl val="0"/>
                    </a:rPr>
                    <a:t>Erat et nihil stet sed consetetur voluptua sadipscing ut.</a:t>
                  </a:r>
                  <a:endParaRPr lang="nb-NO" altLang="zh-CN" sz="1100" dirty="0">
                    <a:latin typeface="Calibri" pitchFamily="34" charset="0"/>
                    <a:ea typeface="宋体" pitchFamily="2" charset="-122"/>
                    <a:rtl val="0"/>
                  </a:endParaRPr>
                </a:p>
              </p:txBody>
            </p:sp>
          </p:grpSp>
          <p:sp>
            <p:nvSpPr>
              <p:cNvPr id="43" name="文本框 42"/>
              <p:cNvSpPr txBox="1"/>
              <p:nvPr/>
            </p:nvSpPr>
            <p:spPr>
              <a:xfrm>
                <a:off x="10098252" y="4922065"/>
                <a:ext cx="1420648" cy="1076041"/>
              </a:xfrm>
              <a:prstGeom prst="rect">
                <a:avLst/>
              </a:prstGeom>
              <a:noFill/>
            </p:spPr>
            <p:txBody>
              <a:bodyPr wrap="square" rtlCol="0">
                <a:normAutofit/>
              </a:bodyPr>
              <a:lstStyle/>
              <a:p>
                <a:pPr algn="l"/>
                <a:r>
                  <a:rPr lang="nb-NO" altLang="zh-CN" sz="1200">
                    <a:latin typeface="Calibri" pitchFamily="34" charset="0"/>
                    <a:ea typeface="宋体" pitchFamily="2" charset="-122"/>
                    <a:rtl val="0"/>
                  </a:rPr>
                  <a:t>Erat et nihil stet sed consetetur voluptua sadipscing ut.</a:t>
                </a:r>
                <a:endParaRPr lang="nb-NO" altLang="zh-CN" sz="1100" dirty="0">
                  <a:latin typeface="Calibri" pitchFamily="34" charset="0"/>
                  <a:ea typeface="宋体" pitchFamily="2" charset="-122"/>
                  <a:rtl val="0"/>
                </a:endParaRPr>
              </a:p>
            </p:txBody>
          </p:sp>
        </p:grpSp>
        <p:sp>
          <p:nvSpPr>
            <p:cNvPr id="49" name="矩形 48"/>
            <p:cNvSpPr/>
            <p:nvPr/>
          </p:nvSpPr>
          <p:spPr>
            <a:xfrm>
              <a:off x="726161" y="1001195"/>
              <a:ext cx="10805439" cy="6609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normAutofit/>
            </a:bodyPr>
            <a:lstStyle/>
            <a:p>
              <a:pPr algn="ctr">
                <a:buSzPct val="25000"/>
              </a:pPr>
              <a:r>
                <a:rPr lang="en-US" altLang="zh-CN" sz="2800" b="1" dirty="0">
                  <a:solidFill>
                    <a:schemeClr val="tx1"/>
                  </a:solidFill>
                  <a:latin typeface="Calibri" pitchFamily="34" charset="0"/>
                  <a:ea typeface="宋体" pitchFamily="2" charset="-122"/>
                </a:rPr>
                <a:t>Unified fonts make reading more fluent.</a:t>
              </a:r>
              <a:endParaRPr lang="en-US" altLang="zh-CN" sz="2800" b="1" dirty="0">
                <a:solidFill>
                  <a:schemeClr val="tx1"/>
                </a:solidFill>
                <a:latin typeface="Calibri" pitchFamily="34" charset="0"/>
                <a:ea typeface="宋体" pitchFamily="2" charset="-122"/>
              </a:endParaRPr>
            </a:p>
          </p:txBody>
        </p:sp>
      </p:grpSp>
    </p:spTree>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0" name="组合 29"/>
          <p:cNvGrpSpPr/>
          <p:nvPr/>
        </p:nvGrpSpPr>
        <p:grpSpPr>
          <a:xfrm>
            <a:off x="596179" y="1028702"/>
            <a:ext cx="10922723" cy="5105399"/>
            <a:chOff x="596179" y="1028700"/>
            <a:chExt cx="10922722" cy="5105399"/>
          </a:xfrm>
        </p:grpSpPr>
        <p:sp>
          <p:nvSpPr>
            <p:cNvPr id="19" name="文本框 18"/>
            <p:cNvSpPr txBox="1"/>
            <p:nvPr/>
          </p:nvSpPr>
          <p:spPr>
            <a:xfrm>
              <a:off x="1308100" y="1028700"/>
              <a:ext cx="9575800" cy="644239"/>
            </a:xfrm>
            <a:prstGeom prst="rect">
              <a:avLst/>
            </a:prstGeom>
            <a:noFill/>
          </p:spPr>
          <p:txBody>
            <a:bodyPr wrap="square" anchor="b">
              <a:normAutofit/>
            </a:bodyPr>
            <a:lstStyle/>
            <a:p>
              <a:pPr algn="ctr" defTabSz="913765">
                <a:buSzPct val="25000"/>
                <a:defRPr/>
              </a:pPr>
              <a:r>
                <a:rPr lang="en-US" altLang="zh-CN" sz="2400" b="1" dirty="0">
                  <a:latin typeface="Calibri" pitchFamily="34" charset="0"/>
                  <a:ea typeface="宋体" pitchFamily="2" charset="-122"/>
                </a:rPr>
                <a:t>Unified fonts make reading more fluent. </a:t>
              </a:r>
              <a:endParaRPr lang="en-US" altLang="zh-CN" sz="2400" b="1" dirty="0">
                <a:latin typeface="Calibri" pitchFamily="34" charset="0"/>
                <a:ea typeface="宋体" pitchFamily="2" charset="-122"/>
              </a:endParaRPr>
            </a:p>
          </p:txBody>
        </p:sp>
        <p:grpSp>
          <p:nvGrpSpPr>
            <p:cNvPr id="29" name="组合 28"/>
            <p:cNvGrpSpPr/>
            <p:nvPr/>
          </p:nvGrpSpPr>
          <p:grpSpPr>
            <a:xfrm>
              <a:off x="596179" y="2002972"/>
              <a:ext cx="10922722" cy="4131127"/>
              <a:chOff x="596179" y="2002972"/>
              <a:chExt cx="10922722" cy="4131127"/>
            </a:xfrm>
          </p:grpSpPr>
          <p:grpSp>
            <p:nvGrpSpPr>
              <p:cNvPr id="25" name="组合 24"/>
              <p:cNvGrpSpPr/>
              <p:nvPr/>
            </p:nvGrpSpPr>
            <p:grpSpPr>
              <a:xfrm>
                <a:off x="2209004" y="2002972"/>
                <a:ext cx="9309896" cy="965957"/>
                <a:chOff x="2209004" y="2002972"/>
                <a:chExt cx="9309896" cy="965957"/>
              </a:xfrm>
            </p:grpSpPr>
            <p:grpSp>
              <p:nvGrpSpPr>
                <p:cNvPr id="3" name="组合 2"/>
                <p:cNvGrpSpPr/>
                <p:nvPr/>
              </p:nvGrpSpPr>
              <p:grpSpPr>
                <a:xfrm>
                  <a:off x="2209004" y="2002972"/>
                  <a:ext cx="3404696" cy="938023"/>
                  <a:chOff x="2855922" y="1130300"/>
                  <a:chExt cx="4232592" cy="1166115"/>
                </a:xfrm>
              </p:grpSpPr>
              <p:sp>
                <p:nvSpPr>
                  <p:cNvPr id="16" name="任意多边形: 形状 15"/>
                  <p:cNvSpPr/>
                  <p:nvPr/>
                </p:nvSpPr>
                <p:spPr>
                  <a:xfrm>
                    <a:off x="2855922" y="1130300"/>
                    <a:ext cx="4232592" cy="1166115"/>
                  </a:xfrm>
                  <a:custGeom>
                    <a:avLst/>
                    <a:gdLst>
                      <a:gd name="connsiteX0" fmla="*/ 668336 w 4232592"/>
                      <a:gd name="connsiteY0" fmla="*/ 0 h 1166115"/>
                      <a:gd name="connsiteX1" fmla="*/ 971532 w 4232592"/>
                      <a:gd name="connsiteY1" fmla="*/ 522752 h 1166115"/>
                      <a:gd name="connsiteX2" fmla="*/ 3752007 w 4232592"/>
                      <a:gd name="connsiteY2" fmla="*/ 530712 h 1166115"/>
                      <a:gd name="connsiteX3" fmla="*/ 4232592 w 4232592"/>
                      <a:gd name="connsiteY3" fmla="*/ 1166115 h 1166115"/>
                      <a:gd name="connsiteX4" fmla="*/ 1328122 w 4232592"/>
                      <a:gd name="connsiteY4" fmla="*/ 1154827 h 1166115"/>
                      <a:gd name="connsiteX5" fmla="*/ 1326665 w 4232592"/>
                      <a:gd name="connsiteY5" fmla="*/ 1152302 h 1166115"/>
                      <a:gd name="connsiteX6" fmla="*/ 0 w 4232592"/>
                      <a:gd name="connsiteY6" fmla="*/ 1152302 h 1166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2592" h="1166115">
                        <a:moveTo>
                          <a:pt x="668336" y="0"/>
                        </a:moveTo>
                        <a:lnTo>
                          <a:pt x="971532" y="522752"/>
                        </a:lnTo>
                        <a:lnTo>
                          <a:pt x="3752007" y="530712"/>
                        </a:lnTo>
                        <a:lnTo>
                          <a:pt x="4232592" y="1166115"/>
                        </a:lnTo>
                        <a:lnTo>
                          <a:pt x="1328122" y="1154827"/>
                        </a:lnTo>
                        <a:lnTo>
                          <a:pt x="1326665" y="1152302"/>
                        </a:lnTo>
                        <a:lnTo>
                          <a:pt x="0" y="1152302"/>
                        </a:lnTo>
                        <a:close/>
                      </a:path>
                    </a:pathLst>
                  </a:custGeom>
                  <a:solidFill>
                    <a:schemeClr val="accent1">
                      <a:alpha val="15000"/>
                    </a:schemeClr>
                  </a:solidFill>
                  <a:ln w="12700" cap="rnd">
                    <a:noFill/>
                    <a:prstDash val="solid"/>
                    <a:round/>
                  </a:ln>
                  <a:effectLst>
                    <a:outerShdw blurRad="254000" dist="127000" algn="ctr" rotWithShape="0">
                      <a:schemeClr val="accent4">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endParaRPr lang="zh-CN" altLang="en-US" sz="2000" b="1" dirty="0">
                      <a:solidFill>
                        <a:schemeClr val="bg1"/>
                      </a:solidFill>
                    </a:endParaRPr>
                  </a:p>
                </p:txBody>
              </p:sp>
              <p:sp>
                <p:nvSpPr>
                  <p:cNvPr id="17" name="矩形 16"/>
                  <p:cNvSpPr/>
                  <p:nvPr/>
                </p:nvSpPr>
                <p:spPr>
                  <a:xfrm>
                    <a:off x="4160142" y="1677270"/>
                    <a:ext cx="2468997" cy="5647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chorCtr="0">
                    <a:normAutofit/>
                  </a:bodyPr>
                  <a:lstStyle/>
                  <a:p>
                    <a:pPr algn="ctr"/>
                    <a:r>
                      <a:rPr kumimoji="1" lang="en-US" altLang="zh-CN" b="1">
                        <a:solidFill>
                          <a:schemeClr val="accent1"/>
                        </a:solidFill>
                        <a:latin typeface="Calibri" pitchFamily="34" charset="0"/>
                        <a:ea typeface="宋体" pitchFamily="2" charset="-122"/>
                      </a:rPr>
                      <a:t>Click to add text</a:t>
                    </a:r>
                    <a:endParaRPr kumimoji="1" lang="en-US" altLang="zh-CN" b="1" dirty="0">
                      <a:solidFill>
                        <a:schemeClr val="accent1"/>
                      </a:solidFill>
                      <a:latin typeface="Calibri" pitchFamily="34" charset="0"/>
                      <a:ea typeface="宋体" pitchFamily="2" charset="-122"/>
                    </a:endParaRPr>
                  </a:p>
                </p:txBody>
              </p:sp>
              <p:sp>
                <p:nvSpPr>
                  <p:cNvPr id="18" name="矩形 17"/>
                  <p:cNvSpPr/>
                  <p:nvPr/>
                </p:nvSpPr>
                <p:spPr>
                  <a:xfrm>
                    <a:off x="3127571" y="1713357"/>
                    <a:ext cx="697983" cy="5720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p>
                    <a:pPr algn="ctr">
                      <a:lnSpc>
                        <a:spcPct val="130000"/>
                      </a:lnSpc>
                    </a:pPr>
                    <a:r>
                      <a:rPr kumimoji="1" lang="en-US" altLang="zh-CN" sz="2000" b="1" dirty="0">
                        <a:solidFill>
                          <a:schemeClr val="accent1"/>
                        </a:solidFill>
                        <a:latin typeface="Calibri" pitchFamily="34" charset="0"/>
                        <a:ea typeface="宋体" pitchFamily="2" charset="-122"/>
                      </a:rPr>
                      <a:t>01</a:t>
                    </a:r>
                    <a:endParaRPr kumimoji="1" lang="en-US" altLang="zh-CN" sz="2000" b="1" dirty="0">
                      <a:solidFill>
                        <a:schemeClr val="accent1"/>
                      </a:solidFill>
                      <a:latin typeface="Calibri" pitchFamily="34" charset="0"/>
                      <a:ea typeface="宋体" pitchFamily="2" charset="-122"/>
                    </a:endParaRPr>
                  </a:p>
                </p:txBody>
              </p:sp>
            </p:grpSp>
            <p:sp>
              <p:nvSpPr>
                <p:cNvPr id="21" name="矩形 20"/>
                <p:cNvSpPr/>
                <p:nvPr/>
              </p:nvSpPr>
              <p:spPr>
                <a:xfrm>
                  <a:off x="5724535" y="2491703"/>
                  <a:ext cx="5794365" cy="477226"/>
                </a:xfrm>
                <a:prstGeom prst="rect">
                  <a:avLst/>
                </a:prstGeom>
                <a:ln>
                  <a:noFill/>
                </a:ln>
              </p:spPr>
              <p:txBody>
                <a:bodyPr wrap="square" lIns="91440" tIns="45720" rIns="91440" bIns="45720" anchor="t" anchorCtr="0">
                  <a:normAutofit/>
                </a:bodyPr>
                <a:lstStyle/>
                <a:p>
                  <a:pPr>
                    <a:lnSpc>
                      <a:spcPct val="120000"/>
                    </a:lnSpc>
                  </a:pPr>
                  <a:r>
                    <a:rPr lang="en-US" altLang="zh-CN" sz="1200">
                      <a:latin typeface="Calibri" pitchFamily="34" charset="0"/>
                      <a:ea typeface="宋体" pitchFamily="2" charset="-122"/>
                    </a:rPr>
                    <a:t>Diam commodo iriure amet iusto sea velit est diam sed eos.</a:t>
                  </a:r>
                  <a:endParaRPr lang="en-US" altLang="zh-CN" sz="1200" dirty="0">
                    <a:latin typeface="Calibri" pitchFamily="34" charset="0"/>
                    <a:ea typeface="宋体" pitchFamily="2" charset="-122"/>
                  </a:endParaRPr>
                </a:p>
              </p:txBody>
            </p:sp>
          </p:grpSp>
          <p:grpSp>
            <p:nvGrpSpPr>
              <p:cNvPr id="26" name="组合 25"/>
              <p:cNvGrpSpPr/>
              <p:nvPr/>
            </p:nvGrpSpPr>
            <p:grpSpPr>
              <a:xfrm>
                <a:off x="1671398" y="2997956"/>
                <a:ext cx="9847502" cy="979679"/>
                <a:chOff x="1671398" y="2997956"/>
                <a:chExt cx="9847502" cy="979679"/>
              </a:xfrm>
            </p:grpSpPr>
            <p:grpSp>
              <p:nvGrpSpPr>
                <p:cNvPr id="4" name="组合 3"/>
                <p:cNvGrpSpPr/>
                <p:nvPr/>
              </p:nvGrpSpPr>
              <p:grpSpPr>
                <a:xfrm>
                  <a:off x="1671398" y="2997956"/>
                  <a:ext cx="4481556" cy="938023"/>
                  <a:chOff x="2187589" y="2367227"/>
                  <a:chExt cx="5571305" cy="1166115"/>
                </a:xfrm>
              </p:grpSpPr>
              <p:sp>
                <p:nvSpPr>
                  <p:cNvPr id="13" name="任意多边形: 形状 12"/>
                  <p:cNvSpPr/>
                  <p:nvPr/>
                </p:nvSpPr>
                <p:spPr>
                  <a:xfrm>
                    <a:off x="2187589" y="2367227"/>
                    <a:ext cx="5571305" cy="1166115"/>
                  </a:xfrm>
                  <a:custGeom>
                    <a:avLst/>
                    <a:gdLst>
                      <a:gd name="connsiteX0" fmla="*/ 668335 w 5571305"/>
                      <a:gd name="connsiteY0" fmla="*/ 0 h 1166115"/>
                      <a:gd name="connsiteX1" fmla="*/ 2005005 w 5571305"/>
                      <a:gd name="connsiteY1" fmla="*/ 0 h 1166115"/>
                      <a:gd name="connsiteX2" fmla="*/ 2308198 w 5571305"/>
                      <a:gd name="connsiteY2" fmla="*/ 522746 h 1166115"/>
                      <a:gd name="connsiteX3" fmla="*/ 5090720 w 5571305"/>
                      <a:gd name="connsiteY3" fmla="*/ 530712 h 1166115"/>
                      <a:gd name="connsiteX4" fmla="*/ 5571305 w 5571305"/>
                      <a:gd name="connsiteY4" fmla="*/ 1166115 h 1166115"/>
                      <a:gd name="connsiteX5" fmla="*/ 2666835 w 5571305"/>
                      <a:gd name="connsiteY5" fmla="*/ 1154827 h 1166115"/>
                      <a:gd name="connsiteX6" fmla="*/ 2665379 w 5571305"/>
                      <a:gd name="connsiteY6" fmla="*/ 1152302 h 1166115"/>
                      <a:gd name="connsiteX7" fmla="*/ 0 w 5571305"/>
                      <a:gd name="connsiteY7" fmla="*/ 1152302 h 1166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71305" h="1166115">
                        <a:moveTo>
                          <a:pt x="668335" y="0"/>
                        </a:moveTo>
                        <a:lnTo>
                          <a:pt x="2005005" y="0"/>
                        </a:lnTo>
                        <a:lnTo>
                          <a:pt x="2308198" y="522746"/>
                        </a:lnTo>
                        <a:lnTo>
                          <a:pt x="5090720" y="530712"/>
                        </a:lnTo>
                        <a:lnTo>
                          <a:pt x="5571305" y="1166115"/>
                        </a:lnTo>
                        <a:lnTo>
                          <a:pt x="2666835" y="1154827"/>
                        </a:lnTo>
                        <a:lnTo>
                          <a:pt x="2665379" y="1152302"/>
                        </a:lnTo>
                        <a:lnTo>
                          <a:pt x="0" y="1152302"/>
                        </a:lnTo>
                        <a:close/>
                      </a:path>
                    </a:pathLst>
                  </a:custGeom>
                  <a:solidFill>
                    <a:schemeClr val="accent1"/>
                  </a:solidFill>
                  <a:ln w="12700" cap="rnd">
                    <a:noFill/>
                    <a:prstDash val="solid"/>
                    <a:round/>
                  </a:ln>
                  <a:effectLst>
                    <a:outerShdw blurRad="254000" dist="127000" algn="ctr" rotWithShape="0">
                      <a:schemeClr val="accent1">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a:bodyPr>
                  <a:lstStyle/>
                  <a:p>
                    <a:pPr algn="ctr" defTabSz="914400"/>
                    <a:endParaRPr lang="en-US" altLang="zh-CN" sz="2000" b="1" dirty="0">
                      <a:solidFill>
                        <a:schemeClr val="bg1"/>
                      </a:solidFill>
                    </a:endParaRPr>
                  </a:p>
                  <a:p>
                    <a:pPr algn="ctr" defTabSz="914400"/>
                    <a:endParaRPr lang="zh-CN" altLang="en-US" sz="2000" b="1" dirty="0">
                      <a:solidFill>
                        <a:schemeClr val="bg1"/>
                      </a:solidFill>
                    </a:endParaRPr>
                  </a:p>
                </p:txBody>
              </p:sp>
              <p:sp>
                <p:nvSpPr>
                  <p:cNvPr id="14" name="矩形 13"/>
                  <p:cNvSpPr/>
                  <p:nvPr/>
                </p:nvSpPr>
                <p:spPr>
                  <a:xfrm>
                    <a:off x="4757302" y="2924253"/>
                    <a:ext cx="2468998" cy="5647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chorCtr="0">
                    <a:normAutofit/>
                  </a:bodyPr>
                  <a:lstStyle/>
                  <a:p>
                    <a:pPr algn="ctr"/>
                    <a:r>
                      <a:rPr kumimoji="1" lang="en-US" altLang="zh-CN" b="1">
                        <a:solidFill>
                          <a:srgbClr val="FFFFFF"/>
                        </a:solidFill>
                        <a:latin typeface="Calibri" pitchFamily="34" charset="0"/>
                        <a:ea typeface="宋体" pitchFamily="2" charset="-122"/>
                      </a:rPr>
                      <a:t>Click to add text</a:t>
                    </a:r>
                    <a:endParaRPr kumimoji="1" lang="en-US" altLang="zh-CN" b="1" dirty="0">
                      <a:solidFill>
                        <a:srgbClr val="FFFFFF"/>
                      </a:solidFill>
                      <a:latin typeface="Calibri" pitchFamily="34" charset="0"/>
                      <a:ea typeface="宋体" pitchFamily="2" charset="-122"/>
                    </a:endParaRPr>
                  </a:p>
                </p:txBody>
              </p:sp>
              <p:sp>
                <p:nvSpPr>
                  <p:cNvPr id="15" name="矩形 14"/>
                  <p:cNvSpPr/>
                  <p:nvPr/>
                </p:nvSpPr>
                <p:spPr>
                  <a:xfrm>
                    <a:off x="3127569" y="2724867"/>
                    <a:ext cx="697983" cy="5720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p>
                    <a:pPr algn="ctr">
                      <a:lnSpc>
                        <a:spcPct val="130000"/>
                      </a:lnSpc>
                    </a:pPr>
                    <a:r>
                      <a:rPr kumimoji="1" lang="en-US" altLang="zh-CN" sz="2000" b="1" dirty="0">
                        <a:solidFill>
                          <a:srgbClr val="FFFFFF"/>
                        </a:solidFill>
                        <a:latin typeface="Calibri" pitchFamily="34" charset="0"/>
                        <a:ea typeface="宋体" pitchFamily="2" charset="-122"/>
                      </a:rPr>
                      <a:t>02</a:t>
                    </a:r>
                    <a:endParaRPr kumimoji="1" lang="en-US" altLang="zh-CN" sz="2000" b="1" dirty="0">
                      <a:solidFill>
                        <a:srgbClr val="FFFFFF"/>
                      </a:solidFill>
                      <a:latin typeface="Calibri" pitchFamily="34" charset="0"/>
                      <a:ea typeface="宋体" pitchFamily="2" charset="-122"/>
                    </a:endParaRPr>
                  </a:p>
                </p:txBody>
              </p:sp>
            </p:grpSp>
            <p:sp>
              <p:nvSpPr>
                <p:cNvPr id="22" name="矩形 21"/>
                <p:cNvSpPr/>
                <p:nvPr/>
              </p:nvSpPr>
              <p:spPr>
                <a:xfrm>
                  <a:off x="6363547" y="3500409"/>
                  <a:ext cx="5155353" cy="477226"/>
                </a:xfrm>
                <a:prstGeom prst="rect">
                  <a:avLst/>
                </a:prstGeom>
                <a:ln>
                  <a:noFill/>
                </a:ln>
              </p:spPr>
              <p:txBody>
                <a:bodyPr wrap="square" lIns="91440" tIns="45720" rIns="91440" bIns="45720" anchor="t" anchorCtr="0">
                  <a:normAutofit/>
                </a:bodyPr>
                <a:lstStyle/>
                <a:p>
                  <a:pPr>
                    <a:lnSpc>
                      <a:spcPct val="120000"/>
                    </a:lnSpc>
                  </a:pPr>
                  <a:r>
                    <a:rPr lang="en-US" altLang="zh-CN" sz="1200">
                      <a:latin typeface="Calibri" pitchFamily="34" charset="0"/>
                      <a:ea typeface="宋体" pitchFamily="2" charset="-122"/>
                    </a:rPr>
                    <a:t>Diam commodo iriure amet iusto sea velit est diam sed eos.</a:t>
                  </a:r>
                  <a:endParaRPr lang="en-US" altLang="zh-CN" sz="1200" dirty="0">
                    <a:latin typeface="Calibri" pitchFamily="34" charset="0"/>
                    <a:ea typeface="宋体" pitchFamily="2" charset="-122"/>
                  </a:endParaRPr>
                </a:p>
              </p:txBody>
            </p:sp>
          </p:grpSp>
          <p:grpSp>
            <p:nvGrpSpPr>
              <p:cNvPr id="27" name="组合 26"/>
              <p:cNvGrpSpPr/>
              <p:nvPr/>
            </p:nvGrpSpPr>
            <p:grpSpPr>
              <a:xfrm>
                <a:off x="1133788" y="3992939"/>
                <a:ext cx="10385112" cy="946238"/>
                <a:chOff x="1133788" y="3992939"/>
                <a:chExt cx="10385112" cy="946238"/>
              </a:xfrm>
            </p:grpSpPr>
            <p:grpSp>
              <p:nvGrpSpPr>
                <p:cNvPr id="5" name="组合 4"/>
                <p:cNvGrpSpPr/>
                <p:nvPr/>
              </p:nvGrpSpPr>
              <p:grpSpPr>
                <a:xfrm>
                  <a:off x="1133788" y="3992939"/>
                  <a:ext cx="5545283" cy="938024"/>
                  <a:chOff x="1519253" y="3604153"/>
                  <a:chExt cx="6893691" cy="1166116"/>
                </a:xfrm>
              </p:grpSpPr>
              <p:sp>
                <p:nvSpPr>
                  <p:cNvPr id="10" name="任意多边形: 形状 9"/>
                  <p:cNvSpPr/>
                  <p:nvPr/>
                </p:nvSpPr>
                <p:spPr>
                  <a:xfrm>
                    <a:off x="1519253" y="3604153"/>
                    <a:ext cx="6893691" cy="1166116"/>
                  </a:xfrm>
                  <a:custGeom>
                    <a:avLst/>
                    <a:gdLst>
                      <a:gd name="connsiteX0" fmla="*/ 668335 w 6893691"/>
                      <a:gd name="connsiteY0" fmla="*/ 0 h 1166116"/>
                      <a:gd name="connsiteX1" fmla="*/ 3341676 w 6893691"/>
                      <a:gd name="connsiteY1" fmla="*/ 0 h 1166116"/>
                      <a:gd name="connsiteX2" fmla="*/ 3644893 w 6893691"/>
                      <a:gd name="connsiteY2" fmla="*/ 522788 h 1166116"/>
                      <a:gd name="connsiteX3" fmla="*/ 6413106 w 6893691"/>
                      <a:gd name="connsiteY3" fmla="*/ 530713 h 1166116"/>
                      <a:gd name="connsiteX4" fmla="*/ 6893691 w 6893691"/>
                      <a:gd name="connsiteY4" fmla="*/ 1166116 h 1166116"/>
                      <a:gd name="connsiteX5" fmla="*/ 3989221 w 6893691"/>
                      <a:gd name="connsiteY5" fmla="*/ 1154828 h 1166116"/>
                      <a:gd name="connsiteX6" fmla="*/ 3987764 w 6893691"/>
                      <a:gd name="connsiteY6" fmla="*/ 1152302 h 1166116"/>
                      <a:gd name="connsiteX7" fmla="*/ 0 w 6893691"/>
                      <a:gd name="connsiteY7" fmla="*/ 1152302 h 1166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93691" h="1166116">
                        <a:moveTo>
                          <a:pt x="668335" y="0"/>
                        </a:moveTo>
                        <a:lnTo>
                          <a:pt x="3341676" y="0"/>
                        </a:lnTo>
                        <a:lnTo>
                          <a:pt x="3644893" y="522788"/>
                        </a:lnTo>
                        <a:lnTo>
                          <a:pt x="6413106" y="530713"/>
                        </a:lnTo>
                        <a:lnTo>
                          <a:pt x="6893691" y="1166116"/>
                        </a:lnTo>
                        <a:lnTo>
                          <a:pt x="3989221" y="1154828"/>
                        </a:lnTo>
                        <a:lnTo>
                          <a:pt x="3987764" y="1152302"/>
                        </a:lnTo>
                        <a:lnTo>
                          <a:pt x="0" y="1152302"/>
                        </a:lnTo>
                        <a:close/>
                      </a:path>
                    </a:pathLst>
                  </a:custGeom>
                  <a:solidFill>
                    <a:schemeClr val="accent1">
                      <a:alpha val="15000"/>
                    </a:schemeClr>
                  </a:solidFill>
                  <a:ln w="12700" cap="rnd">
                    <a:noFill/>
                    <a:prstDash val="solid"/>
                    <a:round/>
                  </a:ln>
                  <a:effectLst>
                    <a:outerShdw blurRad="254000" dist="127000" algn="ctr" rotWithShape="0">
                      <a:schemeClr val="accent2">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a:bodyPr>
                  <a:lstStyle/>
                  <a:p>
                    <a:pPr algn="ctr" defTabSz="914400"/>
                    <a:endParaRPr lang="en-US" altLang="zh-CN" sz="2000" b="1" dirty="0">
                      <a:solidFill>
                        <a:schemeClr val="bg1"/>
                      </a:solidFill>
                    </a:endParaRPr>
                  </a:p>
                  <a:p>
                    <a:pPr algn="ctr" defTabSz="914400"/>
                    <a:endParaRPr lang="zh-CN" altLang="en-US" sz="2000" b="1" dirty="0">
                      <a:solidFill>
                        <a:schemeClr val="bg1"/>
                      </a:solidFill>
                    </a:endParaRPr>
                  </a:p>
                </p:txBody>
              </p:sp>
              <p:sp>
                <p:nvSpPr>
                  <p:cNvPr id="11" name="矩形 10"/>
                  <p:cNvSpPr/>
                  <p:nvPr/>
                </p:nvSpPr>
                <p:spPr>
                  <a:xfrm>
                    <a:off x="5551699" y="4151125"/>
                    <a:ext cx="2468998" cy="5647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chorCtr="0">
                    <a:normAutofit/>
                  </a:bodyPr>
                  <a:lstStyle/>
                  <a:p>
                    <a:pPr algn="ctr"/>
                    <a:r>
                      <a:rPr kumimoji="1" lang="en-US" altLang="zh-CN" b="1">
                        <a:solidFill>
                          <a:schemeClr val="accent1"/>
                        </a:solidFill>
                        <a:latin typeface="Calibri" pitchFamily="34" charset="0"/>
                        <a:ea typeface="宋体" pitchFamily="2" charset="-122"/>
                      </a:rPr>
                      <a:t>Click to add text</a:t>
                    </a:r>
                    <a:endParaRPr kumimoji="1" lang="en-US" altLang="zh-CN" b="1" dirty="0">
                      <a:solidFill>
                        <a:schemeClr val="accent1"/>
                      </a:solidFill>
                      <a:latin typeface="Calibri" pitchFamily="34" charset="0"/>
                      <a:ea typeface="宋体" pitchFamily="2" charset="-122"/>
                    </a:endParaRPr>
                  </a:p>
                </p:txBody>
              </p:sp>
              <p:sp>
                <p:nvSpPr>
                  <p:cNvPr id="12" name="矩形 11"/>
                  <p:cNvSpPr/>
                  <p:nvPr/>
                </p:nvSpPr>
                <p:spPr>
                  <a:xfrm>
                    <a:off x="3127570" y="3890984"/>
                    <a:ext cx="697982" cy="5720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p>
                    <a:pPr algn="ctr">
                      <a:lnSpc>
                        <a:spcPct val="130000"/>
                      </a:lnSpc>
                    </a:pPr>
                    <a:r>
                      <a:rPr kumimoji="1" lang="en-US" altLang="zh-CN" sz="2000" b="1" dirty="0">
                        <a:solidFill>
                          <a:schemeClr val="accent1"/>
                        </a:solidFill>
                        <a:latin typeface="Calibri" pitchFamily="34" charset="0"/>
                        <a:ea typeface="宋体" pitchFamily="2" charset="-122"/>
                      </a:rPr>
                      <a:t>03</a:t>
                    </a:r>
                    <a:endParaRPr kumimoji="1" lang="en-US" altLang="zh-CN" sz="2000" b="1" dirty="0">
                      <a:solidFill>
                        <a:schemeClr val="accent1"/>
                      </a:solidFill>
                      <a:latin typeface="Calibri" pitchFamily="34" charset="0"/>
                      <a:ea typeface="宋体" pitchFamily="2" charset="-122"/>
                    </a:endParaRPr>
                  </a:p>
                </p:txBody>
              </p:sp>
            </p:grpSp>
            <p:sp>
              <p:nvSpPr>
                <p:cNvPr id="23" name="矩形 22"/>
                <p:cNvSpPr/>
                <p:nvPr/>
              </p:nvSpPr>
              <p:spPr>
                <a:xfrm>
                  <a:off x="6806375" y="4461951"/>
                  <a:ext cx="4712525" cy="477226"/>
                </a:xfrm>
                <a:prstGeom prst="rect">
                  <a:avLst/>
                </a:prstGeom>
                <a:ln>
                  <a:noFill/>
                </a:ln>
              </p:spPr>
              <p:txBody>
                <a:bodyPr wrap="square" lIns="91440" tIns="45720" rIns="91440" bIns="45720" anchor="t" anchorCtr="0">
                  <a:normAutofit/>
                </a:bodyPr>
                <a:lstStyle/>
                <a:p>
                  <a:pPr>
                    <a:lnSpc>
                      <a:spcPct val="120000"/>
                    </a:lnSpc>
                  </a:pPr>
                  <a:r>
                    <a:rPr lang="en-US" altLang="zh-CN" sz="1200">
                      <a:latin typeface="Calibri" pitchFamily="34" charset="0"/>
                      <a:ea typeface="宋体" pitchFamily="2" charset="-122"/>
                    </a:rPr>
                    <a:t>Diam commodo iriure amet iusto sea velit est diam sed eos.</a:t>
                  </a:r>
                  <a:endParaRPr lang="en-US" altLang="zh-CN" sz="1200" dirty="0">
                    <a:latin typeface="Calibri" pitchFamily="34" charset="0"/>
                    <a:ea typeface="宋体" pitchFamily="2" charset="-122"/>
                  </a:endParaRPr>
                </a:p>
              </p:txBody>
            </p:sp>
          </p:grpSp>
          <p:grpSp>
            <p:nvGrpSpPr>
              <p:cNvPr id="28" name="组合 27"/>
              <p:cNvGrpSpPr/>
              <p:nvPr/>
            </p:nvGrpSpPr>
            <p:grpSpPr>
              <a:xfrm>
                <a:off x="596179" y="4987923"/>
                <a:ext cx="10922722" cy="1146176"/>
                <a:chOff x="596179" y="4987923"/>
                <a:chExt cx="10922722" cy="1146176"/>
              </a:xfrm>
            </p:grpSpPr>
            <p:grpSp>
              <p:nvGrpSpPr>
                <p:cNvPr id="6" name="组合 5"/>
                <p:cNvGrpSpPr/>
                <p:nvPr/>
              </p:nvGrpSpPr>
              <p:grpSpPr>
                <a:xfrm>
                  <a:off x="596179" y="4987923"/>
                  <a:ext cx="6629441" cy="934577"/>
                  <a:chOff x="850917" y="4841080"/>
                  <a:chExt cx="8241476" cy="1161831"/>
                </a:xfrm>
              </p:grpSpPr>
              <p:sp>
                <p:nvSpPr>
                  <p:cNvPr id="7" name="任意多边形: 形状 6"/>
                  <p:cNvSpPr/>
                  <p:nvPr/>
                </p:nvSpPr>
                <p:spPr>
                  <a:xfrm>
                    <a:off x="850917" y="4841080"/>
                    <a:ext cx="8241476" cy="1161831"/>
                  </a:xfrm>
                  <a:custGeom>
                    <a:avLst/>
                    <a:gdLst>
                      <a:gd name="connsiteX0" fmla="*/ 668335 w 8241476"/>
                      <a:gd name="connsiteY0" fmla="*/ 0 h 1161832"/>
                      <a:gd name="connsiteX1" fmla="*/ 4678347 w 8241476"/>
                      <a:gd name="connsiteY1" fmla="*/ 0 h 1161832"/>
                      <a:gd name="connsiteX2" fmla="*/ 4979057 w 8241476"/>
                      <a:gd name="connsiteY2" fmla="*/ 518466 h 1161832"/>
                      <a:gd name="connsiteX3" fmla="*/ 7760891 w 8241476"/>
                      <a:gd name="connsiteY3" fmla="*/ 526429 h 1161832"/>
                      <a:gd name="connsiteX4" fmla="*/ 8241476 w 8241476"/>
                      <a:gd name="connsiteY4" fmla="*/ 1161832 h 1161832"/>
                      <a:gd name="connsiteX5" fmla="*/ 5345682 w 8241476"/>
                      <a:gd name="connsiteY5" fmla="*/ 1150578 h 1161832"/>
                      <a:gd name="connsiteX6" fmla="*/ 5346682 w 8241476"/>
                      <a:gd name="connsiteY6" fmla="*/ 1152302 h 1161832"/>
                      <a:gd name="connsiteX7" fmla="*/ 0 w 8241476"/>
                      <a:gd name="connsiteY7" fmla="*/ 1152302 h 1161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241476" h="1161832">
                        <a:moveTo>
                          <a:pt x="668335" y="0"/>
                        </a:moveTo>
                        <a:lnTo>
                          <a:pt x="4678347" y="0"/>
                        </a:lnTo>
                        <a:lnTo>
                          <a:pt x="4979057" y="518466"/>
                        </a:lnTo>
                        <a:lnTo>
                          <a:pt x="7760891" y="526429"/>
                        </a:lnTo>
                        <a:lnTo>
                          <a:pt x="8241476" y="1161832"/>
                        </a:lnTo>
                        <a:lnTo>
                          <a:pt x="5345682" y="1150578"/>
                        </a:lnTo>
                        <a:lnTo>
                          <a:pt x="5346682" y="1152302"/>
                        </a:lnTo>
                        <a:lnTo>
                          <a:pt x="0" y="1152302"/>
                        </a:lnTo>
                        <a:close/>
                      </a:path>
                    </a:pathLst>
                  </a:custGeom>
                  <a:solidFill>
                    <a:schemeClr val="accent1"/>
                  </a:solidFill>
                  <a:ln w="12700" cap="rnd">
                    <a:noFill/>
                    <a:prstDash val="solid"/>
                    <a:round/>
                  </a:ln>
                  <a:effectLst>
                    <a:outerShdw blurRad="254000" dist="127000" algn="ctr" rotWithShape="0">
                      <a:schemeClr val="accent1">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a:bodyPr>
                  <a:lstStyle/>
                  <a:p>
                    <a:pPr algn="ctr" defTabSz="914400"/>
                    <a:endParaRPr lang="en-US" altLang="zh-CN" sz="2000" b="1" dirty="0">
                      <a:solidFill>
                        <a:schemeClr val="bg1"/>
                      </a:solidFill>
                    </a:endParaRPr>
                  </a:p>
                  <a:p>
                    <a:pPr algn="ctr" defTabSz="914400"/>
                    <a:endParaRPr lang="zh-CN" altLang="en-US" sz="2000" b="1" dirty="0">
                      <a:solidFill>
                        <a:schemeClr val="bg1"/>
                      </a:solidFill>
                    </a:endParaRPr>
                  </a:p>
                </p:txBody>
              </p:sp>
              <p:sp>
                <p:nvSpPr>
                  <p:cNvPr id="8" name="矩形 7"/>
                  <p:cNvSpPr/>
                  <p:nvPr/>
                </p:nvSpPr>
                <p:spPr>
                  <a:xfrm>
                    <a:off x="6102205" y="5402111"/>
                    <a:ext cx="2468998" cy="564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chorCtr="0">
                    <a:normAutofit/>
                  </a:bodyPr>
                  <a:lstStyle/>
                  <a:p>
                    <a:pPr algn="ctr"/>
                    <a:r>
                      <a:rPr kumimoji="1" lang="en-US" altLang="zh-CN" b="1">
                        <a:solidFill>
                          <a:srgbClr val="FFFFFF"/>
                        </a:solidFill>
                        <a:latin typeface="Calibri" pitchFamily="34" charset="0"/>
                        <a:ea typeface="宋体" pitchFamily="2" charset="-122"/>
                      </a:rPr>
                      <a:t>Click to add text</a:t>
                    </a:r>
                    <a:endParaRPr kumimoji="1" lang="en-US" altLang="zh-CN" b="1" dirty="0">
                      <a:solidFill>
                        <a:srgbClr val="FFFFFF"/>
                      </a:solidFill>
                      <a:latin typeface="Calibri" pitchFamily="34" charset="0"/>
                      <a:ea typeface="宋体" pitchFamily="2" charset="-122"/>
                    </a:endParaRPr>
                  </a:p>
                </p:txBody>
              </p:sp>
              <p:sp>
                <p:nvSpPr>
                  <p:cNvPr id="9" name="矩形 8"/>
                  <p:cNvSpPr/>
                  <p:nvPr/>
                </p:nvSpPr>
                <p:spPr>
                  <a:xfrm>
                    <a:off x="3127570" y="5144644"/>
                    <a:ext cx="697982" cy="5720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p>
                    <a:pPr algn="ctr">
                      <a:lnSpc>
                        <a:spcPct val="130000"/>
                      </a:lnSpc>
                    </a:pPr>
                    <a:r>
                      <a:rPr kumimoji="1" lang="en-US" altLang="zh-CN" sz="2000" b="1" dirty="0">
                        <a:solidFill>
                          <a:srgbClr val="FFFFFF"/>
                        </a:solidFill>
                        <a:latin typeface="Calibri" pitchFamily="34" charset="0"/>
                        <a:ea typeface="宋体" pitchFamily="2" charset="-122"/>
                      </a:rPr>
                      <a:t>04</a:t>
                    </a:r>
                    <a:endParaRPr kumimoji="1" lang="en-US" altLang="zh-CN" sz="2000" b="1" dirty="0">
                      <a:solidFill>
                        <a:srgbClr val="FFFFFF"/>
                      </a:solidFill>
                      <a:latin typeface="Calibri" pitchFamily="34" charset="0"/>
                      <a:ea typeface="宋体" pitchFamily="2" charset="-122"/>
                    </a:endParaRPr>
                  </a:p>
                </p:txBody>
              </p:sp>
            </p:grpSp>
            <p:sp>
              <p:nvSpPr>
                <p:cNvPr id="24" name="矩形 23"/>
                <p:cNvSpPr/>
                <p:nvPr/>
              </p:nvSpPr>
              <p:spPr>
                <a:xfrm>
                  <a:off x="7357393" y="5455210"/>
                  <a:ext cx="4161508" cy="678889"/>
                </a:xfrm>
                <a:prstGeom prst="rect">
                  <a:avLst/>
                </a:prstGeom>
                <a:ln>
                  <a:noFill/>
                </a:ln>
              </p:spPr>
              <p:txBody>
                <a:bodyPr wrap="square" lIns="91440" tIns="45720" rIns="91440" bIns="45720" anchor="t" anchorCtr="0">
                  <a:normAutofit/>
                </a:bodyPr>
                <a:lstStyle/>
                <a:p>
                  <a:pPr>
                    <a:lnSpc>
                      <a:spcPct val="120000"/>
                    </a:lnSpc>
                  </a:pPr>
                  <a:r>
                    <a:rPr lang="en-US" altLang="zh-CN" sz="1200">
                      <a:latin typeface="Calibri" pitchFamily="34" charset="0"/>
                      <a:ea typeface="宋体" pitchFamily="2" charset="-122"/>
                    </a:rPr>
                    <a:t>Diam commodo iriure amet iusto sea velit est diam sed eos.</a:t>
                  </a:r>
                  <a:endParaRPr lang="en-US" altLang="zh-CN" sz="1200" dirty="0">
                    <a:latin typeface="Calibri" pitchFamily="34" charset="0"/>
                    <a:ea typeface="宋体" pitchFamily="2" charset="-122"/>
                  </a:endParaRPr>
                </a:p>
              </p:txBody>
            </p:sp>
          </p:grpSp>
        </p:grpSp>
      </p:grpSp>
    </p:spTree>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组合 17"/>
          <p:cNvGrpSpPr/>
          <p:nvPr/>
        </p:nvGrpSpPr>
        <p:grpSpPr>
          <a:xfrm>
            <a:off x="660401" y="1135307"/>
            <a:ext cx="10858500" cy="4472264"/>
            <a:chOff x="660400" y="1135306"/>
            <a:chExt cx="10858500" cy="4472264"/>
          </a:xfrm>
        </p:grpSpPr>
        <p:sp>
          <p:nvSpPr>
            <p:cNvPr id="8" name="矩形 7"/>
            <p:cNvSpPr/>
            <p:nvPr/>
          </p:nvSpPr>
          <p:spPr>
            <a:xfrm>
              <a:off x="1955800" y="1135306"/>
              <a:ext cx="8280400" cy="584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normAutofit/>
            </a:bodyPr>
            <a:lstStyle/>
            <a:p>
              <a:pPr algn="ctr">
                <a:buSzPct val="25000"/>
              </a:pPr>
              <a:r>
                <a:rPr lang="en-US" altLang="zh-CN" sz="2400" b="1">
                  <a:solidFill>
                    <a:schemeClr val="tx1"/>
                  </a:solidFill>
                  <a:latin typeface="Calibri" pitchFamily="34" charset="0"/>
                  <a:ea typeface="宋体" pitchFamily="2" charset="-122"/>
                </a:rPr>
                <a:t>Unified fonts make reading more fluent</a:t>
              </a:r>
              <a:endParaRPr lang="en-US" altLang="zh-CN" sz="2400" b="1" dirty="0">
                <a:solidFill>
                  <a:schemeClr val="tx1"/>
                </a:solidFill>
                <a:latin typeface="Calibri" pitchFamily="34" charset="0"/>
                <a:ea typeface="宋体" pitchFamily="2" charset="-122"/>
              </a:endParaRPr>
            </a:p>
          </p:txBody>
        </p:sp>
        <p:sp>
          <p:nvSpPr>
            <p:cNvPr id="49" name="任意多边形: 形状 48" descr="箭头: 向左旋转 纯色填充"/>
            <p:cNvSpPr/>
            <p:nvPr/>
          </p:nvSpPr>
          <p:spPr>
            <a:xfrm flipH="1" flipV="1">
              <a:off x="6799075" y="4286910"/>
              <a:ext cx="838200" cy="644004"/>
            </a:xfrm>
            <a:custGeom>
              <a:avLst/>
              <a:gdLst>
                <a:gd name="connsiteX0" fmla="*/ 123825 w 838200"/>
                <a:gd name="connsiteY0" fmla="*/ 415404 h 644004"/>
                <a:gd name="connsiteX1" fmla="*/ 171450 w 838200"/>
                <a:gd name="connsiteY1" fmla="*/ 167754 h 644004"/>
                <a:gd name="connsiteX2" fmla="*/ 412433 w 838200"/>
                <a:gd name="connsiteY2" fmla="*/ 2972 h 644004"/>
                <a:gd name="connsiteX3" fmla="*/ 703898 w 838200"/>
                <a:gd name="connsiteY3" fmla="*/ 76314 h 644004"/>
                <a:gd name="connsiteX4" fmla="*/ 838200 w 838200"/>
                <a:gd name="connsiteY4" fmla="*/ 318249 h 644004"/>
                <a:gd name="connsiteX5" fmla="*/ 726758 w 838200"/>
                <a:gd name="connsiteY5" fmla="*/ 144894 h 644004"/>
                <a:gd name="connsiteX6" fmla="*/ 523875 w 838200"/>
                <a:gd name="connsiteY6" fmla="*/ 110604 h 644004"/>
                <a:gd name="connsiteX7" fmla="*/ 367665 w 838200"/>
                <a:gd name="connsiteY7" fmla="*/ 232524 h 644004"/>
                <a:gd name="connsiteX8" fmla="*/ 333375 w 838200"/>
                <a:gd name="connsiteY8" fmla="*/ 415404 h 644004"/>
                <a:gd name="connsiteX9" fmla="*/ 457200 w 838200"/>
                <a:gd name="connsiteY9" fmla="*/ 415404 h 644004"/>
                <a:gd name="connsiteX10" fmla="*/ 228600 w 838200"/>
                <a:gd name="connsiteY10" fmla="*/ 644004 h 644004"/>
                <a:gd name="connsiteX11" fmla="*/ 0 w 838200"/>
                <a:gd name="connsiteY11" fmla="*/ 415404 h 644004"/>
                <a:gd name="connsiteX12" fmla="*/ 123825 w 838200"/>
                <a:gd name="connsiteY12" fmla="*/ 415404 h 644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38200" h="644004">
                  <a:moveTo>
                    <a:pt x="123825" y="415404"/>
                  </a:moveTo>
                  <a:cubicBezTo>
                    <a:pt x="120968" y="326822"/>
                    <a:pt x="123825" y="245859"/>
                    <a:pt x="171450" y="167754"/>
                  </a:cubicBezTo>
                  <a:cubicBezTo>
                    <a:pt x="224790" y="80124"/>
                    <a:pt x="309563" y="15354"/>
                    <a:pt x="412433" y="2972"/>
                  </a:cubicBezTo>
                  <a:cubicBezTo>
                    <a:pt x="515303" y="-9411"/>
                    <a:pt x="619125" y="17259"/>
                    <a:pt x="703898" y="76314"/>
                  </a:cubicBezTo>
                  <a:cubicBezTo>
                    <a:pt x="776288" y="129654"/>
                    <a:pt x="838200" y="225857"/>
                    <a:pt x="838200" y="318249"/>
                  </a:cubicBezTo>
                  <a:cubicBezTo>
                    <a:pt x="826770" y="247764"/>
                    <a:pt x="786765" y="184899"/>
                    <a:pt x="726758" y="144894"/>
                  </a:cubicBezTo>
                  <a:cubicBezTo>
                    <a:pt x="666750" y="105842"/>
                    <a:pt x="593408" y="92507"/>
                    <a:pt x="523875" y="110604"/>
                  </a:cubicBezTo>
                  <a:cubicBezTo>
                    <a:pt x="458153" y="125844"/>
                    <a:pt x="403860" y="176327"/>
                    <a:pt x="367665" y="232524"/>
                  </a:cubicBezTo>
                  <a:cubicBezTo>
                    <a:pt x="331470" y="288722"/>
                    <a:pt x="333375" y="350634"/>
                    <a:pt x="333375" y="415404"/>
                  </a:cubicBezTo>
                  <a:lnTo>
                    <a:pt x="457200" y="415404"/>
                  </a:lnTo>
                  <a:lnTo>
                    <a:pt x="228600" y="644004"/>
                  </a:lnTo>
                  <a:cubicBezTo>
                    <a:pt x="228600" y="644004"/>
                    <a:pt x="39053" y="454457"/>
                    <a:pt x="0" y="415404"/>
                  </a:cubicBezTo>
                  <a:lnTo>
                    <a:pt x="123825" y="415404"/>
                  </a:lnTo>
                  <a:close/>
                </a:path>
              </a:pathLst>
            </a:custGeom>
            <a:solidFill>
              <a:schemeClr val="tx2">
                <a:alpha val="15000"/>
              </a:schemeClr>
            </a:solidFill>
            <a:ln w="6055" cap="flat">
              <a:noFill/>
              <a:prstDash val="solid"/>
              <a:miter/>
            </a:ln>
          </p:spPr>
          <p:txBody>
            <a:bodyPr rot="0" spcFirstLastPara="0" vertOverflow="overflow" horzOverflow="overflow" vert="horz" wrap="square" lIns="91440" tIns="45720" rIns="91440" bIns="45720" numCol="1" spcCol="0" rtlCol="0" fromWordArt="0" anchor="ctr" anchorCtr="0" forceAA="0" compatLnSpc="1">
              <a:noAutofit/>
            </a:bodyPr>
            <a:lstStyle/>
            <a:p>
              <a:endParaRPr lang="zh-CN" altLang="en-US"/>
            </a:p>
          </p:txBody>
        </p:sp>
        <p:sp>
          <p:nvSpPr>
            <p:cNvPr id="50" name="任意多边形: 形状 49" descr="箭头: 向左旋转 纯色填充"/>
            <p:cNvSpPr/>
            <p:nvPr/>
          </p:nvSpPr>
          <p:spPr>
            <a:xfrm flipH="1">
              <a:off x="4056877" y="3264428"/>
              <a:ext cx="838200" cy="644004"/>
            </a:xfrm>
            <a:custGeom>
              <a:avLst/>
              <a:gdLst>
                <a:gd name="connsiteX0" fmla="*/ 123825 w 838200"/>
                <a:gd name="connsiteY0" fmla="*/ 415404 h 644004"/>
                <a:gd name="connsiteX1" fmla="*/ 171450 w 838200"/>
                <a:gd name="connsiteY1" fmla="*/ 167754 h 644004"/>
                <a:gd name="connsiteX2" fmla="*/ 412433 w 838200"/>
                <a:gd name="connsiteY2" fmla="*/ 2972 h 644004"/>
                <a:gd name="connsiteX3" fmla="*/ 703898 w 838200"/>
                <a:gd name="connsiteY3" fmla="*/ 76314 h 644004"/>
                <a:gd name="connsiteX4" fmla="*/ 838200 w 838200"/>
                <a:gd name="connsiteY4" fmla="*/ 318249 h 644004"/>
                <a:gd name="connsiteX5" fmla="*/ 726758 w 838200"/>
                <a:gd name="connsiteY5" fmla="*/ 144894 h 644004"/>
                <a:gd name="connsiteX6" fmla="*/ 523875 w 838200"/>
                <a:gd name="connsiteY6" fmla="*/ 110604 h 644004"/>
                <a:gd name="connsiteX7" fmla="*/ 367665 w 838200"/>
                <a:gd name="connsiteY7" fmla="*/ 232524 h 644004"/>
                <a:gd name="connsiteX8" fmla="*/ 333375 w 838200"/>
                <a:gd name="connsiteY8" fmla="*/ 415404 h 644004"/>
                <a:gd name="connsiteX9" fmla="*/ 457200 w 838200"/>
                <a:gd name="connsiteY9" fmla="*/ 415404 h 644004"/>
                <a:gd name="connsiteX10" fmla="*/ 228600 w 838200"/>
                <a:gd name="connsiteY10" fmla="*/ 644004 h 644004"/>
                <a:gd name="connsiteX11" fmla="*/ 0 w 838200"/>
                <a:gd name="connsiteY11" fmla="*/ 415404 h 644004"/>
                <a:gd name="connsiteX12" fmla="*/ 123825 w 838200"/>
                <a:gd name="connsiteY12" fmla="*/ 415404 h 644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38200" h="644004">
                  <a:moveTo>
                    <a:pt x="123825" y="415404"/>
                  </a:moveTo>
                  <a:cubicBezTo>
                    <a:pt x="120968" y="326822"/>
                    <a:pt x="123825" y="245859"/>
                    <a:pt x="171450" y="167754"/>
                  </a:cubicBezTo>
                  <a:cubicBezTo>
                    <a:pt x="224790" y="80124"/>
                    <a:pt x="309563" y="15354"/>
                    <a:pt x="412433" y="2972"/>
                  </a:cubicBezTo>
                  <a:cubicBezTo>
                    <a:pt x="515303" y="-9411"/>
                    <a:pt x="619125" y="17259"/>
                    <a:pt x="703898" y="76314"/>
                  </a:cubicBezTo>
                  <a:cubicBezTo>
                    <a:pt x="776288" y="129654"/>
                    <a:pt x="838200" y="225857"/>
                    <a:pt x="838200" y="318249"/>
                  </a:cubicBezTo>
                  <a:cubicBezTo>
                    <a:pt x="826770" y="247764"/>
                    <a:pt x="786765" y="184899"/>
                    <a:pt x="726758" y="144894"/>
                  </a:cubicBezTo>
                  <a:cubicBezTo>
                    <a:pt x="666750" y="105842"/>
                    <a:pt x="593408" y="92507"/>
                    <a:pt x="523875" y="110604"/>
                  </a:cubicBezTo>
                  <a:cubicBezTo>
                    <a:pt x="458153" y="125844"/>
                    <a:pt x="403860" y="176327"/>
                    <a:pt x="367665" y="232524"/>
                  </a:cubicBezTo>
                  <a:cubicBezTo>
                    <a:pt x="331470" y="288722"/>
                    <a:pt x="333375" y="350634"/>
                    <a:pt x="333375" y="415404"/>
                  </a:cubicBezTo>
                  <a:lnTo>
                    <a:pt x="457200" y="415404"/>
                  </a:lnTo>
                  <a:lnTo>
                    <a:pt x="228600" y="644004"/>
                  </a:lnTo>
                  <a:cubicBezTo>
                    <a:pt x="228600" y="644004"/>
                    <a:pt x="39053" y="454457"/>
                    <a:pt x="0" y="415404"/>
                  </a:cubicBezTo>
                  <a:lnTo>
                    <a:pt x="123825" y="415404"/>
                  </a:lnTo>
                  <a:close/>
                </a:path>
              </a:pathLst>
            </a:custGeom>
            <a:solidFill>
              <a:schemeClr val="tx2">
                <a:alpha val="15000"/>
              </a:schemeClr>
            </a:solidFill>
            <a:ln w="6055" cap="flat">
              <a:noFill/>
              <a:prstDash val="solid"/>
              <a:miter/>
            </a:ln>
          </p:spPr>
          <p:txBody>
            <a:bodyPr rot="0" spcFirstLastPara="0" vertOverflow="overflow" horzOverflow="overflow" vert="horz" wrap="square" lIns="91440" tIns="45720" rIns="91440" bIns="45720" numCol="1" spcCol="0" rtlCol="0" fromWordArt="0" anchor="ctr" anchorCtr="0" forceAA="0" compatLnSpc="1">
              <a:noAutofit/>
            </a:bodyPr>
            <a:lstStyle/>
            <a:p>
              <a:endParaRPr lang="zh-CN" altLang="en-US"/>
            </a:p>
          </p:txBody>
        </p:sp>
        <p:sp>
          <p:nvSpPr>
            <p:cNvPr id="51" name="任意多边形: 形状 50" descr="箭头: 向左旋转 纯色填充"/>
            <p:cNvSpPr/>
            <p:nvPr/>
          </p:nvSpPr>
          <p:spPr>
            <a:xfrm flipH="1">
              <a:off x="9541272" y="3261260"/>
              <a:ext cx="838200" cy="644004"/>
            </a:xfrm>
            <a:custGeom>
              <a:avLst/>
              <a:gdLst>
                <a:gd name="connsiteX0" fmla="*/ 123825 w 838200"/>
                <a:gd name="connsiteY0" fmla="*/ 415404 h 644004"/>
                <a:gd name="connsiteX1" fmla="*/ 171450 w 838200"/>
                <a:gd name="connsiteY1" fmla="*/ 167754 h 644004"/>
                <a:gd name="connsiteX2" fmla="*/ 412433 w 838200"/>
                <a:gd name="connsiteY2" fmla="*/ 2972 h 644004"/>
                <a:gd name="connsiteX3" fmla="*/ 703898 w 838200"/>
                <a:gd name="connsiteY3" fmla="*/ 76314 h 644004"/>
                <a:gd name="connsiteX4" fmla="*/ 838200 w 838200"/>
                <a:gd name="connsiteY4" fmla="*/ 318249 h 644004"/>
                <a:gd name="connsiteX5" fmla="*/ 726758 w 838200"/>
                <a:gd name="connsiteY5" fmla="*/ 144894 h 644004"/>
                <a:gd name="connsiteX6" fmla="*/ 523875 w 838200"/>
                <a:gd name="connsiteY6" fmla="*/ 110604 h 644004"/>
                <a:gd name="connsiteX7" fmla="*/ 367665 w 838200"/>
                <a:gd name="connsiteY7" fmla="*/ 232524 h 644004"/>
                <a:gd name="connsiteX8" fmla="*/ 333375 w 838200"/>
                <a:gd name="connsiteY8" fmla="*/ 415404 h 644004"/>
                <a:gd name="connsiteX9" fmla="*/ 457200 w 838200"/>
                <a:gd name="connsiteY9" fmla="*/ 415404 h 644004"/>
                <a:gd name="connsiteX10" fmla="*/ 228600 w 838200"/>
                <a:gd name="connsiteY10" fmla="*/ 644004 h 644004"/>
                <a:gd name="connsiteX11" fmla="*/ 0 w 838200"/>
                <a:gd name="connsiteY11" fmla="*/ 415404 h 644004"/>
                <a:gd name="connsiteX12" fmla="*/ 123825 w 838200"/>
                <a:gd name="connsiteY12" fmla="*/ 415404 h 644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38200" h="644004">
                  <a:moveTo>
                    <a:pt x="123825" y="415404"/>
                  </a:moveTo>
                  <a:cubicBezTo>
                    <a:pt x="120968" y="326822"/>
                    <a:pt x="123825" y="245859"/>
                    <a:pt x="171450" y="167754"/>
                  </a:cubicBezTo>
                  <a:cubicBezTo>
                    <a:pt x="224790" y="80124"/>
                    <a:pt x="309563" y="15354"/>
                    <a:pt x="412433" y="2972"/>
                  </a:cubicBezTo>
                  <a:cubicBezTo>
                    <a:pt x="515303" y="-9411"/>
                    <a:pt x="619125" y="17259"/>
                    <a:pt x="703898" y="76314"/>
                  </a:cubicBezTo>
                  <a:cubicBezTo>
                    <a:pt x="776288" y="129654"/>
                    <a:pt x="838200" y="225857"/>
                    <a:pt x="838200" y="318249"/>
                  </a:cubicBezTo>
                  <a:cubicBezTo>
                    <a:pt x="826770" y="247764"/>
                    <a:pt x="786765" y="184899"/>
                    <a:pt x="726758" y="144894"/>
                  </a:cubicBezTo>
                  <a:cubicBezTo>
                    <a:pt x="666750" y="105842"/>
                    <a:pt x="593408" y="92507"/>
                    <a:pt x="523875" y="110604"/>
                  </a:cubicBezTo>
                  <a:cubicBezTo>
                    <a:pt x="458153" y="125844"/>
                    <a:pt x="403860" y="176327"/>
                    <a:pt x="367665" y="232524"/>
                  </a:cubicBezTo>
                  <a:cubicBezTo>
                    <a:pt x="331470" y="288722"/>
                    <a:pt x="333375" y="350634"/>
                    <a:pt x="333375" y="415404"/>
                  </a:cubicBezTo>
                  <a:lnTo>
                    <a:pt x="457200" y="415404"/>
                  </a:lnTo>
                  <a:lnTo>
                    <a:pt x="228600" y="644004"/>
                  </a:lnTo>
                  <a:cubicBezTo>
                    <a:pt x="228600" y="644004"/>
                    <a:pt x="39053" y="454457"/>
                    <a:pt x="0" y="415404"/>
                  </a:cubicBezTo>
                  <a:lnTo>
                    <a:pt x="123825" y="415404"/>
                  </a:lnTo>
                  <a:close/>
                </a:path>
              </a:pathLst>
            </a:custGeom>
            <a:solidFill>
              <a:schemeClr val="tx2">
                <a:alpha val="15000"/>
              </a:schemeClr>
            </a:solidFill>
            <a:ln w="6055" cap="flat">
              <a:noFill/>
              <a:prstDash val="solid"/>
              <a:miter/>
            </a:ln>
          </p:spPr>
          <p:txBody>
            <a:bodyPr rot="0" spcFirstLastPara="0" vertOverflow="overflow" horzOverflow="overflow" vert="horz" wrap="square" lIns="91440" tIns="45720" rIns="91440" bIns="45720" numCol="1" spcCol="0" rtlCol="0" fromWordArt="0" anchor="ctr" anchorCtr="0" forceAA="0" compatLnSpc="1">
              <a:noAutofit/>
            </a:bodyPr>
            <a:lstStyle/>
            <a:p>
              <a:endParaRPr lang="zh-CN" altLang="en-US"/>
            </a:p>
          </p:txBody>
        </p:sp>
        <p:grpSp>
          <p:nvGrpSpPr>
            <p:cNvPr id="14" name="组合 13"/>
            <p:cNvGrpSpPr/>
            <p:nvPr/>
          </p:nvGrpSpPr>
          <p:grpSpPr>
            <a:xfrm>
              <a:off x="660400" y="2716494"/>
              <a:ext cx="3117056" cy="1288075"/>
              <a:chOff x="660400" y="2716494"/>
              <a:chExt cx="3117056" cy="1288075"/>
            </a:xfrm>
          </p:grpSpPr>
          <p:sp>
            <p:nvSpPr>
              <p:cNvPr id="10" name="矩形: 圆角 9"/>
              <p:cNvSpPr/>
              <p:nvPr/>
            </p:nvSpPr>
            <p:spPr>
              <a:xfrm>
                <a:off x="660400" y="2716494"/>
                <a:ext cx="3117056" cy="1288075"/>
              </a:xfrm>
              <a:prstGeom prst="roundRect">
                <a:avLst>
                  <a:gd name="adj" fmla="val 10000"/>
                </a:avLst>
              </a:prstGeom>
              <a:solidFill>
                <a:schemeClr val="accent1">
                  <a:alpha val="15000"/>
                </a:schemeClr>
              </a:solidFill>
              <a:ln w="12700" cap="flat">
                <a:noFill/>
                <a:prstDash val="solid"/>
                <a:miter/>
              </a:ln>
              <a:effectLst/>
            </p:spPr>
            <p:txBody>
              <a:bodyPr wrap="square" rtlCol="0" anchor="ctr">
                <a:normAutofit/>
              </a:bodyPr>
              <a:lstStyle/>
              <a:p>
                <a:pPr>
                  <a:lnSpc>
                    <a:spcPct val="120000"/>
                  </a:lnSpc>
                </a:pPr>
                <a:endParaRPr lang="zh-CN" altLang="en-US" sz="1200" dirty="0">
                  <a:noFill/>
                </a:endParaRPr>
              </a:p>
            </p:txBody>
          </p:sp>
          <p:sp>
            <p:nvSpPr>
              <p:cNvPr id="11" name="矩形 10"/>
              <p:cNvSpPr/>
              <p:nvPr/>
            </p:nvSpPr>
            <p:spPr>
              <a:xfrm>
                <a:off x="1491477" y="2942950"/>
                <a:ext cx="2285979"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r>
                  <a:rPr kumimoji="1" lang="en-US" altLang="zh-CN" b="1">
                    <a:solidFill>
                      <a:schemeClr val="tx1"/>
                    </a:solidFill>
                    <a:latin typeface="Calibri" pitchFamily="34" charset="0"/>
                    <a:ea typeface="宋体" pitchFamily="2" charset="-122"/>
                  </a:rPr>
                  <a:t>Click to add text</a:t>
                </a:r>
                <a:endParaRPr kumimoji="1" lang="en-US" altLang="zh-CN" b="1" dirty="0">
                  <a:solidFill>
                    <a:schemeClr val="tx1"/>
                  </a:solidFill>
                  <a:latin typeface="Calibri" pitchFamily="34" charset="0"/>
                  <a:ea typeface="宋体" pitchFamily="2" charset="-122"/>
                </a:endParaRPr>
              </a:p>
            </p:txBody>
          </p:sp>
          <p:sp>
            <p:nvSpPr>
              <p:cNvPr id="12" name="矩形 11"/>
              <p:cNvSpPr/>
              <p:nvPr/>
            </p:nvSpPr>
            <p:spPr>
              <a:xfrm>
                <a:off x="1491478" y="3312282"/>
                <a:ext cx="2285978" cy="6922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nSpc>
                    <a:spcPct val="120000"/>
                  </a:lnSpc>
                </a:pPr>
                <a:r>
                  <a:rPr kumimoji="1" lang="it-IT" altLang="zh-CN" sz="1200">
                    <a:solidFill>
                      <a:schemeClr val="tx1"/>
                    </a:solidFill>
                    <a:latin typeface="Calibri" pitchFamily="34" charset="0"/>
                    <a:ea typeface="宋体" pitchFamily="2" charset="-122"/>
                  </a:rPr>
                  <a:t>Sit in diam at ea labore vero invidunt ipsum vulputate vero.</a:t>
                </a:r>
                <a:endParaRPr kumimoji="1" lang="en-US" altLang="zh-CN" sz="1200" dirty="0">
                  <a:solidFill>
                    <a:schemeClr val="tx1"/>
                  </a:solidFill>
                  <a:latin typeface="Calibri" pitchFamily="34" charset="0"/>
                  <a:ea typeface="宋体" pitchFamily="2" charset="-122"/>
                </a:endParaRPr>
              </a:p>
            </p:txBody>
          </p:sp>
          <p:sp>
            <p:nvSpPr>
              <p:cNvPr id="13" name="文本框 12"/>
              <p:cNvSpPr txBox="1">
                <a:spLocks noChangeAspect="1"/>
              </p:cNvSpPr>
              <p:nvPr/>
            </p:nvSpPr>
            <p:spPr>
              <a:xfrm>
                <a:off x="908149" y="3086720"/>
                <a:ext cx="540000" cy="540000"/>
              </a:xfrm>
              <a:prstGeom prst="roundRect">
                <a:avLst>
                  <a:gd name="adj" fmla="val 50000"/>
                </a:avLst>
              </a:prstGeom>
              <a:solidFill>
                <a:schemeClr val="accent1"/>
              </a:solidFill>
              <a:ln w="12700" cap="flat">
                <a:noFill/>
                <a:prstDash val="solid"/>
                <a:miter/>
              </a:ln>
              <a:effectLst>
                <a:outerShdw blurRad="127000" dist="63500" dir="2700000" algn="tl" rotWithShape="0">
                  <a:schemeClr val="accent1">
                    <a:alpha val="40000"/>
                  </a:schemeClr>
                </a:outerShdw>
              </a:effectLst>
            </p:spPr>
            <p:txBody>
              <a:bodyPr wrap="square" rtlCol="0" anchor="ctr">
                <a:normAutofit/>
              </a:bodyPr>
              <a:lstStyle>
                <a:defPPr>
                  <a:defRPr lang="zh-CN"/>
                </a:defPPr>
                <a:lvl1pPr>
                  <a:defRPr/>
                </a:lvl1pPr>
              </a:lstStyle>
              <a:p>
                <a:pPr algn="ctr">
                  <a:lnSpc>
                    <a:spcPct val="120000"/>
                  </a:lnSpc>
                </a:pPr>
                <a:r>
                  <a:rPr lang="en-US" altLang="zh-CN" sz="1200" b="1" dirty="0">
                    <a:solidFill>
                      <a:srgbClr val="FFFFFF"/>
                    </a:solidFill>
                    <a:latin typeface="Calibri" pitchFamily="34" charset="0"/>
                    <a:ea typeface="宋体" pitchFamily="2" charset="-122"/>
                  </a:rPr>
                  <a:t>01</a:t>
                </a:r>
                <a:endParaRPr lang="zh-CN" altLang="en-US" sz="1200" b="1" dirty="0">
                  <a:solidFill>
                    <a:srgbClr val="FFFFFF"/>
                  </a:solidFill>
                  <a:latin typeface="Calibri" pitchFamily="34" charset="0"/>
                  <a:ea typeface="宋体" pitchFamily="2" charset="-122"/>
                </a:endParaRPr>
              </a:p>
            </p:txBody>
          </p:sp>
        </p:grpSp>
        <p:grpSp>
          <p:nvGrpSpPr>
            <p:cNvPr id="7" name="组合 6"/>
            <p:cNvGrpSpPr/>
            <p:nvPr/>
          </p:nvGrpSpPr>
          <p:grpSpPr>
            <a:xfrm>
              <a:off x="3240881" y="4319495"/>
              <a:ext cx="3129943" cy="1288075"/>
              <a:chOff x="3240881" y="4319495"/>
              <a:chExt cx="3129943" cy="1288075"/>
            </a:xfrm>
          </p:grpSpPr>
          <p:sp>
            <p:nvSpPr>
              <p:cNvPr id="3" name="矩形: 圆角 2"/>
              <p:cNvSpPr/>
              <p:nvPr/>
            </p:nvSpPr>
            <p:spPr>
              <a:xfrm>
                <a:off x="3240881" y="4319495"/>
                <a:ext cx="3117056" cy="1288075"/>
              </a:xfrm>
              <a:prstGeom prst="roundRect">
                <a:avLst>
                  <a:gd name="adj" fmla="val 10000"/>
                </a:avLst>
              </a:prstGeom>
              <a:solidFill>
                <a:schemeClr val="accent1"/>
              </a:solidFill>
              <a:ln w="12700" cap="flat">
                <a:noFill/>
                <a:prstDash val="solid"/>
                <a:miter/>
              </a:ln>
              <a:effectLst>
                <a:outerShdw blurRad="127000" dist="63500" dir="2700000" algn="tl" rotWithShape="0">
                  <a:schemeClr val="accent1">
                    <a:alpha val="40000"/>
                  </a:schemeClr>
                </a:outerShdw>
              </a:effectLst>
            </p:spPr>
            <p:txBody>
              <a:bodyPr rtlCol="0" anchor="ctr"/>
              <a:lstStyle/>
              <a:p>
                <a:endParaRPr lang="zh-CN" altLang="en-US" sz="1200"/>
              </a:p>
            </p:txBody>
          </p:sp>
          <p:sp>
            <p:nvSpPr>
              <p:cNvPr id="4" name="矩形 3"/>
              <p:cNvSpPr/>
              <p:nvPr/>
            </p:nvSpPr>
            <p:spPr>
              <a:xfrm>
                <a:off x="4040209" y="4552301"/>
                <a:ext cx="2195472"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r>
                  <a:rPr kumimoji="1" lang="en-US" altLang="zh-CN" b="1">
                    <a:solidFill>
                      <a:srgbClr val="FFFFFF"/>
                    </a:solidFill>
                    <a:latin typeface="Calibri" pitchFamily="34" charset="0"/>
                    <a:ea typeface="宋体" pitchFamily="2" charset="-122"/>
                  </a:rPr>
                  <a:t>Click to add text</a:t>
                </a:r>
                <a:endParaRPr kumimoji="1" lang="en-US" altLang="zh-CN" b="1" dirty="0">
                  <a:solidFill>
                    <a:srgbClr val="FFFFFF"/>
                  </a:solidFill>
                  <a:latin typeface="Calibri" pitchFamily="34" charset="0"/>
                  <a:ea typeface="宋体" pitchFamily="2" charset="-122"/>
                </a:endParaRPr>
              </a:p>
            </p:txBody>
          </p:sp>
          <p:sp>
            <p:nvSpPr>
              <p:cNvPr id="5" name="矩形 4"/>
              <p:cNvSpPr/>
              <p:nvPr/>
            </p:nvSpPr>
            <p:spPr>
              <a:xfrm>
                <a:off x="4040209" y="4921633"/>
                <a:ext cx="2330615" cy="6210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nSpc>
                    <a:spcPct val="120000"/>
                  </a:lnSpc>
                </a:pPr>
                <a:r>
                  <a:rPr kumimoji="1" lang="en-US" altLang="zh-CN" sz="1200">
                    <a:solidFill>
                      <a:srgbClr val="FFFFFF"/>
                    </a:solidFill>
                    <a:latin typeface="Calibri" pitchFamily="34" charset="0"/>
                    <a:ea typeface="宋体" pitchFamily="2" charset="-122"/>
                  </a:rPr>
                  <a:t>Kasd facilisi aliquyam duo eirmod erat ipsum ea rebum.</a:t>
                </a:r>
                <a:endParaRPr kumimoji="1" lang="en-US" altLang="zh-CN" sz="1200" dirty="0">
                  <a:solidFill>
                    <a:srgbClr val="FFFFFF"/>
                  </a:solidFill>
                  <a:latin typeface="Calibri" pitchFamily="34" charset="0"/>
                  <a:ea typeface="宋体" pitchFamily="2" charset="-122"/>
                </a:endParaRPr>
              </a:p>
            </p:txBody>
          </p:sp>
          <p:sp>
            <p:nvSpPr>
              <p:cNvPr id="6" name="文本框 5"/>
              <p:cNvSpPr txBox="1">
                <a:spLocks noChangeAspect="1"/>
              </p:cNvSpPr>
              <p:nvPr/>
            </p:nvSpPr>
            <p:spPr>
              <a:xfrm>
                <a:off x="3456880" y="4698487"/>
                <a:ext cx="540000" cy="540000"/>
              </a:xfrm>
              <a:prstGeom prst="roundRect">
                <a:avLst>
                  <a:gd name="adj" fmla="val 50000"/>
                </a:avLst>
              </a:prstGeom>
              <a:solidFill>
                <a:srgbClr val="FFFFFF"/>
              </a:solidFill>
              <a:ln w="12700" cap="flat">
                <a:noFill/>
                <a:prstDash val="solid"/>
                <a:miter/>
              </a:ln>
              <a:effectLst/>
            </p:spPr>
            <p:txBody>
              <a:bodyPr wrap="square" rtlCol="0" anchor="ctr">
                <a:normAutofit/>
              </a:bodyPr>
              <a:lstStyle>
                <a:defPPr>
                  <a:defRPr lang="zh-CN"/>
                </a:defPPr>
                <a:lvl1pPr>
                  <a:defRPr/>
                </a:lvl1pPr>
              </a:lstStyle>
              <a:p>
                <a:pPr algn="ctr">
                  <a:lnSpc>
                    <a:spcPct val="120000"/>
                  </a:lnSpc>
                </a:pPr>
                <a:r>
                  <a:rPr lang="en-US" altLang="zh-CN" sz="1200" b="1">
                    <a:solidFill>
                      <a:schemeClr val="accent1"/>
                    </a:solidFill>
                    <a:latin typeface="Calibri" pitchFamily="34" charset="0"/>
                    <a:ea typeface="宋体" pitchFamily="2" charset="-122"/>
                  </a:rPr>
                  <a:t>02</a:t>
                </a:r>
                <a:endParaRPr lang="zh-CN" altLang="en-US" sz="1200" b="1" dirty="0">
                  <a:solidFill>
                    <a:schemeClr val="accent1"/>
                  </a:solidFill>
                  <a:latin typeface="Calibri" pitchFamily="34" charset="0"/>
                  <a:ea typeface="宋体" pitchFamily="2" charset="-122"/>
                </a:endParaRPr>
              </a:p>
            </p:txBody>
          </p:sp>
        </p:grpSp>
        <p:grpSp>
          <p:nvGrpSpPr>
            <p:cNvPr id="15" name="组合 14"/>
            <p:cNvGrpSpPr/>
            <p:nvPr/>
          </p:nvGrpSpPr>
          <p:grpSpPr>
            <a:xfrm>
              <a:off x="5821362" y="2716494"/>
              <a:ext cx="3117056" cy="1288075"/>
              <a:chOff x="5821362" y="2716494"/>
              <a:chExt cx="3117056" cy="1288075"/>
            </a:xfrm>
          </p:grpSpPr>
          <p:sp>
            <p:nvSpPr>
              <p:cNvPr id="34" name="矩形: 圆角 33"/>
              <p:cNvSpPr/>
              <p:nvPr/>
            </p:nvSpPr>
            <p:spPr>
              <a:xfrm>
                <a:off x="5821362" y="2716494"/>
                <a:ext cx="3117056" cy="1288075"/>
              </a:xfrm>
              <a:prstGeom prst="roundRect">
                <a:avLst>
                  <a:gd name="adj" fmla="val 10000"/>
                </a:avLst>
              </a:prstGeom>
              <a:solidFill>
                <a:schemeClr val="accent1">
                  <a:alpha val="15000"/>
                </a:schemeClr>
              </a:solidFill>
              <a:ln w="12700" cap="flat">
                <a:noFill/>
                <a:prstDash val="solid"/>
                <a:miter/>
              </a:ln>
              <a:effectLst/>
            </p:spPr>
            <p:txBody>
              <a:bodyPr wrap="square" rtlCol="0" anchor="ctr">
                <a:normAutofit/>
              </a:bodyPr>
              <a:lstStyle/>
              <a:p>
                <a:pPr>
                  <a:lnSpc>
                    <a:spcPct val="120000"/>
                  </a:lnSpc>
                </a:pPr>
                <a:endParaRPr lang="zh-CN" altLang="en-US" sz="1200" dirty="0">
                  <a:noFill/>
                </a:endParaRPr>
              </a:p>
            </p:txBody>
          </p:sp>
          <p:sp>
            <p:nvSpPr>
              <p:cNvPr id="35" name="矩形 34"/>
              <p:cNvSpPr/>
              <p:nvPr/>
            </p:nvSpPr>
            <p:spPr>
              <a:xfrm>
                <a:off x="6652439" y="2942950"/>
                <a:ext cx="2285979"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r>
                  <a:rPr kumimoji="1" lang="en-US" altLang="zh-CN" b="1">
                    <a:solidFill>
                      <a:schemeClr val="tx1"/>
                    </a:solidFill>
                    <a:latin typeface="Calibri" pitchFamily="34" charset="0"/>
                    <a:ea typeface="宋体" pitchFamily="2" charset="-122"/>
                  </a:rPr>
                  <a:t>Click to add text</a:t>
                </a:r>
                <a:endParaRPr kumimoji="1" lang="en-US" altLang="zh-CN" b="1" dirty="0">
                  <a:solidFill>
                    <a:schemeClr val="tx1"/>
                  </a:solidFill>
                  <a:latin typeface="Calibri" pitchFamily="34" charset="0"/>
                  <a:ea typeface="宋体" pitchFamily="2" charset="-122"/>
                </a:endParaRPr>
              </a:p>
            </p:txBody>
          </p:sp>
          <p:sp>
            <p:nvSpPr>
              <p:cNvPr id="36" name="矩形 35"/>
              <p:cNvSpPr/>
              <p:nvPr/>
            </p:nvSpPr>
            <p:spPr>
              <a:xfrm>
                <a:off x="6652440" y="3312282"/>
                <a:ext cx="2285978" cy="6922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nSpc>
                    <a:spcPct val="120000"/>
                  </a:lnSpc>
                </a:pPr>
                <a:r>
                  <a:rPr kumimoji="1" lang="sv-SE" altLang="zh-CN" sz="1200">
                    <a:solidFill>
                      <a:schemeClr val="tx1"/>
                    </a:solidFill>
                    <a:latin typeface="Calibri" pitchFamily="34" charset="0"/>
                    <a:ea typeface="宋体" pitchFamily="2" charset="-122"/>
                  </a:rPr>
                  <a:t>Sadipscing magna clita ipsum velit et dolore rebum ut.</a:t>
                </a:r>
                <a:endParaRPr kumimoji="1" lang="en-US" altLang="zh-CN" sz="1200" dirty="0">
                  <a:solidFill>
                    <a:schemeClr val="tx1"/>
                  </a:solidFill>
                  <a:latin typeface="Calibri" pitchFamily="34" charset="0"/>
                  <a:ea typeface="宋体" pitchFamily="2" charset="-122"/>
                </a:endParaRPr>
              </a:p>
            </p:txBody>
          </p:sp>
          <p:sp>
            <p:nvSpPr>
              <p:cNvPr id="37" name="文本框 36"/>
              <p:cNvSpPr txBox="1">
                <a:spLocks noChangeAspect="1"/>
              </p:cNvSpPr>
              <p:nvPr/>
            </p:nvSpPr>
            <p:spPr>
              <a:xfrm>
                <a:off x="6069111" y="3086720"/>
                <a:ext cx="540000" cy="540000"/>
              </a:xfrm>
              <a:prstGeom prst="roundRect">
                <a:avLst>
                  <a:gd name="adj" fmla="val 50000"/>
                </a:avLst>
              </a:prstGeom>
              <a:solidFill>
                <a:schemeClr val="accent1"/>
              </a:solidFill>
              <a:ln w="12700" cap="flat">
                <a:noFill/>
                <a:prstDash val="solid"/>
                <a:miter/>
              </a:ln>
              <a:effectLst>
                <a:outerShdw blurRad="127000" dist="63500" dir="2700000" algn="tl" rotWithShape="0">
                  <a:schemeClr val="accent1">
                    <a:alpha val="40000"/>
                  </a:schemeClr>
                </a:outerShdw>
              </a:effectLst>
            </p:spPr>
            <p:txBody>
              <a:bodyPr wrap="square" rtlCol="0" anchor="ctr">
                <a:normAutofit/>
              </a:bodyPr>
              <a:lstStyle>
                <a:defPPr>
                  <a:defRPr lang="zh-CN"/>
                </a:defPPr>
                <a:lvl1pPr>
                  <a:defRPr/>
                </a:lvl1pPr>
              </a:lstStyle>
              <a:p>
                <a:pPr algn="ctr">
                  <a:lnSpc>
                    <a:spcPct val="120000"/>
                  </a:lnSpc>
                </a:pPr>
                <a:r>
                  <a:rPr lang="en-US" altLang="zh-CN" sz="1200" b="1">
                    <a:solidFill>
                      <a:srgbClr val="FFFFFF"/>
                    </a:solidFill>
                    <a:latin typeface="Calibri" pitchFamily="34" charset="0"/>
                    <a:ea typeface="宋体" pitchFamily="2" charset="-122"/>
                  </a:rPr>
                  <a:t>03</a:t>
                </a:r>
                <a:endParaRPr lang="zh-CN" altLang="en-US" sz="1200" b="1" dirty="0">
                  <a:solidFill>
                    <a:srgbClr val="FFFFFF"/>
                  </a:solidFill>
                  <a:latin typeface="Calibri" pitchFamily="34" charset="0"/>
                  <a:ea typeface="宋体" pitchFamily="2" charset="-122"/>
                </a:endParaRPr>
              </a:p>
            </p:txBody>
          </p:sp>
        </p:grpSp>
        <p:grpSp>
          <p:nvGrpSpPr>
            <p:cNvPr id="16" name="组合 15"/>
            <p:cNvGrpSpPr/>
            <p:nvPr/>
          </p:nvGrpSpPr>
          <p:grpSpPr>
            <a:xfrm>
              <a:off x="8401844" y="4251121"/>
              <a:ext cx="3117056" cy="1288075"/>
              <a:chOff x="8401844" y="4251121"/>
              <a:chExt cx="3117056" cy="1288075"/>
            </a:xfrm>
          </p:grpSpPr>
          <p:sp>
            <p:nvSpPr>
              <p:cNvPr id="44" name="矩形: 圆角 43"/>
              <p:cNvSpPr/>
              <p:nvPr/>
            </p:nvSpPr>
            <p:spPr>
              <a:xfrm>
                <a:off x="8401844" y="4251121"/>
                <a:ext cx="3117056" cy="1288075"/>
              </a:xfrm>
              <a:prstGeom prst="roundRect">
                <a:avLst>
                  <a:gd name="adj" fmla="val 10000"/>
                </a:avLst>
              </a:prstGeom>
              <a:solidFill>
                <a:schemeClr val="accent1">
                  <a:alpha val="15000"/>
                </a:schemeClr>
              </a:solidFill>
              <a:ln w="12700" cap="flat">
                <a:noFill/>
                <a:prstDash val="solid"/>
                <a:miter/>
              </a:ln>
              <a:effectLst/>
            </p:spPr>
            <p:txBody>
              <a:bodyPr wrap="square" rtlCol="0" anchor="ctr">
                <a:normAutofit/>
              </a:bodyPr>
              <a:lstStyle/>
              <a:p>
                <a:pPr>
                  <a:lnSpc>
                    <a:spcPct val="120000"/>
                  </a:lnSpc>
                </a:pPr>
                <a:endParaRPr lang="zh-CN" altLang="en-US" sz="1200" dirty="0">
                  <a:noFill/>
                </a:endParaRPr>
              </a:p>
            </p:txBody>
          </p:sp>
          <p:sp>
            <p:nvSpPr>
              <p:cNvPr id="45" name="矩形 44"/>
              <p:cNvSpPr/>
              <p:nvPr/>
            </p:nvSpPr>
            <p:spPr>
              <a:xfrm>
                <a:off x="9232921" y="4477577"/>
                <a:ext cx="2285979"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r>
                  <a:rPr kumimoji="1" lang="en-US" altLang="zh-CN" b="1">
                    <a:solidFill>
                      <a:schemeClr val="tx1"/>
                    </a:solidFill>
                    <a:latin typeface="Calibri" pitchFamily="34" charset="0"/>
                    <a:ea typeface="宋体" pitchFamily="2" charset="-122"/>
                  </a:rPr>
                  <a:t>Click to add text</a:t>
                </a:r>
                <a:endParaRPr kumimoji="1" lang="en-US" altLang="zh-CN" b="1" dirty="0">
                  <a:solidFill>
                    <a:schemeClr val="tx1"/>
                  </a:solidFill>
                  <a:latin typeface="Calibri" pitchFamily="34" charset="0"/>
                  <a:ea typeface="宋体" pitchFamily="2" charset="-122"/>
                </a:endParaRPr>
              </a:p>
            </p:txBody>
          </p:sp>
          <p:sp>
            <p:nvSpPr>
              <p:cNvPr id="46" name="矩形 45"/>
              <p:cNvSpPr/>
              <p:nvPr/>
            </p:nvSpPr>
            <p:spPr>
              <a:xfrm>
                <a:off x="9232922" y="4846909"/>
                <a:ext cx="2285978" cy="6922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nSpc>
                    <a:spcPct val="120000"/>
                  </a:lnSpc>
                </a:pPr>
                <a:r>
                  <a:rPr kumimoji="1" lang="en-US" altLang="zh-CN" sz="1200">
                    <a:solidFill>
                      <a:schemeClr val="tx1"/>
                    </a:solidFill>
                    <a:latin typeface="Calibri" pitchFamily="34" charset="0"/>
                    <a:ea typeface="宋体" pitchFamily="2" charset="-122"/>
                  </a:rPr>
                  <a:t>Magna nonummy ipsum amet in vero amet amet eirmod duo.</a:t>
                </a:r>
                <a:endParaRPr kumimoji="1" lang="en-US" altLang="zh-CN" sz="1200" dirty="0">
                  <a:solidFill>
                    <a:schemeClr val="tx1"/>
                  </a:solidFill>
                  <a:latin typeface="Calibri" pitchFamily="34" charset="0"/>
                  <a:ea typeface="宋体" pitchFamily="2" charset="-122"/>
                </a:endParaRPr>
              </a:p>
            </p:txBody>
          </p:sp>
          <p:sp>
            <p:nvSpPr>
              <p:cNvPr id="47" name="文本框 46"/>
              <p:cNvSpPr txBox="1">
                <a:spLocks noChangeAspect="1"/>
              </p:cNvSpPr>
              <p:nvPr/>
            </p:nvSpPr>
            <p:spPr>
              <a:xfrm>
                <a:off x="8649593" y="4621347"/>
                <a:ext cx="540000" cy="540000"/>
              </a:xfrm>
              <a:prstGeom prst="roundRect">
                <a:avLst>
                  <a:gd name="adj" fmla="val 50000"/>
                </a:avLst>
              </a:prstGeom>
              <a:solidFill>
                <a:schemeClr val="accent1"/>
              </a:solidFill>
              <a:ln w="12700" cap="flat">
                <a:noFill/>
                <a:prstDash val="solid"/>
                <a:miter/>
              </a:ln>
              <a:effectLst>
                <a:outerShdw blurRad="127000" dist="63500" dir="2700000" algn="tl" rotWithShape="0">
                  <a:schemeClr val="accent1">
                    <a:alpha val="40000"/>
                  </a:schemeClr>
                </a:outerShdw>
              </a:effectLst>
            </p:spPr>
            <p:txBody>
              <a:bodyPr wrap="square" rtlCol="0" anchor="ctr">
                <a:normAutofit/>
              </a:bodyPr>
              <a:lstStyle>
                <a:defPPr>
                  <a:defRPr lang="zh-CN"/>
                </a:defPPr>
                <a:lvl1pPr>
                  <a:defRPr/>
                </a:lvl1pPr>
              </a:lstStyle>
              <a:p>
                <a:pPr algn="ctr">
                  <a:lnSpc>
                    <a:spcPct val="120000"/>
                  </a:lnSpc>
                </a:pPr>
                <a:r>
                  <a:rPr lang="en-US" altLang="zh-CN" sz="1200" b="1">
                    <a:solidFill>
                      <a:srgbClr val="FFFFFF"/>
                    </a:solidFill>
                    <a:latin typeface="Calibri" pitchFamily="34" charset="0"/>
                    <a:ea typeface="宋体" pitchFamily="2" charset="-122"/>
                  </a:rPr>
                  <a:t>04</a:t>
                </a:r>
                <a:endParaRPr lang="zh-CN" altLang="en-US" sz="1200" b="1" dirty="0">
                  <a:solidFill>
                    <a:srgbClr val="FFFFFF"/>
                  </a:solidFill>
                  <a:latin typeface="Calibri" pitchFamily="34" charset="0"/>
                  <a:ea typeface="宋体" pitchFamily="2" charset="-122"/>
                </a:endParaRPr>
              </a:p>
            </p:txBody>
          </p:sp>
        </p:grpSp>
      </p:grpSp>
    </p:spTree>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6" name="组合 35"/>
          <p:cNvGrpSpPr/>
          <p:nvPr/>
        </p:nvGrpSpPr>
        <p:grpSpPr>
          <a:xfrm>
            <a:off x="666751" y="1181100"/>
            <a:ext cx="10858500" cy="4495800"/>
            <a:chOff x="666750" y="1130300"/>
            <a:chExt cx="10858500" cy="4495800"/>
          </a:xfrm>
        </p:grpSpPr>
        <p:sp>
          <p:nvSpPr>
            <p:cNvPr id="9" name="矩形 8"/>
            <p:cNvSpPr/>
            <p:nvPr/>
          </p:nvSpPr>
          <p:spPr>
            <a:xfrm>
              <a:off x="2055175" y="1130300"/>
              <a:ext cx="8094351" cy="5769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normAutofit/>
            </a:bodyPr>
            <a:lstStyle/>
            <a:p>
              <a:pPr algn="ctr">
                <a:buSzPct val="25000"/>
              </a:pPr>
              <a:r>
                <a:rPr lang="en-US" altLang="zh-CN" sz="2400" b="1" dirty="0">
                  <a:solidFill>
                    <a:schemeClr val="tx1"/>
                  </a:solidFill>
                  <a:latin typeface="Calibri" pitchFamily="34" charset="0"/>
                  <a:ea typeface="宋体" pitchFamily="2" charset="-122"/>
                </a:rPr>
                <a:t>Unified fonts make reading more fluent.</a:t>
              </a:r>
              <a:endParaRPr lang="en-US" altLang="zh-CN" sz="2400" b="1" dirty="0">
                <a:solidFill>
                  <a:schemeClr val="tx1"/>
                </a:solidFill>
                <a:latin typeface="Calibri" pitchFamily="34" charset="0"/>
                <a:ea typeface="宋体" pitchFamily="2" charset="-122"/>
              </a:endParaRPr>
            </a:p>
          </p:txBody>
        </p:sp>
        <p:grpSp>
          <p:nvGrpSpPr>
            <p:cNvPr id="33" name="组合 32"/>
            <p:cNvGrpSpPr/>
            <p:nvPr/>
          </p:nvGrpSpPr>
          <p:grpSpPr>
            <a:xfrm>
              <a:off x="666750" y="2730296"/>
              <a:ext cx="2909541" cy="2895804"/>
              <a:chOff x="666750" y="2730296"/>
              <a:chExt cx="2909541" cy="2895804"/>
            </a:xfrm>
          </p:grpSpPr>
          <p:sp>
            <p:nvSpPr>
              <p:cNvPr id="3" name="箭头: V 形 2"/>
              <p:cNvSpPr/>
              <p:nvPr/>
            </p:nvSpPr>
            <p:spPr>
              <a:xfrm>
                <a:off x="666750" y="2730296"/>
                <a:ext cx="2909539" cy="635000"/>
              </a:xfrm>
              <a:prstGeom prst="chevron">
                <a:avLst/>
              </a:prstGeom>
              <a:gradFill>
                <a:gsLst>
                  <a:gs pos="0">
                    <a:schemeClr val="accent1">
                      <a:lumMod val="60000"/>
                      <a:lumOff val="40000"/>
                    </a:schemeClr>
                  </a:gs>
                  <a:gs pos="50000">
                    <a:schemeClr val="accent1"/>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chorCtr="0">
                <a:noAutofit/>
              </a:bodyPr>
              <a:lstStyle/>
              <a:p>
                <a:pPr algn="ctr"/>
                <a:r>
                  <a:rPr kumimoji="1" lang="en-US" altLang="zh-CN" b="1" dirty="0">
                    <a:solidFill>
                      <a:srgbClr val="FFFFFF"/>
                    </a:solidFill>
                    <a:latin typeface="Calibri" pitchFamily="34" charset="0"/>
                    <a:ea typeface="宋体" pitchFamily="2" charset="-122"/>
                  </a:rPr>
                  <a:t>20XX/X/X</a:t>
                </a:r>
                <a:endParaRPr kumimoji="1" lang="en-US" altLang="zh-CN" b="1" dirty="0">
                  <a:solidFill>
                    <a:srgbClr val="FFFFFF"/>
                  </a:solidFill>
                  <a:latin typeface="Calibri" pitchFamily="34" charset="0"/>
                  <a:ea typeface="宋体" pitchFamily="2" charset="-122"/>
                </a:endParaRPr>
              </a:p>
            </p:txBody>
          </p:sp>
          <p:sp>
            <p:nvSpPr>
              <p:cNvPr id="4" name="矩形 3"/>
              <p:cNvSpPr/>
              <p:nvPr/>
            </p:nvSpPr>
            <p:spPr>
              <a:xfrm>
                <a:off x="1507238" y="3974776"/>
                <a:ext cx="2069052"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r>
                  <a:rPr kumimoji="1" lang="en-US" altLang="zh-CN" b="1" dirty="0">
                    <a:solidFill>
                      <a:schemeClr val="tx1"/>
                    </a:solidFill>
                    <a:latin typeface="Calibri" pitchFamily="34" charset="0"/>
                    <a:ea typeface="宋体" pitchFamily="2" charset="-122"/>
                  </a:rPr>
                  <a:t>Click to add text</a:t>
                </a:r>
                <a:endParaRPr kumimoji="1" lang="en-US" altLang="zh-CN" b="1" dirty="0">
                  <a:solidFill>
                    <a:schemeClr val="tx1"/>
                  </a:solidFill>
                  <a:latin typeface="Calibri" pitchFamily="34" charset="0"/>
                  <a:ea typeface="宋体" pitchFamily="2" charset="-122"/>
                </a:endParaRPr>
              </a:p>
            </p:txBody>
          </p:sp>
          <p:sp>
            <p:nvSpPr>
              <p:cNvPr id="5" name="矩形 4"/>
              <p:cNvSpPr/>
              <p:nvPr/>
            </p:nvSpPr>
            <p:spPr>
              <a:xfrm>
                <a:off x="1507239" y="4354562"/>
                <a:ext cx="2069052" cy="1271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nSpc>
                    <a:spcPct val="120000"/>
                  </a:lnSpc>
                </a:pPr>
                <a:r>
                  <a:rPr kumimoji="1" lang="en-US" altLang="zh-CN" sz="1200">
                    <a:solidFill>
                      <a:schemeClr val="tx1"/>
                    </a:solidFill>
                    <a:latin typeface="Calibri" pitchFamily="34" charset="0"/>
                    <a:ea typeface="宋体" pitchFamily="2" charset="-122"/>
                  </a:rPr>
                  <a:t>Liber justo dolor nisl sit kasd eirmod nostrud ut.</a:t>
                </a:r>
                <a:endParaRPr kumimoji="1" lang="en-US" altLang="zh-CN" sz="1200" dirty="0">
                  <a:solidFill>
                    <a:schemeClr val="tx1"/>
                  </a:solidFill>
                  <a:latin typeface="Calibri" pitchFamily="34" charset="0"/>
                  <a:ea typeface="宋体" pitchFamily="2" charset="-122"/>
                </a:endParaRPr>
              </a:p>
            </p:txBody>
          </p:sp>
          <p:sp>
            <p:nvSpPr>
              <p:cNvPr id="6" name="文本框 5"/>
              <p:cNvSpPr txBox="1">
                <a:spLocks noChangeAspect="1"/>
              </p:cNvSpPr>
              <p:nvPr/>
            </p:nvSpPr>
            <p:spPr>
              <a:xfrm>
                <a:off x="895205" y="3914602"/>
                <a:ext cx="540000" cy="540000"/>
              </a:xfrm>
              <a:prstGeom prst="roundRect">
                <a:avLst>
                  <a:gd name="adj" fmla="val 50000"/>
                </a:avLst>
              </a:prstGeom>
              <a:gradFill>
                <a:gsLst>
                  <a:gs pos="0">
                    <a:schemeClr val="accent1">
                      <a:lumMod val="60000"/>
                      <a:lumOff val="40000"/>
                    </a:schemeClr>
                  </a:gs>
                  <a:gs pos="50000">
                    <a:schemeClr val="accent1"/>
                  </a:gs>
                </a:gsLst>
                <a:lin ang="2700000" scaled="0"/>
              </a:gradFill>
            </p:spPr>
            <p:txBody>
              <a:bodyPr wrap="square" lIns="108000" tIns="108000" rIns="108000" bIns="108000" rtlCol="0" anchor="ctr" anchorCtr="0">
                <a:normAutofit fontScale="85000" lnSpcReduction="10000"/>
              </a:bodyPr>
              <a:lstStyle/>
              <a:p>
                <a:pPr algn="ctr">
                  <a:lnSpc>
                    <a:spcPct val="120000"/>
                  </a:lnSpc>
                </a:pPr>
                <a:endParaRPr kumimoji="1" lang="zh-CN" altLang="en-US" sz="1200" dirty="0">
                  <a:noFill/>
                </a:endParaRPr>
              </a:p>
            </p:txBody>
          </p:sp>
          <p:sp>
            <p:nvSpPr>
              <p:cNvPr id="7" name="任意多边形: 形状 6"/>
              <p:cNvSpPr/>
              <p:nvPr/>
            </p:nvSpPr>
            <p:spPr>
              <a:xfrm>
                <a:off x="1052091" y="4046899"/>
                <a:ext cx="226228" cy="275406"/>
              </a:xfrm>
              <a:custGeom>
                <a:avLst/>
                <a:gdLst>
                  <a:gd name="connsiteX0" fmla="*/ 284197 w 438150"/>
                  <a:gd name="connsiteY0" fmla="*/ 621 h 533400"/>
                  <a:gd name="connsiteX1" fmla="*/ 286102 w 438150"/>
                  <a:gd name="connsiteY1" fmla="*/ 621 h 533400"/>
                  <a:gd name="connsiteX2" fmla="*/ 286102 w 438150"/>
                  <a:gd name="connsiteY2" fmla="*/ 124446 h 533400"/>
                  <a:gd name="connsiteX3" fmla="*/ 286102 w 438150"/>
                  <a:gd name="connsiteY3" fmla="*/ 126351 h 533400"/>
                  <a:gd name="connsiteX4" fmla="*/ 314677 w 438150"/>
                  <a:gd name="connsiteY4" fmla="*/ 153021 h 533400"/>
                  <a:gd name="connsiteX5" fmla="*/ 314677 w 438150"/>
                  <a:gd name="connsiteY5" fmla="*/ 153021 h 533400"/>
                  <a:gd name="connsiteX6" fmla="*/ 438502 w 438150"/>
                  <a:gd name="connsiteY6" fmla="*/ 153021 h 533400"/>
                  <a:gd name="connsiteX7" fmla="*/ 438502 w 438150"/>
                  <a:gd name="connsiteY7" fmla="*/ 154926 h 533400"/>
                  <a:gd name="connsiteX8" fmla="*/ 438502 w 438150"/>
                  <a:gd name="connsiteY8" fmla="*/ 505446 h 533400"/>
                  <a:gd name="connsiteX9" fmla="*/ 409927 w 438150"/>
                  <a:gd name="connsiteY9" fmla="*/ 534021 h 533400"/>
                  <a:gd name="connsiteX10" fmla="*/ 28927 w 438150"/>
                  <a:gd name="connsiteY10" fmla="*/ 534021 h 533400"/>
                  <a:gd name="connsiteX11" fmla="*/ 352 w 438150"/>
                  <a:gd name="connsiteY11" fmla="*/ 505446 h 533400"/>
                  <a:gd name="connsiteX12" fmla="*/ 352 w 438150"/>
                  <a:gd name="connsiteY12" fmla="*/ 29196 h 533400"/>
                  <a:gd name="connsiteX13" fmla="*/ 28927 w 438150"/>
                  <a:gd name="connsiteY13" fmla="*/ 621 h 533400"/>
                  <a:gd name="connsiteX14" fmla="*/ 284197 w 438150"/>
                  <a:gd name="connsiteY14" fmla="*/ 621 h 533400"/>
                  <a:gd name="connsiteX15" fmla="*/ 248002 w 438150"/>
                  <a:gd name="connsiteY15" fmla="*/ 200646 h 533400"/>
                  <a:gd name="connsiteX16" fmla="*/ 152752 w 438150"/>
                  <a:gd name="connsiteY16" fmla="*/ 200646 h 533400"/>
                  <a:gd name="connsiteX17" fmla="*/ 152752 w 438150"/>
                  <a:gd name="connsiteY17" fmla="*/ 410196 h 533400"/>
                  <a:gd name="connsiteX18" fmla="*/ 171802 w 438150"/>
                  <a:gd name="connsiteY18" fmla="*/ 410196 h 533400"/>
                  <a:gd name="connsiteX19" fmla="*/ 171802 w 438150"/>
                  <a:gd name="connsiteY19" fmla="*/ 314946 h 533400"/>
                  <a:gd name="connsiteX20" fmla="*/ 248002 w 438150"/>
                  <a:gd name="connsiteY20" fmla="*/ 314946 h 533400"/>
                  <a:gd name="connsiteX21" fmla="*/ 249907 w 438150"/>
                  <a:gd name="connsiteY21" fmla="*/ 314946 h 533400"/>
                  <a:gd name="connsiteX22" fmla="*/ 305152 w 438150"/>
                  <a:gd name="connsiteY22" fmla="*/ 257796 h 533400"/>
                  <a:gd name="connsiteX23" fmla="*/ 248002 w 438150"/>
                  <a:gd name="connsiteY23" fmla="*/ 200646 h 533400"/>
                  <a:gd name="connsiteX24" fmla="*/ 248002 w 438150"/>
                  <a:gd name="connsiteY24" fmla="*/ 200646 h 533400"/>
                  <a:gd name="connsiteX25" fmla="*/ 248002 w 438150"/>
                  <a:gd name="connsiteY25" fmla="*/ 219696 h 533400"/>
                  <a:gd name="connsiteX26" fmla="*/ 286102 w 438150"/>
                  <a:gd name="connsiteY26" fmla="*/ 257796 h 533400"/>
                  <a:gd name="connsiteX27" fmla="*/ 248002 w 438150"/>
                  <a:gd name="connsiteY27" fmla="*/ 295896 h 533400"/>
                  <a:gd name="connsiteX28" fmla="*/ 248002 w 438150"/>
                  <a:gd name="connsiteY28" fmla="*/ 295896 h 533400"/>
                  <a:gd name="connsiteX29" fmla="*/ 171802 w 438150"/>
                  <a:gd name="connsiteY29" fmla="*/ 295896 h 533400"/>
                  <a:gd name="connsiteX30" fmla="*/ 171802 w 438150"/>
                  <a:gd name="connsiteY30" fmla="*/ 219696 h 533400"/>
                  <a:gd name="connsiteX31" fmla="*/ 248002 w 438150"/>
                  <a:gd name="connsiteY31" fmla="*/ 219696 h 533400"/>
                  <a:gd name="connsiteX32" fmla="*/ 428977 w 438150"/>
                  <a:gd name="connsiteY32" fmla="*/ 133971 h 533400"/>
                  <a:gd name="connsiteX33" fmla="*/ 314677 w 438150"/>
                  <a:gd name="connsiteY33" fmla="*/ 133971 h 533400"/>
                  <a:gd name="connsiteX34" fmla="*/ 313724 w 438150"/>
                  <a:gd name="connsiteY34" fmla="*/ 133971 h 533400"/>
                  <a:gd name="connsiteX35" fmla="*/ 305152 w 438150"/>
                  <a:gd name="connsiteY35" fmla="*/ 124446 h 533400"/>
                  <a:gd name="connsiteX36" fmla="*/ 305152 w 438150"/>
                  <a:gd name="connsiteY36" fmla="*/ 124446 h 533400"/>
                  <a:gd name="connsiteX37" fmla="*/ 305152 w 438150"/>
                  <a:gd name="connsiteY37" fmla="*/ 10146 h 533400"/>
                  <a:gd name="connsiteX38" fmla="*/ 428977 w 438150"/>
                  <a:gd name="connsiteY38" fmla="*/ 133971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38150" h="533400">
                    <a:moveTo>
                      <a:pt x="284197" y="621"/>
                    </a:moveTo>
                    <a:cubicBezTo>
                      <a:pt x="285149" y="621"/>
                      <a:pt x="286102" y="621"/>
                      <a:pt x="286102" y="621"/>
                    </a:cubicBezTo>
                    <a:lnTo>
                      <a:pt x="286102" y="124446"/>
                    </a:lnTo>
                    <a:lnTo>
                      <a:pt x="286102" y="126351"/>
                    </a:lnTo>
                    <a:cubicBezTo>
                      <a:pt x="287055" y="141591"/>
                      <a:pt x="299437" y="153021"/>
                      <a:pt x="314677" y="153021"/>
                    </a:cubicBezTo>
                    <a:lnTo>
                      <a:pt x="314677" y="153021"/>
                    </a:lnTo>
                    <a:lnTo>
                      <a:pt x="438502" y="153021"/>
                    </a:lnTo>
                    <a:cubicBezTo>
                      <a:pt x="438502" y="153974"/>
                      <a:pt x="438502" y="154926"/>
                      <a:pt x="438502" y="154926"/>
                    </a:cubicBezTo>
                    <a:lnTo>
                      <a:pt x="438502" y="505446"/>
                    </a:lnTo>
                    <a:cubicBezTo>
                      <a:pt x="438502" y="521639"/>
                      <a:pt x="426120" y="534021"/>
                      <a:pt x="409927" y="534021"/>
                    </a:cubicBezTo>
                    <a:lnTo>
                      <a:pt x="28927" y="534021"/>
                    </a:lnTo>
                    <a:cubicBezTo>
                      <a:pt x="12734" y="534021"/>
                      <a:pt x="352" y="521639"/>
                      <a:pt x="352" y="505446"/>
                    </a:cubicBezTo>
                    <a:lnTo>
                      <a:pt x="352" y="29196"/>
                    </a:lnTo>
                    <a:cubicBezTo>
                      <a:pt x="352" y="13004"/>
                      <a:pt x="12734" y="621"/>
                      <a:pt x="28927" y="621"/>
                    </a:cubicBezTo>
                    <a:lnTo>
                      <a:pt x="284197" y="621"/>
                    </a:lnTo>
                    <a:close/>
                    <a:moveTo>
                      <a:pt x="248002" y="200646"/>
                    </a:moveTo>
                    <a:lnTo>
                      <a:pt x="152752" y="200646"/>
                    </a:lnTo>
                    <a:lnTo>
                      <a:pt x="152752" y="410196"/>
                    </a:lnTo>
                    <a:lnTo>
                      <a:pt x="171802" y="410196"/>
                    </a:lnTo>
                    <a:lnTo>
                      <a:pt x="171802" y="314946"/>
                    </a:lnTo>
                    <a:lnTo>
                      <a:pt x="248002" y="314946"/>
                    </a:lnTo>
                    <a:lnTo>
                      <a:pt x="249907" y="314946"/>
                    </a:lnTo>
                    <a:cubicBezTo>
                      <a:pt x="280387" y="313994"/>
                      <a:pt x="305152" y="288276"/>
                      <a:pt x="305152" y="257796"/>
                    </a:cubicBezTo>
                    <a:cubicBezTo>
                      <a:pt x="305152" y="226364"/>
                      <a:pt x="279434" y="200646"/>
                      <a:pt x="248002" y="200646"/>
                    </a:cubicBezTo>
                    <a:lnTo>
                      <a:pt x="248002" y="200646"/>
                    </a:lnTo>
                    <a:close/>
                    <a:moveTo>
                      <a:pt x="248002" y="219696"/>
                    </a:moveTo>
                    <a:cubicBezTo>
                      <a:pt x="268957" y="219696"/>
                      <a:pt x="286102" y="236841"/>
                      <a:pt x="286102" y="257796"/>
                    </a:cubicBezTo>
                    <a:cubicBezTo>
                      <a:pt x="286102" y="278751"/>
                      <a:pt x="268957" y="295896"/>
                      <a:pt x="248002" y="295896"/>
                    </a:cubicBezTo>
                    <a:lnTo>
                      <a:pt x="248002" y="295896"/>
                    </a:lnTo>
                    <a:lnTo>
                      <a:pt x="171802" y="295896"/>
                    </a:lnTo>
                    <a:lnTo>
                      <a:pt x="171802" y="219696"/>
                    </a:lnTo>
                    <a:lnTo>
                      <a:pt x="248002" y="219696"/>
                    </a:lnTo>
                    <a:close/>
                    <a:moveTo>
                      <a:pt x="428977" y="133971"/>
                    </a:moveTo>
                    <a:lnTo>
                      <a:pt x="314677" y="133971"/>
                    </a:lnTo>
                    <a:lnTo>
                      <a:pt x="313724" y="133971"/>
                    </a:lnTo>
                    <a:cubicBezTo>
                      <a:pt x="308962" y="133019"/>
                      <a:pt x="305152" y="129209"/>
                      <a:pt x="305152" y="124446"/>
                    </a:cubicBezTo>
                    <a:lnTo>
                      <a:pt x="305152" y="124446"/>
                    </a:lnTo>
                    <a:lnTo>
                      <a:pt x="305152" y="10146"/>
                    </a:lnTo>
                    <a:lnTo>
                      <a:pt x="428977" y="133971"/>
                    </a:lnTo>
                    <a:close/>
                  </a:path>
                </a:pathLst>
              </a:custGeom>
              <a:solidFill>
                <a:srgbClr val="FFFFFF"/>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cxnSp>
            <p:nvCxnSpPr>
              <p:cNvPr id="8" name="直接连接符 7"/>
              <p:cNvCxnSpPr/>
              <p:nvPr/>
            </p:nvCxnSpPr>
            <p:spPr>
              <a:xfrm>
                <a:off x="1165205" y="3364629"/>
                <a:ext cx="0" cy="549973"/>
              </a:xfrm>
              <a:prstGeom prst="line">
                <a:avLst/>
              </a:prstGeom>
              <a:ln w="12700">
                <a:solidFill>
                  <a:schemeClr val="tx1">
                    <a:lumMod val="50000"/>
                    <a:lumOff val="50000"/>
                    <a:alpha val="50000"/>
                  </a:schemeClr>
                </a:solidFill>
                <a:tailEnd type="none"/>
              </a:ln>
            </p:spPr>
            <p:style>
              <a:lnRef idx="1">
                <a:schemeClr val="accent1"/>
              </a:lnRef>
              <a:fillRef idx="0">
                <a:schemeClr val="accent1"/>
              </a:fillRef>
              <a:effectRef idx="0">
                <a:schemeClr val="accent1"/>
              </a:effectRef>
              <a:fontRef idx="minor">
                <a:schemeClr val="tx1"/>
              </a:fontRef>
            </p:style>
          </p:cxnSp>
        </p:grpSp>
        <p:grpSp>
          <p:nvGrpSpPr>
            <p:cNvPr id="34" name="组合 33"/>
            <p:cNvGrpSpPr/>
            <p:nvPr/>
          </p:nvGrpSpPr>
          <p:grpSpPr>
            <a:xfrm>
              <a:off x="4641230" y="2730296"/>
              <a:ext cx="2909541" cy="2895804"/>
              <a:chOff x="4641230" y="2730296"/>
              <a:chExt cx="2909541" cy="2895804"/>
            </a:xfrm>
          </p:grpSpPr>
          <p:sp>
            <p:nvSpPr>
              <p:cNvPr id="11" name="箭头: V 形 10"/>
              <p:cNvSpPr/>
              <p:nvPr/>
            </p:nvSpPr>
            <p:spPr>
              <a:xfrm>
                <a:off x="4641230" y="2730296"/>
                <a:ext cx="2909539" cy="635000"/>
              </a:xfrm>
              <a:prstGeom prst="chevron">
                <a:avLst/>
              </a:prstGeom>
              <a:gradFill>
                <a:gsLst>
                  <a:gs pos="0">
                    <a:schemeClr val="accent2">
                      <a:lumMod val="60000"/>
                      <a:lumOff val="40000"/>
                    </a:schemeClr>
                  </a:gs>
                  <a:gs pos="60000">
                    <a:schemeClr val="accent2"/>
                  </a:gs>
                </a:gsLst>
                <a:lin ang="2700000" scaled="0"/>
              </a:gradFill>
              <a:ln w="57150" cap="rnd">
                <a:noFill/>
                <a:prstDash val="solid"/>
                <a:round/>
              </a:ln>
              <a:effectLst>
                <a:outerShdw blurRad="76200" dist="50800" dir="5400000" algn="ctr" rotWithShape="0">
                  <a:schemeClr val="accent2">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normAutofit/>
              </a:bodyPr>
              <a:lstStyle/>
              <a:p>
                <a:pPr algn="ctr"/>
                <a:r>
                  <a:rPr lang="en-US" altLang="zh-CN" b="1" dirty="0">
                    <a:solidFill>
                      <a:srgbClr val="FFFFFF"/>
                    </a:solidFill>
                    <a:latin typeface="Calibri" pitchFamily="34" charset="0"/>
                    <a:ea typeface="宋体" pitchFamily="2" charset="-122"/>
                  </a:rPr>
                  <a:t>20XX/X/X</a:t>
                </a:r>
                <a:endParaRPr lang="en-US" altLang="zh-CN" b="1" dirty="0">
                  <a:solidFill>
                    <a:srgbClr val="FFFFFF"/>
                  </a:solidFill>
                  <a:latin typeface="Calibri" pitchFamily="34" charset="0"/>
                  <a:ea typeface="宋体" pitchFamily="2" charset="-122"/>
                </a:endParaRPr>
              </a:p>
            </p:txBody>
          </p:sp>
          <p:sp>
            <p:nvSpPr>
              <p:cNvPr id="12" name="矩形 11"/>
              <p:cNvSpPr/>
              <p:nvPr/>
            </p:nvSpPr>
            <p:spPr>
              <a:xfrm>
                <a:off x="5481718" y="3974776"/>
                <a:ext cx="2069052"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r>
                  <a:rPr kumimoji="1" lang="en-US" altLang="zh-CN" b="1">
                    <a:solidFill>
                      <a:schemeClr val="tx1"/>
                    </a:solidFill>
                    <a:latin typeface="Calibri" pitchFamily="34" charset="0"/>
                    <a:ea typeface="宋体" pitchFamily="2" charset="-122"/>
                  </a:rPr>
                  <a:t>Click to add text</a:t>
                </a:r>
                <a:endParaRPr kumimoji="1" lang="en-US" altLang="zh-CN" b="1" dirty="0">
                  <a:solidFill>
                    <a:schemeClr val="tx1"/>
                  </a:solidFill>
                  <a:latin typeface="Calibri" pitchFamily="34" charset="0"/>
                  <a:ea typeface="宋体" pitchFamily="2" charset="-122"/>
                </a:endParaRPr>
              </a:p>
            </p:txBody>
          </p:sp>
          <p:sp>
            <p:nvSpPr>
              <p:cNvPr id="13" name="矩形 12"/>
              <p:cNvSpPr/>
              <p:nvPr/>
            </p:nvSpPr>
            <p:spPr>
              <a:xfrm>
                <a:off x="5481719" y="4354562"/>
                <a:ext cx="2069052" cy="1271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nSpc>
                    <a:spcPct val="120000"/>
                  </a:lnSpc>
                </a:pPr>
                <a:r>
                  <a:rPr kumimoji="1" lang="en-US" altLang="zh-CN" sz="1200">
                    <a:solidFill>
                      <a:schemeClr val="tx1"/>
                    </a:solidFill>
                    <a:latin typeface="Calibri" pitchFamily="34" charset="0"/>
                    <a:ea typeface="宋体" pitchFamily="2" charset="-122"/>
                  </a:rPr>
                  <a:t>Ipsum in dolore volutpat eu sanctus diam lorem gubergren.</a:t>
                </a:r>
                <a:endParaRPr kumimoji="1" lang="en-US" altLang="zh-CN" sz="1200" dirty="0">
                  <a:solidFill>
                    <a:schemeClr val="tx1"/>
                  </a:solidFill>
                  <a:latin typeface="Calibri" pitchFamily="34" charset="0"/>
                  <a:ea typeface="宋体" pitchFamily="2" charset="-122"/>
                </a:endParaRPr>
              </a:p>
            </p:txBody>
          </p:sp>
          <p:sp>
            <p:nvSpPr>
              <p:cNvPr id="14" name="文本框 13"/>
              <p:cNvSpPr txBox="1">
                <a:spLocks noChangeAspect="1"/>
              </p:cNvSpPr>
              <p:nvPr/>
            </p:nvSpPr>
            <p:spPr>
              <a:xfrm>
                <a:off x="4869685" y="3914602"/>
                <a:ext cx="540000" cy="540000"/>
              </a:xfrm>
              <a:prstGeom prst="roundRect">
                <a:avLst>
                  <a:gd name="adj" fmla="val 50000"/>
                </a:avLst>
              </a:prstGeom>
              <a:gradFill>
                <a:gsLst>
                  <a:gs pos="0">
                    <a:schemeClr val="accent2">
                      <a:lumMod val="60000"/>
                      <a:lumOff val="40000"/>
                    </a:schemeClr>
                  </a:gs>
                  <a:gs pos="60000">
                    <a:schemeClr val="accent2"/>
                  </a:gs>
                </a:gsLst>
                <a:lin ang="2700000" scaled="0"/>
              </a:gradFill>
              <a:ln w="57150" cap="rnd">
                <a:noFill/>
                <a:prstDash val="solid"/>
                <a:round/>
              </a:ln>
              <a:effectLst>
                <a:outerShdw blurRad="76200" dist="50800" dir="5400000" algn="ctr" rotWithShape="0">
                  <a:schemeClr val="accent6">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normAutofit/>
              </a:bodyPr>
              <a:lstStyle>
                <a:defPPr>
                  <a:defRPr lang="zh-CN"/>
                </a:defPPr>
                <a:lvl1pPr algn="ctr">
                  <a:defRPr sz="1600" b="1">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zh-CN" altLang="en-US" dirty="0"/>
              </a:p>
            </p:txBody>
          </p:sp>
          <p:sp>
            <p:nvSpPr>
              <p:cNvPr id="15" name="任意多边形: 形状 14"/>
              <p:cNvSpPr/>
              <p:nvPr/>
            </p:nvSpPr>
            <p:spPr>
              <a:xfrm>
                <a:off x="5026571" y="4046899"/>
                <a:ext cx="226228" cy="275406"/>
              </a:xfrm>
              <a:custGeom>
                <a:avLst/>
                <a:gdLst>
                  <a:gd name="connsiteX0" fmla="*/ 284197 w 438150"/>
                  <a:gd name="connsiteY0" fmla="*/ 621 h 533400"/>
                  <a:gd name="connsiteX1" fmla="*/ 286102 w 438150"/>
                  <a:gd name="connsiteY1" fmla="*/ 621 h 533400"/>
                  <a:gd name="connsiteX2" fmla="*/ 286102 w 438150"/>
                  <a:gd name="connsiteY2" fmla="*/ 124446 h 533400"/>
                  <a:gd name="connsiteX3" fmla="*/ 286102 w 438150"/>
                  <a:gd name="connsiteY3" fmla="*/ 126351 h 533400"/>
                  <a:gd name="connsiteX4" fmla="*/ 314677 w 438150"/>
                  <a:gd name="connsiteY4" fmla="*/ 153021 h 533400"/>
                  <a:gd name="connsiteX5" fmla="*/ 314677 w 438150"/>
                  <a:gd name="connsiteY5" fmla="*/ 153021 h 533400"/>
                  <a:gd name="connsiteX6" fmla="*/ 438502 w 438150"/>
                  <a:gd name="connsiteY6" fmla="*/ 153021 h 533400"/>
                  <a:gd name="connsiteX7" fmla="*/ 438502 w 438150"/>
                  <a:gd name="connsiteY7" fmla="*/ 154926 h 533400"/>
                  <a:gd name="connsiteX8" fmla="*/ 438502 w 438150"/>
                  <a:gd name="connsiteY8" fmla="*/ 505446 h 533400"/>
                  <a:gd name="connsiteX9" fmla="*/ 409927 w 438150"/>
                  <a:gd name="connsiteY9" fmla="*/ 534021 h 533400"/>
                  <a:gd name="connsiteX10" fmla="*/ 28927 w 438150"/>
                  <a:gd name="connsiteY10" fmla="*/ 534021 h 533400"/>
                  <a:gd name="connsiteX11" fmla="*/ 352 w 438150"/>
                  <a:gd name="connsiteY11" fmla="*/ 505446 h 533400"/>
                  <a:gd name="connsiteX12" fmla="*/ 352 w 438150"/>
                  <a:gd name="connsiteY12" fmla="*/ 29196 h 533400"/>
                  <a:gd name="connsiteX13" fmla="*/ 28927 w 438150"/>
                  <a:gd name="connsiteY13" fmla="*/ 621 h 533400"/>
                  <a:gd name="connsiteX14" fmla="*/ 284197 w 438150"/>
                  <a:gd name="connsiteY14" fmla="*/ 621 h 533400"/>
                  <a:gd name="connsiteX15" fmla="*/ 248002 w 438150"/>
                  <a:gd name="connsiteY15" fmla="*/ 200646 h 533400"/>
                  <a:gd name="connsiteX16" fmla="*/ 152752 w 438150"/>
                  <a:gd name="connsiteY16" fmla="*/ 200646 h 533400"/>
                  <a:gd name="connsiteX17" fmla="*/ 152752 w 438150"/>
                  <a:gd name="connsiteY17" fmla="*/ 410196 h 533400"/>
                  <a:gd name="connsiteX18" fmla="*/ 171802 w 438150"/>
                  <a:gd name="connsiteY18" fmla="*/ 410196 h 533400"/>
                  <a:gd name="connsiteX19" fmla="*/ 171802 w 438150"/>
                  <a:gd name="connsiteY19" fmla="*/ 314946 h 533400"/>
                  <a:gd name="connsiteX20" fmla="*/ 248002 w 438150"/>
                  <a:gd name="connsiteY20" fmla="*/ 314946 h 533400"/>
                  <a:gd name="connsiteX21" fmla="*/ 249907 w 438150"/>
                  <a:gd name="connsiteY21" fmla="*/ 314946 h 533400"/>
                  <a:gd name="connsiteX22" fmla="*/ 305152 w 438150"/>
                  <a:gd name="connsiteY22" fmla="*/ 257796 h 533400"/>
                  <a:gd name="connsiteX23" fmla="*/ 248002 w 438150"/>
                  <a:gd name="connsiteY23" fmla="*/ 200646 h 533400"/>
                  <a:gd name="connsiteX24" fmla="*/ 248002 w 438150"/>
                  <a:gd name="connsiteY24" fmla="*/ 200646 h 533400"/>
                  <a:gd name="connsiteX25" fmla="*/ 248002 w 438150"/>
                  <a:gd name="connsiteY25" fmla="*/ 219696 h 533400"/>
                  <a:gd name="connsiteX26" fmla="*/ 286102 w 438150"/>
                  <a:gd name="connsiteY26" fmla="*/ 257796 h 533400"/>
                  <a:gd name="connsiteX27" fmla="*/ 248002 w 438150"/>
                  <a:gd name="connsiteY27" fmla="*/ 295896 h 533400"/>
                  <a:gd name="connsiteX28" fmla="*/ 248002 w 438150"/>
                  <a:gd name="connsiteY28" fmla="*/ 295896 h 533400"/>
                  <a:gd name="connsiteX29" fmla="*/ 171802 w 438150"/>
                  <a:gd name="connsiteY29" fmla="*/ 295896 h 533400"/>
                  <a:gd name="connsiteX30" fmla="*/ 171802 w 438150"/>
                  <a:gd name="connsiteY30" fmla="*/ 219696 h 533400"/>
                  <a:gd name="connsiteX31" fmla="*/ 248002 w 438150"/>
                  <a:gd name="connsiteY31" fmla="*/ 219696 h 533400"/>
                  <a:gd name="connsiteX32" fmla="*/ 428977 w 438150"/>
                  <a:gd name="connsiteY32" fmla="*/ 133971 h 533400"/>
                  <a:gd name="connsiteX33" fmla="*/ 314677 w 438150"/>
                  <a:gd name="connsiteY33" fmla="*/ 133971 h 533400"/>
                  <a:gd name="connsiteX34" fmla="*/ 313724 w 438150"/>
                  <a:gd name="connsiteY34" fmla="*/ 133971 h 533400"/>
                  <a:gd name="connsiteX35" fmla="*/ 305152 w 438150"/>
                  <a:gd name="connsiteY35" fmla="*/ 124446 h 533400"/>
                  <a:gd name="connsiteX36" fmla="*/ 305152 w 438150"/>
                  <a:gd name="connsiteY36" fmla="*/ 124446 h 533400"/>
                  <a:gd name="connsiteX37" fmla="*/ 305152 w 438150"/>
                  <a:gd name="connsiteY37" fmla="*/ 10146 h 533400"/>
                  <a:gd name="connsiteX38" fmla="*/ 428977 w 438150"/>
                  <a:gd name="connsiteY38" fmla="*/ 133971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38150" h="533400">
                    <a:moveTo>
                      <a:pt x="284197" y="621"/>
                    </a:moveTo>
                    <a:cubicBezTo>
                      <a:pt x="285149" y="621"/>
                      <a:pt x="286102" y="621"/>
                      <a:pt x="286102" y="621"/>
                    </a:cubicBezTo>
                    <a:lnTo>
                      <a:pt x="286102" y="124446"/>
                    </a:lnTo>
                    <a:lnTo>
                      <a:pt x="286102" y="126351"/>
                    </a:lnTo>
                    <a:cubicBezTo>
                      <a:pt x="287055" y="141591"/>
                      <a:pt x="299437" y="153021"/>
                      <a:pt x="314677" y="153021"/>
                    </a:cubicBezTo>
                    <a:lnTo>
                      <a:pt x="314677" y="153021"/>
                    </a:lnTo>
                    <a:lnTo>
                      <a:pt x="438502" y="153021"/>
                    </a:lnTo>
                    <a:cubicBezTo>
                      <a:pt x="438502" y="153974"/>
                      <a:pt x="438502" y="154926"/>
                      <a:pt x="438502" y="154926"/>
                    </a:cubicBezTo>
                    <a:lnTo>
                      <a:pt x="438502" y="505446"/>
                    </a:lnTo>
                    <a:cubicBezTo>
                      <a:pt x="438502" y="521639"/>
                      <a:pt x="426120" y="534021"/>
                      <a:pt x="409927" y="534021"/>
                    </a:cubicBezTo>
                    <a:lnTo>
                      <a:pt x="28927" y="534021"/>
                    </a:lnTo>
                    <a:cubicBezTo>
                      <a:pt x="12734" y="534021"/>
                      <a:pt x="352" y="521639"/>
                      <a:pt x="352" y="505446"/>
                    </a:cubicBezTo>
                    <a:lnTo>
                      <a:pt x="352" y="29196"/>
                    </a:lnTo>
                    <a:cubicBezTo>
                      <a:pt x="352" y="13004"/>
                      <a:pt x="12734" y="621"/>
                      <a:pt x="28927" y="621"/>
                    </a:cubicBezTo>
                    <a:lnTo>
                      <a:pt x="284197" y="621"/>
                    </a:lnTo>
                    <a:close/>
                    <a:moveTo>
                      <a:pt x="248002" y="200646"/>
                    </a:moveTo>
                    <a:lnTo>
                      <a:pt x="152752" y="200646"/>
                    </a:lnTo>
                    <a:lnTo>
                      <a:pt x="152752" y="410196"/>
                    </a:lnTo>
                    <a:lnTo>
                      <a:pt x="171802" y="410196"/>
                    </a:lnTo>
                    <a:lnTo>
                      <a:pt x="171802" y="314946"/>
                    </a:lnTo>
                    <a:lnTo>
                      <a:pt x="248002" y="314946"/>
                    </a:lnTo>
                    <a:lnTo>
                      <a:pt x="249907" y="314946"/>
                    </a:lnTo>
                    <a:cubicBezTo>
                      <a:pt x="280387" y="313994"/>
                      <a:pt x="305152" y="288276"/>
                      <a:pt x="305152" y="257796"/>
                    </a:cubicBezTo>
                    <a:cubicBezTo>
                      <a:pt x="305152" y="226364"/>
                      <a:pt x="279434" y="200646"/>
                      <a:pt x="248002" y="200646"/>
                    </a:cubicBezTo>
                    <a:lnTo>
                      <a:pt x="248002" y="200646"/>
                    </a:lnTo>
                    <a:close/>
                    <a:moveTo>
                      <a:pt x="248002" y="219696"/>
                    </a:moveTo>
                    <a:cubicBezTo>
                      <a:pt x="268957" y="219696"/>
                      <a:pt x="286102" y="236841"/>
                      <a:pt x="286102" y="257796"/>
                    </a:cubicBezTo>
                    <a:cubicBezTo>
                      <a:pt x="286102" y="278751"/>
                      <a:pt x="268957" y="295896"/>
                      <a:pt x="248002" y="295896"/>
                    </a:cubicBezTo>
                    <a:lnTo>
                      <a:pt x="248002" y="295896"/>
                    </a:lnTo>
                    <a:lnTo>
                      <a:pt x="171802" y="295896"/>
                    </a:lnTo>
                    <a:lnTo>
                      <a:pt x="171802" y="219696"/>
                    </a:lnTo>
                    <a:lnTo>
                      <a:pt x="248002" y="219696"/>
                    </a:lnTo>
                    <a:close/>
                    <a:moveTo>
                      <a:pt x="428977" y="133971"/>
                    </a:moveTo>
                    <a:lnTo>
                      <a:pt x="314677" y="133971"/>
                    </a:lnTo>
                    <a:lnTo>
                      <a:pt x="313724" y="133971"/>
                    </a:lnTo>
                    <a:cubicBezTo>
                      <a:pt x="308962" y="133019"/>
                      <a:pt x="305152" y="129209"/>
                      <a:pt x="305152" y="124446"/>
                    </a:cubicBezTo>
                    <a:lnTo>
                      <a:pt x="305152" y="124446"/>
                    </a:lnTo>
                    <a:lnTo>
                      <a:pt x="305152" y="10146"/>
                    </a:lnTo>
                    <a:lnTo>
                      <a:pt x="428977" y="133971"/>
                    </a:lnTo>
                    <a:close/>
                  </a:path>
                </a:pathLst>
              </a:custGeom>
              <a:solidFill>
                <a:srgbClr val="FFFFFF"/>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cxnSp>
            <p:nvCxnSpPr>
              <p:cNvPr id="16" name="直接连接符 15"/>
              <p:cNvCxnSpPr/>
              <p:nvPr/>
            </p:nvCxnSpPr>
            <p:spPr>
              <a:xfrm>
                <a:off x="5139685" y="3364629"/>
                <a:ext cx="0" cy="549973"/>
              </a:xfrm>
              <a:prstGeom prst="line">
                <a:avLst/>
              </a:prstGeom>
              <a:ln w="12700">
                <a:solidFill>
                  <a:schemeClr val="tx1">
                    <a:lumMod val="50000"/>
                    <a:lumOff val="50000"/>
                    <a:alpha val="50000"/>
                  </a:schemeClr>
                </a:solidFill>
                <a:tailEnd type="none"/>
              </a:ln>
            </p:spPr>
            <p:style>
              <a:lnRef idx="1">
                <a:schemeClr val="accent1"/>
              </a:lnRef>
              <a:fillRef idx="0">
                <a:schemeClr val="accent1"/>
              </a:fillRef>
              <a:effectRef idx="0">
                <a:schemeClr val="accent1"/>
              </a:effectRef>
              <a:fontRef idx="minor">
                <a:schemeClr val="tx1"/>
              </a:fontRef>
            </p:style>
          </p:cxnSp>
        </p:grpSp>
        <p:grpSp>
          <p:nvGrpSpPr>
            <p:cNvPr id="35" name="组合 34"/>
            <p:cNvGrpSpPr/>
            <p:nvPr/>
          </p:nvGrpSpPr>
          <p:grpSpPr>
            <a:xfrm>
              <a:off x="8615709" y="2730296"/>
              <a:ext cx="2909541" cy="2895804"/>
              <a:chOff x="8615709" y="2730296"/>
              <a:chExt cx="2909541" cy="2895804"/>
            </a:xfrm>
          </p:grpSpPr>
          <p:sp>
            <p:nvSpPr>
              <p:cNvPr id="18" name="箭头: V 形 17"/>
              <p:cNvSpPr/>
              <p:nvPr/>
            </p:nvSpPr>
            <p:spPr>
              <a:xfrm>
                <a:off x="8615709" y="2730296"/>
                <a:ext cx="2909539" cy="635000"/>
              </a:xfrm>
              <a:prstGeom prst="chevron">
                <a:avLst/>
              </a:prstGeom>
              <a:gradFill>
                <a:gsLst>
                  <a:gs pos="0">
                    <a:schemeClr val="accent1">
                      <a:lumMod val="60000"/>
                      <a:lumOff val="40000"/>
                    </a:schemeClr>
                  </a:gs>
                  <a:gs pos="50000">
                    <a:schemeClr val="accent1"/>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chorCtr="0">
                <a:noAutofit/>
              </a:bodyPr>
              <a:lstStyle/>
              <a:p>
                <a:pPr algn="ctr"/>
                <a:r>
                  <a:rPr kumimoji="1" lang="en-US" altLang="zh-CN" b="1" dirty="0">
                    <a:solidFill>
                      <a:srgbClr val="FFFFFF"/>
                    </a:solidFill>
                    <a:latin typeface="Calibri" pitchFamily="34" charset="0"/>
                    <a:ea typeface="宋体" pitchFamily="2" charset="-122"/>
                  </a:rPr>
                  <a:t>20XX/X/X</a:t>
                </a:r>
                <a:endParaRPr kumimoji="1" lang="en-US" altLang="zh-CN" b="1" dirty="0">
                  <a:solidFill>
                    <a:srgbClr val="FFFFFF"/>
                  </a:solidFill>
                  <a:latin typeface="Calibri" pitchFamily="34" charset="0"/>
                  <a:ea typeface="宋体" pitchFamily="2" charset="-122"/>
                </a:endParaRPr>
              </a:p>
            </p:txBody>
          </p:sp>
          <p:sp>
            <p:nvSpPr>
              <p:cNvPr id="19" name="矩形 18"/>
              <p:cNvSpPr/>
              <p:nvPr/>
            </p:nvSpPr>
            <p:spPr>
              <a:xfrm>
                <a:off x="9456197" y="3974776"/>
                <a:ext cx="2069052"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r>
                  <a:rPr kumimoji="1" lang="en-US" altLang="zh-CN" b="1">
                    <a:solidFill>
                      <a:schemeClr val="tx1"/>
                    </a:solidFill>
                    <a:latin typeface="Calibri" pitchFamily="34" charset="0"/>
                    <a:ea typeface="宋体" pitchFamily="2" charset="-122"/>
                  </a:rPr>
                  <a:t>Click to add text</a:t>
                </a:r>
                <a:endParaRPr kumimoji="1" lang="en-US" altLang="zh-CN" b="1" dirty="0">
                  <a:solidFill>
                    <a:schemeClr val="tx1"/>
                  </a:solidFill>
                  <a:latin typeface="Calibri" pitchFamily="34" charset="0"/>
                  <a:ea typeface="宋体" pitchFamily="2" charset="-122"/>
                </a:endParaRPr>
              </a:p>
            </p:txBody>
          </p:sp>
          <p:sp>
            <p:nvSpPr>
              <p:cNvPr id="20" name="矩形 19"/>
              <p:cNvSpPr/>
              <p:nvPr/>
            </p:nvSpPr>
            <p:spPr>
              <a:xfrm>
                <a:off x="9456198" y="4354562"/>
                <a:ext cx="2069052" cy="1271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nSpc>
                    <a:spcPct val="120000"/>
                  </a:lnSpc>
                </a:pPr>
                <a:r>
                  <a:rPr kumimoji="1" lang="da-DK" altLang="zh-CN" sz="1200">
                    <a:solidFill>
                      <a:schemeClr val="tx1"/>
                    </a:solidFill>
                    <a:latin typeface="Calibri" pitchFamily="34" charset="0"/>
                    <a:ea typeface="宋体" pitchFamily="2" charset="-122"/>
                  </a:rPr>
                  <a:t>Et tation vel lorem lorem et aliquyam sit stet consetetur.</a:t>
                </a:r>
                <a:endParaRPr kumimoji="1" lang="en-US" altLang="zh-CN" sz="1200" dirty="0">
                  <a:solidFill>
                    <a:schemeClr val="tx1"/>
                  </a:solidFill>
                  <a:latin typeface="Calibri" pitchFamily="34" charset="0"/>
                  <a:ea typeface="宋体" pitchFamily="2" charset="-122"/>
                </a:endParaRPr>
              </a:p>
            </p:txBody>
          </p:sp>
          <p:sp>
            <p:nvSpPr>
              <p:cNvPr id="21" name="文本框 20"/>
              <p:cNvSpPr txBox="1">
                <a:spLocks noChangeAspect="1"/>
              </p:cNvSpPr>
              <p:nvPr/>
            </p:nvSpPr>
            <p:spPr>
              <a:xfrm>
                <a:off x="8844164" y="3914602"/>
                <a:ext cx="540000" cy="540000"/>
              </a:xfrm>
              <a:prstGeom prst="roundRect">
                <a:avLst>
                  <a:gd name="adj" fmla="val 50000"/>
                </a:avLst>
              </a:prstGeom>
              <a:gradFill>
                <a:gsLst>
                  <a:gs pos="0">
                    <a:schemeClr val="accent1">
                      <a:lumMod val="60000"/>
                      <a:lumOff val="40000"/>
                    </a:schemeClr>
                  </a:gs>
                  <a:gs pos="50000">
                    <a:schemeClr val="accent1"/>
                  </a:gs>
                </a:gsLst>
                <a:lin ang="2700000" scaled="0"/>
              </a:gradFill>
            </p:spPr>
            <p:txBody>
              <a:bodyPr wrap="square" lIns="108000" tIns="108000" rIns="108000" bIns="108000" rtlCol="0" anchor="ctr" anchorCtr="0">
                <a:normAutofit fontScale="25000" lnSpcReduction="20000"/>
              </a:bodyPr>
              <a:lstStyle/>
              <a:p>
                <a:pPr algn="ctr">
                  <a:lnSpc>
                    <a:spcPct val="120000"/>
                  </a:lnSpc>
                </a:pPr>
                <a:r>
                  <a:rPr kumimoji="1" lang="en-US" altLang="zh-CN" sz="1200">
                    <a:noFill/>
                    <a:latin typeface="Calibri" pitchFamily="34" charset="0"/>
                    <a:ea typeface="宋体" pitchFamily="2" charset="-122"/>
                  </a:rPr>
                  <a:t>Erat et dolore lobortis erat stet consequat zzril.</a:t>
                </a:r>
                <a:endParaRPr kumimoji="1" lang="zh-CN" altLang="en-US" sz="1200" dirty="0">
                  <a:noFill/>
                  <a:latin typeface="Calibri" pitchFamily="34" charset="0"/>
                  <a:ea typeface="宋体" pitchFamily="2" charset="-122"/>
                </a:endParaRPr>
              </a:p>
            </p:txBody>
          </p:sp>
          <p:sp>
            <p:nvSpPr>
              <p:cNvPr id="22" name="任意多边形: 形状 21"/>
              <p:cNvSpPr/>
              <p:nvPr/>
            </p:nvSpPr>
            <p:spPr>
              <a:xfrm>
                <a:off x="9001050" y="4046899"/>
                <a:ext cx="226228" cy="275406"/>
              </a:xfrm>
              <a:custGeom>
                <a:avLst/>
                <a:gdLst>
                  <a:gd name="connsiteX0" fmla="*/ 284197 w 438150"/>
                  <a:gd name="connsiteY0" fmla="*/ 621 h 533400"/>
                  <a:gd name="connsiteX1" fmla="*/ 286102 w 438150"/>
                  <a:gd name="connsiteY1" fmla="*/ 621 h 533400"/>
                  <a:gd name="connsiteX2" fmla="*/ 286102 w 438150"/>
                  <a:gd name="connsiteY2" fmla="*/ 124446 h 533400"/>
                  <a:gd name="connsiteX3" fmla="*/ 286102 w 438150"/>
                  <a:gd name="connsiteY3" fmla="*/ 126351 h 533400"/>
                  <a:gd name="connsiteX4" fmla="*/ 314677 w 438150"/>
                  <a:gd name="connsiteY4" fmla="*/ 153021 h 533400"/>
                  <a:gd name="connsiteX5" fmla="*/ 314677 w 438150"/>
                  <a:gd name="connsiteY5" fmla="*/ 153021 h 533400"/>
                  <a:gd name="connsiteX6" fmla="*/ 438502 w 438150"/>
                  <a:gd name="connsiteY6" fmla="*/ 153021 h 533400"/>
                  <a:gd name="connsiteX7" fmla="*/ 438502 w 438150"/>
                  <a:gd name="connsiteY7" fmla="*/ 154926 h 533400"/>
                  <a:gd name="connsiteX8" fmla="*/ 438502 w 438150"/>
                  <a:gd name="connsiteY8" fmla="*/ 505446 h 533400"/>
                  <a:gd name="connsiteX9" fmla="*/ 409927 w 438150"/>
                  <a:gd name="connsiteY9" fmla="*/ 534021 h 533400"/>
                  <a:gd name="connsiteX10" fmla="*/ 28927 w 438150"/>
                  <a:gd name="connsiteY10" fmla="*/ 534021 h 533400"/>
                  <a:gd name="connsiteX11" fmla="*/ 352 w 438150"/>
                  <a:gd name="connsiteY11" fmla="*/ 505446 h 533400"/>
                  <a:gd name="connsiteX12" fmla="*/ 352 w 438150"/>
                  <a:gd name="connsiteY12" fmla="*/ 29196 h 533400"/>
                  <a:gd name="connsiteX13" fmla="*/ 28927 w 438150"/>
                  <a:gd name="connsiteY13" fmla="*/ 621 h 533400"/>
                  <a:gd name="connsiteX14" fmla="*/ 284197 w 438150"/>
                  <a:gd name="connsiteY14" fmla="*/ 621 h 533400"/>
                  <a:gd name="connsiteX15" fmla="*/ 248002 w 438150"/>
                  <a:gd name="connsiteY15" fmla="*/ 200646 h 533400"/>
                  <a:gd name="connsiteX16" fmla="*/ 152752 w 438150"/>
                  <a:gd name="connsiteY16" fmla="*/ 200646 h 533400"/>
                  <a:gd name="connsiteX17" fmla="*/ 152752 w 438150"/>
                  <a:gd name="connsiteY17" fmla="*/ 410196 h 533400"/>
                  <a:gd name="connsiteX18" fmla="*/ 171802 w 438150"/>
                  <a:gd name="connsiteY18" fmla="*/ 410196 h 533400"/>
                  <a:gd name="connsiteX19" fmla="*/ 171802 w 438150"/>
                  <a:gd name="connsiteY19" fmla="*/ 314946 h 533400"/>
                  <a:gd name="connsiteX20" fmla="*/ 248002 w 438150"/>
                  <a:gd name="connsiteY20" fmla="*/ 314946 h 533400"/>
                  <a:gd name="connsiteX21" fmla="*/ 249907 w 438150"/>
                  <a:gd name="connsiteY21" fmla="*/ 314946 h 533400"/>
                  <a:gd name="connsiteX22" fmla="*/ 305152 w 438150"/>
                  <a:gd name="connsiteY22" fmla="*/ 257796 h 533400"/>
                  <a:gd name="connsiteX23" fmla="*/ 248002 w 438150"/>
                  <a:gd name="connsiteY23" fmla="*/ 200646 h 533400"/>
                  <a:gd name="connsiteX24" fmla="*/ 248002 w 438150"/>
                  <a:gd name="connsiteY24" fmla="*/ 200646 h 533400"/>
                  <a:gd name="connsiteX25" fmla="*/ 248002 w 438150"/>
                  <a:gd name="connsiteY25" fmla="*/ 219696 h 533400"/>
                  <a:gd name="connsiteX26" fmla="*/ 286102 w 438150"/>
                  <a:gd name="connsiteY26" fmla="*/ 257796 h 533400"/>
                  <a:gd name="connsiteX27" fmla="*/ 248002 w 438150"/>
                  <a:gd name="connsiteY27" fmla="*/ 295896 h 533400"/>
                  <a:gd name="connsiteX28" fmla="*/ 248002 w 438150"/>
                  <a:gd name="connsiteY28" fmla="*/ 295896 h 533400"/>
                  <a:gd name="connsiteX29" fmla="*/ 171802 w 438150"/>
                  <a:gd name="connsiteY29" fmla="*/ 295896 h 533400"/>
                  <a:gd name="connsiteX30" fmla="*/ 171802 w 438150"/>
                  <a:gd name="connsiteY30" fmla="*/ 219696 h 533400"/>
                  <a:gd name="connsiteX31" fmla="*/ 248002 w 438150"/>
                  <a:gd name="connsiteY31" fmla="*/ 219696 h 533400"/>
                  <a:gd name="connsiteX32" fmla="*/ 428977 w 438150"/>
                  <a:gd name="connsiteY32" fmla="*/ 133971 h 533400"/>
                  <a:gd name="connsiteX33" fmla="*/ 314677 w 438150"/>
                  <a:gd name="connsiteY33" fmla="*/ 133971 h 533400"/>
                  <a:gd name="connsiteX34" fmla="*/ 313724 w 438150"/>
                  <a:gd name="connsiteY34" fmla="*/ 133971 h 533400"/>
                  <a:gd name="connsiteX35" fmla="*/ 305152 w 438150"/>
                  <a:gd name="connsiteY35" fmla="*/ 124446 h 533400"/>
                  <a:gd name="connsiteX36" fmla="*/ 305152 w 438150"/>
                  <a:gd name="connsiteY36" fmla="*/ 124446 h 533400"/>
                  <a:gd name="connsiteX37" fmla="*/ 305152 w 438150"/>
                  <a:gd name="connsiteY37" fmla="*/ 10146 h 533400"/>
                  <a:gd name="connsiteX38" fmla="*/ 428977 w 438150"/>
                  <a:gd name="connsiteY38" fmla="*/ 133971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38150" h="533400">
                    <a:moveTo>
                      <a:pt x="284197" y="621"/>
                    </a:moveTo>
                    <a:cubicBezTo>
                      <a:pt x="285149" y="621"/>
                      <a:pt x="286102" y="621"/>
                      <a:pt x="286102" y="621"/>
                    </a:cubicBezTo>
                    <a:lnTo>
                      <a:pt x="286102" y="124446"/>
                    </a:lnTo>
                    <a:lnTo>
                      <a:pt x="286102" y="126351"/>
                    </a:lnTo>
                    <a:cubicBezTo>
                      <a:pt x="287055" y="141591"/>
                      <a:pt x="299437" y="153021"/>
                      <a:pt x="314677" y="153021"/>
                    </a:cubicBezTo>
                    <a:lnTo>
                      <a:pt x="314677" y="153021"/>
                    </a:lnTo>
                    <a:lnTo>
                      <a:pt x="438502" y="153021"/>
                    </a:lnTo>
                    <a:cubicBezTo>
                      <a:pt x="438502" y="153974"/>
                      <a:pt x="438502" y="154926"/>
                      <a:pt x="438502" y="154926"/>
                    </a:cubicBezTo>
                    <a:lnTo>
                      <a:pt x="438502" y="505446"/>
                    </a:lnTo>
                    <a:cubicBezTo>
                      <a:pt x="438502" y="521639"/>
                      <a:pt x="426120" y="534021"/>
                      <a:pt x="409927" y="534021"/>
                    </a:cubicBezTo>
                    <a:lnTo>
                      <a:pt x="28927" y="534021"/>
                    </a:lnTo>
                    <a:cubicBezTo>
                      <a:pt x="12734" y="534021"/>
                      <a:pt x="352" y="521639"/>
                      <a:pt x="352" y="505446"/>
                    </a:cubicBezTo>
                    <a:lnTo>
                      <a:pt x="352" y="29196"/>
                    </a:lnTo>
                    <a:cubicBezTo>
                      <a:pt x="352" y="13004"/>
                      <a:pt x="12734" y="621"/>
                      <a:pt x="28927" y="621"/>
                    </a:cubicBezTo>
                    <a:lnTo>
                      <a:pt x="284197" y="621"/>
                    </a:lnTo>
                    <a:close/>
                    <a:moveTo>
                      <a:pt x="248002" y="200646"/>
                    </a:moveTo>
                    <a:lnTo>
                      <a:pt x="152752" y="200646"/>
                    </a:lnTo>
                    <a:lnTo>
                      <a:pt x="152752" y="410196"/>
                    </a:lnTo>
                    <a:lnTo>
                      <a:pt x="171802" y="410196"/>
                    </a:lnTo>
                    <a:lnTo>
                      <a:pt x="171802" y="314946"/>
                    </a:lnTo>
                    <a:lnTo>
                      <a:pt x="248002" y="314946"/>
                    </a:lnTo>
                    <a:lnTo>
                      <a:pt x="249907" y="314946"/>
                    </a:lnTo>
                    <a:cubicBezTo>
                      <a:pt x="280387" y="313994"/>
                      <a:pt x="305152" y="288276"/>
                      <a:pt x="305152" y="257796"/>
                    </a:cubicBezTo>
                    <a:cubicBezTo>
                      <a:pt x="305152" y="226364"/>
                      <a:pt x="279434" y="200646"/>
                      <a:pt x="248002" y="200646"/>
                    </a:cubicBezTo>
                    <a:lnTo>
                      <a:pt x="248002" y="200646"/>
                    </a:lnTo>
                    <a:close/>
                    <a:moveTo>
                      <a:pt x="248002" y="219696"/>
                    </a:moveTo>
                    <a:cubicBezTo>
                      <a:pt x="268957" y="219696"/>
                      <a:pt x="286102" y="236841"/>
                      <a:pt x="286102" y="257796"/>
                    </a:cubicBezTo>
                    <a:cubicBezTo>
                      <a:pt x="286102" y="278751"/>
                      <a:pt x="268957" y="295896"/>
                      <a:pt x="248002" y="295896"/>
                    </a:cubicBezTo>
                    <a:lnTo>
                      <a:pt x="248002" y="295896"/>
                    </a:lnTo>
                    <a:lnTo>
                      <a:pt x="171802" y="295896"/>
                    </a:lnTo>
                    <a:lnTo>
                      <a:pt x="171802" y="219696"/>
                    </a:lnTo>
                    <a:lnTo>
                      <a:pt x="248002" y="219696"/>
                    </a:lnTo>
                    <a:close/>
                    <a:moveTo>
                      <a:pt x="428977" y="133971"/>
                    </a:moveTo>
                    <a:lnTo>
                      <a:pt x="314677" y="133971"/>
                    </a:lnTo>
                    <a:lnTo>
                      <a:pt x="313724" y="133971"/>
                    </a:lnTo>
                    <a:cubicBezTo>
                      <a:pt x="308962" y="133019"/>
                      <a:pt x="305152" y="129209"/>
                      <a:pt x="305152" y="124446"/>
                    </a:cubicBezTo>
                    <a:lnTo>
                      <a:pt x="305152" y="124446"/>
                    </a:lnTo>
                    <a:lnTo>
                      <a:pt x="305152" y="10146"/>
                    </a:lnTo>
                    <a:lnTo>
                      <a:pt x="428977" y="133971"/>
                    </a:lnTo>
                    <a:close/>
                  </a:path>
                </a:pathLst>
              </a:custGeom>
              <a:solidFill>
                <a:srgbClr val="FFFFFF"/>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cxnSp>
            <p:nvCxnSpPr>
              <p:cNvPr id="23" name="直接连接符 22"/>
              <p:cNvCxnSpPr/>
              <p:nvPr/>
            </p:nvCxnSpPr>
            <p:spPr>
              <a:xfrm>
                <a:off x="9114164" y="3364629"/>
                <a:ext cx="0" cy="549973"/>
              </a:xfrm>
              <a:prstGeom prst="line">
                <a:avLst/>
              </a:prstGeom>
              <a:ln w="12700">
                <a:solidFill>
                  <a:schemeClr val="tx1">
                    <a:lumMod val="50000"/>
                    <a:lumOff val="50000"/>
                    <a:alpha val="50000"/>
                  </a:schemeClr>
                </a:solidFill>
                <a:tailEnd type="none"/>
              </a:ln>
            </p:spPr>
            <p:style>
              <a:lnRef idx="1">
                <a:schemeClr val="accent1"/>
              </a:lnRef>
              <a:fillRef idx="0">
                <a:schemeClr val="accent1"/>
              </a:fillRef>
              <a:effectRef idx="0">
                <a:schemeClr val="accent1"/>
              </a:effectRef>
              <a:fontRef idx="minor">
                <a:schemeClr val="tx1"/>
              </a:fontRef>
            </p:style>
          </p:cxnSp>
        </p:grpSp>
      </p:grpSp>
    </p:spTree>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组合 10"/>
          <p:cNvGrpSpPr/>
          <p:nvPr/>
        </p:nvGrpSpPr>
        <p:grpSpPr>
          <a:xfrm>
            <a:off x="659227" y="581025"/>
            <a:ext cx="10871200" cy="5553076"/>
            <a:chOff x="659226" y="581024"/>
            <a:chExt cx="10871200" cy="5553076"/>
          </a:xfrm>
        </p:grpSpPr>
        <p:sp>
          <p:nvSpPr>
            <p:cNvPr id="16" name="文本框 15"/>
            <p:cNvSpPr txBox="1"/>
            <p:nvPr/>
          </p:nvSpPr>
          <p:spPr>
            <a:xfrm>
              <a:off x="664403" y="5527011"/>
              <a:ext cx="10858499" cy="607089"/>
            </a:xfrm>
            <a:prstGeom prst="rect">
              <a:avLst/>
            </a:prstGeom>
            <a:noFill/>
          </p:spPr>
          <p:txBody>
            <a:bodyPr wrap="square" anchor="b" anchorCtr="0">
              <a:normAutofit/>
            </a:bodyPr>
            <a:lstStyle/>
            <a:p>
              <a:pPr algn="ctr"/>
              <a:r>
                <a:rPr lang="en-US" altLang="zh-CN" sz="2400" b="1">
                  <a:latin typeface="Calibri" pitchFamily="34" charset="0"/>
                  <a:ea typeface="宋体" pitchFamily="2" charset="-122"/>
                </a:rPr>
                <a:t>Unified fonts make reading more fluent</a:t>
              </a:r>
              <a:endParaRPr lang="en-US" altLang="zh-CN" sz="2400" b="1" dirty="0">
                <a:latin typeface="Calibri" pitchFamily="34" charset="0"/>
                <a:ea typeface="宋体" pitchFamily="2" charset="-122"/>
              </a:endParaRPr>
            </a:p>
          </p:txBody>
        </p:sp>
        <p:sp>
          <p:nvSpPr>
            <p:cNvPr id="2" name="任意多边形: 形状 1"/>
            <p:cNvSpPr/>
            <p:nvPr/>
          </p:nvSpPr>
          <p:spPr>
            <a:xfrm>
              <a:off x="5610902" y="581024"/>
              <a:ext cx="965503" cy="4826795"/>
            </a:xfrm>
            <a:custGeom>
              <a:avLst/>
              <a:gdLst/>
              <a:ahLst/>
              <a:cxnLst>
                <a:cxn ang="0">
                  <a:pos x="wd2" y="hd2"/>
                </a:cxn>
                <a:cxn ang="5400000">
                  <a:pos x="wd2" y="hd2"/>
                </a:cxn>
                <a:cxn ang="10800000">
                  <a:pos x="wd2" y="hd2"/>
                </a:cxn>
                <a:cxn ang="16200000">
                  <a:pos x="wd2" y="hd2"/>
                </a:cxn>
              </a:cxnLst>
              <a:rect l="0" t="0" r="r" b="b"/>
              <a:pathLst>
                <a:path w="21579" h="21586" extrusionOk="0">
                  <a:moveTo>
                    <a:pt x="1753" y="2"/>
                  </a:moveTo>
                  <a:cubicBezTo>
                    <a:pt x="1201" y="-14"/>
                    <a:pt x="730" y="73"/>
                    <a:pt x="826" y="172"/>
                  </a:cubicBezTo>
                  <a:lnTo>
                    <a:pt x="826" y="1281"/>
                  </a:lnTo>
                  <a:lnTo>
                    <a:pt x="776" y="1281"/>
                  </a:lnTo>
                  <a:lnTo>
                    <a:pt x="333" y="1281"/>
                  </a:lnTo>
                  <a:cubicBezTo>
                    <a:pt x="232" y="1281"/>
                    <a:pt x="139" y="1292"/>
                    <a:pt x="82" y="1310"/>
                  </a:cubicBezTo>
                  <a:cubicBezTo>
                    <a:pt x="20" y="1328"/>
                    <a:pt x="10" y="1352"/>
                    <a:pt x="55" y="1373"/>
                  </a:cubicBezTo>
                  <a:lnTo>
                    <a:pt x="1314" y="1894"/>
                  </a:lnTo>
                  <a:cubicBezTo>
                    <a:pt x="1365" y="1914"/>
                    <a:pt x="1466" y="1928"/>
                    <a:pt x="1578" y="1928"/>
                  </a:cubicBezTo>
                  <a:cubicBezTo>
                    <a:pt x="1692" y="1928"/>
                    <a:pt x="1799" y="1915"/>
                    <a:pt x="1852" y="1894"/>
                  </a:cubicBezTo>
                  <a:lnTo>
                    <a:pt x="3115" y="1371"/>
                  </a:lnTo>
                  <a:cubicBezTo>
                    <a:pt x="3152" y="1350"/>
                    <a:pt x="3131" y="1326"/>
                    <a:pt x="3066" y="1308"/>
                  </a:cubicBezTo>
                  <a:cubicBezTo>
                    <a:pt x="3004" y="1291"/>
                    <a:pt x="2908" y="1281"/>
                    <a:pt x="2806" y="1281"/>
                  </a:cubicBezTo>
                  <a:lnTo>
                    <a:pt x="2371" y="1281"/>
                  </a:lnTo>
                  <a:lnTo>
                    <a:pt x="2362" y="1281"/>
                  </a:lnTo>
                  <a:lnTo>
                    <a:pt x="2362" y="634"/>
                  </a:lnTo>
                  <a:cubicBezTo>
                    <a:pt x="2362" y="540"/>
                    <a:pt x="2368" y="461"/>
                    <a:pt x="2376" y="388"/>
                  </a:cubicBezTo>
                  <a:cubicBezTo>
                    <a:pt x="2383" y="315"/>
                    <a:pt x="2392" y="246"/>
                    <a:pt x="2398" y="172"/>
                  </a:cubicBezTo>
                  <a:cubicBezTo>
                    <a:pt x="2497" y="92"/>
                    <a:pt x="2200" y="14"/>
                    <a:pt x="1753" y="2"/>
                  </a:cubicBezTo>
                  <a:close/>
                  <a:moveTo>
                    <a:pt x="20029" y="42"/>
                  </a:moveTo>
                  <a:cubicBezTo>
                    <a:pt x="19915" y="42"/>
                    <a:pt x="19807" y="55"/>
                    <a:pt x="19755" y="76"/>
                  </a:cubicBezTo>
                  <a:lnTo>
                    <a:pt x="18492" y="599"/>
                  </a:lnTo>
                  <a:cubicBezTo>
                    <a:pt x="18455" y="620"/>
                    <a:pt x="18476" y="644"/>
                    <a:pt x="18541" y="662"/>
                  </a:cubicBezTo>
                  <a:cubicBezTo>
                    <a:pt x="18602" y="679"/>
                    <a:pt x="18699" y="688"/>
                    <a:pt x="18801" y="688"/>
                  </a:cubicBezTo>
                  <a:lnTo>
                    <a:pt x="19236" y="688"/>
                  </a:lnTo>
                  <a:lnTo>
                    <a:pt x="19285" y="688"/>
                  </a:lnTo>
                  <a:lnTo>
                    <a:pt x="19285" y="18972"/>
                  </a:lnTo>
                  <a:cubicBezTo>
                    <a:pt x="19269" y="19064"/>
                    <a:pt x="19722" y="19136"/>
                    <a:pt x="20226" y="19121"/>
                  </a:cubicBezTo>
                  <a:cubicBezTo>
                    <a:pt x="20623" y="19109"/>
                    <a:pt x="20905" y="19045"/>
                    <a:pt x="20875" y="18972"/>
                  </a:cubicBezTo>
                  <a:cubicBezTo>
                    <a:pt x="20875" y="18947"/>
                    <a:pt x="20879" y="18923"/>
                    <a:pt x="20880" y="18900"/>
                  </a:cubicBezTo>
                  <a:cubicBezTo>
                    <a:pt x="20881" y="18876"/>
                    <a:pt x="20880" y="18853"/>
                    <a:pt x="20880" y="18825"/>
                  </a:cubicBezTo>
                  <a:lnTo>
                    <a:pt x="20880" y="688"/>
                  </a:lnTo>
                  <a:lnTo>
                    <a:pt x="21274" y="688"/>
                  </a:lnTo>
                  <a:cubicBezTo>
                    <a:pt x="21375" y="688"/>
                    <a:pt x="21468" y="677"/>
                    <a:pt x="21525" y="660"/>
                  </a:cubicBezTo>
                  <a:cubicBezTo>
                    <a:pt x="21586" y="641"/>
                    <a:pt x="21597" y="618"/>
                    <a:pt x="21552" y="597"/>
                  </a:cubicBezTo>
                  <a:lnTo>
                    <a:pt x="20293" y="76"/>
                  </a:lnTo>
                  <a:cubicBezTo>
                    <a:pt x="20242" y="55"/>
                    <a:pt x="20140" y="42"/>
                    <a:pt x="20029" y="42"/>
                  </a:cubicBezTo>
                  <a:close/>
                  <a:moveTo>
                    <a:pt x="1735" y="2315"/>
                  </a:moveTo>
                  <a:cubicBezTo>
                    <a:pt x="1200" y="2300"/>
                    <a:pt x="740" y="2383"/>
                    <a:pt x="826" y="2479"/>
                  </a:cubicBezTo>
                  <a:lnTo>
                    <a:pt x="826" y="18825"/>
                  </a:lnTo>
                  <a:cubicBezTo>
                    <a:pt x="826" y="18917"/>
                    <a:pt x="827" y="19000"/>
                    <a:pt x="830" y="19078"/>
                  </a:cubicBezTo>
                  <a:cubicBezTo>
                    <a:pt x="833" y="19156"/>
                    <a:pt x="839" y="19230"/>
                    <a:pt x="844" y="19305"/>
                  </a:cubicBezTo>
                  <a:lnTo>
                    <a:pt x="306" y="19305"/>
                  </a:lnTo>
                  <a:cubicBezTo>
                    <a:pt x="205" y="19305"/>
                    <a:pt x="112" y="19315"/>
                    <a:pt x="55" y="19332"/>
                  </a:cubicBezTo>
                  <a:cubicBezTo>
                    <a:pt x="24" y="19342"/>
                    <a:pt x="5" y="19352"/>
                    <a:pt x="1" y="19363"/>
                  </a:cubicBezTo>
                  <a:cubicBezTo>
                    <a:pt x="-3" y="19374"/>
                    <a:pt x="6" y="19385"/>
                    <a:pt x="28" y="19395"/>
                  </a:cubicBezTo>
                  <a:lnTo>
                    <a:pt x="1287" y="19916"/>
                  </a:lnTo>
                  <a:cubicBezTo>
                    <a:pt x="1338" y="19937"/>
                    <a:pt x="1444" y="19950"/>
                    <a:pt x="1556" y="19950"/>
                  </a:cubicBezTo>
                  <a:cubicBezTo>
                    <a:pt x="1669" y="19950"/>
                    <a:pt x="1773" y="19937"/>
                    <a:pt x="1825" y="19916"/>
                  </a:cubicBezTo>
                  <a:lnTo>
                    <a:pt x="3088" y="19394"/>
                  </a:lnTo>
                  <a:cubicBezTo>
                    <a:pt x="3125" y="19373"/>
                    <a:pt x="3109" y="19349"/>
                    <a:pt x="3043" y="19331"/>
                  </a:cubicBezTo>
                  <a:cubicBezTo>
                    <a:pt x="2982" y="19314"/>
                    <a:pt x="2886" y="19304"/>
                    <a:pt x="2784" y="19304"/>
                  </a:cubicBezTo>
                  <a:lnTo>
                    <a:pt x="2385" y="19304"/>
                  </a:lnTo>
                  <a:cubicBezTo>
                    <a:pt x="2379" y="19254"/>
                    <a:pt x="2376" y="19205"/>
                    <a:pt x="2371" y="19153"/>
                  </a:cubicBezTo>
                  <a:cubicBezTo>
                    <a:pt x="2367" y="19101"/>
                    <a:pt x="2362" y="19045"/>
                    <a:pt x="2362" y="18979"/>
                  </a:cubicBezTo>
                  <a:lnTo>
                    <a:pt x="2362" y="2479"/>
                  </a:lnTo>
                  <a:cubicBezTo>
                    <a:pt x="2452" y="2402"/>
                    <a:pt x="2165" y="2327"/>
                    <a:pt x="1735" y="2315"/>
                  </a:cubicBezTo>
                  <a:close/>
                  <a:moveTo>
                    <a:pt x="19961" y="19335"/>
                  </a:moveTo>
                  <a:cubicBezTo>
                    <a:pt x="19848" y="19334"/>
                    <a:pt x="19745" y="19348"/>
                    <a:pt x="19693" y="19369"/>
                  </a:cubicBezTo>
                  <a:lnTo>
                    <a:pt x="18429" y="19891"/>
                  </a:lnTo>
                  <a:cubicBezTo>
                    <a:pt x="18392" y="19913"/>
                    <a:pt x="18409" y="19936"/>
                    <a:pt x="18474" y="19954"/>
                  </a:cubicBezTo>
                  <a:cubicBezTo>
                    <a:pt x="18535" y="19971"/>
                    <a:pt x="18631" y="19982"/>
                    <a:pt x="18734" y="19982"/>
                  </a:cubicBezTo>
                  <a:lnTo>
                    <a:pt x="19115" y="19982"/>
                  </a:lnTo>
                  <a:cubicBezTo>
                    <a:pt x="19078" y="20044"/>
                    <a:pt x="19035" y="20103"/>
                    <a:pt x="18980" y="20158"/>
                  </a:cubicBezTo>
                  <a:cubicBezTo>
                    <a:pt x="18925" y="20212"/>
                    <a:pt x="18859" y="20262"/>
                    <a:pt x="18774" y="20306"/>
                  </a:cubicBezTo>
                  <a:cubicBezTo>
                    <a:pt x="17919" y="20729"/>
                    <a:pt x="16071" y="21062"/>
                    <a:pt x="13720" y="21216"/>
                  </a:cubicBezTo>
                  <a:cubicBezTo>
                    <a:pt x="12793" y="21277"/>
                    <a:pt x="11813" y="21308"/>
                    <a:pt x="10826" y="21308"/>
                  </a:cubicBezTo>
                  <a:cubicBezTo>
                    <a:pt x="9839" y="21308"/>
                    <a:pt x="8859" y="21277"/>
                    <a:pt x="7932" y="21216"/>
                  </a:cubicBezTo>
                  <a:cubicBezTo>
                    <a:pt x="5581" y="21062"/>
                    <a:pt x="3729" y="20729"/>
                    <a:pt x="2873" y="20306"/>
                  </a:cubicBezTo>
                  <a:cubicBezTo>
                    <a:pt x="2868" y="20302"/>
                    <a:pt x="2862" y="20297"/>
                    <a:pt x="2855" y="20292"/>
                  </a:cubicBezTo>
                  <a:cubicBezTo>
                    <a:pt x="2769" y="20236"/>
                    <a:pt x="2558" y="20187"/>
                    <a:pt x="2246" y="20174"/>
                  </a:cubicBezTo>
                  <a:cubicBezTo>
                    <a:pt x="1721" y="20152"/>
                    <a:pt x="1243" y="20234"/>
                    <a:pt x="1341" y="20330"/>
                  </a:cubicBezTo>
                  <a:cubicBezTo>
                    <a:pt x="1358" y="20340"/>
                    <a:pt x="1372" y="20352"/>
                    <a:pt x="1386" y="20364"/>
                  </a:cubicBezTo>
                  <a:cubicBezTo>
                    <a:pt x="1399" y="20376"/>
                    <a:pt x="1411" y="20387"/>
                    <a:pt x="1430" y="20397"/>
                  </a:cubicBezTo>
                  <a:cubicBezTo>
                    <a:pt x="2444" y="20899"/>
                    <a:pt x="4635" y="21294"/>
                    <a:pt x="7421" y="21477"/>
                  </a:cubicBezTo>
                  <a:cubicBezTo>
                    <a:pt x="8520" y="21549"/>
                    <a:pt x="9682" y="21586"/>
                    <a:pt x="10853" y="21586"/>
                  </a:cubicBezTo>
                  <a:cubicBezTo>
                    <a:pt x="12022" y="21586"/>
                    <a:pt x="13181" y="21549"/>
                    <a:pt x="14280" y="21477"/>
                  </a:cubicBezTo>
                  <a:cubicBezTo>
                    <a:pt x="17065" y="21294"/>
                    <a:pt x="19261" y="20899"/>
                    <a:pt x="20275" y="20397"/>
                  </a:cubicBezTo>
                  <a:cubicBezTo>
                    <a:pt x="20383" y="20341"/>
                    <a:pt x="20467" y="20278"/>
                    <a:pt x="20535" y="20208"/>
                  </a:cubicBezTo>
                  <a:cubicBezTo>
                    <a:pt x="20602" y="20138"/>
                    <a:pt x="20653" y="20061"/>
                    <a:pt x="20696" y="19981"/>
                  </a:cubicBezTo>
                  <a:lnTo>
                    <a:pt x="21211" y="19981"/>
                  </a:lnTo>
                  <a:cubicBezTo>
                    <a:pt x="21312" y="19981"/>
                    <a:pt x="21405" y="19971"/>
                    <a:pt x="21462" y="19954"/>
                  </a:cubicBezTo>
                  <a:cubicBezTo>
                    <a:pt x="21493" y="19944"/>
                    <a:pt x="21511" y="19933"/>
                    <a:pt x="21516" y="19922"/>
                  </a:cubicBezTo>
                  <a:cubicBezTo>
                    <a:pt x="21521" y="19911"/>
                    <a:pt x="21512" y="19900"/>
                    <a:pt x="21489" y="19890"/>
                  </a:cubicBezTo>
                  <a:lnTo>
                    <a:pt x="20226" y="19369"/>
                  </a:lnTo>
                  <a:cubicBezTo>
                    <a:pt x="20174" y="19348"/>
                    <a:pt x="20073" y="19335"/>
                    <a:pt x="19961" y="19335"/>
                  </a:cubicBezTo>
                  <a:close/>
                </a:path>
              </a:pathLst>
            </a:custGeom>
            <a:solidFill>
              <a:schemeClr val="tx2">
                <a:alpha val="15000"/>
              </a:schemeClr>
            </a:solidFill>
            <a:ln w="12700">
              <a:miter lim="400000"/>
            </a:ln>
          </p:spPr>
          <p:txBody>
            <a:bodyPr lIns="45719" tIns="45719" rIns="45719" bIns="45719"/>
            <a:lstStyle/>
            <a:p/>
          </p:txBody>
        </p:sp>
        <p:grpSp>
          <p:nvGrpSpPr>
            <p:cNvPr id="9" name="组合 8"/>
            <p:cNvGrpSpPr/>
            <p:nvPr/>
          </p:nvGrpSpPr>
          <p:grpSpPr>
            <a:xfrm>
              <a:off x="659226" y="1280312"/>
              <a:ext cx="5103977" cy="978912"/>
              <a:chOff x="659226" y="1280312"/>
              <a:chExt cx="5103977" cy="978912"/>
            </a:xfrm>
          </p:grpSpPr>
          <p:sp>
            <p:nvSpPr>
              <p:cNvPr id="18" name="任意多边形: 形状 17"/>
              <p:cNvSpPr/>
              <p:nvPr/>
            </p:nvSpPr>
            <p:spPr>
              <a:xfrm>
                <a:off x="4553343" y="1450181"/>
                <a:ext cx="913220" cy="341568"/>
              </a:xfrm>
              <a:custGeom>
                <a:avLst/>
                <a:gdLst/>
                <a:ahLst/>
                <a:cxnLst>
                  <a:cxn ang="0">
                    <a:pos x="wd2" y="hd2"/>
                  </a:cxn>
                  <a:cxn ang="5400000">
                    <a:pos x="wd2" y="hd2"/>
                  </a:cxn>
                  <a:cxn ang="10800000">
                    <a:pos x="wd2" y="hd2"/>
                  </a:cxn>
                  <a:cxn ang="16200000">
                    <a:pos x="wd2" y="hd2"/>
                  </a:cxn>
                </a:cxnLst>
                <a:rect l="0" t="0" r="r" b="b"/>
                <a:pathLst>
                  <a:path w="16304" h="21600">
                    <a:moveTo>
                      <a:pt x="12621" y="9"/>
                    </a:moveTo>
                    <a:lnTo>
                      <a:pt x="403" y="98"/>
                    </a:lnTo>
                    <a:cubicBezTo>
                      <a:pt x="298" y="88"/>
                      <a:pt x="193" y="237"/>
                      <a:pt x="118" y="503"/>
                    </a:cubicBezTo>
                    <a:cubicBezTo>
                      <a:pt x="47" y="760"/>
                      <a:pt x="7" y="1115"/>
                      <a:pt x="8" y="1477"/>
                    </a:cubicBezTo>
                    <a:lnTo>
                      <a:pt x="1" y="20221"/>
                    </a:lnTo>
                    <a:cubicBezTo>
                      <a:pt x="0" y="20574"/>
                      <a:pt x="38" y="20918"/>
                      <a:pt x="108" y="21169"/>
                    </a:cubicBezTo>
                    <a:cubicBezTo>
                      <a:pt x="190" y="21465"/>
                      <a:pt x="305" y="21600"/>
                      <a:pt x="421" y="21549"/>
                    </a:cubicBezTo>
                    <a:lnTo>
                      <a:pt x="12678" y="21549"/>
                    </a:lnTo>
                    <a:cubicBezTo>
                      <a:pt x="12783" y="21568"/>
                      <a:pt x="12887" y="21492"/>
                      <a:pt x="12984" y="21334"/>
                    </a:cubicBezTo>
                    <a:cubicBezTo>
                      <a:pt x="13062" y="21205"/>
                      <a:pt x="13131" y="21017"/>
                      <a:pt x="13190" y="20790"/>
                    </a:cubicBezTo>
                    <a:lnTo>
                      <a:pt x="16176" y="11987"/>
                    </a:lnTo>
                    <a:cubicBezTo>
                      <a:pt x="16261" y="11640"/>
                      <a:pt x="16304" y="11183"/>
                      <a:pt x="16297" y="10722"/>
                    </a:cubicBezTo>
                    <a:cubicBezTo>
                      <a:pt x="16289" y="10229"/>
                      <a:pt x="16226" y="9772"/>
                      <a:pt x="16119" y="9457"/>
                    </a:cubicBezTo>
                    <a:lnTo>
                      <a:pt x="13200" y="794"/>
                    </a:lnTo>
                    <a:cubicBezTo>
                      <a:pt x="13120" y="527"/>
                      <a:pt x="13027" y="320"/>
                      <a:pt x="12923" y="187"/>
                    </a:cubicBezTo>
                    <a:cubicBezTo>
                      <a:pt x="12827" y="62"/>
                      <a:pt x="12723" y="0"/>
                      <a:pt x="12621" y="9"/>
                    </a:cubicBezTo>
                  </a:path>
                </a:pathLst>
              </a:custGeom>
              <a:solidFill>
                <a:schemeClr val="accent1"/>
              </a:solidFill>
              <a:ln w="12700" cap="flat">
                <a:noFill/>
                <a:prstDash val="solid"/>
                <a:miter/>
              </a:ln>
              <a:effectLst>
                <a:outerShdw blurRad="127000" dist="63500" dir="2700000" algn="tl" rotWithShape="0">
                  <a:schemeClr val="accent1">
                    <a:alpha val="40000"/>
                  </a:schemeClr>
                </a:outerShdw>
              </a:effectLst>
            </p:spPr>
            <p:txBody>
              <a:bodyPr wrap="square" lIns="91440" tIns="45720" rIns="91440" bIns="45720" rtlCol="0" anchor="ctr">
                <a:normAutofit fontScale="850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20000"/>
                  </a:lnSpc>
                </a:pPr>
                <a:r>
                  <a:rPr lang="en-US" b="1" dirty="0">
                    <a:solidFill>
                      <a:srgbClr val="FFFFFF"/>
                    </a:solidFill>
                    <a:latin typeface="Calibri" pitchFamily="34" charset="0"/>
                    <a:ea typeface="宋体" pitchFamily="2" charset="-122"/>
                  </a:rPr>
                  <a:t>20XX</a:t>
                </a:r>
                <a:endParaRPr b="1" dirty="0">
                  <a:solidFill>
                    <a:srgbClr val="FFFFFF"/>
                  </a:solidFill>
                  <a:latin typeface="Calibri" pitchFamily="34" charset="0"/>
                  <a:ea typeface="宋体" pitchFamily="2" charset="-122"/>
                </a:endParaRPr>
              </a:p>
            </p:txBody>
          </p:sp>
          <p:sp>
            <p:nvSpPr>
              <p:cNvPr id="19" name="任意多边形: 形状 18"/>
              <p:cNvSpPr/>
              <p:nvPr/>
            </p:nvSpPr>
            <p:spPr>
              <a:xfrm>
                <a:off x="5582060" y="1537929"/>
                <a:ext cx="181143" cy="173773"/>
              </a:xfrm>
              <a:custGeom>
                <a:avLst/>
                <a:gdLst/>
                <a:ahLst/>
                <a:cxnLst>
                  <a:cxn ang="0">
                    <a:pos x="wd2" y="hd2"/>
                  </a:cxn>
                  <a:cxn ang="5400000">
                    <a:pos x="wd2" y="hd2"/>
                  </a:cxn>
                  <a:cxn ang="10800000">
                    <a:pos x="wd2" y="hd2"/>
                  </a:cxn>
                  <a:cxn ang="16200000">
                    <a:pos x="wd2" y="hd2"/>
                  </a:cxn>
                </a:cxnLst>
                <a:rect l="0" t="0" r="r" b="b"/>
                <a:pathLst>
                  <a:path w="3234" h="10989">
                    <a:moveTo>
                      <a:pt x="1617" y="0"/>
                    </a:moveTo>
                    <a:cubicBezTo>
                      <a:pt x="1240" y="0"/>
                      <a:pt x="863" y="507"/>
                      <a:pt x="575" y="1531"/>
                    </a:cubicBezTo>
                    <a:cubicBezTo>
                      <a:pt x="0" y="3578"/>
                      <a:pt x="0" y="6895"/>
                      <a:pt x="575" y="8942"/>
                    </a:cubicBezTo>
                    <a:cubicBezTo>
                      <a:pt x="1151" y="10989"/>
                      <a:pt x="2083" y="10989"/>
                      <a:pt x="2659" y="8942"/>
                    </a:cubicBezTo>
                    <a:cubicBezTo>
                      <a:pt x="3234" y="6895"/>
                      <a:pt x="3234" y="3578"/>
                      <a:pt x="2659" y="1531"/>
                    </a:cubicBezTo>
                    <a:cubicBezTo>
                      <a:pt x="2371" y="507"/>
                      <a:pt x="1994" y="0"/>
                      <a:pt x="1617" y="0"/>
                    </a:cubicBezTo>
                  </a:path>
                </a:pathLst>
              </a:custGeom>
              <a:solidFill>
                <a:schemeClr val="bg1"/>
              </a:solidFill>
              <a:ln w="31750" cap="flat">
                <a:solidFill>
                  <a:schemeClr val="accent1"/>
                </a:solidFill>
                <a:prstDash val="solid"/>
                <a:miter/>
              </a:ln>
              <a:effectLst>
                <a:outerShdw blurRad="127000" dist="63500" dir="2700000" algn="tl" rotWithShape="0">
                  <a:schemeClr val="accent1">
                    <a:alpha val="40000"/>
                  </a:schemeClr>
                </a:outerShdw>
              </a:effectLst>
            </p:spPr>
            <p:txBody>
              <a:bodyPr wrap="square" rtlCol="0" anchor="ctr">
                <a:normAutofit fontScale="25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20000"/>
                  </a:lnSpc>
                </a:pPr>
                <a:endParaRPr b="1">
                  <a:solidFill>
                    <a:schemeClr val="bg1"/>
                  </a:solidFill>
                </a:endParaRPr>
              </a:p>
            </p:txBody>
          </p:sp>
          <p:sp>
            <p:nvSpPr>
              <p:cNvPr id="23" name="文本框 22"/>
              <p:cNvSpPr txBox="1"/>
              <p:nvPr/>
            </p:nvSpPr>
            <p:spPr>
              <a:xfrm flipH="1">
                <a:off x="659226" y="1280312"/>
                <a:ext cx="3722824" cy="414985"/>
              </a:xfrm>
              <a:prstGeom prst="rect">
                <a:avLst/>
              </a:prstGeom>
              <a:noFill/>
            </p:spPr>
            <p:txBody>
              <a:bodyPr wrap="square" rtlCol="0" anchor="b" anchorCtr="0">
                <a:normAutofit/>
              </a:bodyPr>
              <a:lstStyle/>
              <a:p>
                <a:pPr algn="r"/>
                <a:r>
                  <a:rPr kumimoji="1" lang="en-US" altLang="zh-CN" b="1">
                    <a:latin typeface="Calibri" pitchFamily="34" charset="0"/>
                    <a:ea typeface="宋体" pitchFamily="2" charset="-122"/>
                  </a:rPr>
                  <a:t>Click to add text</a:t>
                </a:r>
                <a:endParaRPr kumimoji="1" lang="en-US" altLang="zh-CN" b="1" dirty="0">
                  <a:latin typeface="Calibri" pitchFamily="34" charset="0"/>
                  <a:ea typeface="宋体" pitchFamily="2" charset="-122"/>
                </a:endParaRPr>
              </a:p>
            </p:txBody>
          </p:sp>
          <p:sp>
            <p:nvSpPr>
              <p:cNvPr id="24" name="文本框 23"/>
              <p:cNvSpPr txBox="1"/>
              <p:nvPr/>
            </p:nvSpPr>
            <p:spPr>
              <a:xfrm flipH="1">
                <a:off x="659226" y="1711702"/>
                <a:ext cx="3722824" cy="547522"/>
              </a:xfrm>
              <a:prstGeom prst="rect">
                <a:avLst/>
              </a:prstGeom>
              <a:noFill/>
            </p:spPr>
            <p:txBody>
              <a:bodyPr wrap="square" rtlCol="0" anchor="t" anchorCtr="0">
                <a:normAutofit/>
              </a:bodyPr>
              <a:lstStyle/>
              <a:p>
                <a:pPr algn="r">
                  <a:lnSpc>
                    <a:spcPct val="120000"/>
                  </a:lnSpc>
                </a:pPr>
                <a:r>
                  <a:rPr kumimoji="1" lang="fr-FR" altLang="zh-CN" sz="1200">
                    <a:latin typeface="Calibri" pitchFamily="34" charset="0"/>
                    <a:ea typeface="宋体" pitchFamily="2" charset="-122"/>
                  </a:rPr>
                  <a:t>Ipsum sit ex luptatum nulla rebum et facilisis duis magna.</a:t>
                </a:r>
                <a:endParaRPr kumimoji="1" lang="en-US" altLang="zh-CN" sz="1200" dirty="0">
                  <a:latin typeface="Calibri" pitchFamily="34" charset="0"/>
                  <a:ea typeface="宋体" pitchFamily="2" charset="-122"/>
                </a:endParaRPr>
              </a:p>
            </p:txBody>
          </p:sp>
        </p:grpSp>
        <p:grpSp>
          <p:nvGrpSpPr>
            <p:cNvPr id="5" name="组合 4"/>
            <p:cNvGrpSpPr/>
            <p:nvPr/>
          </p:nvGrpSpPr>
          <p:grpSpPr>
            <a:xfrm>
              <a:off x="659226" y="2709443"/>
              <a:ext cx="5103977" cy="978912"/>
              <a:chOff x="659226" y="2709443"/>
              <a:chExt cx="5103977" cy="978912"/>
            </a:xfrm>
          </p:grpSpPr>
          <p:sp>
            <p:nvSpPr>
              <p:cNvPr id="45" name="任意多边形: 形状 44"/>
              <p:cNvSpPr/>
              <p:nvPr/>
            </p:nvSpPr>
            <p:spPr>
              <a:xfrm>
                <a:off x="4553343" y="2879312"/>
                <a:ext cx="913220" cy="341568"/>
              </a:xfrm>
              <a:custGeom>
                <a:avLst/>
                <a:gdLst/>
                <a:ahLst/>
                <a:cxnLst>
                  <a:cxn ang="0">
                    <a:pos x="wd2" y="hd2"/>
                  </a:cxn>
                  <a:cxn ang="5400000">
                    <a:pos x="wd2" y="hd2"/>
                  </a:cxn>
                  <a:cxn ang="10800000">
                    <a:pos x="wd2" y="hd2"/>
                  </a:cxn>
                  <a:cxn ang="16200000">
                    <a:pos x="wd2" y="hd2"/>
                  </a:cxn>
                </a:cxnLst>
                <a:rect l="0" t="0" r="r" b="b"/>
                <a:pathLst>
                  <a:path w="16304" h="21600">
                    <a:moveTo>
                      <a:pt x="12621" y="9"/>
                    </a:moveTo>
                    <a:lnTo>
                      <a:pt x="403" y="98"/>
                    </a:lnTo>
                    <a:cubicBezTo>
                      <a:pt x="298" y="88"/>
                      <a:pt x="193" y="237"/>
                      <a:pt x="118" y="503"/>
                    </a:cubicBezTo>
                    <a:cubicBezTo>
                      <a:pt x="47" y="760"/>
                      <a:pt x="7" y="1115"/>
                      <a:pt x="8" y="1477"/>
                    </a:cubicBezTo>
                    <a:lnTo>
                      <a:pt x="1" y="20221"/>
                    </a:lnTo>
                    <a:cubicBezTo>
                      <a:pt x="0" y="20574"/>
                      <a:pt x="38" y="20918"/>
                      <a:pt x="108" y="21169"/>
                    </a:cubicBezTo>
                    <a:cubicBezTo>
                      <a:pt x="190" y="21465"/>
                      <a:pt x="305" y="21600"/>
                      <a:pt x="421" y="21549"/>
                    </a:cubicBezTo>
                    <a:lnTo>
                      <a:pt x="12678" y="21549"/>
                    </a:lnTo>
                    <a:cubicBezTo>
                      <a:pt x="12783" y="21568"/>
                      <a:pt x="12887" y="21492"/>
                      <a:pt x="12984" y="21334"/>
                    </a:cubicBezTo>
                    <a:cubicBezTo>
                      <a:pt x="13062" y="21205"/>
                      <a:pt x="13131" y="21017"/>
                      <a:pt x="13190" y="20790"/>
                    </a:cubicBezTo>
                    <a:lnTo>
                      <a:pt x="16176" y="11987"/>
                    </a:lnTo>
                    <a:cubicBezTo>
                      <a:pt x="16261" y="11640"/>
                      <a:pt x="16304" y="11183"/>
                      <a:pt x="16297" y="10722"/>
                    </a:cubicBezTo>
                    <a:cubicBezTo>
                      <a:pt x="16289" y="10229"/>
                      <a:pt x="16226" y="9772"/>
                      <a:pt x="16119" y="9457"/>
                    </a:cubicBezTo>
                    <a:lnTo>
                      <a:pt x="13200" y="794"/>
                    </a:lnTo>
                    <a:cubicBezTo>
                      <a:pt x="13120" y="527"/>
                      <a:pt x="13027" y="320"/>
                      <a:pt x="12923" y="187"/>
                    </a:cubicBezTo>
                    <a:cubicBezTo>
                      <a:pt x="12827" y="62"/>
                      <a:pt x="12723" y="0"/>
                      <a:pt x="12621" y="9"/>
                    </a:cubicBezTo>
                  </a:path>
                </a:pathLst>
              </a:custGeom>
              <a:solidFill>
                <a:schemeClr val="accent2"/>
              </a:solidFill>
              <a:ln w="12700" cap="flat">
                <a:noFill/>
                <a:prstDash val="solid"/>
                <a:miter/>
              </a:ln>
              <a:effectLst>
                <a:outerShdw blurRad="127000" dist="63500" dir="2700000" algn="tl" rotWithShape="0">
                  <a:schemeClr val="accent2">
                    <a:alpha val="40000"/>
                  </a:schemeClr>
                </a:outerShdw>
              </a:effectLst>
            </p:spPr>
            <p:txBody>
              <a:bodyPr wrap="square" lIns="91440" tIns="45720" rIns="91440" bIns="45720" rtlCol="0" anchor="ctr">
                <a:normAutofit fontScale="850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20000"/>
                  </a:lnSpc>
                </a:pPr>
                <a:r>
                  <a:rPr lang="en-US" b="1" dirty="0">
                    <a:solidFill>
                      <a:srgbClr val="FFFFFF"/>
                    </a:solidFill>
                    <a:latin typeface="Calibri" pitchFamily="34" charset="0"/>
                    <a:ea typeface="宋体" pitchFamily="2" charset="-122"/>
                  </a:rPr>
                  <a:t>20XX</a:t>
                </a:r>
                <a:endParaRPr b="1" dirty="0">
                  <a:solidFill>
                    <a:srgbClr val="FFFFFF"/>
                  </a:solidFill>
                  <a:latin typeface="Calibri" pitchFamily="34" charset="0"/>
                  <a:ea typeface="宋体" pitchFamily="2" charset="-122"/>
                </a:endParaRPr>
              </a:p>
            </p:txBody>
          </p:sp>
          <p:sp>
            <p:nvSpPr>
              <p:cNvPr id="46" name="任意多边形: 形状 45"/>
              <p:cNvSpPr/>
              <p:nvPr/>
            </p:nvSpPr>
            <p:spPr>
              <a:xfrm>
                <a:off x="5582060" y="2967060"/>
                <a:ext cx="181143" cy="173773"/>
              </a:xfrm>
              <a:custGeom>
                <a:avLst/>
                <a:gdLst/>
                <a:ahLst/>
                <a:cxnLst>
                  <a:cxn ang="0">
                    <a:pos x="wd2" y="hd2"/>
                  </a:cxn>
                  <a:cxn ang="5400000">
                    <a:pos x="wd2" y="hd2"/>
                  </a:cxn>
                  <a:cxn ang="10800000">
                    <a:pos x="wd2" y="hd2"/>
                  </a:cxn>
                  <a:cxn ang="16200000">
                    <a:pos x="wd2" y="hd2"/>
                  </a:cxn>
                </a:cxnLst>
                <a:rect l="0" t="0" r="r" b="b"/>
                <a:pathLst>
                  <a:path w="3234" h="10989">
                    <a:moveTo>
                      <a:pt x="1617" y="0"/>
                    </a:moveTo>
                    <a:cubicBezTo>
                      <a:pt x="1240" y="0"/>
                      <a:pt x="863" y="507"/>
                      <a:pt x="575" y="1531"/>
                    </a:cubicBezTo>
                    <a:cubicBezTo>
                      <a:pt x="0" y="3578"/>
                      <a:pt x="0" y="6895"/>
                      <a:pt x="575" y="8942"/>
                    </a:cubicBezTo>
                    <a:cubicBezTo>
                      <a:pt x="1151" y="10989"/>
                      <a:pt x="2083" y="10989"/>
                      <a:pt x="2659" y="8942"/>
                    </a:cubicBezTo>
                    <a:cubicBezTo>
                      <a:pt x="3234" y="6895"/>
                      <a:pt x="3234" y="3578"/>
                      <a:pt x="2659" y="1531"/>
                    </a:cubicBezTo>
                    <a:cubicBezTo>
                      <a:pt x="2371" y="507"/>
                      <a:pt x="1994" y="0"/>
                      <a:pt x="1617" y="0"/>
                    </a:cubicBezTo>
                  </a:path>
                </a:pathLst>
              </a:custGeom>
              <a:solidFill>
                <a:schemeClr val="bg1"/>
              </a:solidFill>
              <a:ln w="31750" cap="flat">
                <a:solidFill>
                  <a:schemeClr val="accent2"/>
                </a:solidFill>
                <a:prstDash val="solid"/>
                <a:miter/>
              </a:ln>
              <a:effectLst>
                <a:outerShdw blurRad="127000" dist="63500" dir="2700000" algn="tl" rotWithShape="0">
                  <a:schemeClr val="accent2">
                    <a:alpha val="40000"/>
                  </a:schemeClr>
                </a:outerShdw>
              </a:effectLst>
            </p:spPr>
            <p:txBody>
              <a:bodyPr wrap="square" rtlCol="0" anchor="ctr">
                <a:normAutofit fontScale="25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20000"/>
                  </a:lnSpc>
                </a:pPr>
                <a:endParaRPr b="1">
                  <a:solidFill>
                    <a:schemeClr val="bg1"/>
                  </a:solidFill>
                </a:endParaRPr>
              </a:p>
            </p:txBody>
          </p:sp>
          <p:sp>
            <p:nvSpPr>
              <p:cNvPr id="43" name="文本框 42"/>
              <p:cNvSpPr txBox="1"/>
              <p:nvPr/>
            </p:nvSpPr>
            <p:spPr>
              <a:xfrm flipH="1">
                <a:off x="659226" y="2709443"/>
                <a:ext cx="3722824" cy="414985"/>
              </a:xfrm>
              <a:prstGeom prst="rect">
                <a:avLst/>
              </a:prstGeom>
              <a:noFill/>
            </p:spPr>
            <p:txBody>
              <a:bodyPr wrap="square" rtlCol="0" anchor="b" anchorCtr="0">
                <a:normAutofit/>
              </a:bodyPr>
              <a:lstStyle/>
              <a:p>
                <a:pPr algn="r"/>
                <a:r>
                  <a:rPr kumimoji="1" lang="en-US" altLang="zh-CN" b="1">
                    <a:latin typeface="Calibri" pitchFamily="34" charset="0"/>
                    <a:ea typeface="宋体" pitchFamily="2" charset="-122"/>
                  </a:rPr>
                  <a:t>Click to add text</a:t>
                </a:r>
                <a:endParaRPr kumimoji="1" lang="en-US" altLang="zh-CN" b="1" dirty="0">
                  <a:latin typeface="Calibri" pitchFamily="34" charset="0"/>
                  <a:ea typeface="宋体" pitchFamily="2" charset="-122"/>
                </a:endParaRPr>
              </a:p>
            </p:txBody>
          </p:sp>
          <p:sp>
            <p:nvSpPr>
              <p:cNvPr id="44" name="文本框 43"/>
              <p:cNvSpPr txBox="1"/>
              <p:nvPr/>
            </p:nvSpPr>
            <p:spPr>
              <a:xfrm flipH="1">
                <a:off x="659226" y="3140833"/>
                <a:ext cx="3722824" cy="547522"/>
              </a:xfrm>
              <a:prstGeom prst="rect">
                <a:avLst/>
              </a:prstGeom>
              <a:noFill/>
            </p:spPr>
            <p:txBody>
              <a:bodyPr wrap="square" rtlCol="0" anchor="t" anchorCtr="0">
                <a:normAutofit/>
              </a:bodyPr>
              <a:lstStyle/>
              <a:p>
                <a:pPr algn="r">
                  <a:lnSpc>
                    <a:spcPct val="120000"/>
                  </a:lnSpc>
                </a:pPr>
                <a:r>
                  <a:rPr kumimoji="1" lang="pt-BR" altLang="zh-CN" sz="1200">
                    <a:latin typeface="Calibri" pitchFamily="34" charset="0"/>
                    <a:ea typeface="宋体" pitchFamily="2" charset="-122"/>
                  </a:rPr>
                  <a:t>Ipsum accusam consequat nisl amet enim et tempor lorem diam.</a:t>
                </a:r>
                <a:endParaRPr kumimoji="1" lang="en-US" altLang="zh-CN" sz="1200" dirty="0">
                  <a:latin typeface="Calibri" pitchFamily="34" charset="0"/>
                  <a:ea typeface="宋体" pitchFamily="2" charset="-122"/>
                </a:endParaRPr>
              </a:p>
            </p:txBody>
          </p:sp>
        </p:grpSp>
        <p:grpSp>
          <p:nvGrpSpPr>
            <p:cNvPr id="7" name="组合 6"/>
            <p:cNvGrpSpPr/>
            <p:nvPr/>
          </p:nvGrpSpPr>
          <p:grpSpPr>
            <a:xfrm>
              <a:off x="659226" y="4138575"/>
              <a:ext cx="5103977" cy="978912"/>
              <a:chOff x="659226" y="4138575"/>
              <a:chExt cx="5103977" cy="978912"/>
            </a:xfrm>
          </p:grpSpPr>
          <p:sp>
            <p:nvSpPr>
              <p:cNvPr id="58" name="任意多边形: 形状 57"/>
              <p:cNvSpPr/>
              <p:nvPr/>
            </p:nvSpPr>
            <p:spPr>
              <a:xfrm>
                <a:off x="4553343" y="4308444"/>
                <a:ext cx="913220" cy="341568"/>
              </a:xfrm>
              <a:custGeom>
                <a:avLst/>
                <a:gdLst/>
                <a:ahLst/>
                <a:cxnLst>
                  <a:cxn ang="0">
                    <a:pos x="wd2" y="hd2"/>
                  </a:cxn>
                  <a:cxn ang="5400000">
                    <a:pos x="wd2" y="hd2"/>
                  </a:cxn>
                  <a:cxn ang="10800000">
                    <a:pos x="wd2" y="hd2"/>
                  </a:cxn>
                  <a:cxn ang="16200000">
                    <a:pos x="wd2" y="hd2"/>
                  </a:cxn>
                </a:cxnLst>
                <a:rect l="0" t="0" r="r" b="b"/>
                <a:pathLst>
                  <a:path w="16304" h="21600">
                    <a:moveTo>
                      <a:pt x="12621" y="9"/>
                    </a:moveTo>
                    <a:lnTo>
                      <a:pt x="403" y="98"/>
                    </a:lnTo>
                    <a:cubicBezTo>
                      <a:pt x="298" y="88"/>
                      <a:pt x="193" y="237"/>
                      <a:pt x="118" y="503"/>
                    </a:cubicBezTo>
                    <a:cubicBezTo>
                      <a:pt x="47" y="760"/>
                      <a:pt x="7" y="1115"/>
                      <a:pt x="8" y="1477"/>
                    </a:cubicBezTo>
                    <a:lnTo>
                      <a:pt x="1" y="20221"/>
                    </a:lnTo>
                    <a:cubicBezTo>
                      <a:pt x="0" y="20574"/>
                      <a:pt x="38" y="20918"/>
                      <a:pt x="108" y="21169"/>
                    </a:cubicBezTo>
                    <a:cubicBezTo>
                      <a:pt x="190" y="21465"/>
                      <a:pt x="305" y="21600"/>
                      <a:pt x="421" y="21549"/>
                    </a:cubicBezTo>
                    <a:lnTo>
                      <a:pt x="12678" y="21549"/>
                    </a:lnTo>
                    <a:cubicBezTo>
                      <a:pt x="12783" y="21568"/>
                      <a:pt x="12887" y="21492"/>
                      <a:pt x="12984" y="21334"/>
                    </a:cubicBezTo>
                    <a:cubicBezTo>
                      <a:pt x="13062" y="21205"/>
                      <a:pt x="13131" y="21017"/>
                      <a:pt x="13190" y="20790"/>
                    </a:cubicBezTo>
                    <a:lnTo>
                      <a:pt x="16176" y="11987"/>
                    </a:lnTo>
                    <a:cubicBezTo>
                      <a:pt x="16261" y="11640"/>
                      <a:pt x="16304" y="11183"/>
                      <a:pt x="16297" y="10722"/>
                    </a:cubicBezTo>
                    <a:cubicBezTo>
                      <a:pt x="16289" y="10229"/>
                      <a:pt x="16226" y="9772"/>
                      <a:pt x="16119" y="9457"/>
                    </a:cubicBezTo>
                    <a:lnTo>
                      <a:pt x="13200" y="794"/>
                    </a:lnTo>
                    <a:cubicBezTo>
                      <a:pt x="13120" y="527"/>
                      <a:pt x="13027" y="320"/>
                      <a:pt x="12923" y="187"/>
                    </a:cubicBezTo>
                    <a:cubicBezTo>
                      <a:pt x="12827" y="62"/>
                      <a:pt x="12723" y="0"/>
                      <a:pt x="12621" y="9"/>
                    </a:cubicBezTo>
                  </a:path>
                </a:pathLst>
              </a:custGeom>
              <a:solidFill>
                <a:schemeClr val="accent1"/>
              </a:solidFill>
              <a:ln w="12700" cap="flat">
                <a:noFill/>
                <a:prstDash val="solid"/>
                <a:miter/>
              </a:ln>
              <a:effectLst>
                <a:outerShdw blurRad="127000" dist="63500" dir="2700000" algn="tl" rotWithShape="0">
                  <a:schemeClr val="accent1">
                    <a:alpha val="40000"/>
                  </a:schemeClr>
                </a:outerShdw>
              </a:effectLst>
            </p:spPr>
            <p:txBody>
              <a:bodyPr wrap="square" lIns="91440" tIns="45720" rIns="91440" bIns="45720" rtlCol="0" anchor="ctr">
                <a:normAutofit fontScale="850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20000"/>
                  </a:lnSpc>
                </a:pPr>
                <a:r>
                  <a:rPr lang="en-US" b="1" dirty="0">
                    <a:solidFill>
                      <a:srgbClr val="FFFFFF"/>
                    </a:solidFill>
                    <a:latin typeface="Calibri" pitchFamily="34" charset="0"/>
                    <a:ea typeface="宋体" pitchFamily="2" charset="-122"/>
                  </a:rPr>
                  <a:t>20XX</a:t>
                </a:r>
                <a:endParaRPr b="1" dirty="0">
                  <a:solidFill>
                    <a:srgbClr val="FFFFFF"/>
                  </a:solidFill>
                  <a:latin typeface="Calibri" pitchFamily="34" charset="0"/>
                  <a:ea typeface="宋体" pitchFamily="2" charset="-122"/>
                </a:endParaRPr>
              </a:p>
            </p:txBody>
          </p:sp>
          <p:sp>
            <p:nvSpPr>
              <p:cNvPr id="59" name="任意多边形: 形状 58"/>
              <p:cNvSpPr/>
              <p:nvPr/>
            </p:nvSpPr>
            <p:spPr>
              <a:xfrm>
                <a:off x="5582060" y="4396192"/>
                <a:ext cx="181143" cy="173773"/>
              </a:xfrm>
              <a:custGeom>
                <a:avLst/>
                <a:gdLst/>
                <a:ahLst/>
                <a:cxnLst>
                  <a:cxn ang="0">
                    <a:pos x="wd2" y="hd2"/>
                  </a:cxn>
                  <a:cxn ang="5400000">
                    <a:pos x="wd2" y="hd2"/>
                  </a:cxn>
                  <a:cxn ang="10800000">
                    <a:pos x="wd2" y="hd2"/>
                  </a:cxn>
                  <a:cxn ang="16200000">
                    <a:pos x="wd2" y="hd2"/>
                  </a:cxn>
                </a:cxnLst>
                <a:rect l="0" t="0" r="r" b="b"/>
                <a:pathLst>
                  <a:path w="3234" h="10989">
                    <a:moveTo>
                      <a:pt x="1617" y="0"/>
                    </a:moveTo>
                    <a:cubicBezTo>
                      <a:pt x="1240" y="0"/>
                      <a:pt x="863" y="507"/>
                      <a:pt x="575" y="1531"/>
                    </a:cubicBezTo>
                    <a:cubicBezTo>
                      <a:pt x="0" y="3578"/>
                      <a:pt x="0" y="6895"/>
                      <a:pt x="575" y="8942"/>
                    </a:cubicBezTo>
                    <a:cubicBezTo>
                      <a:pt x="1151" y="10989"/>
                      <a:pt x="2083" y="10989"/>
                      <a:pt x="2659" y="8942"/>
                    </a:cubicBezTo>
                    <a:cubicBezTo>
                      <a:pt x="3234" y="6895"/>
                      <a:pt x="3234" y="3578"/>
                      <a:pt x="2659" y="1531"/>
                    </a:cubicBezTo>
                    <a:cubicBezTo>
                      <a:pt x="2371" y="507"/>
                      <a:pt x="1994" y="0"/>
                      <a:pt x="1617" y="0"/>
                    </a:cubicBezTo>
                  </a:path>
                </a:pathLst>
              </a:custGeom>
              <a:solidFill>
                <a:schemeClr val="bg1"/>
              </a:solidFill>
              <a:ln w="31750" cap="flat">
                <a:solidFill>
                  <a:schemeClr val="accent1"/>
                </a:solidFill>
                <a:prstDash val="solid"/>
                <a:miter/>
              </a:ln>
              <a:effectLst>
                <a:outerShdw blurRad="127000" dist="63500" dir="2700000" algn="tl" rotWithShape="0">
                  <a:schemeClr val="accent1">
                    <a:alpha val="40000"/>
                  </a:schemeClr>
                </a:outerShdw>
              </a:effectLst>
            </p:spPr>
            <p:txBody>
              <a:bodyPr wrap="square" rtlCol="0" anchor="ctr">
                <a:normAutofit fontScale="25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20000"/>
                  </a:lnSpc>
                </a:pPr>
                <a:endParaRPr b="1">
                  <a:solidFill>
                    <a:schemeClr val="bg1"/>
                  </a:solidFill>
                </a:endParaRPr>
              </a:p>
            </p:txBody>
          </p:sp>
          <p:sp>
            <p:nvSpPr>
              <p:cNvPr id="56" name="文本框 55"/>
              <p:cNvSpPr txBox="1"/>
              <p:nvPr/>
            </p:nvSpPr>
            <p:spPr>
              <a:xfrm flipH="1">
                <a:off x="659226" y="4138575"/>
                <a:ext cx="3722824" cy="414985"/>
              </a:xfrm>
              <a:prstGeom prst="rect">
                <a:avLst/>
              </a:prstGeom>
              <a:noFill/>
            </p:spPr>
            <p:txBody>
              <a:bodyPr wrap="square" rtlCol="0" anchor="b" anchorCtr="0">
                <a:normAutofit/>
              </a:bodyPr>
              <a:lstStyle/>
              <a:p>
                <a:pPr algn="r"/>
                <a:r>
                  <a:rPr kumimoji="1" lang="en-US" altLang="zh-CN" b="1">
                    <a:latin typeface="Calibri" pitchFamily="34" charset="0"/>
                    <a:ea typeface="宋体" pitchFamily="2" charset="-122"/>
                  </a:rPr>
                  <a:t>Click to add text</a:t>
                </a:r>
                <a:endParaRPr kumimoji="1" lang="en-US" altLang="zh-CN" b="1" dirty="0">
                  <a:latin typeface="Calibri" pitchFamily="34" charset="0"/>
                  <a:ea typeface="宋体" pitchFamily="2" charset="-122"/>
                </a:endParaRPr>
              </a:p>
            </p:txBody>
          </p:sp>
          <p:sp>
            <p:nvSpPr>
              <p:cNvPr id="57" name="文本框 56"/>
              <p:cNvSpPr txBox="1"/>
              <p:nvPr/>
            </p:nvSpPr>
            <p:spPr>
              <a:xfrm flipH="1">
                <a:off x="659226" y="4569965"/>
                <a:ext cx="3722824" cy="547522"/>
              </a:xfrm>
              <a:prstGeom prst="rect">
                <a:avLst/>
              </a:prstGeom>
              <a:noFill/>
            </p:spPr>
            <p:txBody>
              <a:bodyPr wrap="square" rtlCol="0" anchor="t" anchorCtr="0">
                <a:normAutofit/>
              </a:bodyPr>
              <a:lstStyle/>
              <a:p>
                <a:pPr algn="r">
                  <a:lnSpc>
                    <a:spcPct val="120000"/>
                  </a:lnSpc>
                </a:pPr>
                <a:r>
                  <a:rPr kumimoji="1" lang="en-US" altLang="zh-CN" sz="1200">
                    <a:latin typeface="Calibri" pitchFamily="34" charset="0"/>
                    <a:ea typeface="宋体" pitchFamily="2" charset="-122"/>
                  </a:rPr>
                  <a:t>Volutpat kasd at accumsan rebum elitr dolor sea molestie et.</a:t>
                </a:r>
                <a:endParaRPr kumimoji="1" lang="en-US" altLang="zh-CN" sz="1200" dirty="0">
                  <a:latin typeface="Calibri" pitchFamily="34" charset="0"/>
                  <a:ea typeface="宋体" pitchFamily="2" charset="-122"/>
                </a:endParaRPr>
              </a:p>
            </p:txBody>
          </p:sp>
        </p:grpSp>
        <p:grpSp>
          <p:nvGrpSpPr>
            <p:cNvPr id="8" name="组合 7"/>
            <p:cNvGrpSpPr/>
            <p:nvPr/>
          </p:nvGrpSpPr>
          <p:grpSpPr>
            <a:xfrm>
              <a:off x="6426449" y="4138575"/>
              <a:ext cx="5103977" cy="978912"/>
              <a:chOff x="6426449" y="4138575"/>
              <a:chExt cx="5103977" cy="978912"/>
            </a:xfrm>
          </p:grpSpPr>
          <p:sp>
            <p:nvSpPr>
              <p:cNvPr id="53" name="任意多边形: 形状 52"/>
              <p:cNvSpPr/>
              <p:nvPr/>
            </p:nvSpPr>
            <p:spPr>
              <a:xfrm flipH="1">
                <a:off x="6723089" y="4308444"/>
                <a:ext cx="913220" cy="341568"/>
              </a:xfrm>
              <a:custGeom>
                <a:avLst/>
                <a:gdLst/>
                <a:ahLst/>
                <a:cxnLst>
                  <a:cxn ang="0">
                    <a:pos x="wd2" y="hd2"/>
                  </a:cxn>
                  <a:cxn ang="5400000">
                    <a:pos x="wd2" y="hd2"/>
                  </a:cxn>
                  <a:cxn ang="10800000">
                    <a:pos x="wd2" y="hd2"/>
                  </a:cxn>
                  <a:cxn ang="16200000">
                    <a:pos x="wd2" y="hd2"/>
                  </a:cxn>
                </a:cxnLst>
                <a:rect l="0" t="0" r="r" b="b"/>
                <a:pathLst>
                  <a:path w="16304" h="21600">
                    <a:moveTo>
                      <a:pt x="12621" y="9"/>
                    </a:moveTo>
                    <a:lnTo>
                      <a:pt x="403" y="98"/>
                    </a:lnTo>
                    <a:cubicBezTo>
                      <a:pt x="298" y="88"/>
                      <a:pt x="193" y="237"/>
                      <a:pt x="118" y="503"/>
                    </a:cubicBezTo>
                    <a:cubicBezTo>
                      <a:pt x="47" y="760"/>
                      <a:pt x="7" y="1115"/>
                      <a:pt x="8" y="1477"/>
                    </a:cubicBezTo>
                    <a:lnTo>
                      <a:pt x="1" y="20221"/>
                    </a:lnTo>
                    <a:cubicBezTo>
                      <a:pt x="0" y="20574"/>
                      <a:pt x="38" y="20918"/>
                      <a:pt x="108" y="21169"/>
                    </a:cubicBezTo>
                    <a:cubicBezTo>
                      <a:pt x="190" y="21465"/>
                      <a:pt x="305" y="21600"/>
                      <a:pt x="421" y="21549"/>
                    </a:cubicBezTo>
                    <a:lnTo>
                      <a:pt x="12678" y="21549"/>
                    </a:lnTo>
                    <a:cubicBezTo>
                      <a:pt x="12783" y="21568"/>
                      <a:pt x="12887" y="21492"/>
                      <a:pt x="12984" y="21334"/>
                    </a:cubicBezTo>
                    <a:cubicBezTo>
                      <a:pt x="13062" y="21205"/>
                      <a:pt x="13131" y="21017"/>
                      <a:pt x="13190" y="20790"/>
                    </a:cubicBezTo>
                    <a:lnTo>
                      <a:pt x="16176" y="11987"/>
                    </a:lnTo>
                    <a:cubicBezTo>
                      <a:pt x="16261" y="11640"/>
                      <a:pt x="16304" y="11183"/>
                      <a:pt x="16297" y="10722"/>
                    </a:cubicBezTo>
                    <a:cubicBezTo>
                      <a:pt x="16289" y="10229"/>
                      <a:pt x="16226" y="9772"/>
                      <a:pt x="16119" y="9457"/>
                    </a:cubicBezTo>
                    <a:lnTo>
                      <a:pt x="13200" y="794"/>
                    </a:lnTo>
                    <a:cubicBezTo>
                      <a:pt x="13120" y="527"/>
                      <a:pt x="13027" y="320"/>
                      <a:pt x="12923" y="187"/>
                    </a:cubicBezTo>
                    <a:cubicBezTo>
                      <a:pt x="12827" y="62"/>
                      <a:pt x="12723" y="0"/>
                      <a:pt x="12621" y="9"/>
                    </a:cubicBezTo>
                  </a:path>
                </a:pathLst>
              </a:custGeom>
              <a:solidFill>
                <a:schemeClr val="accent1"/>
              </a:solidFill>
              <a:ln w="12700" cap="flat">
                <a:noFill/>
                <a:prstDash val="solid"/>
                <a:miter/>
              </a:ln>
              <a:effectLst>
                <a:outerShdw blurRad="127000" dist="63500" dir="2700000" algn="tl" rotWithShape="0">
                  <a:schemeClr val="accent1">
                    <a:alpha val="40000"/>
                  </a:schemeClr>
                </a:outerShdw>
              </a:effectLst>
            </p:spPr>
            <p:txBody>
              <a:bodyPr wrap="square" lIns="91440" tIns="45720" rIns="91440" bIns="45720" rtlCol="0" anchor="ctr">
                <a:normAutofit fontScale="850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20000"/>
                  </a:lnSpc>
                </a:pPr>
                <a:r>
                  <a:rPr lang="en-US" b="1" dirty="0">
                    <a:solidFill>
                      <a:srgbClr val="FFFFFF"/>
                    </a:solidFill>
                    <a:latin typeface="Calibri" pitchFamily="34" charset="0"/>
                    <a:ea typeface="宋体" pitchFamily="2" charset="-122"/>
                  </a:rPr>
                  <a:t>20XX</a:t>
                </a:r>
                <a:endParaRPr b="1" dirty="0">
                  <a:solidFill>
                    <a:srgbClr val="FFFFFF"/>
                  </a:solidFill>
                  <a:latin typeface="Calibri" pitchFamily="34" charset="0"/>
                  <a:ea typeface="宋体" pitchFamily="2" charset="-122"/>
                </a:endParaRPr>
              </a:p>
            </p:txBody>
          </p:sp>
          <p:sp>
            <p:nvSpPr>
              <p:cNvPr id="54" name="任意多边形: 形状 53"/>
              <p:cNvSpPr/>
              <p:nvPr/>
            </p:nvSpPr>
            <p:spPr>
              <a:xfrm flipH="1">
                <a:off x="6426449" y="4396192"/>
                <a:ext cx="181143" cy="173773"/>
              </a:xfrm>
              <a:custGeom>
                <a:avLst/>
                <a:gdLst/>
                <a:ahLst/>
                <a:cxnLst>
                  <a:cxn ang="0">
                    <a:pos x="wd2" y="hd2"/>
                  </a:cxn>
                  <a:cxn ang="5400000">
                    <a:pos x="wd2" y="hd2"/>
                  </a:cxn>
                  <a:cxn ang="10800000">
                    <a:pos x="wd2" y="hd2"/>
                  </a:cxn>
                  <a:cxn ang="16200000">
                    <a:pos x="wd2" y="hd2"/>
                  </a:cxn>
                </a:cxnLst>
                <a:rect l="0" t="0" r="r" b="b"/>
                <a:pathLst>
                  <a:path w="3234" h="10989">
                    <a:moveTo>
                      <a:pt x="1617" y="0"/>
                    </a:moveTo>
                    <a:cubicBezTo>
                      <a:pt x="1240" y="0"/>
                      <a:pt x="863" y="507"/>
                      <a:pt x="575" y="1531"/>
                    </a:cubicBezTo>
                    <a:cubicBezTo>
                      <a:pt x="0" y="3578"/>
                      <a:pt x="0" y="6895"/>
                      <a:pt x="575" y="8942"/>
                    </a:cubicBezTo>
                    <a:cubicBezTo>
                      <a:pt x="1151" y="10989"/>
                      <a:pt x="2083" y="10989"/>
                      <a:pt x="2659" y="8942"/>
                    </a:cubicBezTo>
                    <a:cubicBezTo>
                      <a:pt x="3234" y="6895"/>
                      <a:pt x="3234" y="3578"/>
                      <a:pt x="2659" y="1531"/>
                    </a:cubicBezTo>
                    <a:cubicBezTo>
                      <a:pt x="2371" y="507"/>
                      <a:pt x="1994" y="0"/>
                      <a:pt x="1617" y="0"/>
                    </a:cubicBezTo>
                  </a:path>
                </a:pathLst>
              </a:custGeom>
              <a:solidFill>
                <a:schemeClr val="bg1"/>
              </a:solidFill>
              <a:ln w="31750" cap="flat">
                <a:solidFill>
                  <a:schemeClr val="accent1"/>
                </a:solidFill>
                <a:prstDash val="solid"/>
                <a:miter/>
              </a:ln>
              <a:effectLst>
                <a:outerShdw blurRad="127000" dist="63500" dir="2700000" algn="tl" rotWithShape="0">
                  <a:schemeClr val="accent1">
                    <a:alpha val="40000"/>
                  </a:schemeClr>
                </a:outerShdw>
              </a:effectLst>
            </p:spPr>
            <p:txBody>
              <a:bodyPr wrap="square" rtlCol="0" anchor="ctr">
                <a:normAutofit fontScale="25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20000"/>
                  </a:lnSpc>
                </a:pPr>
                <a:endParaRPr b="1">
                  <a:solidFill>
                    <a:schemeClr val="bg1"/>
                  </a:solidFill>
                </a:endParaRPr>
              </a:p>
            </p:txBody>
          </p:sp>
          <p:sp>
            <p:nvSpPr>
              <p:cNvPr id="51" name="文本框 50"/>
              <p:cNvSpPr txBox="1"/>
              <p:nvPr/>
            </p:nvSpPr>
            <p:spPr>
              <a:xfrm>
                <a:off x="7807602" y="4138575"/>
                <a:ext cx="3722824" cy="414985"/>
              </a:xfrm>
              <a:prstGeom prst="rect">
                <a:avLst/>
              </a:prstGeom>
              <a:noFill/>
            </p:spPr>
            <p:txBody>
              <a:bodyPr wrap="square" rtlCol="0" anchor="b" anchorCtr="0">
                <a:normAutofit/>
              </a:bodyPr>
              <a:lstStyle/>
              <a:p>
                <a:r>
                  <a:rPr kumimoji="1" lang="en-US" altLang="zh-CN" b="1">
                    <a:latin typeface="Calibri" pitchFamily="34" charset="0"/>
                    <a:ea typeface="宋体" pitchFamily="2" charset="-122"/>
                  </a:rPr>
                  <a:t>Click to add text</a:t>
                </a:r>
                <a:endParaRPr kumimoji="1" lang="en-US" altLang="zh-CN" b="1" dirty="0">
                  <a:latin typeface="Calibri" pitchFamily="34" charset="0"/>
                  <a:ea typeface="宋体" pitchFamily="2" charset="-122"/>
                </a:endParaRPr>
              </a:p>
            </p:txBody>
          </p:sp>
          <p:sp>
            <p:nvSpPr>
              <p:cNvPr id="52" name="文本框 51"/>
              <p:cNvSpPr txBox="1"/>
              <p:nvPr/>
            </p:nvSpPr>
            <p:spPr>
              <a:xfrm>
                <a:off x="7807602" y="4569965"/>
                <a:ext cx="3722824" cy="547522"/>
              </a:xfrm>
              <a:prstGeom prst="rect">
                <a:avLst/>
              </a:prstGeom>
              <a:noFill/>
            </p:spPr>
            <p:txBody>
              <a:bodyPr wrap="square" rtlCol="0" anchor="t" anchorCtr="0">
                <a:normAutofit/>
              </a:bodyPr>
              <a:lstStyle/>
              <a:p>
                <a:pPr>
                  <a:lnSpc>
                    <a:spcPct val="120000"/>
                  </a:lnSpc>
                </a:pPr>
                <a:r>
                  <a:rPr kumimoji="1" lang="da-DK" altLang="zh-CN" sz="1200">
                    <a:latin typeface="Calibri" pitchFamily="34" charset="0"/>
                    <a:ea typeface="宋体" pitchFamily="2" charset="-122"/>
                  </a:rPr>
                  <a:t>In ipsum aliquam lorem sit sit labore sed sit nostrud.</a:t>
                </a:r>
                <a:endParaRPr kumimoji="1" lang="en-US" altLang="zh-CN" sz="1200" dirty="0">
                  <a:latin typeface="Calibri" pitchFamily="34" charset="0"/>
                  <a:ea typeface="宋体" pitchFamily="2" charset="-122"/>
                </a:endParaRPr>
              </a:p>
            </p:txBody>
          </p:sp>
        </p:grpSp>
        <p:grpSp>
          <p:nvGrpSpPr>
            <p:cNvPr id="6" name="组合 5"/>
            <p:cNvGrpSpPr/>
            <p:nvPr/>
          </p:nvGrpSpPr>
          <p:grpSpPr>
            <a:xfrm>
              <a:off x="6426449" y="2709443"/>
              <a:ext cx="5103977" cy="978912"/>
              <a:chOff x="6426449" y="2709443"/>
              <a:chExt cx="5103977" cy="978912"/>
            </a:xfrm>
          </p:grpSpPr>
          <p:sp>
            <p:nvSpPr>
              <p:cNvPr id="40" name="任意多边形: 形状 39"/>
              <p:cNvSpPr/>
              <p:nvPr/>
            </p:nvSpPr>
            <p:spPr>
              <a:xfrm flipH="1">
                <a:off x="6723089" y="2879312"/>
                <a:ext cx="913220" cy="341568"/>
              </a:xfrm>
              <a:custGeom>
                <a:avLst/>
                <a:gdLst/>
                <a:ahLst/>
                <a:cxnLst>
                  <a:cxn ang="0">
                    <a:pos x="wd2" y="hd2"/>
                  </a:cxn>
                  <a:cxn ang="5400000">
                    <a:pos x="wd2" y="hd2"/>
                  </a:cxn>
                  <a:cxn ang="10800000">
                    <a:pos x="wd2" y="hd2"/>
                  </a:cxn>
                  <a:cxn ang="16200000">
                    <a:pos x="wd2" y="hd2"/>
                  </a:cxn>
                </a:cxnLst>
                <a:rect l="0" t="0" r="r" b="b"/>
                <a:pathLst>
                  <a:path w="16304" h="21600">
                    <a:moveTo>
                      <a:pt x="12621" y="9"/>
                    </a:moveTo>
                    <a:lnTo>
                      <a:pt x="403" y="98"/>
                    </a:lnTo>
                    <a:cubicBezTo>
                      <a:pt x="298" y="88"/>
                      <a:pt x="193" y="237"/>
                      <a:pt x="118" y="503"/>
                    </a:cubicBezTo>
                    <a:cubicBezTo>
                      <a:pt x="47" y="760"/>
                      <a:pt x="7" y="1115"/>
                      <a:pt x="8" y="1477"/>
                    </a:cubicBezTo>
                    <a:lnTo>
                      <a:pt x="1" y="20221"/>
                    </a:lnTo>
                    <a:cubicBezTo>
                      <a:pt x="0" y="20574"/>
                      <a:pt x="38" y="20918"/>
                      <a:pt x="108" y="21169"/>
                    </a:cubicBezTo>
                    <a:cubicBezTo>
                      <a:pt x="190" y="21465"/>
                      <a:pt x="305" y="21600"/>
                      <a:pt x="421" y="21549"/>
                    </a:cubicBezTo>
                    <a:lnTo>
                      <a:pt x="12678" y="21549"/>
                    </a:lnTo>
                    <a:cubicBezTo>
                      <a:pt x="12783" y="21568"/>
                      <a:pt x="12887" y="21492"/>
                      <a:pt x="12984" y="21334"/>
                    </a:cubicBezTo>
                    <a:cubicBezTo>
                      <a:pt x="13062" y="21205"/>
                      <a:pt x="13131" y="21017"/>
                      <a:pt x="13190" y="20790"/>
                    </a:cubicBezTo>
                    <a:lnTo>
                      <a:pt x="16176" y="11987"/>
                    </a:lnTo>
                    <a:cubicBezTo>
                      <a:pt x="16261" y="11640"/>
                      <a:pt x="16304" y="11183"/>
                      <a:pt x="16297" y="10722"/>
                    </a:cubicBezTo>
                    <a:cubicBezTo>
                      <a:pt x="16289" y="10229"/>
                      <a:pt x="16226" y="9772"/>
                      <a:pt x="16119" y="9457"/>
                    </a:cubicBezTo>
                    <a:lnTo>
                      <a:pt x="13200" y="794"/>
                    </a:lnTo>
                    <a:cubicBezTo>
                      <a:pt x="13120" y="527"/>
                      <a:pt x="13027" y="320"/>
                      <a:pt x="12923" y="187"/>
                    </a:cubicBezTo>
                    <a:cubicBezTo>
                      <a:pt x="12827" y="62"/>
                      <a:pt x="12723" y="0"/>
                      <a:pt x="12621" y="9"/>
                    </a:cubicBezTo>
                  </a:path>
                </a:pathLst>
              </a:custGeom>
              <a:solidFill>
                <a:schemeClr val="accent2"/>
              </a:solidFill>
              <a:ln w="12700" cap="flat">
                <a:noFill/>
                <a:prstDash val="solid"/>
                <a:miter/>
              </a:ln>
              <a:effectLst>
                <a:outerShdw blurRad="127000" dist="63500" dir="2700000" algn="tl" rotWithShape="0">
                  <a:schemeClr val="accent2">
                    <a:alpha val="40000"/>
                  </a:schemeClr>
                </a:outerShdw>
              </a:effectLst>
            </p:spPr>
            <p:txBody>
              <a:bodyPr wrap="square" lIns="91440" tIns="45720" rIns="91440" bIns="45720" rtlCol="0" anchor="ctr">
                <a:normAutofit fontScale="850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20000"/>
                  </a:lnSpc>
                </a:pPr>
                <a:r>
                  <a:rPr lang="en-US" b="1" dirty="0">
                    <a:solidFill>
                      <a:srgbClr val="FFFFFF"/>
                    </a:solidFill>
                    <a:latin typeface="Calibri" pitchFamily="34" charset="0"/>
                    <a:ea typeface="宋体" pitchFamily="2" charset="-122"/>
                  </a:rPr>
                  <a:t>20XX</a:t>
                </a:r>
                <a:endParaRPr b="1" dirty="0">
                  <a:solidFill>
                    <a:srgbClr val="FFFFFF"/>
                  </a:solidFill>
                  <a:latin typeface="Calibri" pitchFamily="34" charset="0"/>
                  <a:ea typeface="宋体" pitchFamily="2" charset="-122"/>
                </a:endParaRPr>
              </a:p>
            </p:txBody>
          </p:sp>
          <p:sp>
            <p:nvSpPr>
              <p:cNvPr id="41" name="任意多边形: 形状 40"/>
              <p:cNvSpPr/>
              <p:nvPr/>
            </p:nvSpPr>
            <p:spPr>
              <a:xfrm flipH="1">
                <a:off x="6426449" y="2967060"/>
                <a:ext cx="181143" cy="173773"/>
              </a:xfrm>
              <a:custGeom>
                <a:avLst/>
                <a:gdLst/>
                <a:ahLst/>
                <a:cxnLst>
                  <a:cxn ang="0">
                    <a:pos x="wd2" y="hd2"/>
                  </a:cxn>
                  <a:cxn ang="5400000">
                    <a:pos x="wd2" y="hd2"/>
                  </a:cxn>
                  <a:cxn ang="10800000">
                    <a:pos x="wd2" y="hd2"/>
                  </a:cxn>
                  <a:cxn ang="16200000">
                    <a:pos x="wd2" y="hd2"/>
                  </a:cxn>
                </a:cxnLst>
                <a:rect l="0" t="0" r="r" b="b"/>
                <a:pathLst>
                  <a:path w="3234" h="10989">
                    <a:moveTo>
                      <a:pt x="1617" y="0"/>
                    </a:moveTo>
                    <a:cubicBezTo>
                      <a:pt x="1240" y="0"/>
                      <a:pt x="863" y="507"/>
                      <a:pt x="575" y="1531"/>
                    </a:cubicBezTo>
                    <a:cubicBezTo>
                      <a:pt x="0" y="3578"/>
                      <a:pt x="0" y="6895"/>
                      <a:pt x="575" y="8942"/>
                    </a:cubicBezTo>
                    <a:cubicBezTo>
                      <a:pt x="1151" y="10989"/>
                      <a:pt x="2083" y="10989"/>
                      <a:pt x="2659" y="8942"/>
                    </a:cubicBezTo>
                    <a:cubicBezTo>
                      <a:pt x="3234" y="6895"/>
                      <a:pt x="3234" y="3578"/>
                      <a:pt x="2659" y="1531"/>
                    </a:cubicBezTo>
                    <a:cubicBezTo>
                      <a:pt x="2371" y="507"/>
                      <a:pt x="1994" y="0"/>
                      <a:pt x="1617" y="0"/>
                    </a:cubicBezTo>
                  </a:path>
                </a:pathLst>
              </a:custGeom>
              <a:solidFill>
                <a:schemeClr val="bg1"/>
              </a:solidFill>
              <a:ln w="31750" cap="flat">
                <a:solidFill>
                  <a:schemeClr val="accent2"/>
                </a:solidFill>
                <a:prstDash val="solid"/>
                <a:miter/>
              </a:ln>
              <a:effectLst>
                <a:outerShdw blurRad="127000" dist="63500" dir="2700000" algn="tl" rotWithShape="0">
                  <a:schemeClr val="accent2">
                    <a:alpha val="40000"/>
                  </a:schemeClr>
                </a:outerShdw>
              </a:effectLst>
            </p:spPr>
            <p:txBody>
              <a:bodyPr wrap="square" rtlCol="0" anchor="ctr">
                <a:normAutofit fontScale="25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20000"/>
                  </a:lnSpc>
                </a:pPr>
                <a:endParaRPr b="1">
                  <a:solidFill>
                    <a:schemeClr val="bg1"/>
                  </a:solidFill>
                </a:endParaRPr>
              </a:p>
            </p:txBody>
          </p:sp>
          <p:sp>
            <p:nvSpPr>
              <p:cNvPr id="38" name="文本框 37"/>
              <p:cNvSpPr txBox="1"/>
              <p:nvPr/>
            </p:nvSpPr>
            <p:spPr>
              <a:xfrm>
                <a:off x="7807602" y="2709443"/>
                <a:ext cx="3722824" cy="414985"/>
              </a:xfrm>
              <a:prstGeom prst="rect">
                <a:avLst/>
              </a:prstGeom>
              <a:noFill/>
            </p:spPr>
            <p:txBody>
              <a:bodyPr wrap="square" rtlCol="0" anchor="b" anchorCtr="0">
                <a:normAutofit/>
              </a:bodyPr>
              <a:lstStyle/>
              <a:p>
                <a:r>
                  <a:rPr kumimoji="1" lang="en-US" altLang="zh-CN" b="1">
                    <a:latin typeface="Calibri" pitchFamily="34" charset="0"/>
                    <a:ea typeface="宋体" pitchFamily="2" charset="-122"/>
                  </a:rPr>
                  <a:t>Click to add text</a:t>
                </a:r>
                <a:endParaRPr kumimoji="1" lang="en-US" altLang="zh-CN" b="1" dirty="0">
                  <a:latin typeface="Calibri" pitchFamily="34" charset="0"/>
                  <a:ea typeface="宋体" pitchFamily="2" charset="-122"/>
                </a:endParaRPr>
              </a:p>
            </p:txBody>
          </p:sp>
          <p:sp>
            <p:nvSpPr>
              <p:cNvPr id="39" name="文本框 38"/>
              <p:cNvSpPr txBox="1"/>
              <p:nvPr/>
            </p:nvSpPr>
            <p:spPr>
              <a:xfrm>
                <a:off x="7807602" y="3140833"/>
                <a:ext cx="3722824" cy="547522"/>
              </a:xfrm>
              <a:prstGeom prst="rect">
                <a:avLst/>
              </a:prstGeom>
              <a:noFill/>
            </p:spPr>
            <p:txBody>
              <a:bodyPr wrap="square" rtlCol="0" anchor="t" anchorCtr="0">
                <a:normAutofit/>
              </a:bodyPr>
              <a:lstStyle/>
              <a:p>
                <a:pPr>
                  <a:lnSpc>
                    <a:spcPct val="120000"/>
                  </a:lnSpc>
                </a:pPr>
                <a:r>
                  <a:rPr kumimoji="1" lang="en-US" altLang="zh-CN" sz="1200">
                    <a:latin typeface="Calibri" pitchFamily="34" charset="0"/>
                    <a:ea typeface="宋体" pitchFamily="2" charset="-122"/>
                  </a:rPr>
                  <a:t>Eirmod takimata duo ea gubergren kasd facilisis ipsum dolor.</a:t>
                </a:r>
                <a:endParaRPr kumimoji="1" lang="en-US" altLang="zh-CN" sz="1200" dirty="0">
                  <a:latin typeface="Calibri" pitchFamily="34" charset="0"/>
                  <a:ea typeface="宋体" pitchFamily="2" charset="-122"/>
                </a:endParaRPr>
              </a:p>
            </p:txBody>
          </p:sp>
        </p:grpSp>
        <p:grpSp>
          <p:nvGrpSpPr>
            <p:cNvPr id="4" name="组合 3"/>
            <p:cNvGrpSpPr/>
            <p:nvPr/>
          </p:nvGrpSpPr>
          <p:grpSpPr>
            <a:xfrm>
              <a:off x="6426449" y="1280312"/>
              <a:ext cx="5103977" cy="978912"/>
              <a:chOff x="6426449" y="1280312"/>
              <a:chExt cx="5103977" cy="978912"/>
            </a:xfrm>
          </p:grpSpPr>
          <p:sp>
            <p:nvSpPr>
              <p:cNvPr id="31" name="任意多边形: 形状 30"/>
              <p:cNvSpPr/>
              <p:nvPr/>
            </p:nvSpPr>
            <p:spPr>
              <a:xfrm flipH="1">
                <a:off x="6723089" y="1450181"/>
                <a:ext cx="913220" cy="341568"/>
              </a:xfrm>
              <a:custGeom>
                <a:avLst/>
                <a:gdLst/>
                <a:ahLst/>
                <a:cxnLst>
                  <a:cxn ang="0">
                    <a:pos x="wd2" y="hd2"/>
                  </a:cxn>
                  <a:cxn ang="5400000">
                    <a:pos x="wd2" y="hd2"/>
                  </a:cxn>
                  <a:cxn ang="10800000">
                    <a:pos x="wd2" y="hd2"/>
                  </a:cxn>
                  <a:cxn ang="16200000">
                    <a:pos x="wd2" y="hd2"/>
                  </a:cxn>
                </a:cxnLst>
                <a:rect l="0" t="0" r="r" b="b"/>
                <a:pathLst>
                  <a:path w="16304" h="21600">
                    <a:moveTo>
                      <a:pt x="12621" y="9"/>
                    </a:moveTo>
                    <a:lnTo>
                      <a:pt x="403" y="98"/>
                    </a:lnTo>
                    <a:cubicBezTo>
                      <a:pt x="298" y="88"/>
                      <a:pt x="193" y="237"/>
                      <a:pt x="118" y="503"/>
                    </a:cubicBezTo>
                    <a:cubicBezTo>
                      <a:pt x="47" y="760"/>
                      <a:pt x="7" y="1115"/>
                      <a:pt x="8" y="1477"/>
                    </a:cubicBezTo>
                    <a:lnTo>
                      <a:pt x="1" y="20221"/>
                    </a:lnTo>
                    <a:cubicBezTo>
                      <a:pt x="0" y="20574"/>
                      <a:pt x="38" y="20918"/>
                      <a:pt x="108" y="21169"/>
                    </a:cubicBezTo>
                    <a:cubicBezTo>
                      <a:pt x="190" y="21465"/>
                      <a:pt x="305" y="21600"/>
                      <a:pt x="421" y="21549"/>
                    </a:cubicBezTo>
                    <a:lnTo>
                      <a:pt x="12678" y="21549"/>
                    </a:lnTo>
                    <a:cubicBezTo>
                      <a:pt x="12783" y="21568"/>
                      <a:pt x="12887" y="21492"/>
                      <a:pt x="12984" y="21334"/>
                    </a:cubicBezTo>
                    <a:cubicBezTo>
                      <a:pt x="13062" y="21205"/>
                      <a:pt x="13131" y="21017"/>
                      <a:pt x="13190" y="20790"/>
                    </a:cubicBezTo>
                    <a:lnTo>
                      <a:pt x="16176" y="11987"/>
                    </a:lnTo>
                    <a:cubicBezTo>
                      <a:pt x="16261" y="11640"/>
                      <a:pt x="16304" y="11183"/>
                      <a:pt x="16297" y="10722"/>
                    </a:cubicBezTo>
                    <a:cubicBezTo>
                      <a:pt x="16289" y="10229"/>
                      <a:pt x="16226" y="9772"/>
                      <a:pt x="16119" y="9457"/>
                    </a:cubicBezTo>
                    <a:lnTo>
                      <a:pt x="13200" y="794"/>
                    </a:lnTo>
                    <a:cubicBezTo>
                      <a:pt x="13120" y="527"/>
                      <a:pt x="13027" y="320"/>
                      <a:pt x="12923" y="187"/>
                    </a:cubicBezTo>
                    <a:cubicBezTo>
                      <a:pt x="12827" y="62"/>
                      <a:pt x="12723" y="0"/>
                      <a:pt x="12621" y="9"/>
                    </a:cubicBezTo>
                  </a:path>
                </a:pathLst>
              </a:custGeom>
              <a:solidFill>
                <a:schemeClr val="accent1"/>
              </a:solidFill>
              <a:ln w="12700" cap="flat">
                <a:noFill/>
                <a:prstDash val="solid"/>
                <a:miter/>
              </a:ln>
              <a:effectLst>
                <a:outerShdw blurRad="127000" dist="63500" dir="2700000" algn="tl" rotWithShape="0">
                  <a:schemeClr val="accent1">
                    <a:alpha val="40000"/>
                  </a:schemeClr>
                </a:outerShdw>
              </a:effectLst>
            </p:spPr>
            <p:txBody>
              <a:bodyPr wrap="square" lIns="91440" tIns="45720" rIns="91440" bIns="45720" rtlCol="0" anchor="ctr">
                <a:normAutofit fontScale="850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20000"/>
                  </a:lnSpc>
                </a:pPr>
                <a:r>
                  <a:rPr lang="en-US" b="1" dirty="0">
                    <a:solidFill>
                      <a:srgbClr val="FFFFFF"/>
                    </a:solidFill>
                    <a:latin typeface="Calibri" pitchFamily="34" charset="0"/>
                    <a:ea typeface="宋体" pitchFamily="2" charset="-122"/>
                  </a:rPr>
                  <a:t>20XX</a:t>
                </a:r>
                <a:endParaRPr b="1" dirty="0">
                  <a:solidFill>
                    <a:srgbClr val="FFFFFF"/>
                  </a:solidFill>
                  <a:latin typeface="Calibri" pitchFamily="34" charset="0"/>
                  <a:ea typeface="宋体" pitchFamily="2" charset="-122"/>
                </a:endParaRPr>
              </a:p>
            </p:txBody>
          </p:sp>
          <p:sp>
            <p:nvSpPr>
              <p:cNvPr id="32" name="任意多边形: 形状 31"/>
              <p:cNvSpPr/>
              <p:nvPr/>
            </p:nvSpPr>
            <p:spPr>
              <a:xfrm flipH="1">
                <a:off x="6426449" y="1537929"/>
                <a:ext cx="181143" cy="173773"/>
              </a:xfrm>
              <a:custGeom>
                <a:avLst/>
                <a:gdLst/>
                <a:ahLst/>
                <a:cxnLst>
                  <a:cxn ang="0">
                    <a:pos x="wd2" y="hd2"/>
                  </a:cxn>
                  <a:cxn ang="5400000">
                    <a:pos x="wd2" y="hd2"/>
                  </a:cxn>
                  <a:cxn ang="10800000">
                    <a:pos x="wd2" y="hd2"/>
                  </a:cxn>
                  <a:cxn ang="16200000">
                    <a:pos x="wd2" y="hd2"/>
                  </a:cxn>
                </a:cxnLst>
                <a:rect l="0" t="0" r="r" b="b"/>
                <a:pathLst>
                  <a:path w="3234" h="10989">
                    <a:moveTo>
                      <a:pt x="1617" y="0"/>
                    </a:moveTo>
                    <a:cubicBezTo>
                      <a:pt x="1240" y="0"/>
                      <a:pt x="863" y="507"/>
                      <a:pt x="575" y="1531"/>
                    </a:cubicBezTo>
                    <a:cubicBezTo>
                      <a:pt x="0" y="3578"/>
                      <a:pt x="0" y="6895"/>
                      <a:pt x="575" y="8942"/>
                    </a:cubicBezTo>
                    <a:cubicBezTo>
                      <a:pt x="1151" y="10989"/>
                      <a:pt x="2083" y="10989"/>
                      <a:pt x="2659" y="8942"/>
                    </a:cubicBezTo>
                    <a:cubicBezTo>
                      <a:pt x="3234" y="6895"/>
                      <a:pt x="3234" y="3578"/>
                      <a:pt x="2659" y="1531"/>
                    </a:cubicBezTo>
                    <a:cubicBezTo>
                      <a:pt x="2371" y="507"/>
                      <a:pt x="1994" y="0"/>
                      <a:pt x="1617" y="0"/>
                    </a:cubicBezTo>
                  </a:path>
                </a:pathLst>
              </a:custGeom>
              <a:solidFill>
                <a:schemeClr val="bg1"/>
              </a:solidFill>
              <a:ln w="31750" cap="flat">
                <a:solidFill>
                  <a:schemeClr val="accent1"/>
                </a:solidFill>
                <a:prstDash val="solid"/>
                <a:miter/>
              </a:ln>
              <a:effectLst>
                <a:outerShdw blurRad="127000" dist="63500" dir="2700000" algn="tl" rotWithShape="0">
                  <a:schemeClr val="accent1">
                    <a:alpha val="40000"/>
                  </a:schemeClr>
                </a:outerShdw>
              </a:effectLst>
            </p:spPr>
            <p:txBody>
              <a:bodyPr wrap="square" rtlCol="0" anchor="ctr">
                <a:normAutofit fontScale="25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20000"/>
                  </a:lnSpc>
                </a:pPr>
                <a:endParaRPr b="1">
                  <a:solidFill>
                    <a:schemeClr val="bg1"/>
                  </a:solidFill>
                </a:endParaRPr>
              </a:p>
            </p:txBody>
          </p:sp>
          <p:sp>
            <p:nvSpPr>
              <p:cNvPr id="29" name="文本框 28"/>
              <p:cNvSpPr txBox="1"/>
              <p:nvPr/>
            </p:nvSpPr>
            <p:spPr>
              <a:xfrm>
                <a:off x="7807602" y="1280312"/>
                <a:ext cx="3722824" cy="414985"/>
              </a:xfrm>
              <a:prstGeom prst="rect">
                <a:avLst/>
              </a:prstGeom>
              <a:noFill/>
            </p:spPr>
            <p:txBody>
              <a:bodyPr wrap="square" rtlCol="0" anchor="b" anchorCtr="0">
                <a:normAutofit/>
              </a:bodyPr>
              <a:lstStyle/>
              <a:p>
                <a:r>
                  <a:rPr kumimoji="1" lang="en-US" altLang="zh-CN" b="1">
                    <a:latin typeface="Calibri" pitchFamily="34" charset="0"/>
                    <a:ea typeface="宋体" pitchFamily="2" charset="-122"/>
                  </a:rPr>
                  <a:t>Click to add text</a:t>
                </a:r>
                <a:endParaRPr kumimoji="1" lang="en-US" altLang="zh-CN" b="1" dirty="0">
                  <a:latin typeface="Calibri" pitchFamily="34" charset="0"/>
                  <a:ea typeface="宋体" pitchFamily="2" charset="-122"/>
                </a:endParaRPr>
              </a:p>
            </p:txBody>
          </p:sp>
          <p:sp>
            <p:nvSpPr>
              <p:cNvPr id="30" name="文本框 29"/>
              <p:cNvSpPr txBox="1"/>
              <p:nvPr/>
            </p:nvSpPr>
            <p:spPr>
              <a:xfrm>
                <a:off x="7807602" y="1711702"/>
                <a:ext cx="3722824" cy="547522"/>
              </a:xfrm>
              <a:prstGeom prst="rect">
                <a:avLst/>
              </a:prstGeom>
              <a:noFill/>
            </p:spPr>
            <p:txBody>
              <a:bodyPr wrap="square" rtlCol="0" anchor="t" anchorCtr="0">
                <a:normAutofit/>
              </a:bodyPr>
              <a:lstStyle/>
              <a:p>
                <a:pPr>
                  <a:lnSpc>
                    <a:spcPct val="120000"/>
                  </a:lnSpc>
                </a:pPr>
                <a:r>
                  <a:rPr kumimoji="1" lang="en-US" altLang="zh-CN" sz="1200">
                    <a:latin typeface="Calibri" pitchFamily="34" charset="0"/>
                    <a:ea typeface="宋体" pitchFamily="2" charset="-122"/>
                  </a:rPr>
                  <a:t>Nisl suscipit autem kasd dolor eirmod id elitr magna sit te.</a:t>
                </a:r>
                <a:endParaRPr kumimoji="1" lang="en-US" altLang="zh-CN" sz="1200" dirty="0">
                  <a:latin typeface="Calibri" pitchFamily="34" charset="0"/>
                  <a:ea typeface="宋体" pitchFamily="2" charset="-122"/>
                </a:endParaRPr>
              </a:p>
            </p:txBody>
          </p:sp>
        </p:grpSp>
      </p:grpSp>
    </p:spTree>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组合 2"/>
          <p:cNvGrpSpPr/>
          <p:nvPr/>
        </p:nvGrpSpPr>
        <p:grpSpPr>
          <a:xfrm>
            <a:off x="608691" y="1625602"/>
            <a:ext cx="11065296" cy="4429035"/>
            <a:chOff x="608691" y="1625600"/>
            <a:chExt cx="11065296" cy="4429035"/>
          </a:xfrm>
        </p:grpSpPr>
        <p:sp>
          <p:nvSpPr>
            <p:cNvPr id="4" name="矩形: 圆角 3"/>
            <p:cNvSpPr/>
            <p:nvPr/>
          </p:nvSpPr>
          <p:spPr>
            <a:xfrm>
              <a:off x="717551" y="1625600"/>
              <a:ext cx="4542517" cy="914400"/>
            </a:xfrm>
            <a:prstGeom prst="roundRect">
              <a:avLst>
                <a:gd name="adj" fmla="val 50000"/>
              </a:avLst>
            </a:prstGeom>
            <a:solidFill>
              <a:schemeClr val="tx1">
                <a:lumMod val="10000"/>
                <a:lumOff val="9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a:solidFill>
                  <a:schemeClr val="tx1"/>
                </a:solidFill>
              </a:endParaRPr>
            </a:p>
          </p:txBody>
        </p:sp>
        <p:sp>
          <p:nvSpPr>
            <p:cNvPr id="7" name="椭圆 6"/>
            <p:cNvSpPr/>
            <p:nvPr/>
          </p:nvSpPr>
          <p:spPr>
            <a:xfrm>
              <a:off x="608691" y="1625600"/>
              <a:ext cx="914400" cy="9144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GB" sz="2800" b="1" dirty="0">
                  <a:latin typeface="Calibri" pitchFamily="34" charset="0"/>
                  <a:ea typeface="宋体" pitchFamily="2" charset="-122"/>
                </a:rPr>
                <a:t>01</a:t>
              </a:r>
              <a:endParaRPr lang="en-GB" sz="2800" b="1" dirty="0">
                <a:latin typeface="Calibri" pitchFamily="34" charset="0"/>
                <a:ea typeface="宋体" pitchFamily="2" charset="-122"/>
              </a:endParaRPr>
            </a:p>
          </p:txBody>
        </p:sp>
        <p:sp>
          <p:nvSpPr>
            <p:cNvPr id="10" name="文本框 9"/>
            <p:cNvSpPr txBox="1"/>
            <p:nvPr/>
          </p:nvSpPr>
          <p:spPr>
            <a:xfrm>
              <a:off x="1780622" y="1882745"/>
              <a:ext cx="3035259" cy="400110"/>
            </a:xfrm>
            <a:prstGeom prst="rect">
              <a:avLst/>
            </a:prstGeom>
            <a:noFill/>
          </p:spPr>
          <p:txBody>
            <a:bodyPr wrap="square" rtlCol="0" anchor="b">
              <a:spAutoFit/>
            </a:bodyPr>
            <a:lstStyle/>
            <a:p>
              <a:r>
                <a:rPr lang="en-GB" altLang="zh-CN" sz="2000" b="1" dirty="0">
                  <a:latin typeface="Calibri" pitchFamily="34" charset="0"/>
                  <a:ea typeface="宋体" pitchFamily="2" charset="-122"/>
                </a:rPr>
                <a:t>Copy paste fonts. </a:t>
              </a:r>
              <a:endParaRPr lang="en-GB" altLang="zh-CN" sz="2000" b="1" dirty="0">
                <a:latin typeface="Calibri" pitchFamily="34" charset="0"/>
                <a:ea typeface="宋体" pitchFamily="2" charset="-122"/>
              </a:endParaRPr>
            </a:p>
          </p:txBody>
        </p:sp>
        <p:sp>
          <p:nvSpPr>
            <p:cNvPr id="11" name="矩形: 圆角 10"/>
            <p:cNvSpPr/>
            <p:nvPr/>
          </p:nvSpPr>
          <p:spPr>
            <a:xfrm>
              <a:off x="717551" y="2797145"/>
              <a:ext cx="4542517" cy="914400"/>
            </a:xfrm>
            <a:prstGeom prst="roundRect">
              <a:avLst>
                <a:gd name="adj" fmla="val 50000"/>
              </a:avLst>
            </a:prstGeom>
            <a:solidFill>
              <a:schemeClr val="tx1">
                <a:lumMod val="10000"/>
                <a:lumOff val="9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a:solidFill>
                  <a:schemeClr val="tx1"/>
                </a:solidFill>
              </a:endParaRPr>
            </a:p>
          </p:txBody>
        </p:sp>
        <p:sp>
          <p:nvSpPr>
            <p:cNvPr id="12" name="椭圆 11"/>
            <p:cNvSpPr/>
            <p:nvPr/>
          </p:nvSpPr>
          <p:spPr>
            <a:xfrm>
              <a:off x="608691" y="2797145"/>
              <a:ext cx="914400" cy="9144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GB" sz="2800" b="1" dirty="0">
                  <a:latin typeface="Calibri" pitchFamily="34" charset="0"/>
                  <a:ea typeface="宋体" pitchFamily="2" charset="-122"/>
                </a:rPr>
                <a:t>02</a:t>
              </a:r>
              <a:endParaRPr lang="en-GB" sz="2800" b="1" dirty="0">
                <a:latin typeface="Calibri" pitchFamily="34" charset="0"/>
                <a:ea typeface="宋体" pitchFamily="2" charset="-122"/>
              </a:endParaRPr>
            </a:p>
          </p:txBody>
        </p:sp>
        <p:sp>
          <p:nvSpPr>
            <p:cNvPr id="13" name="文本框 12"/>
            <p:cNvSpPr txBox="1"/>
            <p:nvPr/>
          </p:nvSpPr>
          <p:spPr>
            <a:xfrm>
              <a:off x="1780622" y="3054290"/>
              <a:ext cx="3035259" cy="400110"/>
            </a:xfrm>
            <a:prstGeom prst="rect">
              <a:avLst/>
            </a:prstGeom>
            <a:noFill/>
          </p:spPr>
          <p:txBody>
            <a:bodyPr wrap="square" rtlCol="0" anchor="b">
              <a:spAutoFit/>
            </a:bodyPr>
            <a:lstStyle/>
            <a:p>
              <a:r>
                <a:rPr lang="en-GB" altLang="zh-CN" sz="2000" b="1" dirty="0">
                  <a:latin typeface="Calibri" pitchFamily="34" charset="0"/>
                  <a:ea typeface="宋体" pitchFamily="2" charset="-122"/>
                </a:rPr>
                <a:t>Supporting text here.</a:t>
              </a:r>
              <a:endParaRPr lang="en-GB" altLang="zh-CN" sz="2000" b="1" dirty="0">
                <a:latin typeface="Calibri" pitchFamily="34" charset="0"/>
                <a:ea typeface="宋体" pitchFamily="2" charset="-122"/>
              </a:endParaRPr>
            </a:p>
          </p:txBody>
        </p:sp>
        <p:sp>
          <p:nvSpPr>
            <p:cNvPr id="14" name="矩形: 圆角 13"/>
            <p:cNvSpPr/>
            <p:nvPr/>
          </p:nvSpPr>
          <p:spPr>
            <a:xfrm>
              <a:off x="717551" y="3968690"/>
              <a:ext cx="4542517" cy="914400"/>
            </a:xfrm>
            <a:prstGeom prst="roundRect">
              <a:avLst>
                <a:gd name="adj" fmla="val 50000"/>
              </a:avLst>
            </a:prstGeom>
            <a:solidFill>
              <a:schemeClr val="tx1">
                <a:lumMod val="10000"/>
                <a:lumOff val="9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a:solidFill>
                  <a:schemeClr val="tx1"/>
                </a:solidFill>
              </a:endParaRPr>
            </a:p>
          </p:txBody>
        </p:sp>
        <p:sp>
          <p:nvSpPr>
            <p:cNvPr id="15" name="椭圆 14"/>
            <p:cNvSpPr/>
            <p:nvPr/>
          </p:nvSpPr>
          <p:spPr>
            <a:xfrm>
              <a:off x="608691" y="3968690"/>
              <a:ext cx="914400" cy="9144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GB" sz="2800" b="1" dirty="0">
                  <a:latin typeface="Calibri" pitchFamily="34" charset="0"/>
                  <a:ea typeface="宋体" pitchFamily="2" charset="-122"/>
                </a:rPr>
                <a:t>03</a:t>
              </a:r>
              <a:endParaRPr lang="en-GB" sz="2800" b="1" dirty="0">
                <a:latin typeface="Calibri" pitchFamily="34" charset="0"/>
                <a:ea typeface="宋体" pitchFamily="2" charset="-122"/>
              </a:endParaRPr>
            </a:p>
          </p:txBody>
        </p:sp>
        <p:sp>
          <p:nvSpPr>
            <p:cNvPr id="16" name="文本框 15"/>
            <p:cNvSpPr txBox="1"/>
            <p:nvPr/>
          </p:nvSpPr>
          <p:spPr>
            <a:xfrm>
              <a:off x="1780622" y="4225836"/>
              <a:ext cx="3035259" cy="400110"/>
            </a:xfrm>
            <a:prstGeom prst="rect">
              <a:avLst/>
            </a:prstGeom>
            <a:noFill/>
          </p:spPr>
          <p:txBody>
            <a:bodyPr wrap="square" rtlCol="0" anchor="b">
              <a:spAutoFit/>
            </a:bodyPr>
            <a:lstStyle/>
            <a:p>
              <a:r>
                <a:rPr lang="en-GB" altLang="zh-CN" sz="2000" b="1" dirty="0">
                  <a:latin typeface="Calibri" pitchFamily="34" charset="0"/>
                  <a:ea typeface="宋体" pitchFamily="2" charset="-122"/>
                </a:rPr>
                <a:t>Copy paste fonts. </a:t>
              </a:r>
              <a:endParaRPr lang="en-GB" altLang="zh-CN" sz="2000" b="1" dirty="0">
                <a:latin typeface="Calibri" pitchFamily="34" charset="0"/>
                <a:ea typeface="宋体" pitchFamily="2" charset="-122"/>
              </a:endParaRPr>
            </a:p>
          </p:txBody>
        </p:sp>
        <p:sp>
          <p:nvSpPr>
            <p:cNvPr id="17" name="矩形: 圆角 16"/>
            <p:cNvSpPr/>
            <p:nvPr/>
          </p:nvSpPr>
          <p:spPr>
            <a:xfrm>
              <a:off x="717551" y="5140235"/>
              <a:ext cx="4542517" cy="914400"/>
            </a:xfrm>
            <a:prstGeom prst="roundRect">
              <a:avLst>
                <a:gd name="adj" fmla="val 50000"/>
              </a:avLst>
            </a:prstGeom>
            <a:solidFill>
              <a:schemeClr val="tx1">
                <a:lumMod val="10000"/>
                <a:lumOff val="9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a:solidFill>
                  <a:schemeClr val="tx1"/>
                </a:solidFill>
              </a:endParaRPr>
            </a:p>
          </p:txBody>
        </p:sp>
        <p:sp>
          <p:nvSpPr>
            <p:cNvPr id="18" name="椭圆 17"/>
            <p:cNvSpPr/>
            <p:nvPr/>
          </p:nvSpPr>
          <p:spPr>
            <a:xfrm>
              <a:off x="608691" y="5140235"/>
              <a:ext cx="914400" cy="9144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GB" sz="2800" b="1" dirty="0">
                  <a:latin typeface="Calibri" pitchFamily="34" charset="0"/>
                  <a:ea typeface="宋体" pitchFamily="2" charset="-122"/>
                </a:rPr>
                <a:t>04</a:t>
              </a:r>
              <a:endParaRPr lang="en-GB" sz="2800" b="1" dirty="0">
                <a:latin typeface="Calibri" pitchFamily="34" charset="0"/>
                <a:ea typeface="宋体" pitchFamily="2" charset="-122"/>
              </a:endParaRPr>
            </a:p>
          </p:txBody>
        </p:sp>
        <p:sp>
          <p:nvSpPr>
            <p:cNvPr id="19" name="文本框 18"/>
            <p:cNvSpPr txBox="1"/>
            <p:nvPr/>
          </p:nvSpPr>
          <p:spPr>
            <a:xfrm>
              <a:off x="1780622" y="5397381"/>
              <a:ext cx="3035259" cy="400110"/>
            </a:xfrm>
            <a:prstGeom prst="rect">
              <a:avLst/>
            </a:prstGeom>
            <a:noFill/>
          </p:spPr>
          <p:txBody>
            <a:bodyPr wrap="square" rtlCol="0" anchor="b">
              <a:spAutoFit/>
            </a:bodyPr>
            <a:lstStyle/>
            <a:p>
              <a:r>
                <a:rPr lang="en-GB" altLang="zh-CN" sz="2000" b="1" dirty="0">
                  <a:latin typeface="Calibri" pitchFamily="34" charset="0"/>
                  <a:ea typeface="宋体" pitchFamily="2" charset="-122"/>
                </a:rPr>
                <a:t>Supporting text here.</a:t>
              </a:r>
              <a:endParaRPr lang="en-GB" altLang="zh-CN" sz="2000" b="1" dirty="0">
                <a:latin typeface="Calibri" pitchFamily="34" charset="0"/>
                <a:ea typeface="宋体" pitchFamily="2" charset="-122"/>
              </a:endParaRPr>
            </a:p>
          </p:txBody>
        </p:sp>
        <p:sp>
          <p:nvSpPr>
            <p:cNvPr id="52" name="矩形: 圆角 51"/>
            <p:cNvSpPr/>
            <p:nvPr/>
          </p:nvSpPr>
          <p:spPr>
            <a:xfrm>
              <a:off x="5512943" y="1625600"/>
              <a:ext cx="4542517" cy="914400"/>
            </a:xfrm>
            <a:prstGeom prst="roundRect">
              <a:avLst>
                <a:gd name="adj" fmla="val 50000"/>
              </a:avLst>
            </a:prstGeom>
            <a:solidFill>
              <a:schemeClr val="tx1">
                <a:lumMod val="10000"/>
                <a:lumOff val="9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a:solidFill>
                  <a:schemeClr val="tx1"/>
                </a:solidFill>
              </a:endParaRPr>
            </a:p>
          </p:txBody>
        </p:sp>
        <p:sp>
          <p:nvSpPr>
            <p:cNvPr id="53" name="椭圆 52"/>
            <p:cNvSpPr/>
            <p:nvPr/>
          </p:nvSpPr>
          <p:spPr>
            <a:xfrm>
              <a:off x="5404083" y="1625600"/>
              <a:ext cx="914400" cy="9144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GB" sz="2800" b="1" dirty="0">
                  <a:latin typeface="Calibri" pitchFamily="34" charset="0"/>
                  <a:ea typeface="宋体" pitchFamily="2" charset="-122"/>
                </a:rPr>
                <a:t>05</a:t>
              </a:r>
              <a:endParaRPr lang="en-GB" sz="2800" b="1" dirty="0">
                <a:latin typeface="Calibri" pitchFamily="34" charset="0"/>
                <a:ea typeface="宋体" pitchFamily="2" charset="-122"/>
              </a:endParaRPr>
            </a:p>
          </p:txBody>
        </p:sp>
        <p:sp>
          <p:nvSpPr>
            <p:cNvPr id="54" name="文本框 53"/>
            <p:cNvSpPr txBox="1"/>
            <p:nvPr/>
          </p:nvSpPr>
          <p:spPr>
            <a:xfrm>
              <a:off x="6576014" y="1882745"/>
              <a:ext cx="3035259" cy="400110"/>
            </a:xfrm>
            <a:prstGeom prst="rect">
              <a:avLst/>
            </a:prstGeom>
            <a:noFill/>
          </p:spPr>
          <p:txBody>
            <a:bodyPr wrap="square" rtlCol="0" anchor="b">
              <a:spAutoFit/>
            </a:bodyPr>
            <a:lstStyle/>
            <a:p>
              <a:r>
                <a:rPr lang="en-GB" altLang="zh-CN" sz="2000" b="1" dirty="0">
                  <a:latin typeface="Calibri" pitchFamily="34" charset="0"/>
                  <a:ea typeface="宋体" pitchFamily="2" charset="-122"/>
                </a:rPr>
                <a:t>Supporting text here.</a:t>
              </a:r>
              <a:endParaRPr lang="en-GB" altLang="zh-CN" sz="2000" b="1" dirty="0">
                <a:latin typeface="Calibri" pitchFamily="34" charset="0"/>
                <a:ea typeface="宋体" pitchFamily="2" charset="-122"/>
              </a:endParaRPr>
            </a:p>
          </p:txBody>
        </p:sp>
        <p:sp>
          <p:nvSpPr>
            <p:cNvPr id="49" name="矩形: 圆角 48"/>
            <p:cNvSpPr/>
            <p:nvPr/>
          </p:nvSpPr>
          <p:spPr>
            <a:xfrm>
              <a:off x="5512943" y="2797145"/>
              <a:ext cx="4542517" cy="914400"/>
            </a:xfrm>
            <a:prstGeom prst="roundRect">
              <a:avLst>
                <a:gd name="adj" fmla="val 50000"/>
              </a:avLst>
            </a:prstGeom>
            <a:solidFill>
              <a:schemeClr val="tx1">
                <a:lumMod val="10000"/>
                <a:lumOff val="9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a:solidFill>
                  <a:schemeClr val="tx1"/>
                </a:solidFill>
              </a:endParaRPr>
            </a:p>
          </p:txBody>
        </p:sp>
        <p:sp>
          <p:nvSpPr>
            <p:cNvPr id="50" name="椭圆 49"/>
            <p:cNvSpPr/>
            <p:nvPr/>
          </p:nvSpPr>
          <p:spPr>
            <a:xfrm>
              <a:off x="5404083" y="2797145"/>
              <a:ext cx="914400" cy="9144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GB" sz="2800" b="1" dirty="0">
                  <a:latin typeface="Calibri" pitchFamily="34" charset="0"/>
                  <a:ea typeface="宋体" pitchFamily="2" charset="-122"/>
                </a:rPr>
                <a:t>06</a:t>
              </a:r>
              <a:endParaRPr lang="en-GB" sz="2800" b="1" dirty="0">
                <a:latin typeface="Calibri" pitchFamily="34" charset="0"/>
                <a:ea typeface="宋体" pitchFamily="2" charset="-122"/>
              </a:endParaRPr>
            </a:p>
          </p:txBody>
        </p:sp>
        <p:sp>
          <p:nvSpPr>
            <p:cNvPr id="51" name="文本框 50"/>
            <p:cNvSpPr txBox="1"/>
            <p:nvPr/>
          </p:nvSpPr>
          <p:spPr>
            <a:xfrm>
              <a:off x="6576014" y="3054290"/>
              <a:ext cx="3035259" cy="400110"/>
            </a:xfrm>
            <a:prstGeom prst="rect">
              <a:avLst/>
            </a:prstGeom>
            <a:noFill/>
          </p:spPr>
          <p:txBody>
            <a:bodyPr wrap="square" rtlCol="0" anchor="b">
              <a:spAutoFit/>
            </a:bodyPr>
            <a:lstStyle/>
            <a:p>
              <a:r>
                <a:rPr lang="en-GB" altLang="zh-CN" sz="2000" b="1" dirty="0">
                  <a:latin typeface="Calibri" pitchFamily="34" charset="0"/>
                  <a:ea typeface="宋体" pitchFamily="2" charset="-122"/>
                </a:rPr>
                <a:t>Copy paste fonts. </a:t>
              </a:r>
              <a:endParaRPr lang="en-GB" altLang="zh-CN" sz="2000" b="1" dirty="0">
                <a:latin typeface="Calibri" pitchFamily="34" charset="0"/>
                <a:ea typeface="宋体" pitchFamily="2" charset="-122"/>
              </a:endParaRPr>
            </a:p>
          </p:txBody>
        </p:sp>
        <p:sp>
          <p:nvSpPr>
            <p:cNvPr id="46" name="矩形: 圆角 45"/>
            <p:cNvSpPr/>
            <p:nvPr/>
          </p:nvSpPr>
          <p:spPr>
            <a:xfrm>
              <a:off x="5512943" y="3968690"/>
              <a:ext cx="4542517" cy="914400"/>
            </a:xfrm>
            <a:prstGeom prst="roundRect">
              <a:avLst>
                <a:gd name="adj" fmla="val 50000"/>
              </a:avLst>
            </a:prstGeom>
            <a:solidFill>
              <a:schemeClr val="tx1">
                <a:lumMod val="10000"/>
                <a:lumOff val="9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a:solidFill>
                  <a:schemeClr val="tx1"/>
                </a:solidFill>
              </a:endParaRPr>
            </a:p>
          </p:txBody>
        </p:sp>
        <p:sp>
          <p:nvSpPr>
            <p:cNvPr id="47" name="椭圆 46"/>
            <p:cNvSpPr/>
            <p:nvPr/>
          </p:nvSpPr>
          <p:spPr>
            <a:xfrm>
              <a:off x="5404083" y="3968690"/>
              <a:ext cx="914400" cy="9144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GB" sz="2800" b="1" dirty="0">
                  <a:latin typeface="Calibri" pitchFamily="34" charset="0"/>
                  <a:ea typeface="宋体" pitchFamily="2" charset="-122"/>
                </a:rPr>
                <a:t>07</a:t>
              </a:r>
              <a:endParaRPr lang="en-GB" sz="2800" b="1" dirty="0">
                <a:latin typeface="Calibri" pitchFamily="34" charset="0"/>
                <a:ea typeface="宋体" pitchFamily="2" charset="-122"/>
              </a:endParaRPr>
            </a:p>
          </p:txBody>
        </p:sp>
        <p:sp>
          <p:nvSpPr>
            <p:cNvPr id="48" name="文本框 47"/>
            <p:cNvSpPr txBox="1"/>
            <p:nvPr/>
          </p:nvSpPr>
          <p:spPr>
            <a:xfrm>
              <a:off x="6576014" y="4225836"/>
              <a:ext cx="3035259" cy="400110"/>
            </a:xfrm>
            <a:prstGeom prst="rect">
              <a:avLst/>
            </a:prstGeom>
            <a:noFill/>
          </p:spPr>
          <p:txBody>
            <a:bodyPr wrap="square" rtlCol="0" anchor="b">
              <a:spAutoFit/>
            </a:bodyPr>
            <a:lstStyle/>
            <a:p>
              <a:r>
                <a:rPr lang="en-GB" altLang="zh-CN" sz="2000" b="1" dirty="0">
                  <a:latin typeface="Calibri" pitchFamily="34" charset="0"/>
                  <a:ea typeface="宋体" pitchFamily="2" charset="-122"/>
                </a:rPr>
                <a:t>Supporting text here.</a:t>
              </a:r>
              <a:endParaRPr lang="en-GB" altLang="zh-CN" sz="2000" b="1" dirty="0">
                <a:latin typeface="Calibri" pitchFamily="34" charset="0"/>
                <a:ea typeface="宋体" pitchFamily="2" charset="-122"/>
              </a:endParaRPr>
            </a:p>
          </p:txBody>
        </p:sp>
        <p:sp>
          <p:nvSpPr>
            <p:cNvPr id="43" name="矩形: 圆角 42"/>
            <p:cNvSpPr/>
            <p:nvPr/>
          </p:nvSpPr>
          <p:spPr>
            <a:xfrm>
              <a:off x="5512943" y="5140235"/>
              <a:ext cx="4542517" cy="914400"/>
            </a:xfrm>
            <a:prstGeom prst="roundRect">
              <a:avLst>
                <a:gd name="adj" fmla="val 50000"/>
              </a:avLst>
            </a:prstGeom>
            <a:solidFill>
              <a:schemeClr val="tx1">
                <a:lumMod val="10000"/>
                <a:lumOff val="9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a:solidFill>
                  <a:schemeClr val="tx1"/>
                </a:solidFill>
              </a:endParaRPr>
            </a:p>
          </p:txBody>
        </p:sp>
        <p:sp>
          <p:nvSpPr>
            <p:cNvPr id="44" name="椭圆 43"/>
            <p:cNvSpPr/>
            <p:nvPr/>
          </p:nvSpPr>
          <p:spPr>
            <a:xfrm>
              <a:off x="5404083" y="5140235"/>
              <a:ext cx="914400" cy="9144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GB" sz="2800" b="1" dirty="0">
                  <a:latin typeface="Calibri" pitchFamily="34" charset="0"/>
                  <a:ea typeface="宋体" pitchFamily="2" charset="-122"/>
                </a:rPr>
                <a:t>08</a:t>
              </a:r>
              <a:endParaRPr lang="en-GB" sz="2800" b="1" dirty="0">
                <a:latin typeface="Calibri" pitchFamily="34" charset="0"/>
                <a:ea typeface="宋体" pitchFamily="2" charset="-122"/>
              </a:endParaRPr>
            </a:p>
          </p:txBody>
        </p:sp>
        <p:sp>
          <p:nvSpPr>
            <p:cNvPr id="45" name="文本框 44"/>
            <p:cNvSpPr txBox="1"/>
            <p:nvPr/>
          </p:nvSpPr>
          <p:spPr>
            <a:xfrm>
              <a:off x="6576014" y="5397381"/>
              <a:ext cx="3035259" cy="400110"/>
            </a:xfrm>
            <a:prstGeom prst="rect">
              <a:avLst/>
            </a:prstGeom>
            <a:noFill/>
          </p:spPr>
          <p:txBody>
            <a:bodyPr wrap="square" rtlCol="0" anchor="b">
              <a:spAutoFit/>
            </a:bodyPr>
            <a:lstStyle/>
            <a:p>
              <a:r>
                <a:rPr lang="en-GB" altLang="zh-CN" sz="2000" b="1" dirty="0">
                  <a:latin typeface="Calibri" pitchFamily="34" charset="0"/>
                  <a:ea typeface="宋体" pitchFamily="2" charset="-122"/>
                </a:rPr>
                <a:t>Copy paste fonts. </a:t>
              </a:r>
              <a:endParaRPr lang="en-GB" altLang="zh-CN" sz="2000" b="1" dirty="0">
                <a:latin typeface="Calibri" pitchFamily="34" charset="0"/>
                <a:ea typeface="宋体" pitchFamily="2" charset="-122"/>
              </a:endParaRPr>
            </a:p>
          </p:txBody>
        </p:sp>
        <p:grpSp>
          <p:nvGrpSpPr>
            <p:cNvPr id="121" name="组合 120"/>
            <p:cNvGrpSpPr/>
            <p:nvPr/>
          </p:nvGrpSpPr>
          <p:grpSpPr>
            <a:xfrm>
              <a:off x="9148769" y="1695513"/>
              <a:ext cx="2525218" cy="4357863"/>
              <a:chOff x="8993682" y="1695513"/>
              <a:chExt cx="2525218" cy="4357863"/>
            </a:xfrm>
          </p:grpSpPr>
          <p:grpSp>
            <p:nvGrpSpPr>
              <p:cNvPr id="119" name="组合 118"/>
              <p:cNvGrpSpPr/>
              <p:nvPr/>
            </p:nvGrpSpPr>
            <p:grpSpPr>
              <a:xfrm>
                <a:off x="8993682" y="3681743"/>
                <a:ext cx="1292686" cy="2013766"/>
                <a:chOff x="9298119" y="-2595235"/>
                <a:chExt cx="1292686" cy="2013766"/>
              </a:xfrm>
            </p:grpSpPr>
            <p:sp>
              <p:nvSpPr>
                <p:cNvPr id="86" name="任意多边形: 形状 85"/>
                <p:cNvSpPr/>
                <p:nvPr/>
              </p:nvSpPr>
              <p:spPr>
                <a:xfrm>
                  <a:off x="9462911" y="-1498709"/>
                  <a:ext cx="608247" cy="501880"/>
                </a:xfrm>
                <a:custGeom>
                  <a:avLst/>
                  <a:gdLst>
                    <a:gd name="connsiteX0" fmla="*/ 99954 w 502848"/>
                    <a:gd name="connsiteY0" fmla="*/ 394829 h 414913"/>
                    <a:gd name="connsiteX1" fmla="*/ 502516 w 502848"/>
                    <a:gd name="connsiteY1" fmla="*/ 208880 h 414913"/>
                    <a:gd name="connsiteX2" fmla="*/ 346247 w 502848"/>
                    <a:gd name="connsiteY2" fmla="*/ -52 h 414913"/>
                    <a:gd name="connsiteX3" fmla="*/ 118389 w 502848"/>
                    <a:gd name="connsiteY3" fmla="*/ 202244 h 414913"/>
                    <a:gd name="connsiteX4" fmla="*/ -333 w 502848"/>
                    <a:gd name="connsiteY4" fmla="*/ 278196 h 414913"/>
                    <a:gd name="connsiteX5" fmla="*/ 76357 w 502848"/>
                    <a:gd name="connsiteY5" fmla="*/ 414862 h 414913"/>
                    <a:gd name="connsiteX6" fmla="*/ 99954 w 502848"/>
                    <a:gd name="connsiteY6" fmla="*/ 394829 h 414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2848" h="414913">
                      <a:moveTo>
                        <a:pt x="99954" y="394829"/>
                      </a:moveTo>
                      <a:cubicBezTo>
                        <a:pt x="124534" y="378422"/>
                        <a:pt x="323757" y="292760"/>
                        <a:pt x="502516" y="208880"/>
                      </a:cubicBezTo>
                      <a:cubicBezTo>
                        <a:pt x="440697" y="150072"/>
                        <a:pt x="388894" y="74488"/>
                        <a:pt x="346247" y="-52"/>
                      </a:cubicBezTo>
                      <a:cubicBezTo>
                        <a:pt x="254379" y="78236"/>
                        <a:pt x="154522" y="175574"/>
                        <a:pt x="118389" y="202244"/>
                      </a:cubicBezTo>
                      <a:cubicBezTo>
                        <a:pt x="94362" y="219880"/>
                        <a:pt x="47045" y="249499"/>
                        <a:pt x="-333" y="278196"/>
                      </a:cubicBezTo>
                      <a:cubicBezTo>
                        <a:pt x="8823" y="331351"/>
                        <a:pt x="38565" y="375841"/>
                        <a:pt x="76357" y="414862"/>
                      </a:cubicBezTo>
                      <a:cubicBezTo>
                        <a:pt x="83356" y="407224"/>
                        <a:pt x="91283" y="400495"/>
                        <a:pt x="99954" y="394829"/>
                      </a:cubicBezTo>
                      <a:close/>
                    </a:path>
                  </a:pathLst>
                </a:custGeom>
                <a:solidFill>
                  <a:srgbClr val="FFC4B3"/>
                </a:solidFill>
                <a:ln w="6140" cap="flat">
                  <a:noFill/>
                  <a:prstDash val="solid"/>
                  <a:miter/>
                </a:ln>
              </p:spPr>
              <p:txBody>
                <a:bodyPr rtlCol="0" anchor="ctr"/>
                <a:lstStyle/>
                <a:p>
                  <a:endParaRPr lang="zh-CN" altLang="en-US"/>
                </a:p>
              </p:txBody>
            </p:sp>
            <p:sp>
              <p:nvSpPr>
                <p:cNvPr id="87" name="任意多边形: 形状 86"/>
                <p:cNvSpPr/>
                <p:nvPr/>
              </p:nvSpPr>
              <p:spPr>
                <a:xfrm>
                  <a:off x="9298119" y="-1162065"/>
                  <a:ext cx="281516" cy="580596"/>
                </a:xfrm>
                <a:custGeom>
                  <a:avLst/>
                  <a:gdLst>
                    <a:gd name="connsiteX0" fmla="*/ 135903 w 232734"/>
                    <a:gd name="connsiteY0" fmla="*/ -52 h 479989"/>
                    <a:gd name="connsiteX1" fmla="*/ -333 w 232734"/>
                    <a:gd name="connsiteY1" fmla="*/ 80633 h 479989"/>
                    <a:gd name="connsiteX2" fmla="*/ 52883 w 232734"/>
                    <a:gd name="connsiteY2" fmla="*/ 249560 h 479989"/>
                    <a:gd name="connsiteX3" fmla="*/ 79553 w 232734"/>
                    <a:gd name="connsiteY3" fmla="*/ 323301 h 479989"/>
                    <a:gd name="connsiteX4" fmla="*/ 205096 w 232734"/>
                    <a:gd name="connsiteY4" fmla="*/ 479938 h 479989"/>
                    <a:gd name="connsiteX5" fmla="*/ 180884 w 232734"/>
                    <a:gd name="connsiteY5" fmla="*/ 243415 h 479989"/>
                    <a:gd name="connsiteX6" fmla="*/ 212593 w 232734"/>
                    <a:gd name="connsiteY6" fmla="*/ 136614 h 479989"/>
                    <a:gd name="connsiteX7" fmla="*/ 135903 w 232734"/>
                    <a:gd name="connsiteY7" fmla="*/ -52 h 479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2734" h="479989">
                      <a:moveTo>
                        <a:pt x="135903" y="-52"/>
                      </a:moveTo>
                      <a:cubicBezTo>
                        <a:pt x="67877" y="41305"/>
                        <a:pt x="-333" y="80633"/>
                        <a:pt x="-333" y="80633"/>
                      </a:cubicBezTo>
                      <a:cubicBezTo>
                        <a:pt x="-333" y="148228"/>
                        <a:pt x="30392" y="228114"/>
                        <a:pt x="52883" y="249560"/>
                      </a:cubicBezTo>
                      <a:cubicBezTo>
                        <a:pt x="75374" y="271006"/>
                        <a:pt x="82625" y="271068"/>
                        <a:pt x="79553" y="323301"/>
                      </a:cubicBezTo>
                      <a:cubicBezTo>
                        <a:pt x="76480" y="375534"/>
                        <a:pt x="205096" y="479938"/>
                        <a:pt x="205096" y="479938"/>
                      </a:cubicBezTo>
                      <a:cubicBezTo>
                        <a:pt x="278406" y="424632"/>
                        <a:pt x="180884" y="301732"/>
                        <a:pt x="180884" y="243415"/>
                      </a:cubicBezTo>
                      <a:cubicBezTo>
                        <a:pt x="180884" y="197573"/>
                        <a:pt x="188566" y="163161"/>
                        <a:pt x="212593" y="136614"/>
                      </a:cubicBezTo>
                      <a:cubicBezTo>
                        <a:pt x="174801" y="97593"/>
                        <a:pt x="145059" y="53103"/>
                        <a:pt x="135903" y="-52"/>
                      </a:cubicBezTo>
                      <a:close/>
                    </a:path>
                  </a:pathLst>
                </a:custGeom>
                <a:solidFill>
                  <a:srgbClr val="0D1C2D"/>
                </a:solidFill>
                <a:ln w="6140" cap="flat">
                  <a:noFill/>
                  <a:prstDash val="solid"/>
                  <a:miter/>
                </a:ln>
              </p:spPr>
              <p:txBody>
                <a:bodyPr rtlCol="0" anchor="ctr"/>
                <a:lstStyle/>
                <a:p>
                  <a:endParaRPr lang="zh-CN" altLang="en-US"/>
                </a:p>
              </p:txBody>
            </p:sp>
            <p:sp>
              <p:nvSpPr>
                <p:cNvPr id="95" name="任意多边形: 形状 94"/>
                <p:cNvSpPr/>
                <p:nvPr/>
              </p:nvSpPr>
              <p:spPr>
                <a:xfrm>
                  <a:off x="9502084" y="-2595235"/>
                  <a:ext cx="1088721" cy="1587628"/>
                </a:xfrm>
                <a:custGeom>
                  <a:avLst/>
                  <a:gdLst>
                    <a:gd name="connsiteX0" fmla="*/ 629990 w 900064"/>
                    <a:gd name="connsiteY0" fmla="*/ 0 h 1312519"/>
                    <a:gd name="connsiteX1" fmla="*/ 496397 w 900064"/>
                    <a:gd name="connsiteY1" fmla="*/ 722104 h 1312519"/>
                    <a:gd name="connsiteX2" fmla="*/ 0 w 900064"/>
                    <a:gd name="connsiteY2" fmla="*/ 1056026 h 1312519"/>
                    <a:gd name="connsiteX3" fmla="*/ 130951 w 900064"/>
                    <a:gd name="connsiteY3" fmla="*/ 1312520 h 1312519"/>
                    <a:gd name="connsiteX4" fmla="*/ 804325 w 900064"/>
                    <a:gd name="connsiteY4" fmla="*/ 1004837 h 1312519"/>
                    <a:gd name="connsiteX5" fmla="*/ 900065 w 900064"/>
                    <a:gd name="connsiteY5" fmla="*/ 568478 h 1312519"/>
                    <a:gd name="connsiteX6" fmla="*/ 629990 w 900064"/>
                    <a:gd name="connsiteY6" fmla="*/ 0 h 1312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0064" h="1312519">
                      <a:moveTo>
                        <a:pt x="629990" y="0"/>
                      </a:moveTo>
                      <a:lnTo>
                        <a:pt x="496397" y="722104"/>
                      </a:lnTo>
                      <a:lnTo>
                        <a:pt x="0" y="1056026"/>
                      </a:lnTo>
                      <a:lnTo>
                        <a:pt x="130951" y="1312520"/>
                      </a:lnTo>
                      <a:lnTo>
                        <a:pt x="804325" y="1004837"/>
                      </a:lnTo>
                      <a:lnTo>
                        <a:pt x="900065" y="568478"/>
                      </a:lnTo>
                      <a:lnTo>
                        <a:pt x="629990" y="0"/>
                      </a:lnTo>
                      <a:close/>
                    </a:path>
                  </a:pathLst>
                </a:custGeom>
                <a:solidFill>
                  <a:srgbClr val="F84D4D"/>
                </a:solidFill>
                <a:ln w="6140" cap="flat">
                  <a:noFill/>
                  <a:prstDash val="solid"/>
                  <a:miter/>
                </a:ln>
              </p:spPr>
              <p:txBody>
                <a:bodyPr rtlCol="0" anchor="ctr"/>
                <a:lstStyle/>
                <a:p>
                  <a:endParaRPr lang="zh-CN" altLang="en-US"/>
                </a:p>
              </p:txBody>
            </p:sp>
          </p:grpSp>
          <p:sp>
            <p:nvSpPr>
              <p:cNvPr id="102" name="任意多边形: 形状 101"/>
              <p:cNvSpPr/>
              <p:nvPr/>
            </p:nvSpPr>
            <p:spPr>
              <a:xfrm>
                <a:off x="10555676" y="1695513"/>
                <a:ext cx="862760" cy="428871"/>
              </a:xfrm>
              <a:custGeom>
                <a:avLst/>
                <a:gdLst>
                  <a:gd name="connsiteX0" fmla="*/ 699438 w 699771"/>
                  <a:gd name="connsiteY0" fmla="*/ 52960 h 347850"/>
                  <a:gd name="connsiteX1" fmla="*/ 334054 w 699771"/>
                  <a:gd name="connsiteY1" fmla="*/ 52407 h 347850"/>
                  <a:gd name="connsiteX2" fmla="*/ 143004 w 699771"/>
                  <a:gd name="connsiteY2" fmla="*/ 188520 h 347850"/>
                  <a:gd name="connsiteX3" fmla="*/ 316 w 699771"/>
                  <a:gd name="connsiteY3" fmla="*/ 107774 h 347850"/>
                  <a:gd name="connsiteX4" fmla="*/ 277213 w 699771"/>
                  <a:gd name="connsiteY4" fmla="*/ 319532 h 347850"/>
                  <a:gd name="connsiteX5" fmla="*/ 658205 w 699771"/>
                  <a:gd name="connsiteY5" fmla="*/ 347799 h 347850"/>
                  <a:gd name="connsiteX6" fmla="*/ 699315 w 699771"/>
                  <a:gd name="connsiteY6" fmla="*/ 52837 h 347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9771" h="347850">
                    <a:moveTo>
                      <a:pt x="699438" y="52960"/>
                    </a:moveTo>
                    <a:cubicBezTo>
                      <a:pt x="699438" y="52960"/>
                      <a:pt x="443805" y="-65947"/>
                      <a:pt x="334054" y="52407"/>
                    </a:cubicBezTo>
                    <a:cubicBezTo>
                      <a:pt x="279978" y="110785"/>
                      <a:pt x="273218" y="189503"/>
                      <a:pt x="143004" y="188520"/>
                    </a:cubicBezTo>
                    <a:cubicBezTo>
                      <a:pt x="53656" y="187844"/>
                      <a:pt x="316" y="107774"/>
                      <a:pt x="316" y="107774"/>
                    </a:cubicBezTo>
                    <a:cubicBezTo>
                      <a:pt x="316" y="107774"/>
                      <a:pt x="-27275" y="348967"/>
                      <a:pt x="277213" y="319532"/>
                    </a:cubicBezTo>
                    <a:cubicBezTo>
                      <a:pt x="417873" y="305952"/>
                      <a:pt x="453637" y="225452"/>
                      <a:pt x="658205" y="347799"/>
                    </a:cubicBezTo>
                    <a:lnTo>
                      <a:pt x="699315" y="52837"/>
                    </a:lnTo>
                    <a:close/>
                  </a:path>
                </a:pathLst>
              </a:custGeom>
              <a:solidFill>
                <a:srgbClr val="F84D4D"/>
              </a:solidFill>
              <a:ln w="6140" cap="flat">
                <a:noFill/>
                <a:prstDash val="solid"/>
                <a:miter/>
              </a:ln>
            </p:spPr>
            <p:txBody>
              <a:bodyPr rtlCol="0" anchor="ctr"/>
              <a:lstStyle/>
              <a:p>
                <a:endParaRPr lang="zh-CN" altLang="en-US"/>
              </a:p>
            </p:txBody>
          </p:sp>
          <p:sp>
            <p:nvSpPr>
              <p:cNvPr id="103" name="任意多边形: 形状 102"/>
              <p:cNvSpPr/>
              <p:nvPr/>
            </p:nvSpPr>
            <p:spPr>
              <a:xfrm>
                <a:off x="11262744" y="1746477"/>
                <a:ext cx="179862" cy="1065838"/>
              </a:xfrm>
              <a:custGeom>
                <a:avLst/>
                <a:gdLst>
                  <a:gd name="connsiteX0" fmla="*/ 27775 w 145883"/>
                  <a:gd name="connsiteY0" fmla="*/ 864485 h 864484"/>
                  <a:gd name="connsiteX1" fmla="*/ 145883 w 145883"/>
                  <a:gd name="connsiteY1" fmla="*/ 5100 h 864484"/>
                  <a:gd name="connsiteX2" fmla="*/ 120689 w 145883"/>
                  <a:gd name="connsiteY2" fmla="*/ 0 h 864484"/>
                  <a:gd name="connsiteX3" fmla="*/ 0 w 145883"/>
                  <a:gd name="connsiteY3" fmla="*/ 858770 h 864484"/>
                  <a:gd name="connsiteX4" fmla="*/ 27775 w 145883"/>
                  <a:gd name="connsiteY4" fmla="*/ 864485 h 864484"/>
                  <a:gd name="connsiteX5" fmla="*/ 27775 w 145883"/>
                  <a:gd name="connsiteY5" fmla="*/ 864485 h 864484"/>
                  <a:gd name="connsiteX6" fmla="*/ 27775 w 145883"/>
                  <a:gd name="connsiteY6" fmla="*/ 864485 h 864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5883" h="864484">
                    <a:moveTo>
                      <a:pt x="27775" y="864485"/>
                    </a:moveTo>
                    <a:lnTo>
                      <a:pt x="145883" y="5100"/>
                    </a:lnTo>
                    <a:lnTo>
                      <a:pt x="120689" y="0"/>
                    </a:lnTo>
                    <a:lnTo>
                      <a:pt x="0" y="858770"/>
                    </a:lnTo>
                    <a:lnTo>
                      <a:pt x="27775" y="864485"/>
                    </a:lnTo>
                    <a:lnTo>
                      <a:pt x="27775" y="864485"/>
                    </a:lnTo>
                    <a:lnTo>
                      <a:pt x="27775" y="864485"/>
                    </a:lnTo>
                    <a:close/>
                  </a:path>
                </a:pathLst>
              </a:custGeom>
              <a:solidFill>
                <a:srgbClr val="152841"/>
              </a:solidFill>
              <a:ln w="6140" cap="flat">
                <a:noFill/>
                <a:prstDash val="solid"/>
                <a:miter/>
              </a:ln>
            </p:spPr>
            <p:txBody>
              <a:bodyPr rtlCol="0" anchor="ctr"/>
              <a:lstStyle/>
              <a:p>
                <a:endParaRPr lang="zh-CN" altLang="en-US"/>
              </a:p>
            </p:txBody>
          </p:sp>
          <p:sp>
            <p:nvSpPr>
              <p:cNvPr id="104" name="任意多边形: 形状 103"/>
              <p:cNvSpPr/>
              <p:nvPr/>
            </p:nvSpPr>
            <p:spPr>
              <a:xfrm>
                <a:off x="10906429" y="2570682"/>
                <a:ext cx="519648" cy="642194"/>
              </a:xfrm>
              <a:custGeom>
                <a:avLst/>
                <a:gdLst>
                  <a:gd name="connsiteX0" fmla="*/ 259172 w 421478"/>
                  <a:gd name="connsiteY0" fmla="*/ 64553 h 520873"/>
                  <a:gd name="connsiteX1" fmla="*/ 274473 w 421478"/>
                  <a:gd name="connsiteY1" fmla="*/ 99150 h 520873"/>
                  <a:gd name="connsiteX2" fmla="*/ -333 w 421478"/>
                  <a:gd name="connsiteY2" fmla="*/ 409044 h 520873"/>
                  <a:gd name="connsiteX3" fmla="*/ 115808 w 421478"/>
                  <a:gd name="connsiteY3" fmla="*/ 520822 h 520873"/>
                  <a:gd name="connsiteX4" fmla="*/ 368984 w 421478"/>
                  <a:gd name="connsiteY4" fmla="*/ 171354 h 520873"/>
                  <a:gd name="connsiteX5" fmla="*/ 421094 w 421478"/>
                  <a:gd name="connsiteY5" fmla="*/ 88949 h 520873"/>
                  <a:gd name="connsiteX6" fmla="*/ 385330 w 421478"/>
                  <a:gd name="connsiteY6" fmla="*/ 41632 h 520873"/>
                  <a:gd name="connsiteX7" fmla="*/ 382380 w 421478"/>
                  <a:gd name="connsiteY7" fmla="*/ 15270 h 520873"/>
                  <a:gd name="connsiteX8" fmla="*/ 348951 w 421478"/>
                  <a:gd name="connsiteY8" fmla="*/ 2980 h 520873"/>
                  <a:gd name="connsiteX9" fmla="*/ 324924 w 421478"/>
                  <a:gd name="connsiteY9" fmla="*/ 36163 h 520873"/>
                  <a:gd name="connsiteX10" fmla="*/ 300651 w 421478"/>
                  <a:gd name="connsiteY10" fmla="*/ 22705 h 520873"/>
                  <a:gd name="connsiteX11" fmla="*/ 293523 w 421478"/>
                  <a:gd name="connsiteY11" fmla="*/ 23258 h 520873"/>
                  <a:gd name="connsiteX12" fmla="*/ 278283 w 421478"/>
                  <a:gd name="connsiteY12" fmla="*/ 37576 h 520873"/>
                  <a:gd name="connsiteX13" fmla="*/ 259172 w 421478"/>
                  <a:gd name="connsiteY13" fmla="*/ 64553 h 520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1478" h="520873">
                    <a:moveTo>
                      <a:pt x="259172" y="64553"/>
                    </a:moveTo>
                    <a:cubicBezTo>
                      <a:pt x="250876" y="76843"/>
                      <a:pt x="270171" y="90424"/>
                      <a:pt x="274473" y="99150"/>
                    </a:cubicBezTo>
                    <a:cubicBezTo>
                      <a:pt x="278774" y="107875"/>
                      <a:pt x="-333" y="409044"/>
                      <a:pt x="-333" y="409044"/>
                    </a:cubicBezTo>
                    <a:lnTo>
                      <a:pt x="115808" y="520822"/>
                    </a:lnTo>
                    <a:cubicBezTo>
                      <a:pt x="115808" y="520822"/>
                      <a:pt x="353375" y="175348"/>
                      <a:pt x="368984" y="171354"/>
                    </a:cubicBezTo>
                    <a:cubicBezTo>
                      <a:pt x="384593" y="167360"/>
                      <a:pt x="419558" y="118384"/>
                      <a:pt x="421094" y="88949"/>
                    </a:cubicBezTo>
                    <a:cubicBezTo>
                      <a:pt x="422630" y="59514"/>
                      <a:pt x="389262" y="47285"/>
                      <a:pt x="385330" y="41632"/>
                    </a:cubicBezTo>
                    <a:cubicBezTo>
                      <a:pt x="381397" y="35979"/>
                      <a:pt x="386374" y="30940"/>
                      <a:pt x="382380" y="15270"/>
                    </a:cubicBezTo>
                    <a:cubicBezTo>
                      <a:pt x="378386" y="-400"/>
                      <a:pt x="357800" y="-3165"/>
                      <a:pt x="348951" y="2980"/>
                    </a:cubicBezTo>
                    <a:cubicBezTo>
                      <a:pt x="340102" y="9125"/>
                      <a:pt x="329471" y="33029"/>
                      <a:pt x="324924" y="36163"/>
                    </a:cubicBezTo>
                    <a:cubicBezTo>
                      <a:pt x="320377" y="39297"/>
                      <a:pt x="311467" y="28666"/>
                      <a:pt x="300651" y="22705"/>
                    </a:cubicBezTo>
                    <a:cubicBezTo>
                      <a:pt x="298316" y="21636"/>
                      <a:pt x="295612" y="21845"/>
                      <a:pt x="293523" y="23258"/>
                    </a:cubicBezTo>
                    <a:lnTo>
                      <a:pt x="278283" y="37576"/>
                    </a:lnTo>
                    <a:cubicBezTo>
                      <a:pt x="270540" y="47224"/>
                      <a:pt x="263167" y="58592"/>
                      <a:pt x="259172" y="64553"/>
                    </a:cubicBezTo>
                    <a:close/>
                  </a:path>
                </a:pathLst>
              </a:custGeom>
              <a:solidFill>
                <a:srgbClr val="FFC4B3"/>
              </a:solidFill>
              <a:ln w="6140" cap="flat">
                <a:noFill/>
                <a:prstDash val="solid"/>
                <a:miter/>
              </a:ln>
            </p:spPr>
            <p:txBody>
              <a:bodyPr rtlCol="0" anchor="ctr"/>
              <a:lstStyle/>
              <a:p>
                <a:endParaRPr lang="zh-CN" altLang="en-US"/>
              </a:p>
            </p:txBody>
          </p:sp>
          <p:sp>
            <p:nvSpPr>
              <p:cNvPr id="105" name="任意多边形: 形状 104"/>
              <p:cNvSpPr/>
              <p:nvPr/>
            </p:nvSpPr>
            <p:spPr>
              <a:xfrm>
                <a:off x="10827635" y="2766024"/>
                <a:ext cx="496098" cy="560724"/>
              </a:xfrm>
              <a:custGeom>
                <a:avLst/>
                <a:gdLst>
                  <a:gd name="connsiteX0" fmla="*/ -333 w 402377"/>
                  <a:gd name="connsiteY0" fmla="*/ 300195 h 454794"/>
                  <a:gd name="connsiteX1" fmla="*/ 268943 w 402377"/>
                  <a:gd name="connsiteY1" fmla="*/ -52 h 454794"/>
                  <a:gd name="connsiteX2" fmla="*/ 402044 w 402377"/>
                  <a:gd name="connsiteY2" fmla="*/ 125246 h 454794"/>
                  <a:gd name="connsiteX3" fmla="*/ 176214 w 402377"/>
                  <a:gd name="connsiteY3" fmla="*/ 454743 h 454794"/>
                </a:gdLst>
                <a:ahLst/>
                <a:cxnLst>
                  <a:cxn ang="0">
                    <a:pos x="connsiteX0" y="connsiteY0"/>
                  </a:cxn>
                  <a:cxn ang="0">
                    <a:pos x="connsiteX1" y="connsiteY1"/>
                  </a:cxn>
                  <a:cxn ang="0">
                    <a:pos x="connsiteX2" y="connsiteY2"/>
                  </a:cxn>
                  <a:cxn ang="0">
                    <a:pos x="connsiteX3" y="connsiteY3"/>
                  </a:cxn>
                </a:cxnLst>
                <a:rect l="l" t="t" r="r" b="b"/>
                <a:pathLst>
                  <a:path w="402377" h="454794">
                    <a:moveTo>
                      <a:pt x="-333" y="300195"/>
                    </a:moveTo>
                    <a:cubicBezTo>
                      <a:pt x="25108" y="287168"/>
                      <a:pt x="268943" y="-52"/>
                      <a:pt x="268943" y="-52"/>
                    </a:cubicBezTo>
                    <a:cubicBezTo>
                      <a:pt x="268943" y="-52"/>
                      <a:pt x="354973" y="56176"/>
                      <a:pt x="402044" y="125246"/>
                    </a:cubicBezTo>
                    <a:lnTo>
                      <a:pt x="176214" y="454743"/>
                    </a:lnTo>
                    <a:close/>
                  </a:path>
                </a:pathLst>
              </a:custGeom>
              <a:solidFill>
                <a:srgbClr val="152841"/>
              </a:solidFill>
              <a:ln w="6140" cap="flat">
                <a:noFill/>
                <a:prstDash val="solid"/>
                <a:miter/>
              </a:ln>
            </p:spPr>
            <p:txBody>
              <a:bodyPr rtlCol="0" anchor="ctr"/>
              <a:lstStyle/>
              <a:p>
                <a:endParaRPr lang="zh-CN" altLang="en-US"/>
              </a:p>
            </p:txBody>
          </p:sp>
          <p:sp>
            <p:nvSpPr>
              <p:cNvPr id="106" name="任意多边形: 形状 105"/>
              <p:cNvSpPr/>
              <p:nvPr/>
            </p:nvSpPr>
            <p:spPr>
              <a:xfrm>
                <a:off x="10246228" y="2772616"/>
                <a:ext cx="799075" cy="724301"/>
              </a:xfrm>
              <a:custGeom>
                <a:avLst/>
                <a:gdLst>
                  <a:gd name="connsiteX0" fmla="*/ -333 w 648117"/>
                  <a:gd name="connsiteY0" fmla="*/ 377193 h 587469"/>
                  <a:gd name="connsiteX1" fmla="*/ 514315 w 648117"/>
                  <a:gd name="connsiteY1" fmla="*/ 583421 h 587469"/>
                  <a:gd name="connsiteX2" fmla="*/ 647785 w 648117"/>
                  <a:gd name="connsiteY2" fmla="*/ 449397 h 587469"/>
                  <a:gd name="connsiteX3" fmla="*/ 471422 w 648117"/>
                  <a:gd name="connsiteY3" fmla="*/ 291408 h 587469"/>
                  <a:gd name="connsiteX4" fmla="*/ 118450 w 648117"/>
                  <a:gd name="connsiteY4" fmla="*/ -52 h 587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117" h="587469">
                    <a:moveTo>
                      <a:pt x="-333" y="377193"/>
                    </a:moveTo>
                    <a:cubicBezTo>
                      <a:pt x="24247" y="395628"/>
                      <a:pt x="433077" y="619861"/>
                      <a:pt x="514315" y="583421"/>
                    </a:cubicBezTo>
                    <a:cubicBezTo>
                      <a:pt x="580189" y="553863"/>
                      <a:pt x="647785" y="449397"/>
                      <a:pt x="647785" y="449397"/>
                    </a:cubicBezTo>
                    <a:cubicBezTo>
                      <a:pt x="647785" y="449397"/>
                      <a:pt x="519292" y="309167"/>
                      <a:pt x="471422" y="291408"/>
                    </a:cubicBezTo>
                    <a:cubicBezTo>
                      <a:pt x="279451" y="220310"/>
                      <a:pt x="118450" y="-52"/>
                      <a:pt x="118450" y="-52"/>
                    </a:cubicBezTo>
                    <a:close/>
                  </a:path>
                </a:pathLst>
              </a:custGeom>
              <a:solidFill>
                <a:srgbClr val="152841"/>
              </a:solidFill>
              <a:ln w="6140" cap="flat">
                <a:noFill/>
                <a:prstDash val="solid"/>
                <a:miter/>
              </a:ln>
            </p:spPr>
            <p:txBody>
              <a:bodyPr rtlCol="0" anchor="ctr"/>
              <a:lstStyle/>
              <a:p>
                <a:endParaRPr lang="zh-CN" altLang="en-US"/>
              </a:p>
            </p:txBody>
          </p:sp>
          <p:sp>
            <p:nvSpPr>
              <p:cNvPr id="109" name="任意多边形: 形状 108"/>
              <p:cNvSpPr/>
              <p:nvPr/>
            </p:nvSpPr>
            <p:spPr>
              <a:xfrm>
                <a:off x="10694594" y="5306446"/>
                <a:ext cx="392454" cy="514293"/>
              </a:xfrm>
              <a:custGeom>
                <a:avLst/>
                <a:gdLst>
                  <a:gd name="connsiteX0" fmla="*/ 317981 w 318313"/>
                  <a:gd name="connsiteY0" fmla="*/ 359925 h 417135"/>
                  <a:gd name="connsiteX1" fmla="*/ 315830 w 318313"/>
                  <a:gd name="connsiteY1" fmla="*/ 357345 h 417135"/>
                  <a:gd name="connsiteX2" fmla="*/ 233179 w 318313"/>
                  <a:gd name="connsiteY2" fmla="*/ -52 h 417135"/>
                  <a:gd name="connsiteX3" fmla="*/ -333 w 318313"/>
                  <a:gd name="connsiteY3" fmla="*/ 53533 h 417135"/>
                  <a:gd name="connsiteX4" fmla="*/ 160974 w 318313"/>
                  <a:gd name="connsiteY4" fmla="*/ 415415 h 417135"/>
                  <a:gd name="connsiteX5" fmla="*/ 317981 w 318313"/>
                  <a:gd name="connsiteY5" fmla="*/ 359925 h 417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8313" h="417135">
                    <a:moveTo>
                      <a:pt x="317981" y="359925"/>
                    </a:moveTo>
                    <a:cubicBezTo>
                      <a:pt x="317305" y="359003"/>
                      <a:pt x="316506" y="358266"/>
                      <a:pt x="315830" y="357345"/>
                    </a:cubicBezTo>
                    <a:cubicBezTo>
                      <a:pt x="299730" y="334731"/>
                      <a:pt x="267407" y="179876"/>
                      <a:pt x="233179" y="-52"/>
                    </a:cubicBezTo>
                    <a:cubicBezTo>
                      <a:pt x="155075" y="19490"/>
                      <a:pt x="78078" y="42226"/>
                      <a:pt x="-333" y="53533"/>
                    </a:cubicBezTo>
                    <a:cubicBezTo>
                      <a:pt x="54972" y="182579"/>
                      <a:pt x="114948" y="315374"/>
                      <a:pt x="160974" y="415415"/>
                    </a:cubicBezTo>
                    <a:cubicBezTo>
                      <a:pt x="223347" y="424325"/>
                      <a:pt x="273306" y="396365"/>
                      <a:pt x="317981" y="359925"/>
                    </a:cubicBezTo>
                    <a:close/>
                  </a:path>
                </a:pathLst>
              </a:custGeom>
              <a:solidFill>
                <a:srgbClr val="FFC4B3"/>
              </a:solidFill>
              <a:ln w="6140" cap="flat">
                <a:noFill/>
                <a:prstDash val="solid"/>
                <a:miter/>
              </a:ln>
            </p:spPr>
            <p:txBody>
              <a:bodyPr rtlCol="0" anchor="ctr"/>
              <a:lstStyle/>
              <a:p>
                <a:endParaRPr lang="zh-CN" altLang="en-US"/>
              </a:p>
            </p:txBody>
          </p:sp>
          <p:sp>
            <p:nvSpPr>
              <p:cNvPr id="110" name="任意多边形: 形状 109"/>
              <p:cNvSpPr/>
              <p:nvPr/>
            </p:nvSpPr>
            <p:spPr>
              <a:xfrm>
                <a:off x="10893852" y="5750268"/>
                <a:ext cx="625048" cy="303108"/>
              </a:xfrm>
              <a:custGeom>
                <a:avLst/>
                <a:gdLst>
                  <a:gd name="connsiteX0" fmla="*/ 467612 w 506966"/>
                  <a:gd name="connsiteY0" fmla="*/ 72521 h 245846"/>
                  <a:gd name="connsiteX1" fmla="*/ 344404 w 506966"/>
                  <a:gd name="connsiteY1" fmla="*/ 51198 h 245846"/>
                  <a:gd name="connsiteX2" fmla="*/ 156366 w 506966"/>
                  <a:gd name="connsiteY2" fmla="*/ -52 h 245846"/>
                  <a:gd name="connsiteX3" fmla="*/ -333 w 506966"/>
                  <a:gd name="connsiteY3" fmla="*/ 55254 h 245846"/>
                  <a:gd name="connsiteX4" fmla="*/ 76296 w 506966"/>
                  <a:gd name="connsiteY4" fmla="*/ 219572 h 245846"/>
                  <a:gd name="connsiteX5" fmla="*/ 108372 w 506966"/>
                  <a:gd name="connsiteY5" fmla="*/ 240588 h 245846"/>
                  <a:gd name="connsiteX6" fmla="*/ 248910 w 506966"/>
                  <a:gd name="connsiteY6" fmla="*/ 214226 h 245846"/>
                  <a:gd name="connsiteX7" fmla="*/ 333220 w 506966"/>
                  <a:gd name="connsiteY7" fmla="*/ 195791 h 245846"/>
                  <a:gd name="connsiteX8" fmla="*/ 506633 w 506966"/>
                  <a:gd name="connsiteY8" fmla="*/ 114984 h 245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6966" h="245846">
                    <a:moveTo>
                      <a:pt x="467612" y="72521"/>
                    </a:moveTo>
                    <a:cubicBezTo>
                      <a:pt x="428591" y="29506"/>
                      <a:pt x="391537" y="49723"/>
                      <a:pt x="344404" y="51198"/>
                    </a:cubicBezTo>
                    <a:cubicBezTo>
                      <a:pt x="297271" y="52673"/>
                      <a:pt x="196923" y="52612"/>
                      <a:pt x="156366" y="-52"/>
                    </a:cubicBezTo>
                    <a:cubicBezTo>
                      <a:pt x="111691" y="36389"/>
                      <a:pt x="61732" y="64348"/>
                      <a:pt x="-333" y="55254"/>
                    </a:cubicBezTo>
                    <a:cubicBezTo>
                      <a:pt x="44771" y="153144"/>
                      <a:pt x="76296" y="219572"/>
                      <a:pt x="76296" y="219572"/>
                    </a:cubicBezTo>
                    <a:cubicBezTo>
                      <a:pt x="76296" y="219572"/>
                      <a:pt x="79799" y="231862"/>
                      <a:pt x="108372" y="240588"/>
                    </a:cubicBezTo>
                    <a:cubicBezTo>
                      <a:pt x="136947" y="249315"/>
                      <a:pt x="180946" y="250912"/>
                      <a:pt x="248910" y="214226"/>
                    </a:cubicBezTo>
                    <a:cubicBezTo>
                      <a:pt x="316874" y="177540"/>
                      <a:pt x="270417" y="197819"/>
                      <a:pt x="333220" y="195791"/>
                    </a:cubicBezTo>
                    <a:cubicBezTo>
                      <a:pt x="396022" y="193763"/>
                      <a:pt x="506633" y="114984"/>
                      <a:pt x="506633" y="114984"/>
                    </a:cubicBezTo>
                    <a:close/>
                  </a:path>
                </a:pathLst>
              </a:custGeom>
              <a:solidFill>
                <a:srgbClr val="152841"/>
              </a:solidFill>
              <a:ln w="6140" cap="flat">
                <a:noFill/>
                <a:prstDash val="solid"/>
                <a:miter/>
              </a:ln>
            </p:spPr>
            <p:txBody>
              <a:bodyPr rtlCol="0" anchor="ctr"/>
              <a:lstStyle/>
              <a:p>
                <a:endParaRPr lang="zh-CN" altLang="en-US"/>
              </a:p>
            </p:txBody>
          </p:sp>
          <p:sp>
            <p:nvSpPr>
              <p:cNvPr id="111" name="任意多边形: 形状 110"/>
              <p:cNvSpPr/>
              <p:nvPr/>
            </p:nvSpPr>
            <p:spPr>
              <a:xfrm>
                <a:off x="9371968" y="2339972"/>
                <a:ext cx="1202872" cy="1447500"/>
              </a:xfrm>
              <a:custGeom>
                <a:avLst/>
                <a:gdLst>
                  <a:gd name="connsiteX0" fmla="*/ 858212 w 975630"/>
                  <a:gd name="connsiteY0" fmla="*/ 1008011 h 1174044"/>
                  <a:gd name="connsiteX1" fmla="*/ 858581 w 975630"/>
                  <a:gd name="connsiteY1" fmla="*/ 587075 h 1174044"/>
                  <a:gd name="connsiteX2" fmla="*/ 843648 w 975630"/>
                  <a:gd name="connsiteY2" fmla="*/ 360200 h 1174044"/>
                  <a:gd name="connsiteX3" fmla="*/ 853788 w 975630"/>
                  <a:gd name="connsiteY3" fmla="*/ 241355 h 1174044"/>
                  <a:gd name="connsiteX4" fmla="*/ 924394 w 975630"/>
                  <a:gd name="connsiteY4" fmla="*/ 251556 h 1174044"/>
                  <a:gd name="connsiteX5" fmla="*/ 967410 w 975630"/>
                  <a:gd name="connsiteY5" fmla="*/ 209524 h 1174044"/>
                  <a:gd name="connsiteX6" fmla="*/ 965689 w 975630"/>
                  <a:gd name="connsiteY6" fmla="*/ 104198 h 1174044"/>
                  <a:gd name="connsiteX7" fmla="*/ 946393 w 975630"/>
                  <a:gd name="connsiteY7" fmla="*/ 62042 h 1174044"/>
                  <a:gd name="connsiteX8" fmla="*/ 800019 w 975630"/>
                  <a:gd name="connsiteY8" fmla="*/ 8704 h 1174044"/>
                  <a:gd name="connsiteX9" fmla="*/ 709318 w 975630"/>
                  <a:gd name="connsiteY9" fmla="*/ 194837 h 1174044"/>
                  <a:gd name="connsiteX10" fmla="*/ 639633 w 975630"/>
                  <a:gd name="connsiteY10" fmla="*/ 303113 h 1174044"/>
                  <a:gd name="connsiteX11" fmla="*/ 108210 w 975630"/>
                  <a:gd name="connsiteY11" fmla="*/ 468476 h 1174044"/>
                  <a:gd name="connsiteX12" fmla="*/ 4973 w 975630"/>
                  <a:gd name="connsiteY12" fmla="*/ 1163235 h 1174044"/>
                  <a:gd name="connsiteX13" fmla="*/ 104830 w 975630"/>
                  <a:gd name="connsiteY13" fmla="*/ 1140682 h 1174044"/>
                  <a:gd name="connsiteX14" fmla="*/ 147845 w 975630"/>
                  <a:gd name="connsiteY14" fmla="*/ 1123845 h 1174044"/>
                  <a:gd name="connsiteX15" fmla="*/ 161548 w 975630"/>
                  <a:gd name="connsiteY15" fmla="*/ 1058523 h 1174044"/>
                  <a:gd name="connsiteX16" fmla="*/ 123326 w 975630"/>
                  <a:gd name="connsiteY16" fmla="*/ 1040825 h 1174044"/>
                  <a:gd name="connsiteX17" fmla="*/ 292991 w 975630"/>
                  <a:gd name="connsiteY17" fmla="*/ 660816 h 1174044"/>
                  <a:gd name="connsiteX18" fmla="*/ 463762 w 975630"/>
                  <a:gd name="connsiteY18" fmla="*/ 595187 h 1174044"/>
                  <a:gd name="connsiteX19" fmla="*/ 437769 w 975630"/>
                  <a:gd name="connsiteY19" fmla="*/ 770443 h 1174044"/>
                  <a:gd name="connsiteX20" fmla="*/ 466466 w 975630"/>
                  <a:gd name="connsiteY20" fmla="*/ 1076835 h 1174044"/>
                  <a:gd name="connsiteX21" fmla="*/ 872039 w 975630"/>
                  <a:gd name="connsiteY21" fmla="*/ 1093796 h 117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75630" h="1174044">
                    <a:moveTo>
                      <a:pt x="858212" y="1008011"/>
                    </a:moveTo>
                    <a:cubicBezTo>
                      <a:pt x="846598" y="934639"/>
                      <a:pt x="848749" y="643056"/>
                      <a:pt x="858581" y="587075"/>
                    </a:cubicBezTo>
                    <a:cubicBezTo>
                      <a:pt x="877016" y="480397"/>
                      <a:pt x="858581" y="395534"/>
                      <a:pt x="843648" y="360200"/>
                    </a:cubicBezTo>
                    <a:cubicBezTo>
                      <a:pt x="828716" y="324866"/>
                      <a:pt x="853788" y="241355"/>
                      <a:pt x="853788" y="241355"/>
                    </a:cubicBezTo>
                    <a:cubicBezTo>
                      <a:pt x="877016" y="246584"/>
                      <a:pt x="900613" y="249995"/>
                      <a:pt x="924394" y="251556"/>
                    </a:cubicBezTo>
                    <a:cubicBezTo>
                      <a:pt x="939449" y="251863"/>
                      <a:pt x="955980" y="237852"/>
                      <a:pt x="967410" y="209524"/>
                    </a:cubicBezTo>
                    <a:cubicBezTo>
                      <a:pt x="978839" y="181195"/>
                      <a:pt x="977488" y="132956"/>
                      <a:pt x="965689" y="104198"/>
                    </a:cubicBezTo>
                    <a:cubicBezTo>
                      <a:pt x="960220" y="90801"/>
                      <a:pt x="953399" y="75992"/>
                      <a:pt x="946393" y="62042"/>
                    </a:cubicBezTo>
                    <a:cubicBezTo>
                      <a:pt x="925869" y="22714"/>
                      <a:pt x="876402" y="-18457"/>
                      <a:pt x="800019" y="8704"/>
                    </a:cubicBezTo>
                    <a:cubicBezTo>
                      <a:pt x="723636" y="35865"/>
                      <a:pt x="727815" y="123985"/>
                      <a:pt x="709318" y="194837"/>
                    </a:cubicBezTo>
                    <a:cubicBezTo>
                      <a:pt x="698073" y="237373"/>
                      <a:pt x="673676" y="275276"/>
                      <a:pt x="639633" y="303113"/>
                    </a:cubicBezTo>
                    <a:cubicBezTo>
                      <a:pt x="462041" y="275952"/>
                      <a:pt x="142253" y="451700"/>
                      <a:pt x="108210" y="468476"/>
                    </a:cubicBezTo>
                    <a:cubicBezTo>
                      <a:pt x="74166" y="485252"/>
                      <a:pt x="-24093" y="1139023"/>
                      <a:pt x="4973" y="1163235"/>
                    </a:cubicBezTo>
                    <a:cubicBezTo>
                      <a:pt x="34039" y="1187446"/>
                      <a:pt x="93031" y="1166799"/>
                      <a:pt x="104830" y="1140682"/>
                    </a:cubicBezTo>
                    <a:cubicBezTo>
                      <a:pt x="116629" y="1114566"/>
                      <a:pt x="129410" y="1125504"/>
                      <a:pt x="147845" y="1123845"/>
                    </a:cubicBezTo>
                    <a:cubicBezTo>
                      <a:pt x="168431" y="1122063"/>
                      <a:pt x="171626" y="1080215"/>
                      <a:pt x="161548" y="1058523"/>
                    </a:cubicBezTo>
                    <a:cubicBezTo>
                      <a:pt x="151471" y="1036831"/>
                      <a:pt x="132790" y="1043713"/>
                      <a:pt x="123326" y="1040825"/>
                    </a:cubicBezTo>
                    <a:cubicBezTo>
                      <a:pt x="113863" y="1037937"/>
                      <a:pt x="293728" y="685764"/>
                      <a:pt x="292991" y="660816"/>
                    </a:cubicBezTo>
                    <a:cubicBezTo>
                      <a:pt x="292254" y="635867"/>
                      <a:pt x="463762" y="595187"/>
                      <a:pt x="463762" y="595187"/>
                    </a:cubicBezTo>
                    <a:cubicBezTo>
                      <a:pt x="463762" y="595187"/>
                      <a:pt x="446802" y="655900"/>
                      <a:pt x="437769" y="770443"/>
                    </a:cubicBezTo>
                    <a:cubicBezTo>
                      <a:pt x="431624" y="849346"/>
                      <a:pt x="452701" y="994184"/>
                      <a:pt x="466466" y="1076835"/>
                    </a:cubicBezTo>
                    <a:lnTo>
                      <a:pt x="872039" y="1093796"/>
                    </a:lnTo>
                    <a:close/>
                  </a:path>
                </a:pathLst>
              </a:custGeom>
              <a:solidFill>
                <a:srgbClr val="FFC4B3"/>
              </a:solidFill>
              <a:ln w="6140" cap="flat">
                <a:noFill/>
                <a:prstDash val="solid"/>
                <a:miter/>
              </a:ln>
            </p:spPr>
            <p:txBody>
              <a:bodyPr rtlCol="0" anchor="ctr"/>
              <a:lstStyle/>
              <a:p>
                <a:endParaRPr lang="zh-CN" altLang="en-US"/>
              </a:p>
            </p:txBody>
          </p:sp>
          <p:sp>
            <p:nvSpPr>
              <p:cNvPr id="113" name="任意多边形: 形状 112"/>
              <p:cNvSpPr/>
              <p:nvPr/>
            </p:nvSpPr>
            <p:spPr>
              <a:xfrm>
                <a:off x="9960977" y="3709733"/>
                <a:ext cx="1197970" cy="2063339"/>
              </a:xfrm>
              <a:custGeom>
                <a:avLst/>
                <a:gdLst>
                  <a:gd name="connsiteX0" fmla="*/ -333 w 971654"/>
                  <a:gd name="connsiteY0" fmla="*/ 27847 h 1673541"/>
                  <a:gd name="connsiteX1" fmla="*/ 75497 w 971654"/>
                  <a:gd name="connsiteY1" fmla="*/ 349847 h 1673541"/>
                  <a:gd name="connsiteX2" fmla="*/ 319824 w 971654"/>
                  <a:gd name="connsiteY2" fmla="*/ 843417 h 1673541"/>
                  <a:gd name="connsiteX3" fmla="*/ 652517 w 971654"/>
                  <a:gd name="connsiteY3" fmla="*/ 1673490 h 1673541"/>
                  <a:gd name="connsiteX4" fmla="*/ 971321 w 971654"/>
                  <a:gd name="connsiteY4" fmla="*/ 1501736 h 1673541"/>
                  <a:gd name="connsiteX5" fmla="*/ 697253 w 971654"/>
                  <a:gd name="connsiteY5" fmla="*/ 583359 h 1673541"/>
                  <a:gd name="connsiteX6" fmla="*/ 420726 w 971654"/>
                  <a:gd name="connsiteY6" fmla="*/ -52 h 1673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1654" h="1673541">
                    <a:moveTo>
                      <a:pt x="-333" y="27847"/>
                    </a:moveTo>
                    <a:cubicBezTo>
                      <a:pt x="-333" y="27847"/>
                      <a:pt x="20867" y="219880"/>
                      <a:pt x="75497" y="349847"/>
                    </a:cubicBezTo>
                    <a:cubicBezTo>
                      <a:pt x="96574" y="399868"/>
                      <a:pt x="147271" y="550606"/>
                      <a:pt x="319824" y="843417"/>
                    </a:cubicBezTo>
                    <a:cubicBezTo>
                      <a:pt x="321729" y="846674"/>
                      <a:pt x="652517" y="1673490"/>
                      <a:pt x="652517" y="1673490"/>
                    </a:cubicBezTo>
                    <a:lnTo>
                      <a:pt x="971321" y="1501736"/>
                    </a:lnTo>
                    <a:lnTo>
                      <a:pt x="697253" y="583359"/>
                    </a:lnTo>
                    <a:lnTo>
                      <a:pt x="420726" y="-52"/>
                    </a:lnTo>
                    <a:close/>
                  </a:path>
                </a:pathLst>
              </a:custGeom>
              <a:solidFill>
                <a:srgbClr val="FB9494"/>
              </a:solidFill>
              <a:ln w="6140" cap="flat">
                <a:noFill/>
                <a:prstDash val="solid"/>
                <a:miter/>
              </a:ln>
            </p:spPr>
            <p:txBody>
              <a:bodyPr rtlCol="0" anchor="ctr"/>
              <a:lstStyle/>
              <a:p>
                <a:endParaRPr lang="zh-CN" altLang="en-US"/>
              </a:p>
            </p:txBody>
          </p:sp>
          <p:sp>
            <p:nvSpPr>
              <p:cNvPr id="114" name="任意多边形: 形状 113"/>
              <p:cNvSpPr/>
              <p:nvPr/>
            </p:nvSpPr>
            <p:spPr>
              <a:xfrm>
                <a:off x="9366993" y="2646622"/>
                <a:ext cx="1156999" cy="1149860"/>
              </a:xfrm>
              <a:custGeom>
                <a:avLst/>
                <a:gdLst>
                  <a:gd name="connsiteX0" fmla="*/ 691906 w 938423"/>
                  <a:gd name="connsiteY0" fmla="*/ -52 h 932633"/>
                  <a:gd name="connsiteX1" fmla="*/ 832444 w 938423"/>
                  <a:gd name="connsiteY1" fmla="*/ 121436 h 932633"/>
                  <a:gd name="connsiteX2" fmla="*/ 865995 w 938423"/>
                  <a:gd name="connsiteY2" fmla="*/ 121436 h 932633"/>
                  <a:gd name="connsiteX3" fmla="*/ 936971 w 938423"/>
                  <a:gd name="connsiteY3" fmla="*/ 625330 h 932633"/>
                  <a:gd name="connsiteX4" fmla="*/ 936971 w 938423"/>
                  <a:gd name="connsiteY4" fmla="*/ 920292 h 932633"/>
                  <a:gd name="connsiteX5" fmla="*/ 418943 w 938423"/>
                  <a:gd name="connsiteY5" fmla="*/ 932582 h 932633"/>
                  <a:gd name="connsiteX6" fmla="*/ 412798 w 938423"/>
                  <a:gd name="connsiteY6" fmla="*/ 625330 h 932633"/>
                  <a:gd name="connsiteX7" fmla="*/ 451266 w 938423"/>
                  <a:gd name="connsiteY7" fmla="*/ 358020 h 932633"/>
                  <a:gd name="connsiteX8" fmla="*/ 292970 w 938423"/>
                  <a:gd name="connsiteY8" fmla="*/ 428873 h 932633"/>
                  <a:gd name="connsiteX9" fmla="*/ 185125 w 938423"/>
                  <a:gd name="connsiteY9" fmla="*/ 733667 h 932633"/>
                  <a:gd name="connsiteX10" fmla="*/ -333 w 938423"/>
                  <a:gd name="connsiteY10" fmla="*/ 694769 h 932633"/>
                  <a:gd name="connsiteX11" fmla="*/ 59827 w 938423"/>
                  <a:gd name="connsiteY11" fmla="*/ 294419 h 932633"/>
                  <a:gd name="connsiteX12" fmla="*/ 101552 w 938423"/>
                  <a:gd name="connsiteY12" fmla="*/ 207712 h 932633"/>
                  <a:gd name="connsiteX13" fmla="*/ 691906 w 938423"/>
                  <a:gd name="connsiteY13" fmla="*/ -52 h 932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38423" h="932633">
                    <a:moveTo>
                      <a:pt x="691906" y="-52"/>
                    </a:moveTo>
                    <a:cubicBezTo>
                      <a:pt x="691906" y="-52"/>
                      <a:pt x="725090" y="96303"/>
                      <a:pt x="832444" y="121436"/>
                    </a:cubicBezTo>
                    <a:cubicBezTo>
                      <a:pt x="843074" y="123955"/>
                      <a:pt x="862308" y="111420"/>
                      <a:pt x="865995" y="121436"/>
                    </a:cubicBezTo>
                    <a:cubicBezTo>
                      <a:pt x="906922" y="235918"/>
                      <a:pt x="930949" y="528791"/>
                      <a:pt x="936971" y="625330"/>
                    </a:cubicBezTo>
                    <a:cubicBezTo>
                      <a:pt x="939491" y="665641"/>
                      <a:pt x="936971" y="920292"/>
                      <a:pt x="936971" y="920292"/>
                    </a:cubicBezTo>
                    <a:lnTo>
                      <a:pt x="418943" y="932582"/>
                    </a:lnTo>
                    <a:cubicBezTo>
                      <a:pt x="418943" y="932582"/>
                      <a:pt x="408189" y="734773"/>
                      <a:pt x="412798" y="625330"/>
                    </a:cubicBezTo>
                    <a:cubicBezTo>
                      <a:pt x="416547" y="535157"/>
                      <a:pt x="429452" y="445599"/>
                      <a:pt x="451266" y="358020"/>
                    </a:cubicBezTo>
                    <a:cubicBezTo>
                      <a:pt x="451266" y="358020"/>
                      <a:pt x="298747" y="427090"/>
                      <a:pt x="292970" y="428873"/>
                    </a:cubicBezTo>
                    <a:cubicBezTo>
                      <a:pt x="291250" y="429364"/>
                      <a:pt x="185125" y="733667"/>
                      <a:pt x="185125" y="733667"/>
                    </a:cubicBezTo>
                    <a:cubicBezTo>
                      <a:pt x="120725" y="741791"/>
                      <a:pt x="55403" y="728099"/>
                      <a:pt x="-333" y="694769"/>
                    </a:cubicBezTo>
                    <a:cubicBezTo>
                      <a:pt x="-333" y="694769"/>
                      <a:pt x="35370" y="403309"/>
                      <a:pt x="59827" y="294419"/>
                    </a:cubicBezTo>
                    <a:cubicBezTo>
                      <a:pt x="67755" y="259392"/>
                      <a:pt x="69352" y="223567"/>
                      <a:pt x="101552" y="207712"/>
                    </a:cubicBezTo>
                    <a:cubicBezTo>
                      <a:pt x="224084" y="147675"/>
                      <a:pt x="508784" y="23422"/>
                      <a:pt x="691906" y="-52"/>
                    </a:cubicBezTo>
                    <a:close/>
                  </a:path>
                </a:pathLst>
              </a:custGeom>
              <a:solidFill>
                <a:srgbClr val="152841"/>
              </a:solidFill>
              <a:ln w="6140" cap="flat">
                <a:noFill/>
                <a:prstDash val="solid"/>
                <a:miter/>
              </a:ln>
            </p:spPr>
            <p:txBody>
              <a:bodyPr rtlCol="0" anchor="ctr"/>
              <a:lstStyle/>
              <a:p>
                <a:endParaRPr lang="zh-CN" altLang="en-US"/>
              </a:p>
            </p:txBody>
          </p:sp>
          <p:sp>
            <p:nvSpPr>
              <p:cNvPr id="115" name="任意多边形: 形状 114"/>
              <p:cNvSpPr/>
              <p:nvPr/>
            </p:nvSpPr>
            <p:spPr>
              <a:xfrm>
                <a:off x="10234671" y="2255910"/>
                <a:ext cx="359444" cy="339844"/>
              </a:xfrm>
              <a:custGeom>
                <a:avLst/>
                <a:gdLst>
                  <a:gd name="connsiteX0" fmla="*/ 144783 w 291539"/>
                  <a:gd name="connsiteY0" fmla="*/ 170904 h 275642"/>
                  <a:gd name="connsiteX1" fmla="*/ 101215 w 291539"/>
                  <a:gd name="connsiteY1" fmla="*/ 153452 h 275642"/>
                  <a:gd name="connsiteX2" fmla="*/ 77802 w 291539"/>
                  <a:gd name="connsiteY2" fmla="*/ 224058 h 275642"/>
                  <a:gd name="connsiteX3" fmla="*/ 112399 w 291539"/>
                  <a:gd name="connsiteY3" fmla="*/ 233214 h 275642"/>
                  <a:gd name="connsiteX4" fmla="*/ 40317 w 291539"/>
                  <a:gd name="connsiteY4" fmla="*/ 273526 h 275642"/>
                  <a:gd name="connsiteX5" fmla="*/ 9592 w 291539"/>
                  <a:gd name="connsiteY5" fmla="*/ 232968 h 275642"/>
                  <a:gd name="connsiteX6" fmla="*/ 11498 w 291539"/>
                  <a:gd name="connsiteY6" fmla="*/ 102448 h 275642"/>
                  <a:gd name="connsiteX7" fmla="*/ 169240 w 291539"/>
                  <a:gd name="connsiteY7" fmla="*/ 26434 h 275642"/>
                  <a:gd name="connsiteX8" fmla="*/ 257360 w 291539"/>
                  <a:gd name="connsiteY8" fmla="*/ -52 h 275642"/>
                  <a:gd name="connsiteX9" fmla="*/ 255824 w 291539"/>
                  <a:gd name="connsiteY9" fmla="*/ 142329 h 275642"/>
                  <a:gd name="connsiteX10" fmla="*/ 144783 w 291539"/>
                  <a:gd name="connsiteY10" fmla="*/ 170904 h 275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1539" h="275642">
                    <a:moveTo>
                      <a:pt x="144783" y="170904"/>
                    </a:moveTo>
                    <a:cubicBezTo>
                      <a:pt x="144783" y="170904"/>
                      <a:pt x="118298" y="142145"/>
                      <a:pt x="101215" y="153452"/>
                    </a:cubicBezTo>
                    <a:cubicBezTo>
                      <a:pt x="84132" y="164759"/>
                      <a:pt x="58568" y="209863"/>
                      <a:pt x="77802" y="224058"/>
                    </a:cubicBezTo>
                    <a:cubicBezTo>
                      <a:pt x="97036" y="238253"/>
                      <a:pt x="112399" y="233214"/>
                      <a:pt x="112399" y="233214"/>
                    </a:cubicBezTo>
                    <a:cubicBezTo>
                      <a:pt x="112399" y="233214"/>
                      <a:pt x="84193" y="286615"/>
                      <a:pt x="40317" y="273526"/>
                    </a:cubicBezTo>
                    <a:cubicBezTo>
                      <a:pt x="22374" y="268118"/>
                      <a:pt x="13402" y="243661"/>
                      <a:pt x="9592" y="232968"/>
                    </a:cubicBezTo>
                    <a:cubicBezTo>
                      <a:pt x="-3312" y="197880"/>
                      <a:pt x="-4602" y="156340"/>
                      <a:pt x="11498" y="102448"/>
                    </a:cubicBezTo>
                    <a:cubicBezTo>
                      <a:pt x="30486" y="38970"/>
                      <a:pt x="107299" y="5356"/>
                      <a:pt x="169240" y="26434"/>
                    </a:cubicBezTo>
                    <a:cubicBezTo>
                      <a:pt x="217172" y="42718"/>
                      <a:pt x="257360" y="-52"/>
                      <a:pt x="257360" y="-52"/>
                    </a:cubicBezTo>
                    <a:cubicBezTo>
                      <a:pt x="319549" y="92923"/>
                      <a:pt x="281940" y="124263"/>
                      <a:pt x="255824" y="142329"/>
                    </a:cubicBezTo>
                    <a:cubicBezTo>
                      <a:pt x="223071" y="164040"/>
                      <a:pt x="183927" y="174105"/>
                      <a:pt x="144783" y="170904"/>
                    </a:cubicBezTo>
                    <a:close/>
                  </a:path>
                </a:pathLst>
              </a:custGeom>
              <a:solidFill>
                <a:srgbClr val="152841"/>
              </a:solidFill>
              <a:ln w="6140" cap="flat">
                <a:noFill/>
                <a:prstDash val="solid"/>
                <a:miter/>
              </a:ln>
            </p:spPr>
            <p:txBody>
              <a:bodyPr rtlCol="0" anchor="ctr"/>
              <a:lstStyle/>
              <a:p>
                <a:endParaRPr lang="zh-CN" altLang="en-US"/>
              </a:p>
            </p:txBody>
          </p:sp>
          <p:sp>
            <p:nvSpPr>
              <p:cNvPr id="116" name="任意多边形: 形状 115"/>
              <p:cNvSpPr/>
              <p:nvPr/>
            </p:nvSpPr>
            <p:spPr>
              <a:xfrm>
                <a:off x="10405026" y="2799713"/>
                <a:ext cx="231154" cy="822512"/>
              </a:xfrm>
              <a:custGeom>
                <a:avLst/>
                <a:gdLst>
                  <a:gd name="connsiteX0" fmla="*/ 68123 w 187485"/>
                  <a:gd name="connsiteY0" fmla="*/ 97061 h 667126"/>
                  <a:gd name="connsiteX1" fmla="*/ 30392 w 187485"/>
                  <a:gd name="connsiteY1" fmla="*/ 3226 h 667126"/>
                  <a:gd name="connsiteX2" fmla="*/ -333 w 187485"/>
                  <a:gd name="connsiteY2" fmla="*/ 7466 h 667126"/>
                  <a:gd name="connsiteX3" fmla="*/ 6795 w 187485"/>
                  <a:gd name="connsiteY3" fmla="*/ 31001 h 667126"/>
                  <a:gd name="connsiteX4" fmla="*/ 6795 w 187485"/>
                  <a:gd name="connsiteY4" fmla="*/ 31001 h 667126"/>
                  <a:gd name="connsiteX5" fmla="*/ 37152 w 187485"/>
                  <a:gd name="connsiteY5" fmla="*/ 176701 h 667126"/>
                  <a:gd name="connsiteX6" fmla="*/ 58106 w 187485"/>
                  <a:gd name="connsiteY6" fmla="*/ 568754 h 667126"/>
                  <a:gd name="connsiteX7" fmla="*/ 131847 w 187485"/>
                  <a:gd name="connsiteY7" fmla="*/ 667075 h 667126"/>
                  <a:gd name="connsiteX8" fmla="*/ 187152 w 187485"/>
                  <a:gd name="connsiteY8" fmla="*/ 568754 h 667126"/>
                  <a:gd name="connsiteX9" fmla="*/ 68123 w 187485"/>
                  <a:gd name="connsiteY9" fmla="*/ 97061 h 667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7485" h="667126">
                    <a:moveTo>
                      <a:pt x="68123" y="97061"/>
                    </a:moveTo>
                    <a:cubicBezTo>
                      <a:pt x="68123" y="97061"/>
                      <a:pt x="42805" y="27069"/>
                      <a:pt x="30392" y="3226"/>
                    </a:cubicBezTo>
                    <a:cubicBezTo>
                      <a:pt x="25722" y="-5807"/>
                      <a:pt x="10298" y="6606"/>
                      <a:pt x="-333" y="7466"/>
                    </a:cubicBezTo>
                    <a:lnTo>
                      <a:pt x="6795" y="31001"/>
                    </a:lnTo>
                    <a:lnTo>
                      <a:pt x="6795" y="31001"/>
                    </a:lnTo>
                    <a:cubicBezTo>
                      <a:pt x="21544" y="78490"/>
                      <a:pt x="31682" y="127276"/>
                      <a:pt x="37152" y="176701"/>
                    </a:cubicBezTo>
                    <a:lnTo>
                      <a:pt x="58106" y="568754"/>
                    </a:lnTo>
                    <a:lnTo>
                      <a:pt x="131847" y="667075"/>
                    </a:lnTo>
                    <a:lnTo>
                      <a:pt x="187152" y="568754"/>
                    </a:lnTo>
                    <a:cubicBezTo>
                      <a:pt x="179225" y="509147"/>
                      <a:pt x="112305" y="228626"/>
                      <a:pt x="68123" y="97061"/>
                    </a:cubicBezTo>
                    <a:close/>
                  </a:path>
                </a:pathLst>
              </a:custGeom>
              <a:solidFill>
                <a:srgbClr val="F84D4D"/>
              </a:solidFill>
              <a:ln w="6140" cap="flat">
                <a:noFill/>
                <a:prstDash val="solid"/>
                <a:miter/>
              </a:ln>
            </p:spPr>
            <p:txBody>
              <a:bodyPr rtlCol="0" anchor="ctr"/>
              <a:lstStyle/>
              <a:p>
                <a:endParaRPr lang="zh-CN" altLang="en-US"/>
              </a:p>
            </p:txBody>
          </p:sp>
          <p:sp>
            <p:nvSpPr>
              <p:cNvPr id="117" name="任意多边形: 形状 116"/>
              <p:cNvSpPr/>
              <p:nvPr/>
            </p:nvSpPr>
            <p:spPr>
              <a:xfrm>
                <a:off x="10136143" y="2637302"/>
                <a:ext cx="303053" cy="254489"/>
              </a:xfrm>
              <a:custGeom>
                <a:avLst/>
                <a:gdLst>
                  <a:gd name="connsiteX0" fmla="*/ 67262 w 245801"/>
                  <a:gd name="connsiteY0" fmla="*/ -52 h 206412"/>
                  <a:gd name="connsiteX1" fmla="*/ -333 w 245801"/>
                  <a:gd name="connsiteY1" fmla="*/ 18384 h 206412"/>
                  <a:gd name="connsiteX2" fmla="*/ 177320 w 245801"/>
                  <a:gd name="connsiteY2" fmla="*/ 206361 h 206412"/>
                  <a:gd name="connsiteX3" fmla="*/ 245469 w 245801"/>
                  <a:gd name="connsiteY3" fmla="*/ 128994 h 206412"/>
                </a:gdLst>
                <a:ahLst/>
                <a:cxnLst>
                  <a:cxn ang="0">
                    <a:pos x="connsiteX0" y="connsiteY0"/>
                  </a:cxn>
                  <a:cxn ang="0">
                    <a:pos x="connsiteX1" y="connsiteY1"/>
                  </a:cxn>
                  <a:cxn ang="0">
                    <a:pos x="connsiteX2" y="connsiteY2"/>
                  </a:cxn>
                  <a:cxn ang="0">
                    <a:pos x="connsiteX3" y="connsiteY3"/>
                  </a:cxn>
                </a:cxnLst>
                <a:rect l="l" t="t" r="r" b="b"/>
                <a:pathLst>
                  <a:path w="245801" h="206412">
                    <a:moveTo>
                      <a:pt x="67262" y="-52"/>
                    </a:moveTo>
                    <a:lnTo>
                      <a:pt x="-333" y="18384"/>
                    </a:lnTo>
                    <a:cubicBezTo>
                      <a:pt x="54050" y="85414"/>
                      <a:pt x="113473" y="148253"/>
                      <a:pt x="177320" y="206361"/>
                    </a:cubicBezTo>
                    <a:lnTo>
                      <a:pt x="245469" y="128994"/>
                    </a:lnTo>
                    <a:close/>
                  </a:path>
                </a:pathLst>
              </a:custGeom>
              <a:solidFill>
                <a:srgbClr val="E7ECFF"/>
              </a:solidFill>
              <a:ln w="6140" cap="flat">
                <a:noFill/>
                <a:prstDash val="solid"/>
                <a:miter/>
              </a:ln>
            </p:spPr>
            <p:txBody>
              <a:bodyPr rtlCol="0" anchor="ctr"/>
              <a:lstStyle/>
              <a:p>
                <a:endParaRPr lang="zh-CN" altLang="en-US"/>
              </a:p>
            </p:txBody>
          </p:sp>
          <p:sp>
            <p:nvSpPr>
              <p:cNvPr id="118" name="任意多边形: 形状 117"/>
              <p:cNvSpPr/>
              <p:nvPr/>
            </p:nvSpPr>
            <p:spPr>
              <a:xfrm>
                <a:off x="10363432" y="2599421"/>
                <a:ext cx="60610" cy="82961"/>
              </a:xfrm>
              <a:custGeom>
                <a:avLst/>
                <a:gdLst>
                  <a:gd name="connsiteX0" fmla="*/ 49160 w 49160"/>
                  <a:gd name="connsiteY0" fmla="*/ 30725 h 67288"/>
                  <a:gd name="connsiteX1" fmla="*/ 0 w 49160"/>
                  <a:gd name="connsiteY1" fmla="*/ 0 h 67288"/>
                  <a:gd name="connsiteX2" fmla="*/ 41172 w 49160"/>
                  <a:gd name="connsiteY2" fmla="*/ 67288 h 67288"/>
                  <a:gd name="connsiteX3" fmla="*/ 49160 w 49160"/>
                  <a:gd name="connsiteY3" fmla="*/ 30725 h 67288"/>
                </a:gdLst>
                <a:ahLst/>
                <a:cxnLst>
                  <a:cxn ang="0">
                    <a:pos x="connsiteX0" y="connsiteY0"/>
                  </a:cxn>
                  <a:cxn ang="0">
                    <a:pos x="connsiteX1" y="connsiteY1"/>
                  </a:cxn>
                  <a:cxn ang="0">
                    <a:pos x="connsiteX2" y="connsiteY2"/>
                  </a:cxn>
                  <a:cxn ang="0">
                    <a:pos x="connsiteX3" y="connsiteY3"/>
                  </a:cxn>
                </a:cxnLst>
                <a:rect l="l" t="t" r="r" b="b"/>
                <a:pathLst>
                  <a:path w="49160" h="67288">
                    <a:moveTo>
                      <a:pt x="49160" y="30725"/>
                    </a:moveTo>
                    <a:lnTo>
                      <a:pt x="0" y="0"/>
                    </a:lnTo>
                    <a:lnTo>
                      <a:pt x="41172" y="67288"/>
                    </a:lnTo>
                    <a:lnTo>
                      <a:pt x="49160" y="30725"/>
                    </a:lnTo>
                    <a:close/>
                  </a:path>
                </a:pathLst>
              </a:custGeom>
              <a:solidFill>
                <a:srgbClr val="E96583"/>
              </a:solidFill>
              <a:ln w="6140" cap="flat">
                <a:noFill/>
                <a:prstDash val="solid"/>
                <a:miter/>
              </a:ln>
            </p:spPr>
            <p:txBody>
              <a:bodyPr rtlCol="0" anchor="ctr"/>
              <a:lstStyle/>
              <a:p>
                <a:endParaRPr lang="zh-CN" altLang="en-US"/>
              </a:p>
            </p:txBody>
          </p:sp>
        </p:grpSp>
      </p:grpSp>
    </p:spTree>
    <p:custDataLst>
      <p:tags r:id="rId1"/>
    </p:custData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组合 2"/>
          <p:cNvGrpSpPr/>
          <p:nvPr/>
        </p:nvGrpSpPr>
        <p:grpSpPr>
          <a:xfrm>
            <a:off x="84114" y="1405360"/>
            <a:ext cx="11498735" cy="4768917"/>
            <a:chOff x="84112" y="1405360"/>
            <a:chExt cx="11498735" cy="4768917"/>
          </a:xfrm>
        </p:grpSpPr>
        <p:sp>
          <p:nvSpPr>
            <p:cNvPr id="50" name="任意多边形: 形状 49"/>
            <p:cNvSpPr/>
            <p:nvPr/>
          </p:nvSpPr>
          <p:spPr>
            <a:xfrm>
              <a:off x="84112" y="2290579"/>
              <a:ext cx="11498735" cy="2688161"/>
            </a:xfrm>
            <a:custGeom>
              <a:avLst/>
              <a:gdLst>
                <a:gd name="connsiteX0" fmla="*/ 496 w 11498735"/>
                <a:gd name="connsiteY0" fmla="*/ 272 h 2688161"/>
                <a:gd name="connsiteX1" fmla="*/ 10216015 w 11498735"/>
                <a:gd name="connsiteY1" fmla="*/ 272 h 2688161"/>
                <a:gd name="connsiteX2" fmla="*/ 11499232 w 11498735"/>
                <a:gd name="connsiteY2" fmla="*/ 1283362 h 2688161"/>
                <a:gd name="connsiteX3" fmla="*/ 10216015 w 11498735"/>
                <a:gd name="connsiteY3" fmla="*/ 2566578 h 2688161"/>
                <a:gd name="connsiteX4" fmla="*/ 3224388 w 11498735"/>
                <a:gd name="connsiteY4" fmla="*/ 2566578 h 2688161"/>
                <a:gd name="connsiteX5" fmla="*/ 3224388 w 11498735"/>
                <a:gd name="connsiteY5" fmla="*/ 2688433 h 2688161"/>
                <a:gd name="connsiteX6" fmla="*/ 2615747 w 11498735"/>
                <a:gd name="connsiteY6" fmla="*/ 2335422 h 2688161"/>
                <a:gd name="connsiteX7" fmla="*/ 3224388 w 11498735"/>
                <a:gd name="connsiteY7" fmla="*/ 1982410 h 2688161"/>
                <a:gd name="connsiteX8" fmla="*/ 3224388 w 11498735"/>
                <a:gd name="connsiteY8" fmla="*/ 2160945 h 2688161"/>
                <a:gd name="connsiteX9" fmla="*/ 10216015 w 11498735"/>
                <a:gd name="connsiteY9" fmla="*/ 2160945 h 2688161"/>
                <a:gd name="connsiteX10" fmla="*/ 11094105 w 11498735"/>
                <a:gd name="connsiteY10" fmla="*/ 1282854 h 2688161"/>
                <a:gd name="connsiteX11" fmla="*/ 10216015 w 11498735"/>
                <a:gd name="connsiteY11" fmla="*/ 404764 h 2688161"/>
                <a:gd name="connsiteX12" fmla="*/ 496 w 11498735"/>
                <a:gd name="connsiteY12" fmla="*/ 404764 h 2688161"/>
                <a:gd name="connsiteX13" fmla="*/ 496 w 11498735"/>
                <a:gd name="connsiteY13" fmla="*/ 272 h 2688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498735" h="2688161">
                  <a:moveTo>
                    <a:pt x="496" y="272"/>
                  </a:moveTo>
                  <a:lnTo>
                    <a:pt x="10216015" y="272"/>
                  </a:lnTo>
                  <a:cubicBezTo>
                    <a:pt x="10924345" y="1046"/>
                    <a:pt x="11498395" y="575031"/>
                    <a:pt x="11499232" y="1283362"/>
                  </a:cubicBezTo>
                  <a:cubicBezTo>
                    <a:pt x="11498395" y="1991718"/>
                    <a:pt x="10924371" y="2565740"/>
                    <a:pt x="10216015" y="2566578"/>
                  </a:cubicBezTo>
                  <a:lnTo>
                    <a:pt x="3224388" y="2566578"/>
                  </a:lnTo>
                  <a:lnTo>
                    <a:pt x="3224388" y="2688433"/>
                  </a:lnTo>
                  <a:lnTo>
                    <a:pt x="2615747" y="2335422"/>
                  </a:lnTo>
                  <a:lnTo>
                    <a:pt x="3224388" y="1982410"/>
                  </a:lnTo>
                  <a:lnTo>
                    <a:pt x="3224388" y="2160945"/>
                  </a:lnTo>
                  <a:lnTo>
                    <a:pt x="10216015" y="2160945"/>
                  </a:lnTo>
                  <a:cubicBezTo>
                    <a:pt x="10700772" y="2160450"/>
                    <a:pt x="11093611" y="1767611"/>
                    <a:pt x="11094105" y="1282854"/>
                  </a:cubicBezTo>
                  <a:cubicBezTo>
                    <a:pt x="11093611" y="798098"/>
                    <a:pt x="10700772" y="405259"/>
                    <a:pt x="10216015" y="404764"/>
                  </a:cubicBezTo>
                  <a:lnTo>
                    <a:pt x="496" y="404764"/>
                  </a:lnTo>
                  <a:lnTo>
                    <a:pt x="496" y="272"/>
                  </a:lnTo>
                  <a:close/>
                </a:path>
              </a:pathLst>
            </a:custGeom>
            <a:solidFill>
              <a:schemeClr val="tx2">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64" name="文本框 63"/>
            <p:cNvSpPr txBox="1"/>
            <p:nvPr/>
          </p:nvSpPr>
          <p:spPr>
            <a:xfrm>
              <a:off x="772069" y="1405360"/>
              <a:ext cx="10647863" cy="523220"/>
            </a:xfrm>
            <a:prstGeom prst="rect">
              <a:avLst/>
            </a:prstGeom>
            <a:noFill/>
            <a:ln>
              <a:noFill/>
            </a:ln>
          </p:spPr>
          <p:txBody>
            <a:bodyPr wrap="square" lIns="91440" tIns="45720" rIns="91440" bIns="45720" anchor="t" anchorCtr="0">
              <a:spAutoFit/>
            </a:bodyPr>
            <a:lstStyle/>
            <a:p>
              <a:pPr>
                <a:buSzPct val="25000"/>
              </a:pPr>
              <a:r>
                <a:rPr lang="en-US" sz="2800" b="1" dirty="0">
                  <a:latin typeface="Calibri" pitchFamily="34" charset="0"/>
                  <a:ea typeface="宋体" pitchFamily="2" charset="-122"/>
                </a:rPr>
                <a:t>Unified fonts make reading </a:t>
              </a:r>
              <a:r>
                <a:rPr lang="en-US" sz="2800" b="1" dirty="0">
                  <a:solidFill>
                    <a:schemeClr val="accent1"/>
                  </a:solidFill>
                  <a:latin typeface="Calibri" pitchFamily="34" charset="0"/>
                  <a:ea typeface="宋体" pitchFamily="2" charset="-122"/>
                </a:rPr>
                <a:t>more fluent.</a:t>
              </a:r>
              <a:endParaRPr lang="en-US" sz="2800" b="1" dirty="0">
                <a:solidFill>
                  <a:schemeClr val="accent1"/>
                </a:solidFill>
                <a:latin typeface="Calibri" pitchFamily="34" charset="0"/>
                <a:ea typeface="宋体" pitchFamily="2" charset="-122"/>
              </a:endParaRPr>
            </a:p>
          </p:txBody>
        </p:sp>
        <p:grpSp>
          <p:nvGrpSpPr>
            <p:cNvPr id="76" name="组合 75"/>
            <p:cNvGrpSpPr/>
            <p:nvPr/>
          </p:nvGrpSpPr>
          <p:grpSpPr>
            <a:xfrm>
              <a:off x="830229" y="2525819"/>
              <a:ext cx="1958691" cy="1451358"/>
              <a:chOff x="830229" y="2285330"/>
              <a:chExt cx="1958691" cy="1451358"/>
            </a:xfrm>
          </p:grpSpPr>
          <p:grpSp>
            <p:nvGrpSpPr>
              <p:cNvPr id="72" name="组合 71"/>
              <p:cNvGrpSpPr/>
              <p:nvPr/>
            </p:nvGrpSpPr>
            <p:grpSpPr>
              <a:xfrm>
                <a:off x="830229" y="2688836"/>
                <a:ext cx="1958691" cy="1047852"/>
                <a:chOff x="1064070" y="2833979"/>
                <a:chExt cx="1958691" cy="1047852"/>
              </a:xfrm>
            </p:grpSpPr>
            <p:sp>
              <p:nvSpPr>
                <p:cNvPr id="62" name="文本框 61"/>
                <p:cNvSpPr txBox="1"/>
                <p:nvPr/>
              </p:nvSpPr>
              <p:spPr>
                <a:xfrm>
                  <a:off x="1064070" y="2833979"/>
                  <a:ext cx="1958691" cy="307777"/>
                </a:xfrm>
                <a:prstGeom prst="rect">
                  <a:avLst/>
                </a:prstGeom>
                <a:noFill/>
              </p:spPr>
              <p:txBody>
                <a:bodyPr wrap="square" rtlCol="0">
                  <a:spAutoFit/>
                </a:bodyPr>
                <a:lstStyle/>
                <a:p>
                  <a:r>
                    <a:rPr lang="en-US" sz="1400" b="1" dirty="0">
                      <a:latin typeface="Calibri" pitchFamily="34" charset="0"/>
                      <a:ea typeface="宋体" pitchFamily="2" charset="-122"/>
                    </a:rPr>
                    <a:t>Supporting text here</a:t>
                  </a:r>
                  <a:endParaRPr lang="en-US" sz="1400" b="1" dirty="0">
                    <a:latin typeface="Calibri" pitchFamily="34" charset="0"/>
                    <a:ea typeface="宋体" pitchFamily="2" charset="-122"/>
                  </a:endParaRPr>
                </a:p>
              </p:txBody>
            </p:sp>
            <p:sp>
              <p:nvSpPr>
                <p:cNvPr id="63" name="文本框 62"/>
                <p:cNvSpPr txBox="1"/>
                <p:nvPr/>
              </p:nvSpPr>
              <p:spPr>
                <a:xfrm>
                  <a:off x="1064070" y="3203311"/>
                  <a:ext cx="1958691" cy="678520"/>
                </a:xfrm>
                <a:prstGeom prst="rect">
                  <a:avLst/>
                </a:prstGeom>
                <a:ln>
                  <a:noFill/>
                </a:ln>
              </p:spPr>
              <p:txBody>
                <a:bodyPr wrap="square" lIns="90000" tIns="46800" rIns="90000" bIns="46800" anchor="t">
                  <a:spAutoFit/>
                </a:bodyPr>
                <a:lstStyle>
                  <a:defPPr>
                    <a:defRPr lang="zh-CN"/>
                  </a:defPPr>
                  <a:lvl1pPr algn="ctr">
                    <a:lnSpc>
                      <a:spcPct val="150000"/>
                    </a:lnSpc>
                    <a:defRPr sz="1000">
                      <a:solidFill>
                        <a:schemeClr val="tx1">
                          <a:lumMod val="85000"/>
                          <a:lumOff val="15000"/>
                        </a:schemeClr>
                      </a:solidFill>
                    </a:defRPr>
                  </a:lvl1pPr>
                </a:lstStyle>
                <a:p>
                  <a:pPr algn="l">
                    <a:lnSpc>
                      <a:spcPct val="130000"/>
                    </a:lnSpc>
                  </a:pPr>
                  <a:r>
                    <a:rPr lang="en-GB" dirty="0">
                      <a:latin typeface="Calibri" pitchFamily="34" charset="0"/>
                      <a:ea typeface="宋体" pitchFamily="2" charset="-122"/>
                    </a:rPr>
                    <a:t>Theme </a:t>
                  </a:r>
                  <a:r>
                    <a:rPr lang="en-GB" dirty="0" err="1">
                      <a:latin typeface="Calibri" pitchFamily="34" charset="0"/>
                      <a:ea typeface="宋体" pitchFamily="2" charset="-122"/>
                    </a:rPr>
                    <a:t>color</a:t>
                  </a:r>
                  <a:r>
                    <a:rPr lang="en-GB" dirty="0">
                      <a:latin typeface="Calibri" pitchFamily="34" charset="0"/>
                      <a:ea typeface="宋体" pitchFamily="2" charset="-122"/>
                    </a:rPr>
                    <a:t> makes PPT more convenient to </a:t>
                  </a:r>
                  <a:r>
                    <a:rPr lang="en-GB" dirty="0" err="1">
                      <a:latin typeface="Calibri" pitchFamily="34" charset="0"/>
                      <a:ea typeface="宋体" pitchFamily="2" charset="-122"/>
                    </a:rPr>
                    <a:t>change.Unified</a:t>
                  </a:r>
                  <a:r>
                    <a:rPr lang="en-GB" dirty="0">
                      <a:latin typeface="Calibri" pitchFamily="34" charset="0"/>
                      <a:ea typeface="宋体" pitchFamily="2" charset="-122"/>
                    </a:rPr>
                    <a:t> fonts make reading more fluent.</a:t>
                  </a:r>
                  <a:endParaRPr lang="en-GB" dirty="0">
                    <a:latin typeface="Calibri" pitchFamily="34" charset="0"/>
                    <a:ea typeface="宋体" pitchFamily="2" charset="-122"/>
                  </a:endParaRPr>
                </a:p>
              </p:txBody>
            </p:sp>
          </p:grpSp>
          <p:sp>
            <p:nvSpPr>
              <p:cNvPr id="75" name="矩形: 圆角 74"/>
              <p:cNvSpPr/>
              <p:nvPr/>
            </p:nvSpPr>
            <p:spPr>
              <a:xfrm>
                <a:off x="954151" y="2285330"/>
                <a:ext cx="301588" cy="301587"/>
              </a:xfrm>
              <a:prstGeom prst="roundRect">
                <a:avLst>
                  <a:gd name="adj" fmla="val 50000"/>
                </a:avLst>
              </a:prstGeom>
              <a:solidFill>
                <a:schemeClr val="accent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lang="en-US" altLang="zh-CN" sz="1400" dirty="0">
                    <a:solidFill>
                      <a:schemeClr val="lt1">
                        <a:lumMod val="100000"/>
                      </a:schemeClr>
                    </a:solidFill>
                    <a:latin typeface="Calibri" pitchFamily="34" charset="0"/>
                    <a:ea typeface="宋体" pitchFamily="2" charset="-122"/>
                  </a:rPr>
                  <a:t>1</a:t>
                </a:r>
                <a:endParaRPr lang="zh-CN" altLang="en-US" sz="1400" dirty="0">
                  <a:solidFill>
                    <a:schemeClr val="lt1">
                      <a:lumMod val="100000"/>
                    </a:schemeClr>
                  </a:solidFill>
                  <a:latin typeface="Calibri" pitchFamily="34" charset="0"/>
                  <a:ea typeface="宋体" pitchFamily="2" charset="-122"/>
                </a:endParaRPr>
              </a:p>
            </p:txBody>
          </p:sp>
        </p:grpSp>
        <p:grpSp>
          <p:nvGrpSpPr>
            <p:cNvPr id="32" name="组合 31"/>
            <p:cNvGrpSpPr/>
            <p:nvPr/>
          </p:nvGrpSpPr>
          <p:grpSpPr>
            <a:xfrm>
              <a:off x="3424355" y="2525819"/>
              <a:ext cx="1958691" cy="1451358"/>
              <a:chOff x="830229" y="2285330"/>
              <a:chExt cx="1958691" cy="1451358"/>
            </a:xfrm>
          </p:grpSpPr>
          <p:grpSp>
            <p:nvGrpSpPr>
              <p:cNvPr id="33" name="组合 32"/>
              <p:cNvGrpSpPr/>
              <p:nvPr/>
            </p:nvGrpSpPr>
            <p:grpSpPr>
              <a:xfrm>
                <a:off x="830229" y="2688836"/>
                <a:ext cx="1958691" cy="1047852"/>
                <a:chOff x="1064070" y="2833979"/>
                <a:chExt cx="1958691" cy="1047852"/>
              </a:xfrm>
            </p:grpSpPr>
            <p:sp>
              <p:nvSpPr>
                <p:cNvPr id="36" name="文本框 35"/>
                <p:cNvSpPr txBox="1"/>
                <p:nvPr/>
              </p:nvSpPr>
              <p:spPr>
                <a:xfrm>
                  <a:off x="1064070" y="2833979"/>
                  <a:ext cx="1958691" cy="307777"/>
                </a:xfrm>
                <a:prstGeom prst="rect">
                  <a:avLst/>
                </a:prstGeom>
                <a:noFill/>
              </p:spPr>
              <p:txBody>
                <a:bodyPr wrap="square" rtlCol="0">
                  <a:spAutoFit/>
                </a:bodyPr>
                <a:lstStyle/>
                <a:p>
                  <a:r>
                    <a:rPr lang="en-US" sz="1400" b="1" dirty="0">
                      <a:latin typeface="Calibri" pitchFamily="34" charset="0"/>
                      <a:ea typeface="宋体" pitchFamily="2" charset="-122"/>
                    </a:rPr>
                    <a:t>Supporting text here</a:t>
                  </a:r>
                  <a:endParaRPr lang="en-US" sz="1400" b="1" dirty="0">
                    <a:latin typeface="Calibri" pitchFamily="34" charset="0"/>
                    <a:ea typeface="宋体" pitchFamily="2" charset="-122"/>
                  </a:endParaRPr>
                </a:p>
              </p:txBody>
            </p:sp>
            <p:sp>
              <p:nvSpPr>
                <p:cNvPr id="37" name="文本框 36"/>
                <p:cNvSpPr txBox="1"/>
                <p:nvPr/>
              </p:nvSpPr>
              <p:spPr>
                <a:xfrm>
                  <a:off x="1064070" y="3203311"/>
                  <a:ext cx="1958691" cy="678520"/>
                </a:xfrm>
                <a:prstGeom prst="rect">
                  <a:avLst/>
                </a:prstGeom>
                <a:ln>
                  <a:noFill/>
                </a:ln>
              </p:spPr>
              <p:txBody>
                <a:bodyPr wrap="square" lIns="90000" tIns="46800" rIns="90000" bIns="46800" anchor="t">
                  <a:spAutoFit/>
                </a:bodyPr>
                <a:lstStyle>
                  <a:defPPr>
                    <a:defRPr lang="zh-CN"/>
                  </a:defPPr>
                  <a:lvl1pPr algn="ctr">
                    <a:lnSpc>
                      <a:spcPct val="150000"/>
                    </a:lnSpc>
                    <a:defRPr sz="1000">
                      <a:solidFill>
                        <a:schemeClr val="tx1">
                          <a:lumMod val="85000"/>
                          <a:lumOff val="15000"/>
                        </a:schemeClr>
                      </a:solidFill>
                    </a:defRPr>
                  </a:lvl1pPr>
                </a:lstStyle>
                <a:p>
                  <a:pPr algn="l">
                    <a:lnSpc>
                      <a:spcPct val="130000"/>
                    </a:lnSpc>
                  </a:pPr>
                  <a:r>
                    <a:rPr lang="en-GB" dirty="0">
                      <a:latin typeface="Calibri" pitchFamily="34" charset="0"/>
                      <a:ea typeface="宋体" pitchFamily="2" charset="-122"/>
                    </a:rPr>
                    <a:t>Theme </a:t>
                  </a:r>
                  <a:r>
                    <a:rPr lang="en-GB" dirty="0" err="1">
                      <a:latin typeface="Calibri" pitchFamily="34" charset="0"/>
                      <a:ea typeface="宋体" pitchFamily="2" charset="-122"/>
                    </a:rPr>
                    <a:t>color</a:t>
                  </a:r>
                  <a:r>
                    <a:rPr lang="en-GB" dirty="0">
                      <a:latin typeface="Calibri" pitchFamily="34" charset="0"/>
                      <a:ea typeface="宋体" pitchFamily="2" charset="-122"/>
                    </a:rPr>
                    <a:t> makes PPT more convenient to </a:t>
                  </a:r>
                  <a:r>
                    <a:rPr lang="en-GB" dirty="0" err="1">
                      <a:latin typeface="Calibri" pitchFamily="34" charset="0"/>
                      <a:ea typeface="宋体" pitchFamily="2" charset="-122"/>
                    </a:rPr>
                    <a:t>change.Unified</a:t>
                  </a:r>
                  <a:r>
                    <a:rPr lang="en-GB" dirty="0">
                      <a:latin typeface="Calibri" pitchFamily="34" charset="0"/>
                      <a:ea typeface="宋体" pitchFamily="2" charset="-122"/>
                    </a:rPr>
                    <a:t> fonts make reading more fluent.</a:t>
                  </a:r>
                  <a:endParaRPr lang="en-GB" dirty="0">
                    <a:latin typeface="Calibri" pitchFamily="34" charset="0"/>
                    <a:ea typeface="宋体" pitchFamily="2" charset="-122"/>
                  </a:endParaRPr>
                </a:p>
              </p:txBody>
            </p:sp>
          </p:grpSp>
          <p:sp>
            <p:nvSpPr>
              <p:cNvPr id="35" name="矩形: 圆角 34"/>
              <p:cNvSpPr/>
              <p:nvPr/>
            </p:nvSpPr>
            <p:spPr>
              <a:xfrm>
                <a:off x="954151" y="2285330"/>
                <a:ext cx="301588" cy="301587"/>
              </a:xfrm>
              <a:prstGeom prst="roundRect">
                <a:avLst>
                  <a:gd name="adj" fmla="val 50000"/>
                </a:avLst>
              </a:prstGeom>
              <a:solidFill>
                <a:srgbClr val="778495"/>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lang="en-US" altLang="zh-CN" sz="1400" dirty="0">
                    <a:solidFill>
                      <a:schemeClr val="lt1">
                        <a:lumMod val="100000"/>
                      </a:schemeClr>
                    </a:solidFill>
                    <a:latin typeface="Calibri" pitchFamily="34" charset="0"/>
                    <a:ea typeface="宋体" pitchFamily="2" charset="-122"/>
                  </a:rPr>
                  <a:t>2</a:t>
                </a:r>
                <a:endParaRPr lang="zh-CN" altLang="en-US" sz="1400" dirty="0">
                  <a:solidFill>
                    <a:schemeClr val="lt1">
                      <a:lumMod val="100000"/>
                    </a:schemeClr>
                  </a:solidFill>
                  <a:latin typeface="Calibri" pitchFamily="34" charset="0"/>
                  <a:ea typeface="宋体" pitchFamily="2" charset="-122"/>
                </a:endParaRPr>
              </a:p>
            </p:txBody>
          </p:sp>
        </p:grpSp>
        <p:grpSp>
          <p:nvGrpSpPr>
            <p:cNvPr id="38" name="组合 37"/>
            <p:cNvGrpSpPr/>
            <p:nvPr/>
          </p:nvGrpSpPr>
          <p:grpSpPr>
            <a:xfrm>
              <a:off x="6018481" y="2525819"/>
              <a:ext cx="1958691" cy="1451358"/>
              <a:chOff x="830229" y="2285330"/>
              <a:chExt cx="1958691" cy="1451358"/>
            </a:xfrm>
          </p:grpSpPr>
          <p:grpSp>
            <p:nvGrpSpPr>
              <p:cNvPr id="39" name="组合 38"/>
              <p:cNvGrpSpPr/>
              <p:nvPr/>
            </p:nvGrpSpPr>
            <p:grpSpPr>
              <a:xfrm>
                <a:off x="830229" y="2688836"/>
                <a:ext cx="1958691" cy="1047852"/>
                <a:chOff x="1064070" y="2833979"/>
                <a:chExt cx="1958691" cy="1047852"/>
              </a:xfrm>
            </p:grpSpPr>
            <p:sp>
              <p:nvSpPr>
                <p:cNvPr id="41" name="文本框 40"/>
                <p:cNvSpPr txBox="1"/>
                <p:nvPr/>
              </p:nvSpPr>
              <p:spPr>
                <a:xfrm>
                  <a:off x="1064070" y="2833979"/>
                  <a:ext cx="1958691" cy="307777"/>
                </a:xfrm>
                <a:prstGeom prst="rect">
                  <a:avLst/>
                </a:prstGeom>
                <a:noFill/>
              </p:spPr>
              <p:txBody>
                <a:bodyPr wrap="square" rtlCol="0">
                  <a:spAutoFit/>
                </a:bodyPr>
                <a:lstStyle/>
                <a:p>
                  <a:r>
                    <a:rPr lang="en-US" sz="1400" b="1" dirty="0">
                      <a:latin typeface="Calibri" pitchFamily="34" charset="0"/>
                      <a:ea typeface="宋体" pitchFamily="2" charset="-122"/>
                    </a:rPr>
                    <a:t>Supporting text here</a:t>
                  </a:r>
                  <a:endParaRPr lang="en-US" sz="1400" b="1" dirty="0">
                    <a:latin typeface="Calibri" pitchFamily="34" charset="0"/>
                    <a:ea typeface="宋体" pitchFamily="2" charset="-122"/>
                  </a:endParaRPr>
                </a:p>
              </p:txBody>
            </p:sp>
            <p:sp>
              <p:nvSpPr>
                <p:cNvPr id="42" name="文本框 41"/>
                <p:cNvSpPr txBox="1"/>
                <p:nvPr/>
              </p:nvSpPr>
              <p:spPr>
                <a:xfrm>
                  <a:off x="1064070" y="3203311"/>
                  <a:ext cx="1958691" cy="678520"/>
                </a:xfrm>
                <a:prstGeom prst="rect">
                  <a:avLst/>
                </a:prstGeom>
                <a:ln>
                  <a:noFill/>
                </a:ln>
              </p:spPr>
              <p:txBody>
                <a:bodyPr wrap="square" lIns="90000" tIns="46800" rIns="90000" bIns="46800" anchor="t">
                  <a:spAutoFit/>
                </a:bodyPr>
                <a:lstStyle>
                  <a:defPPr>
                    <a:defRPr lang="zh-CN"/>
                  </a:defPPr>
                  <a:lvl1pPr algn="ctr">
                    <a:lnSpc>
                      <a:spcPct val="150000"/>
                    </a:lnSpc>
                    <a:defRPr sz="1000">
                      <a:solidFill>
                        <a:schemeClr val="tx1">
                          <a:lumMod val="85000"/>
                          <a:lumOff val="15000"/>
                        </a:schemeClr>
                      </a:solidFill>
                    </a:defRPr>
                  </a:lvl1pPr>
                </a:lstStyle>
                <a:p>
                  <a:pPr algn="l">
                    <a:lnSpc>
                      <a:spcPct val="130000"/>
                    </a:lnSpc>
                  </a:pPr>
                  <a:r>
                    <a:rPr lang="en-GB" dirty="0">
                      <a:latin typeface="Calibri" pitchFamily="34" charset="0"/>
                      <a:ea typeface="宋体" pitchFamily="2" charset="-122"/>
                    </a:rPr>
                    <a:t>Theme </a:t>
                  </a:r>
                  <a:r>
                    <a:rPr lang="en-GB" dirty="0" err="1">
                      <a:latin typeface="Calibri" pitchFamily="34" charset="0"/>
                      <a:ea typeface="宋体" pitchFamily="2" charset="-122"/>
                    </a:rPr>
                    <a:t>color</a:t>
                  </a:r>
                  <a:r>
                    <a:rPr lang="en-GB" dirty="0">
                      <a:latin typeface="Calibri" pitchFamily="34" charset="0"/>
                      <a:ea typeface="宋体" pitchFamily="2" charset="-122"/>
                    </a:rPr>
                    <a:t> makes PPT more convenient to </a:t>
                  </a:r>
                  <a:r>
                    <a:rPr lang="en-GB" dirty="0" err="1">
                      <a:latin typeface="Calibri" pitchFamily="34" charset="0"/>
                      <a:ea typeface="宋体" pitchFamily="2" charset="-122"/>
                    </a:rPr>
                    <a:t>change.Unified</a:t>
                  </a:r>
                  <a:r>
                    <a:rPr lang="en-GB" dirty="0">
                      <a:latin typeface="Calibri" pitchFamily="34" charset="0"/>
                      <a:ea typeface="宋体" pitchFamily="2" charset="-122"/>
                    </a:rPr>
                    <a:t> fonts make reading more fluent.</a:t>
                  </a:r>
                  <a:endParaRPr lang="en-GB" dirty="0">
                    <a:latin typeface="Calibri" pitchFamily="34" charset="0"/>
                    <a:ea typeface="宋体" pitchFamily="2" charset="-122"/>
                  </a:endParaRPr>
                </a:p>
              </p:txBody>
            </p:sp>
          </p:grpSp>
          <p:sp>
            <p:nvSpPr>
              <p:cNvPr id="40" name="矩形: 圆角 39"/>
              <p:cNvSpPr/>
              <p:nvPr/>
            </p:nvSpPr>
            <p:spPr>
              <a:xfrm>
                <a:off x="954151" y="2285330"/>
                <a:ext cx="301588" cy="301587"/>
              </a:xfrm>
              <a:prstGeom prst="roundRect">
                <a:avLst>
                  <a:gd name="adj" fmla="val 50000"/>
                </a:avLst>
              </a:prstGeom>
              <a:solidFill>
                <a:schemeClr val="accent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lang="en-US" altLang="zh-CN" sz="1400" dirty="0">
                    <a:solidFill>
                      <a:schemeClr val="lt1">
                        <a:lumMod val="100000"/>
                      </a:schemeClr>
                    </a:solidFill>
                    <a:latin typeface="Calibri" pitchFamily="34" charset="0"/>
                    <a:ea typeface="宋体" pitchFamily="2" charset="-122"/>
                  </a:rPr>
                  <a:t>3</a:t>
                </a:r>
                <a:endParaRPr lang="zh-CN" altLang="en-US" sz="1400" dirty="0">
                  <a:solidFill>
                    <a:schemeClr val="lt1">
                      <a:lumMod val="100000"/>
                    </a:schemeClr>
                  </a:solidFill>
                  <a:latin typeface="Calibri" pitchFamily="34" charset="0"/>
                  <a:ea typeface="宋体" pitchFamily="2" charset="-122"/>
                </a:endParaRPr>
              </a:p>
            </p:txBody>
          </p:sp>
        </p:grpSp>
        <p:grpSp>
          <p:nvGrpSpPr>
            <p:cNvPr id="43" name="组合 42"/>
            <p:cNvGrpSpPr/>
            <p:nvPr/>
          </p:nvGrpSpPr>
          <p:grpSpPr>
            <a:xfrm>
              <a:off x="8612606" y="2525819"/>
              <a:ext cx="1958691" cy="1451358"/>
              <a:chOff x="830229" y="2285330"/>
              <a:chExt cx="1958691" cy="1451358"/>
            </a:xfrm>
          </p:grpSpPr>
          <p:grpSp>
            <p:nvGrpSpPr>
              <p:cNvPr id="44" name="组合 43"/>
              <p:cNvGrpSpPr/>
              <p:nvPr/>
            </p:nvGrpSpPr>
            <p:grpSpPr>
              <a:xfrm>
                <a:off x="830229" y="2688836"/>
                <a:ext cx="1958691" cy="1047852"/>
                <a:chOff x="1064070" y="2833979"/>
                <a:chExt cx="1958691" cy="1047852"/>
              </a:xfrm>
            </p:grpSpPr>
            <p:sp>
              <p:nvSpPr>
                <p:cNvPr id="46" name="文本框 45"/>
                <p:cNvSpPr txBox="1"/>
                <p:nvPr/>
              </p:nvSpPr>
              <p:spPr>
                <a:xfrm>
                  <a:off x="1064070" y="2833979"/>
                  <a:ext cx="1958691" cy="307777"/>
                </a:xfrm>
                <a:prstGeom prst="rect">
                  <a:avLst/>
                </a:prstGeom>
                <a:noFill/>
              </p:spPr>
              <p:txBody>
                <a:bodyPr wrap="square" rtlCol="0">
                  <a:spAutoFit/>
                </a:bodyPr>
                <a:lstStyle/>
                <a:p>
                  <a:r>
                    <a:rPr lang="en-US" sz="1400" b="1" dirty="0">
                      <a:latin typeface="Calibri" pitchFamily="34" charset="0"/>
                      <a:ea typeface="宋体" pitchFamily="2" charset="-122"/>
                    </a:rPr>
                    <a:t>Supporting text here</a:t>
                  </a:r>
                  <a:endParaRPr lang="en-US" sz="1400" b="1" dirty="0">
                    <a:latin typeface="Calibri" pitchFamily="34" charset="0"/>
                    <a:ea typeface="宋体" pitchFamily="2" charset="-122"/>
                  </a:endParaRPr>
                </a:p>
              </p:txBody>
            </p:sp>
            <p:sp>
              <p:nvSpPr>
                <p:cNvPr id="47" name="文本框 46"/>
                <p:cNvSpPr txBox="1"/>
                <p:nvPr/>
              </p:nvSpPr>
              <p:spPr>
                <a:xfrm>
                  <a:off x="1064070" y="3203311"/>
                  <a:ext cx="1958691" cy="678520"/>
                </a:xfrm>
                <a:prstGeom prst="rect">
                  <a:avLst/>
                </a:prstGeom>
                <a:ln>
                  <a:noFill/>
                </a:ln>
              </p:spPr>
              <p:txBody>
                <a:bodyPr wrap="square" lIns="90000" tIns="46800" rIns="90000" bIns="46800" anchor="t">
                  <a:spAutoFit/>
                </a:bodyPr>
                <a:lstStyle>
                  <a:defPPr>
                    <a:defRPr lang="zh-CN"/>
                  </a:defPPr>
                  <a:lvl1pPr algn="ctr">
                    <a:lnSpc>
                      <a:spcPct val="150000"/>
                    </a:lnSpc>
                    <a:defRPr sz="1000">
                      <a:solidFill>
                        <a:schemeClr val="tx1">
                          <a:lumMod val="85000"/>
                          <a:lumOff val="15000"/>
                        </a:schemeClr>
                      </a:solidFill>
                    </a:defRPr>
                  </a:lvl1pPr>
                </a:lstStyle>
                <a:p>
                  <a:pPr algn="l">
                    <a:lnSpc>
                      <a:spcPct val="130000"/>
                    </a:lnSpc>
                  </a:pPr>
                  <a:r>
                    <a:rPr lang="en-GB" dirty="0">
                      <a:latin typeface="Calibri" pitchFamily="34" charset="0"/>
                      <a:ea typeface="宋体" pitchFamily="2" charset="-122"/>
                    </a:rPr>
                    <a:t>Theme </a:t>
                  </a:r>
                  <a:r>
                    <a:rPr lang="en-GB" dirty="0" err="1">
                      <a:latin typeface="Calibri" pitchFamily="34" charset="0"/>
                      <a:ea typeface="宋体" pitchFamily="2" charset="-122"/>
                    </a:rPr>
                    <a:t>color</a:t>
                  </a:r>
                  <a:r>
                    <a:rPr lang="en-GB" dirty="0">
                      <a:latin typeface="Calibri" pitchFamily="34" charset="0"/>
                      <a:ea typeface="宋体" pitchFamily="2" charset="-122"/>
                    </a:rPr>
                    <a:t> makes PPT more convenient to </a:t>
                  </a:r>
                  <a:r>
                    <a:rPr lang="en-GB" dirty="0" err="1">
                      <a:latin typeface="Calibri" pitchFamily="34" charset="0"/>
                      <a:ea typeface="宋体" pitchFamily="2" charset="-122"/>
                    </a:rPr>
                    <a:t>change.Unified</a:t>
                  </a:r>
                  <a:r>
                    <a:rPr lang="en-GB" dirty="0">
                      <a:latin typeface="Calibri" pitchFamily="34" charset="0"/>
                      <a:ea typeface="宋体" pitchFamily="2" charset="-122"/>
                    </a:rPr>
                    <a:t> fonts make reading more fluent.</a:t>
                  </a:r>
                  <a:endParaRPr lang="en-GB" dirty="0">
                    <a:latin typeface="Calibri" pitchFamily="34" charset="0"/>
                    <a:ea typeface="宋体" pitchFamily="2" charset="-122"/>
                  </a:endParaRPr>
                </a:p>
              </p:txBody>
            </p:sp>
          </p:grpSp>
          <p:sp>
            <p:nvSpPr>
              <p:cNvPr id="45" name="矩形: 圆角 44"/>
              <p:cNvSpPr/>
              <p:nvPr/>
            </p:nvSpPr>
            <p:spPr>
              <a:xfrm>
                <a:off x="954151" y="2285330"/>
                <a:ext cx="301588" cy="301587"/>
              </a:xfrm>
              <a:prstGeom prst="roundRect">
                <a:avLst>
                  <a:gd name="adj" fmla="val 50000"/>
                </a:avLst>
              </a:prstGeom>
              <a:solidFill>
                <a:srgbClr val="778495"/>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lang="en-US" altLang="zh-CN" sz="1400" dirty="0">
                    <a:solidFill>
                      <a:schemeClr val="lt1">
                        <a:lumMod val="100000"/>
                      </a:schemeClr>
                    </a:solidFill>
                    <a:latin typeface="Calibri" pitchFamily="34" charset="0"/>
                    <a:ea typeface="宋体" pitchFamily="2" charset="-122"/>
                  </a:rPr>
                  <a:t>4</a:t>
                </a:r>
                <a:endParaRPr lang="zh-CN" altLang="en-US" sz="1400" dirty="0">
                  <a:solidFill>
                    <a:schemeClr val="lt1">
                      <a:lumMod val="100000"/>
                    </a:schemeClr>
                  </a:solidFill>
                  <a:latin typeface="Calibri" pitchFamily="34" charset="0"/>
                  <a:ea typeface="宋体" pitchFamily="2" charset="-122"/>
                </a:endParaRPr>
              </a:p>
            </p:txBody>
          </p:sp>
        </p:grpSp>
        <p:grpSp>
          <p:nvGrpSpPr>
            <p:cNvPr id="51" name="组合 50"/>
            <p:cNvGrpSpPr/>
            <p:nvPr/>
          </p:nvGrpSpPr>
          <p:grpSpPr>
            <a:xfrm>
              <a:off x="3424355" y="4722919"/>
              <a:ext cx="1958691" cy="1451358"/>
              <a:chOff x="830229" y="2285330"/>
              <a:chExt cx="1958691" cy="1451358"/>
            </a:xfrm>
          </p:grpSpPr>
          <p:grpSp>
            <p:nvGrpSpPr>
              <p:cNvPr id="52" name="组合 51"/>
              <p:cNvGrpSpPr/>
              <p:nvPr/>
            </p:nvGrpSpPr>
            <p:grpSpPr>
              <a:xfrm>
                <a:off x="830229" y="2688836"/>
                <a:ext cx="1958691" cy="1047852"/>
                <a:chOff x="1064070" y="2833979"/>
                <a:chExt cx="1958691" cy="1047852"/>
              </a:xfrm>
            </p:grpSpPr>
            <p:sp>
              <p:nvSpPr>
                <p:cNvPr id="54" name="文本框 53"/>
                <p:cNvSpPr txBox="1"/>
                <p:nvPr/>
              </p:nvSpPr>
              <p:spPr>
                <a:xfrm>
                  <a:off x="1064070" y="2833979"/>
                  <a:ext cx="1958691" cy="307777"/>
                </a:xfrm>
                <a:prstGeom prst="rect">
                  <a:avLst/>
                </a:prstGeom>
                <a:noFill/>
              </p:spPr>
              <p:txBody>
                <a:bodyPr wrap="square" rtlCol="0">
                  <a:spAutoFit/>
                </a:bodyPr>
                <a:lstStyle/>
                <a:p>
                  <a:r>
                    <a:rPr lang="en-US" sz="1400" b="1" dirty="0">
                      <a:latin typeface="Calibri" pitchFamily="34" charset="0"/>
                      <a:ea typeface="宋体" pitchFamily="2" charset="-122"/>
                    </a:rPr>
                    <a:t>Supporting text here</a:t>
                  </a:r>
                  <a:endParaRPr lang="en-US" sz="1400" b="1" dirty="0">
                    <a:latin typeface="Calibri" pitchFamily="34" charset="0"/>
                    <a:ea typeface="宋体" pitchFamily="2" charset="-122"/>
                  </a:endParaRPr>
                </a:p>
              </p:txBody>
            </p:sp>
            <p:sp>
              <p:nvSpPr>
                <p:cNvPr id="55" name="文本框 54"/>
                <p:cNvSpPr txBox="1"/>
                <p:nvPr/>
              </p:nvSpPr>
              <p:spPr>
                <a:xfrm>
                  <a:off x="1064070" y="3203311"/>
                  <a:ext cx="1958691" cy="678520"/>
                </a:xfrm>
                <a:prstGeom prst="rect">
                  <a:avLst/>
                </a:prstGeom>
                <a:ln>
                  <a:noFill/>
                </a:ln>
              </p:spPr>
              <p:txBody>
                <a:bodyPr wrap="square" lIns="90000" tIns="46800" rIns="90000" bIns="46800" anchor="t">
                  <a:spAutoFit/>
                </a:bodyPr>
                <a:lstStyle>
                  <a:defPPr>
                    <a:defRPr lang="zh-CN"/>
                  </a:defPPr>
                  <a:lvl1pPr algn="ctr">
                    <a:lnSpc>
                      <a:spcPct val="150000"/>
                    </a:lnSpc>
                    <a:defRPr sz="1000">
                      <a:solidFill>
                        <a:schemeClr val="tx1">
                          <a:lumMod val="85000"/>
                          <a:lumOff val="15000"/>
                        </a:schemeClr>
                      </a:solidFill>
                    </a:defRPr>
                  </a:lvl1pPr>
                </a:lstStyle>
                <a:p>
                  <a:pPr algn="l">
                    <a:lnSpc>
                      <a:spcPct val="130000"/>
                    </a:lnSpc>
                  </a:pPr>
                  <a:r>
                    <a:rPr lang="en-GB" dirty="0">
                      <a:latin typeface="Calibri" pitchFamily="34" charset="0"/>
                      <a:ea typeface="宋体" pitchFamily="2" charset="-122"/>
                    </a:rPr>
                    <a:t>Theme </a:t>
                  </a:r>
                  <a:r>
                    <a:rPr lang="en-GB" dirty="0" err="1">
                      <a:latin typeface="Calibri" pitchFamily="34" charset="0"/>
                      <a:ea typeface="宋体" pitchFamily="2" charset="-122"/>
                    </a:rPr>
                    <a:t>color</a:t>
                  </a:r>
                  <a:r>
                    <a:rPr lang="en-GB" dirty="0">
                      <a:latin typeface="Calibri" pitchFamily="34" charset="0"/>
                      <a:ea typeface="宋体" pitchFamily="2" charset="-122"/>
                    </a:rPr>
                    <a:t> makes PPT more convenient to </a:t>
                  </a:r>
                  <a:r>
                    <a:rPr lang="en-GB" dirty="0" err="1">
                      <a:latin typeface="Calibri" pitchFamily="34" charset="0"/>
                      <a:ea typeface="宋体" pitchFamily="2" charset="-122"/>
                    </a:rPr>
                    <a:t>change.Unified</a:t>
                  </a:r>
                  <a:r>
                    <a:rPr lang="en-GB" dirty="0">
                      <a:latin typeface="Calibri" pitchFamily="34" charset="0"/>
                      <a:ea typeface="宋体" pitchFamily="2" charset="-122"/>
                    </a:rPr>
                    <a:t> fonts make reading more fluent.</a:t>
                  </a:r>
                  <a:endParaRPr lang="en-GB" dirty="0">
                    <a:latin typeface="Calibri" pitchFamily="34" charset="0"/>
                    <a:ea typeface="宋体" pitchFamily="2" charset="-122"/>
                  </a:endParaRPr>
                </a:p>
              </p:txBody>
            </p:sp>
          </p:grpSp>
          <p:sp>
            <p:nvSpPr>
              <p:cNvPr id="53" name="矩形: 圆角 52"/>
              <p:cNvSpPr/>
              <p:nvPr/>
            </p:nvSpPr>
            <p:spPr>
              <a:xfrm>
                <a:off x="954151" y="2285330"/>
                <a:ext cx="301588" cy="301587"/>
              </a:xfrm>
              <a:prstGeom prst="roundRect">
                <a:avLst>
                  <a:gd name="adj" fmla="val 50000"/>
                </a:avLst>
              </a:prstGeom>
              <a:solidFill>
                <a:schemeClr val="accent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lang="en-US" altLang="zh-CN" sz="1400" dirty="0">
                    <a:solidFill>
                      <a:schemeClr val="lt1">
                        <a:lumMod val="100000"/>
                      </a:schemeClr>
                    </a:solidFill>
                    <a:latin typeface="Calibri" pitchFamily="34" charset="0"/>
                    <a:ea typeface="宋体" pitchFamily="2" charset="-122"/>
                  </a:rPr>
                  <a:t>7</a:t>
                </a:r>
                <a:endParaRPr lang="zh-CN" altLang="en-US" sz="1400" dirty="0">
                  <a:solidFill>
                    <a:schemeClr val="lt1">
                      <a:lumMod val="100000"/>
                    </a:schemeClr>
                  </a:solidFill>
                  <a:latin typeface="Calibri" pitchFamily="34" charset="0"/>
                  <a:ea typeface="宋体" pitchFamily="2" charset="-122"/>
                </a:endParaRPr>
              </a:p>
            </p:txBody>
          </p:sp>
        </p:grpSp>
        <p:grpSp>
          <p:nvGrpSpPr>
            <p:cNvPr id="56" name="组合 55"/>
            <p:cNvGrpSpPr/>
            <p:nvPr/>
          </p:nvGrpSpPr>
          <p:grpSpPr>
            <a:xfrm>
              <a:off x="6018481" y="4722919"/>
              <a:ext cx="1958691" cy="1451358"/>
              <a:chOff x="830229" y="2285330"/>
              <a:chExt cx="1958691" cy="1451358"/>
            </a:xfrm>
          </p:grpSpPr>
          <p:grpSp>
            <p:nvGrpSpPr>
              <p:cNvPr id="57" name="组合 56"/>
              <p:cNvGrpSpPr/>
              <p:nvPr/>
            </p:nvGrpSpPr>
            <p:grpSpPr>
              <a:xfrm>
                <a:off x="830229" y="2688836"/>
                <a:ext cx="1958691" cy="1047852"/>
                <a:chOff x="1064070" y="2833979"/>
                <a:chExt cx="1958691" cy="1047852"/>
              </a:xfrm>
            </p:grpSpPr>
            <p:sp>
              <p:nvSpPr>
                <p:cNvPr id="59" name="文本框 58"/>
                <p:cNvSpPr txBox="1"/>
                <p:nvPr/>
              </p:nvSpPr>
              <p:spPr>
                <a:xfrm>
                  <a:off x="1064070" y="2833979"/>
                  <a:ext cx="1958691" cy="307777"/>
                </a:xfrm>
                <a:prstGeom prst="rect">
                  <a:avLst/>
                </a:prstGeom>
                <a:noFill/>
              </p:spPr>
              <p:txBody>
                <a:bodyPr wrap="square" rtlCol="0">
                  <a:spAutoFit/>
                </a:bodyPr>
                <a:lstStyle/>
                <a:p>
                  <a:r>
                    <a:rPr lang="en-US" sz="1400" b="1" dirty="0">
                      <a:latin typeface="Calibri" pitchFamily="34" charset="0"/>
                      <a:ea typeface="宋体" pitchFamily="2" charset="-122"/>
                    </a:rPr>
                    <a:t>Supporting text here</a:t>
                  </a:r>
                  <a:endParaRPr lang="en-US" sz="1400" b="1" dirty="0">
                    <a:latin typeface="Calibri" pitchFamily="34" charset="0"/>
                    <a:ea typeface="宋体" pitchFamily="2" charset="-122"/>
                  </a:endParaRPr>
                </a:p>
              </p:txBody>
            </p:sp>
            <p:sp>
              <p:nvSpPr>
                <p:cNvPr id="60" name="文本框 59"/>
                <p:cNvSpPr txBox="1"/>
                <p:nvPr/>
              </p:nvSpPr>
              <p:spPr>
                <a:xfrm>
                  <a:off x="1064070" y="3203311"/>
                  <a:ext cx="1958691" cy="678520"/>
                </a:xfrm>
                <a:prstGeom prst="rect">
                  <a:avLst/>
                </a:prstGeom>
                <a:ln>
                  <a:noFill/>
                </a:ln>
              </p:spPr>
              <p:txBody>
                <a:bodyPr wrap="square" lIns="90000" tIns="46800" rIns="90000" bIns="46800" anchor="t">
                  <a:spAutoFit/>
                </a:bodyPr>
                <a:lstStyle>
                  <a:defPPr>
                    <a:defRPr lang="zh-CN"/>
                  </a:defPPr>
                  <a:lvl1pPr algn="ctr">
                    <a:lnSpc>
                      <a:spcPct val="150000"/>
                    </a:lnSpc>
                    <a:defRPr sz="1000">
                      <a:solidFill>
                        <a:schemeClr val="tx1">
                          <a:lumMod val="85000"/>
                          <a:lumOff val="15000"/>
                        </a:schemeClr>
                      </a:solidFill>
                    </a:defRPr>
                  </a:lvl1pPr>
                </a:lstStyle>
                <a:p>
                  <a:pPr algn="l">
                    <a:lnSpc>
                      <a:spcPct val="130000"/>
                    </a:lnSpc>
                  </a:pPr>
                  <a:r>
                    <a:rPr lang="en-GB" dirty="0">
                      <a:latin typeface="Calibri" pitchFamily="34" charset="0"/>
                      <a:ea typeface="宋体" pitchFamily="2" charset="-122"/>
                    </a:rPr>
                    <a:t>Theme </a:t>
                  </a:r>
                  <a:r>
                    <a:rPr lang="en-GB" dirty="0" err="1">
                      <a:latin typeface="Calibri" pitchFamily="34" charset="0"/>
                      <a:ea typeface="宋体" pitchFamily="2" charset="-122"/>
                    </a:rPr>
                    <a:t>color</a:t>
                  </a:r>
                  <a:r>
                    <a:rPr lang="en-GB" dirty="0">
                      <a:latin typeface="Calibri" pitchFamily="34" charset="0"/>
                      <a:ea typeface="宋体" pitchFamily="2" charset="-122"/>
                    </a:rPr>
                    <a:t> makes PPT more convenient to </a:t>
                  </a:r>
                  <a:r>
                    <a:rPr lang="en-GB" dirty="0" err="1">
                      <a:latin typeface="Calibri" pitchFamily="34" charset="0"/>
                      <a:ea typeface="宋体" pitchFamily="2" charset="-122"/>
                    </a:rPr>
                    <a:t>change.Unified</a:t>
                  </a:r>
                  <a:r>
                    <a:rPr lang="en-GB" dirty="0">
                      <a:latin typeface="Calibri" pitchFamily="34" charset="0"/>
                      <a:ea typeface="宋体" pitchFamily="2" charset="-122"/>
                    </a:rPr>
                    <a:t> fonts make reading more fluent.</a:t>
                  </a:r>
                  <a:endParaRPr lang="en-GB" dirty="0">
                    <a:latin typeface="Calibri" pitchFamily="34" charset="0"/>
                    <a:ea typeface="宋体" pitchFamily="2" charset="-122"/>
                  </a:endParaRPr>
                </a:p>
              </p:txBody>
            </p:sp>
          </p:grpSp>
          <p:sp>
            <p:nvSpPr>
              <p:cNvPr id="58" name="矩形: 圆角 57"/>
              <p:cNvSpPr/>
              <p:nvPr/>
            </p:nvSpPr>
            <p:spPr>
              <a:xfrm>
                <a:off x="954151" y="2285330"/>
                <a:ext cx="301588" cy="301587"/>
              </a:xfrm>
              <a:prstGeom prst="roundRect">
                <a:avLst>
                  <a:gd name="adj" fmla="val 50000"/>
                </a:avLst>
              </a:prstGeom>
              <a:solidFill>
                <a:srgbClr val="778495"/>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lang="en-US" altLang="zh-CN" sz="1400" dirty="0">
                    <a:solidFill>
                      <a:schemeClr val="lt1">
                        <a:lumMod val="100000"/>
                      </a:schemeClr>
                    </a:solidFill>
                    <a:latin typeface="Calibri" pitchFamily="34" charset="0"/>
                    <a:ea typeface="宋体" pitchFamily="2" charset="-122"/>
                  </a:rPr>
                  <a:t>6</a:t>
                </a:r>
                <a:endParaRPr lang="zh-CN" altLang="en-US" sz="1400" dirty="0">
                  <a:solidFill>
                    <a:schemeClr val="lt1">
                      <a:lumMod val="100000"/>
                    </a:schemeClr>
                  </a:solidFill>
                  <a:latin typeface="Calibri" pitchFamily="34" charset="0"/>
                  <a:ea typeface="宋体" pitchFamily="2" charset="-122"/>
                </a:endParaRPr>
              </a:p>
            </p:txBody>
          </p:sp>
        </p:grpSp>
        <p:grpSp>
          <p:nvGrpSpPr>
            <p:cNvPr id="61" name="组合 60"/>
            <p:cNvGrpSpPr/>
            <p:nvPr/>
          </p:nvGrpSpPr>
          <p:grpSpPr>
            <a:xfrm>
              <a:off x="8612606" y="4722919"/>
              <a:ext cx="1958691" cy="1451358"/>
              <a:chOff x="830229" y="2285330"/>
              <a:chExt cx="1958691" cy="1451358"/>
            </a:xfrm>
          </p:grpSpPr>
          <p:grpSp>
            <p:nvGrpSpPr>
              <p:cNvPr id="65" name="组合 64"/>
              <p:cNvGrpSpPr/>
              <p:nvPr/>
            </p:nvGrpSpPr>
            <p:grpSpPr>
              <a:xfrm>
                <a:off x="830229" y="2688836"/>
                <a:ext cx="1958691" cy="1047852"/>
                <a:chOff x="1064070" y="2833979"/>
                <a:chExt cx="1958691" cy="1047852"/>
              </a:xfrm>
            </p:grpSpPr>
            <p:sp>
              <p:nvSpPr>
                <p:cNvPr id="67" name="文本框 66"/>
                <p:cNvSpPr txBox="1"/>
                <p:nvPr/>
              </p:nvSpPr>
              <p:spPr>
                <a:xfrm>
                  <a:off x="1064070" y="2833979"/>
                  <a:ext cx="1958691" cy="307777"/>
                </a:xfrm>
                <a:prstGeom prst="rect">
                  <a:avLst/>
                </a:prstGeom>
                <a:noFill/>
              </p:spPr>
              <p:txBody>
                <a:bodyPr wrap="square" rtlCol="0">
                  <a:spAutoFit/>
                </a:bodyPr>
                <a:lstStyle/>
                <a:p>
                  <a:r>
                    <a:rPr lang="en-US" sz="1400" b="1" dirty="0">
                      <a:latin typeface="Calibri" pitchFamily="34" charset="0"/>
                      <a:ea typeface="宋体" pitchFamily="2" charset="-122"/>
                    </a:rPr>
                    <a:t>Supporting text here</a:t>
                  </a:r>
                  <a:endParaRPr lang="en-US" sz="1400" b="1" dirty="0">
                    <a:latin typeface="Calibri" pitchFamily="34" charset="0"/>
                    <a:ea typeface="宋体" pitchFamily="2" charset="-122"/>
                  </a:endParaRPr>
                </a:p>
              </p:txBody>
            </p:sp>
            <p:sp>
              <p:nvSpPr>
                <p:cNvPr id="68" name="文本框 67"/>
                <p:cNvSpPr txBox="1"/>
                <p:nvPr/>
              </p:nvSpPr>
              <p:spPr>
                <a:xfrm>
                  <a:off x="1064070" y="3203311"/>
                  <a:ext cx="1958691" cy="678520"/>
                </a:xfrm>
                <a:prstGeom prst="rect">
                  <a:avLst/>
                </a:prstGeom>
                <a:ln>
                  <a:noFill/>
                </a:ln>
              </p:spPr>
              <p:txBody>
                <a:bodyPr wrap="square" lIns="90000" tIns="46800" rIns="90000" bIns="46800" anchor="t">
                  <a:spAutoFit/>
                </a:bodyPr>
                <a:lstStyle>
                  <a:defPPr>
                    <a:defRPr lang="zh-CN"/>
                  </a:defPPr>
                  <a:lvl1pPr algn="ctr">
                    <a:lnSpc>
                      <a:spcPct val="150000"/>
                    </a:lnSpc>
                    <a:defRPr sz="1000">
                      <a:solidFill>
                        <a:schemeClr val="tx1">
                          <a:lumMod val="85000"/>
                          <a:lumOff val="15000"/>
                        </a:schemeClr>
                      </a:solidFill>
                    </a:defRPr>
                  </a:lvl1pPr>
                </a:lstStyle>
                <a:p>
                  <a:pPr algn="l">
                    <a:lnSpc>
                      <a:spcPct val="130000"/>
                    </a:lnSpc>
                  </a:pPr>
                  <a:r>
                    <a:rPr lang="en-GB" dirty="0">
                      <a:latin typeface="Calibri" pitchFamily="34" charset="0"/>
                      <a:ea typeface="宋体" pitchFamily="2" charset="-122"/>
                    </a:rPr>
                    <a:t>Theme </a:t>
                  </a:r>
                  <a:r>
                    <a:rPr lang="en-GB" dirty="0" err="1">
                      <a:latin typeface="Calibri" pitchFamily="34" charset="0"/>
                      <a:ea typeface="宋体" pitchFamily="2" charset="-122"/>
                    </a:rPr>
                    <a:t>color</a:t>
                  </a:r>
                  <a:r>
                    <a:rPr lang="en-GB" dirty="0">
                      <a:latin typeface="Calibri" pitchFamily="34" charset="0"/>
                      <a:ea typeface="宋体" pitchFamily="2" charset="-122"/>
                    </a:rPr>
                    <a:t> makes PPT more convenient to </a:t>
                  </a:r>
                  <a:r>
                    <a:rPr lang="en-GB" dirty="0" err="1">
                      <a:latin typeface="Calibri" pitchFamily="34" charset="0"/>
                      <a:ea typeface="宋体" pitchFamily="2" charset="-122"/>
                    </a:rPr>
                    <a:t>change.Unified</a:t>
                  </a:r>
                  <a:r>
                    <a:rPr lang="en-GB" dirty="0">
                      <a:latin typeface="Calibri" pitchFamily="34" charset="0"/>
                      <a:ea typeface="宋体" pitchFamily="2" charset="-122"/>
                    </a:rPr>
                    <a:t> fonts make reading more fluent.</a:t>
                  </a:r>
                  <a:endParaRPr lang="en-GB" dirty="0">
                    <a:latin typeface="Calibri" pitchFamily="34" charset="0"/>
                    <a:ea typeface="宋体" pitchFamily="2" charset="-122"/>
                  </a:endParaRPr>
                </a:p>
              </p:txBody>
            </p:sp>
          </p:grpSp>
          <p:sp>
            <p:nvSpPr>
              <p:cNvPr id="66" name="矩形: 圆角 65"/>
              <p:cNvSpPr/>
              <p:nvPr/>
            </p:nvSpPr>
            <p:spPr>
              <a:xfrm>
                <a:off x="954151" y="2285330"/>
                <a:ext cx="301588" cy="301587"/>
              </a:xfrm>
              <a:prstGeom prst="roundRect">
                <a:avLst>
                  <a:gd name="adj" fmla="val 50000"/>
                </a:avLst>
              </a:prstGeom>
              <a:solidFill>
                <a:schemeClr val="accent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lang="en-US" altLang="zh-CN" sz="1400" dirty="0">
                    <a:solidFill>
                      <a:schemeClr val="lt1">
                        <a:lumMod val="100000"/>
                      </a:schemeClr>
                    </a:solidFill>
                    <a:latin typeface="Calibri" pitchFamily="34" charset="0"/>
                    <a:ea typeface="宋体" pitchFamily="2" charset="-122"/>
                  </a:rPr>
                  <a:t>5</a:t>
                </a:r>
                <a:endParaRPr lang="zh-CN" altLang="en-US" sz="1400" dirty="0">
                  <a:solidFill>
                    <a:schemeClr val="lt1">
                      <a:lumMod val="100000"/>
                    </a:schemeClr>
                  </a:solidFill>
                  <a:latin typeface="Calibri" pitchFamily="34" charset="0"/>
                  <a:ea typeface="宋体" pitchFamily="2" charset="-122"/>
                </a:endParaRPr>
              </a:p>
            </p:txBody>
          </p:sp>
        </p:grpSp>
      </p:grpSp>
    </p:spTree>
    <p:custDataLst>
      <p:tags r:id="rId1"/>
    </p:custData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895374" y="1065459"/>
            <a:ext cx="10315295" cy="5008192"/>
            <a:chOff x="895372" y="1065458"/>
            <a:chExt cx="10315295" cy="5008192"/>
          </a:xfrm>
        </p:grpSpPr>
        <p:grpSp>
          <p:nvGrpSpPr>
            <p:cNvPr id="15" name="组合 14"/>
            <p:cNvGrpSpPr/>
            <p:nvPr/>
          </p:nvGrpSpPr>
          <p:grpSpPr>
            <a:xfrm>
              <a:off x="3555895" y="1065458"/>
              <a:ext cx="4920148" cy="4830995"/>
              <a:chOff x="3743950" y="-2813476"/>
              <a:chExt cx="4920148" cy="4830995"/>
            </a:xfrm>
          </p:grpSpPr>
          <p:sp>
            <p:nvSpPr>
              <p:cNvPr id="104" name="任意多边形: 形状 103"/>
              <p:cNvSpPr/>
              <p:nvPr/>
            </p:nvSpPr>
            <p:spPr>
              <a:xfrm rot="4333688">
                <a:off x="6226430" y="-2690579"/>
                <a:ext cx="1921984" cy="1676189"/>
              </a:xfrm>
              <a:custGeom>
                <a:avLst/>
                <a:gdLst>
                  <a:gd name="connsiteX0" fmla="*/ 0 w 1921984"/>
                  <a:gd name="connsiteY0" fmla="*/ 1393820 h 1676189"/>
                  <a:gd name="connsiteX1" fmla="*/ 46326 w 1921984"/>
                  <a:gd name="connsiteY1" fmla="*/ 1270979 h 1676189"/>
                  <a:gd name="connsiteX2" fmla="*/ 1804979 w 1921984"/>
                  <a:gd name="connsiteY2" fmla="*/ 4763 h 1676189"/>
                  <a:gd name="connsiteX3" fmla="*/ 1921984 w 1921984"/>
                  <a:gd name="connsiteY3" fmla="*/ 0 h 1676189"/>
                  <a:gd name="connsiteX4" fmla="*/ 1921984 w 1921984"/>
                  <a:gd name="connsiteY4" fmla="*/ 925012 h 1676189"/>
                  <a:gd name="connsiteX5" fmla="*/ 1887711 w 1921984"/>
                  <a:gd name="connsiteY5" fmla="*/ 926407 h 1676189"/>
                  <a:gd name="connsiteX6" fmla="*/ 893871 w 1921984"/>
                  <a:gd name="connsiteY6" fmla="*/ 1641964 h 1676189"/>
                  <a:gd name="connsiteX7" fmla="*/ 880964 w 1921984"/>
                  <a:gd name="connsiteY7" fmla="*/ 1676189 h 1676189"/>
                  <a:gd name="connsiteX8" fmla="*/ 0 w 1921984"/>
                  <a:gd name="connsiteY8" fmla="*/ 1393820 h 1676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21984" h="1676189">
                    <a:moveTo>
                      <a:pt x="0" y="1393820"/>
                    </a:moveTo>
                    <a:lnTo>
                      <a:pt x="46326" y="1270979"/>
                    </a:lnTo>
                    <a:cubicBezTo>
                      <a:pt x="362502" y="546270"/>
                      <a:pt x="1048147" y="73037"/>
                      <a:pt x="1804979" y="4763"/>
                    </a:cubicBezTo>
                    <a:lnTo>
                      <a:pt x="1921984" y="0"/>
                    </a:lnTo>
                    <a:lnTo>
                      <a:pt x="1921984" y="925012"/>
                    </a:lnTo>
                    <a:lnTo>
                      <a:pt x="1887711" y="926407"/>
                    </a:lnTo>
                    <a:cubicBezTo>
                      <a:pt x="1460014" y="964991"/>
                      <a:pt x="1072546" y="1232421"/>
                      <a:pt x="893871" y="1641964"/>
                    </a:cubicBezTo>
                    <a:lnTo>
                      <a:pt x="880964" y="1676189"/>
                    </a:lnTo>
                    <a:lnTo>
                      <a:pt x="0" y="1393820"/>
                    </a:lnTo>
                    <a:close/>
                  </a:path>
                </a:pathLst>
              </a:custGeom>
              <a:gradFill>
                <a:gsLst>
                  <a:gs pos="0">
                    <a:schemeClr val="accent3">
                      <a:lumMod val="60000"/>
                      <a:lumOff val="40000"/>
                    </a:schemeClr>
                  </a:gs>
                  <a:gs pos="60000">
                    <a:schemeClr val="accent3"/>
                  </a:gs>
                </a:gsLst>
                <a:lin ang="2700000" scaled="0"/>
              </a:gradFill>
              <a:ln w="57150" cap="rnd">
                <a:noFill/>
                <a:prstDash val="solid"/>
                <a:round/>
              </a:ln>
              <a:effectLst>
                <a:outerShdw blurRad="76200" dist="50800" dir="5400000" algn="ctr" rotWithShape="0">
                  <a:schemeClr val="accent3">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3765"/>
                <a:endParaRPr lang="zh-CN" altLang="en-US" sz="2000" b="1">
                  <a:solidFill>
                    <a:schemeClr val="bg1"/>
                  </a:solidFill>
                </a:endParaRPr>
              </a:p>
            </p:txBody>
          </p:sp>
          <p:sp>
            <p:nvSpPr>
              <p:cNvPr id="110" name="任意多边形: 形状 109"/>
              <p:cNvSpPr/>
              <p:nvPr/>
            </p:nvSpPr>
            <p:spPr>
              <a:xfrm rot="17266312" flipH="1">
                <a:off x="4410841" y="-2690578"/>
                <a:ext cx="1921984" cy="1676189"/>
              </a:xfrm>
              <a:custGeom>
                <a:avLst/>
                <a:gdLst>
                  <a:gd name="connsiteX0" fmla="*/ 0 w 1921984"/>
                  <a:gd name="connsiteY0" fmla="*/ 1393820 h 1676189"/>
                  <a:gd name="connsiteX1" fmla="*/ 46326 w 1921984"/>
                  <a:gd name="connsiteY1" fmla="*/ 1270979 h 1676189"/>
                  <a:gd name="connsiteX2" fmla="*/ 1804979 w 1921984"/>
                  <a:gd name="connsiteY2" fmla="*/ 4763 h 1676189"/>
                  <a:gd name="connsiteX3" fmla="*/ 1921984 w 1921984"/>
                  <a:gd name="connsiteY3" fmla="*/ 0 h 1676189"/>
                  <a:gd name="connsiteX4" fmla="*/ 1921984 w 1921984"/>
                  <a:gd name="connsiteY4" fmla="*/ 925012 h 1676189"/>
                  <a:gd name="connsiteX5" fmla="*/ 1887711 w 1921984"/>
                  <a:gd name="connsiteY5" fmla="*/ 926407 h 1676189"/>
                  <a:gd name="connsiteX6" fmla="*/ 893871 w 1921984"/>
                  <a:gd name="connsiteY6" fmla="*/ 1641964 h 1676189"/>
                  <a:gd name="connsiteX7" fmla="*/ 880964 w 1921984"/>
                  <a:gd name="connsiteY7" fmla="*/ 1676189 h 1676189"/>
                  <a:gd name="connsiteX8" fmla="*/ 0 w 1921984"/>
                  <a:gd name="connsiteY8" fmla="*/ 1393820 h 1676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21984" h="1676189">
                    <a:moveTo>
                      <a:pt x="0" y="1393820"/>
                    </a:moveTo>
                    <a:lnTo>
                      <a:pt x="46326" y="1270979"/>
                    </a:lnTo>
                    <a:cubicBezTo>
                      <a:pt x="362502" y="546270"/>
                      <a:pt x="1048147" y="73037"/>
                      <a:pt x="1804979" y="4763"/>
                    </a:cubicBezTo>
                    <a:lnTo>
                      <a:pt x="1921984" y="0"/>
                    </a:lnTo>
                    <a:lnTo>
                      <a:pt x="1921984" y="925012"/>
                    </a:lnTo>
                    <a:lnTo>
                      <a:pt x="1887711" y="926407"/>
                    </a:lnTo>
                    <a:cubicBezTo>
                      <a:pt x="1460014" y="964991"/>
                      <a:pt x="1072546" y="1232421"/>
                      <a:pt x="893871" y="1641964"/>
                    </a:cubicBezTo>
                    <a:lnTo>
                      <a:pt x="880964" y="1676189"/>
                    </a:lnTo>
                    <a:lnTo>
                      <a:pt x="0" y="1393820"/>
                    </a:lnTo>
                    <a:close/>
                  </a:path>
                </a:pathLst>
              </a:custGeom>
              <a:gradFill>
                <a:gsLst>
                  <a:gs pos="0">
                    <a:schemeClr val="accent1">
                      <a:lumMod val="60000"/>
                      <a:lumOff val="40000"/>
                    </a:schemeClr>
                  </a:gs>
                  <a:gs pos="60000">
                    <a:schemeClr val="accent1"/>
                  </a:gs>
                </a:gsLst>
                <a:lin ang="2700000" scaled="0"/>
              </a:gradFill>
              <a:ln w="57150" cap="rnd">
                <a:noFill/>
                <a:prstDash val="solid"/>
                <a:round/>
              </a:ln>
              <a:effectLst>
                <a:outerShdw blurRad="76200" dist="50800" dir="5400000" algn="ctr" rotWithShape="0">
                  <a:schemeClr val="accent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3765"/>
                <a:endParaRPr lang="zh-CN" altLang="en-US" sz="2000" b="1">
                  <a:solidFill>
                    <a:schemeClr val="bg1"/>
                  </a:solidFill>
                </a:endParaRPr>
              </a:p>
            </p:txBody>
          </p:sp>
          <p:sp>
            <p:nvSpPr>
              <p:cNvPr id="119" name="任意多边形: 形状 118"/>
              <p:cNvSpPr/>
              <p:nvPr/>
            </p:nvSpPr>
            <p:spPr>
              <a:xfrm rot="12870395" flipH="1">
                <a:off x="3743950" y="-874014"/>
                <a:ext cx="1878597" cy="1672768"/>
              </a:xfrm>
              <a:custGeom>
                <a:avLst/>
                <a:gdLst>
                  <a:gd name="connsiteX0" fmla="*/ 0 w 1878597"/>
                  <a:gd name="connsiteY0" fmla="*/ 1390399 h 1672768"/>
                  <a:gd name="connsiteX1" fmla="*/ 880964 w 1878597"/>
                  <a:gd name="connsiteY1" fmla="*/ 1672768 h 1672768"/>
                  <a:gd name="connsiteX2" fmla="*/ 893871 w 1878597"/>
                  <a:gd name="connsiteY2" fmla="*/ 1638543 h 1672768"/>
                  <a:gd name="connsiteX3" fmla="*/ 1729540 w 1878597"/>
                  <a:gd name="connsiteY3" fmla="*/ 948013 h 1672768"/>
                  <a:gd name="connsiteX4" fmla="*/ 1878597 w 1878597"/>
                  <a:gd name="connsiteY4" fmla="*/ 924428 h 1672768"/>
                  <a:gd name="connsiteX5" fmla="*/ 1837959 w 1878597"/>
                  <a:gd name="connsiteY5" fmla="*/ 0 h 1672768"/>
                  <a:gd name="connsiteX6" fmla="*/ 1804979 w 1878597"/>
                  <a:gd name="connsiteY6" fmla="*/ 1342 h 1672768"/>
                  <a:gd name="connsiteX7" fmla="*/ 46326 w 1878597"/>
                  <a:gd name="connsiteY7" fmla="*/ 1267558 h 1672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8597" h="1672768">
                    <a:moveTo>
                      <a:pt x="0" y="1390399"/>
                    </a:moveTo>
                    <a:lnTo>
                      <a:pt x="880964" y="1672768"/>
                    </a:lnTo>
                    <a:lnTo>
                      <a:pt x="893871" y="1638543"/>
                    </a:lnTo>
                    <a:cubicBezTo>
                      <a:pt x="1050212" y="1280193"/>
                      <a:pt x="1366409" y="1030648"/>
                      <a:pt x="1729540" y="948013"/>
                    </a:cubicBezTo>
                    <a:lnTo>
                      <a:pt x="1878597" y="924428"/>
                    </a:lnTo>
                    <a:lnTo>
                      <a:pt x="1837959" y="0"/>
                    </a:lnTo>
                    <a:lnTo>
                      <a:pt x="1804979" y="1342"/>
                    </a:lnTo>
                    <a:cubicBezTo>
                      <a:pt x="1048147" y="69616"/>
                      <a:pt x="362502" y="542849"/>
                      <a:pt x="46326" y="1267558"/>
                    </a:cubicBezTo>
                    <a:close/>
                  </a:path>
                </a:pathLst>
              </a:custGeom>
              <a:gradFill>
                <a:gsLst>
                  <a:gs pos="0">
                    <a:schemeClr val="accent5">
                      <a:lumMod val="60000"/>
                      <a:lumOff val="40000"/>
                    </a:schemeClr>
                  </a:gs>
                  <a:gs pos="60000">
                    <a:schemeClr val="accent5"/>
                  </a:gs>
                </a:gsLst>
                <a:lin ang="2700000" scaled="0"/>
              </a:gradFill>
              <a:ln w="57150" cap="rnd">
                <a:noFill/>
                <a:prstDash val="solid"/>
                <a:round/>
              </a:ln>
              <a:effectLst>
                <a:outerShdw blurRad="76200" dist="50800" dir="5400000" algn="ctr" rotWithShape="0">
                  <a:schemeClr val="accent5">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3765"/>
                <a:endParaRPr lang="zh-CN" altLang="en-US" sz="2000" b="1">
                  <a:solidFill>
                    <a:schemeClr val="bg1"/>
                  </a:solidFill>
                </a:endParaRPr>
              </a:p>
            </p:txBody>
          </p:sp>
          <p:sp>
            <p:nvSpPr>
              <p:cNvPr id="114" name="任意多边形: 形状 113"/>
              <p:cNvSpPr/>
              <p:nvPr/>
            </p:nvSpPr>
            <p:spPr>
              <a:xfrm rot="15130027" flipV="1">
                <a:off x="6865012" y="-702988"/>
                <a:ext cx="1921984" cy="1676189"/>
              </a:xfrm>
              <a:custGeom>
                <a:avLst/>
                <a:gdLst>
                  <a:gd name="connsiteX0" fmla="*/ 0 w 1921984"/>
                  <a:gd name="connsiteY0" fmla="*/ 1393820 h 1676189"/>
                  <a:gd name="connsiteX1" fmla="*/ 46326 w 1921984"/>
                  <a:gd name="connsiteY1" fmla="*/ 1270979 h 1676189"/>
                  <a:gd name="connsiteX2" fmla="*/ 1804979 w 1921984"/>
                  <a:gd name="connsiteY2" fmla="*/ 4763 h 1676189"/>
                  <a:gd name="connsiteX3" fmla="*/ 1921984 w 1921984"/>
                  <a:gd name="connsiteY3" fmla="*/ 0 h 1676189"/>
                  <a:gd name="connsiteX4" fmla="*/ 1921984 w 1921984"/>
                  <a:gd name="connsiteY4" fmla="*/ 925012 h 1676189"/>
                  <a:gd name="connsiteX5" fmla="*/ 1887711 w 1921984"/>
                  <a:gd name="connsiteY5" fmla="*/ 926407 h 1676189"/>
                  <a:gd name="connsiteX6" fmla="*/ 893871 w 1921984"/>
                  <a:gd name="connsiteY6" fmla="*/ 1641964 h 1676189"/>
                  <a:gd name="connsiteX7" fmla="*/ 880964 w 1921984"/>
                  <a:gd name="connsiteY7" fmla="*/ 1676189 h 1676189"/>
                  <a:gd name="connsiteX8" fmla="*/ 0 w 1921984"/>
                  <a:gd name="connsiteY8" fmla="*/ 1393820 h 1676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21984" h="1676189">
                    <a:moveTo>
                      <a:pt x="0" y="1393820"/>
                    </a:moveTo>
                    <a:lnTo>
                      <a:pt x="46326" y="1270979"/>
                    </a:lnTo>
                    <a:cubicBezTo>
                      <a:pt x="362502" y="546270"/>
                      <a:pt x="1048147" y="73037"/>
                      <a:pt x="1804979" y="4763"/>
                    </a:cubicBezTo>
                    <a:lnTo>
                      <a:pt x="1921984" y="0"/>
                    </a:lnTo>
                    <a:lnTo>
                      <a:pt x="1921984" y="925012"/>
                    </a:lnTo>
                    <a:lnTo>
                      <a:pt x="1887711" y="926407"/>
                    </a:lnTo>
                    <a:cubicBezTo>
                      <a:pt x="1460014" y="964991"/>
                      <a:pt x="1072546" y="1232421"/>
                      <a:pt x="893871" y="1641964"/>
                    </a:cubicBezTo>
                    <a:lnTo>
                      <a:pt x="880964" y="1676189"/>
                    </a:lnTo>
                    <a:lnTo>
                      <a:pt x="0" y="1393820"/>
                    </a:lnTo>
                    <a:close/>
                  </a:path>
                </a:pathLst>
              </a:custGeom>
              <a:gradFill>
                <a:gsLst>
                  <a:gs pos="0">
                    <a:schemeClr val="accent2">
                      <a:lumMod val="60000"/>
                      <a:lumOff val="40000"/>
                    </a:schemeClr>
                  </a:gs>
                  <a:gs pos="60000">
                    <a:schemeClr val="accent2"/>
                  </a:gs>
                </a:gsLst>
                <a:lin ang="2700000" scaled="0"/>
              </a:gradFill>
              <a:ln w="57150" cap="rnd">
                <a:noFill/>
                <a:prstDash val="solid"/>
                <a:round/>
              </a:ln>
              <a:effectLst>
                <a:outerShdw blurRad="76200" dist="50800" dir="5400000" algn="ctr" rotWithShape="0">
                  <a:schemeClr val="accent2">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3765"/>
                <a:endParaRPr lang="zh-CN" altLang="en-US" sz="2000" b="1">
                  <a:solidFill>
                    <a:schemeClr val="bg1"/>
                  </a:solidFill>
                </a:endParaRPr>
              </a:p>
            </p:txBody>
          </p:sp>
          <p:sp>
            <p:nvSpPr>
              <p:cNvPr id="115" name="任意多边形: 形状 114"/>
              <p:cNvSpPr/>
              <p:nvPr/>
            </p:nvSpPr>
            <p:spPr>
              <a:xfrm rot="2197403" flipH="1" flipV="1">
                <a:off x="5401542" y="341330"/>
                <a:ext cx="1921984" cy="1676189"/>
              </a:xfrm>
              <a:custGeom>
                <a:avLst/>
                <a:gdLst>
                  <a:gd name="connsiteX0" fmla="*/ 0 w 1921984"/>
                  <a:gd name="connsiteY0" fmla="*/ 1393820 h 1676189"/>
                  <a:gd name="connsiteX1" fmla="*/ 46326 w 1921984"/>
                  <a:gd name="connsiteY1" fmla="*/ 1270979 h 1676189"/>
                  <a:gd name="connsiteX2" fmla="*/ 1804979 w 1921984"/>
                  <a:gd name="connsiteY2" fmla="*/ 4763 h 1676189"/>
                  <a:gd name="connsiteX3" fmla="*/ 1921984 w 1921984"/>
                  <a:gd name="connsiteY3" fmla="*/ 0 h 1676189"/>
                  <a:gd name="connsiteX4" fmla="*/ 1921984 w 1921984"/>
                  <a:gd name="connsiteY4" fmla="*/ 925012 h 1676189"/>
                  <a:gd name="connsiteX5" fmla="*/ 1887711 w 1921984"/>
                  <a:gd name="connsiteY5" fmla="*/ 926407 h 1676189"/>
                  <a:gd name="connsiteX6" fmla="*/ 893871 w 1921984"/>
                  <a:gd name="connsiteY6" fmla="*/ 1641964 h 1676189"/>
                  <a:gd name="connsiteX7" fmla="*/ 880964 w 1921984"/>
                  <a:gd name="connsiteY7" fmla="*/ 1676189 h 1676189"/>
                  <a:gd name="connsiteX8" fmla="*/ 0 w 1921984"/>
                  <a:gd name="connsiteY8" fmla="*/ 1393820 h 1676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21984" h="1676189">
                    <a:moveTo>
                      <a:pt x="0" y="1393820"/>
                    </a:moveTo>
                    <a:lnTo>
                      <a:pt x="46326" y="1270979"/>
                    </a:lnTo>
                    <a:cubicBezTo>
                      <a:pt x="362502" y="546270"/>
                      <a:pt x="1048147" y="73037"/>
                      <a:pt x="1804979" y="4763"/>
                    </a:cubicBezTo>
                    <a:lnTo>
                      <a:pt x="1921984" y="0"/>
                    </a:lnTo>
                    <a:lnTo>
                      <a:pt x="1921984" y="925012"/>
                    </a:lnTo>
                    <a:lnTo>
                      <a:pt x="1887711" y="926407"/>
                    </a:lnTo>
                    <a:cubicBezTo>
                      <a:pt x="1460014" y="964991"/>
                      <a:pt x="1072546" y="1232421"/>
                      <a:pt x="893871" y="1641964"/>
                    </a:cubicBezTo>
                    <a:lnTo>
                      <a:pt x="880964" y="1676189"/>
                    </a:lnTo>
                    <a:lnTo>
                      <a:pt x="0" y="1393820"/>
                    </a:lnTo>
                    <a:close/>
                  </a:path>
                </a:pathLst>
              </a:custGeom>
              <a:gradFill>
                <a:gsLst>
                  <a:gs pos="0">
                    <a:schemeClr val="accent4">
                      <a:lumMod val="60000"/>
                      <a:lumOff val="40000"/>
                    </a:schemeClr>
                  </a:gs>
                  <a:gs pos="60000">
                    <a:schemeClr val="accent4"/>
                  </a:gs>
                </a:gsLst>
                <a:lin ang="2700000" scaled="0"/>
              </a:gradFill>
              <a:ln w="57150" cap="rnd">
                <a:noFill/>
                <a:prstDash val="solid"/>
                <a:round/>
              </a:ln>
              <a:effectLst>
                <a:outerShdw blurRad="76200" dist="50800" dir="5400000" algn="ctr" rotWithShape="0">
                  <a:schemeClr val="accent4">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3765"/>
                <a:endParaRPr lang="zh-CN" altLang="en-US" sz="2000" b="1">
                  <a:solidFill>
                    <a:schemeClr val="bg1"/>
                  </a:solidFill>
                </a:endParaRPr>
              </a:p>
            </p:txBody>
          </p:sp>
        </p:grpSp>
        <p:grpSp>
          <p:nvGrpSpPr>
            <p:cNvPr id="35" name="组合 34"/>
            <p:cNvGrpSpPr/>
            <p:nvPr/>
          </p:nvGrpSpPr>
          <p:grpSpPr>
            <a:xfrm>
              <a:off x="4375658" y="1289307"/>
              <a:ext cx="1108364" cy="1108364"/>
              <a:chOff x="2061289" y="1288462"/>
              <a:chExt cx="1108364" cy="1108364"/>
            </a:xfrm>
          </p:grpSpPr>
          <p:sp>
            <p:nvSpPr>
              <p:cNvPr id="29" name="椭圆 28"/>
              <p:cNvSpPr/>
              <p:nvPr/>
            </p:nvSpPr>
            <p:spPr>
              <a:xfrm>
                <a:off x="2061289" y="1288462"/>
                <a:ext cx="1108364" cy="1108364"/>
              </a:xfrm>
              <a:prstGeom prst="ellipse">
                <a:avLst/>
              </a:prstGeom>
              <a:solidFill>
                <a:schemeClr val="bg1"/>
              </a:solidFill>
              <a:ln w="12700" cap="rnd">
                <a:noFill/>
                <a:prstDash val="solid"/>
                <a:round/>
              </a:ln>
              <a:effectLst>
                <a:outerShdw blurRad="254000" dist="127000" algn="ctr" rotWithShape="0">
                  <a:schemeClr val="bg1">
                    <a:lumMod val="65000"/>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a:p>
            </p:txBody>
          </p:sp>
          <p:sp>
            <p:nvSpPr>
              <p:cNvPr id="32" name="任意多边形: 形状 31"/>
              <p:cNvSpPr/>
              <p:nvPr/>
            </p:nvSpPr>
            <p:spPr>
              <a:xfrm>
                <a:off x="2402646" y="1683027"/>
                <a:ext cx="425650" cy="319234"/>
              </a:xfrm>
              <a:custGeom>
                <a:avLst/>
                <a:gdLst>
                  <a:gd name="connsiteX0" fmla="*/ 505433 w 533400"/>
                  <a:gd name="connsiteY0" fmla="*/ 621 h 400050"/>
                  <a:gd name="connsiteX1" fmla="*/ 534008 w 533400"/>
                  <a:gd name="connsiteY1" fmla="*/ 29196 h 400050"/>
                  <a:gd name="connsiteX2" fmla="*/ 534008 w 533400"/>
                  <a:gd name="connsiteY2" fmla="*/ 372096 h 400050"/>
                  <a:gd name="connsiteX3" fmla="*/ 505433 w 533400"/>
                  <a:gd name="connsiteY3" fmla="*/ 400671 h 400050"/>
                  <a:gd name="connsiteX4" fmla="*/ 29183 w 533400"/>
                  <a:gd name="connsiteY4" fmla="*/ 400671 h 400050"/>
                  <a:gd name="connsiteX5" fmla="*/ 608 w 533400"/>
                  <a:gd name="connsiteY5" fmla="*/ 372096 h 400050"/>
                  <a:gd name="connsiteX6" fmla="*/ 608 w 533400"/>
                  <a:gd name="connsiteY6" fmla="*/ 29196 h 400050"/>
                  <a:gd name="connsiteX7" fmla="*/ 29183 w 533400"/>
                  <a:gd name="connsiteY7" fmla="*/ 621 h 400050"/>
                  <a:gd name="connsiteX8" fmla="*/ 505433 w 533400"/>
                  <a:gd name="connsiteY8" fmla="*/ 621 h 400050"/>
                  <a:gd name="connsiteX9" fmla="*/ 391419 w 533400"/>
                  <a:gd name="connsiteY9" fmla="*/ 198646 h 400050"/>
                  <a:gd name="connsiteX10" fmla="*/ 351414 w 533400"/>
                  <a:gd name="connsiteY10" fmla="*/ 204170 h 400050"/>
                  <a:gd name="connsiteX11" fmla="*/ 351414 w 533400"/>
                  <a:gd name="connsiteY11" fmla="*/ 204170 h 400050"/>
                  <a:gd name="connsiteX12" fmla="*/ 267118 w 533400"/>
                  <a:gd name="connsiteY12" fmla="*/ 315613 h 400050"/>
                  <a:gd name="connsiteX13" fmla="*/ 264641 w 533400"/>
                  <a:gd name="connsiteY13" fmla="*/ 318470 h 400050"/>
                  <a:gd name="connsiteX14" fmla="*/ 224255 w 533400"/>
                  <a:gd name="connsiteY14" fmla="*/ 318756 h 400050"/>
                  <a:gd name="connsiteX15" fmla="*/ 224255 w 533400"/>
                  <a:gd name="connsiteY15" fmla="*/ 318756 h 400050"/>
                  <a:gd name="connsiteX16" fmla="*/ 162152 w 533400"/>
                  <a:gd name="connsiteY16" fmla="*/ 257415 h 400050"/>
                  <a:gd name="connsiteX17" fmla="*/ 160247 w 533400"/>
                  <a:gd name="connsiteY17" fmla="*/ 255701 h 400050"/>
                  <a:gd name="connsiteX18" fmla="*/ 120052 w 533400"/>
                  <a:gd name="connsiteY18" fmla="*/ 259606 h 400050"/>
                  <a:gd name="connsiteX19" fmla="*/ 120052 w 533400"/>
                  <a:gd name="connsiteY19" fmla="*/ 259606 h 400050"/>
                  <a:gd name="connsiteX20" fmla="*/ 32517 w 533400"/>
                  <a:gd name="connsiteY20" fmla="*/ 366095 h 400050"/>
                  <a:gd name="connsiteX21" fmla="*/ 30326 w 533400"/>
                  <a:gd name="connsiteY21" fmla="*/ 372096 h 400050"/>
                  <a:gd name="connsiteX22" fmla="*/ 39851 w 533400"/>
                  <a:gd name="connsiteY22" fmla="*/ 381621 h 400050"/>
                  <a:gd name="connsiteX23" fmla="*/ 39851 w 533400"/>
                  <a:gd name="connsiteY23" fmla="*/ 381621 h 400050"/>
                  <a:gd name="connsiteX24" fmla="*/ 497242 w 533400"/>
                  <a:gd name="connsiteY24" fmla="*/ 381621 h 400050"/>
                  <a:gd name="connsiteX25" fmla="*/ 502480 w 533400"/>
                  <a:gd name="connsiteY25" fmla="*/ 380002 h 400050"/>
                  <a:gd name="connsiteX26" fmla="*/ 505147 w 533400"/>
                  <a:gd name="connsiteY26" fmla="*/ 366762 h 400050"/>
                  <a:gd name="connsiteX27" fmla="*/ 505147 w 533400"/>
                  <a:gd name="connsiteY27" fmla="*/ 366762 h 400050"/>
                  <a:gd name="connsiteX28" fmla="*/ 397991 w 533400"/>
                  <a:gd name="connsiteY28" fmla="*/ 205504 h 400050"/>
                  <a:gd name="connsiteX29" fmla="*/ 391419 w 533400"/>
                  <a:gd name="connsiteY29" fmla="*/ 198646 h 400050"/>
                  <a:gd name="connsiteX30" fmla="*/ 95858 w 533400"/>
                  <a:gd name="connsiteY30" fmla="*/ 57771 h 400050"/>
                  <a:gd name="connsiteX31" fmla="*/ 57758 w 533400"/>
                  <a:gd name="connsiteY31" fmla="*/ 95871 h 400050"/>
                  <a:gd name="connsiteX32" fmla="*/ 95858 w 533400"/>
                  <a:gd name="connsiteY32" fmla="*/ 133971 h 400050"/>
                  <a:gd name="connsiteX33" fmla="*/ 133958 w 533400"/>
                  <a:gd name="connsiteY33" fmla="*/ 95871 h 400050"/>
                  <a:gd name="connsiteX34" fmla="*/ 95858 w 533400"/>
                  <a:gd name="connsiteY34" fmla="*/ 57771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33400" h="400050">
                    <a:moveTo>
                      <a:pt x="505433" y="621"/>
                    </a:moveTo>
                    <a:cubicBezTo>
                      <a:pt x="521245" y="621"/>
                      <a:pt x="534008" y="13385"/>
                      <a:pt x="534008" y="29196"/>
                    </a:cubicBezTo>
                    <a:lnTo>
                      <a:pt x="534008" y="372096"/>
                    </a:lnTo>
                    <a:cubicBezTo>
                      <a:pt x="534008" y="387907"/>
                      <a:pt x="521245" y="400671"/>
                      <a:pt x="505433" y="400671"/>
                    </a:cubicBezTo>
                    <a:lnTo>
                      <a:pt x="29183" y="400671"/>
                    </a:lnTo>
                    <a:cubicBezTo>
                      <a:pt x="13371" y="400671"/>
                      <a:pt x="608" y="387907"/>
                      <a:pt x="608" y="372096"/>
                    </a:cubicBezTo>
                    <a:lnTo>
                      <a:pt x="608" y="29196"/>
                    </a:lnTo>
                    <a:cubicBezTo>
                      <a:pt x="608" y="13385"/>
                      <a:pt x="13371" y="621"/>
                      <a:pt x="29183" y="621"/>
                    </a:cubicBezTo>
                    <a:lnTo>
                      <a:pt x="505433" y="621"/>
                    </a:lnTo>
                    <a:close/>
                    <a:moveTo>
                      <a:pt x="391419" y="198646"/>
                    </a:moveTo>
                    <a:cubicBezTo>
                      <a:pt x="378846" y="189121"/>
                      <a:pt x="360939" y="191597"/>
                      <a:pt x="351414" y="204170"/>
                    </a:cubicBezTo>
                    <a:lnTo>
                      <a:pt x="351414" y="204170"/>
                    </a:lnTo>
                    <a:lnTo>
                      <a:pt x="267118" y="315613"/>
                    </a:lnTo>
                    <a:cubicBezTo>
                      <a:pt x="266355" y="316660"/>
                      <a:pt x="265498" y="317518"/>
                      <a:pt x="264641" y="318470"/>
                    </a:cubicBezTo>
                    <a:cubicBezTo>
                      <a:pt x="253592" y="329710"/>
                      <a:pt x="235495" y="329805"/>
                      <a:pt x="224255" y="318756"/>
                    </a:cubicBezTo>
                    <a:lnTo>
                      <a:pt x="224255" y="318756"/>
                    </a:lnTo>
                    <a:lnTo>
                      <a:pt x="162152" y="257415"/>
                    </a:lnTo>
                    <a:cubicBezTo>
                      <a:pt x="161485" y="256844"/>
                      <a:pt x="160914" y="256177"/>
                      <a:pt x="160247" y="255701"/>
                    </a:cubicBezTo>
                    <a:cubicBezTo>
                      <a:pt x="148055" y="245699"/>
                      <a:pt x="130053" y="247414"/>
                      <a:pt x="120052" y="259606"/>
                    </a:cubicBezTo>
                    <a:lnTo>
                      <a:pt x="120052" y="259606"/>
                    </a:lnTo>
                    <a:lnTo>
                      <a:pt x="32517" y="366095"/>
                    </a:lnTo>
                    <a:cubicBezTo>
                      <a:pt x="31088" y="367810"/>
                      <a:pt x="30326" y="369905"/>
                      <a:pt x="30326" y="372096"/>
                    </a:cubicBezTo>
                    <a:cubicBezTo>
                      <a:pt x="30326" y="377335"/>
                      <a:pt x="34612" y="381621"/>
                      <a:pt x="39851" y="381621"/>
                    </a:cubicBezTo>
                    <a:lnTo>
                      <a:pt x="39851" y="381621"/>
                    </a:lnTo>
                    <a:lnTo>
                      <a:pt x="497242" y="381621"/>
                    </a:lnTo>
                    <a:cubicBezTo>
                      <a:pt x="499146" y="381621"/>
                      <a:pt x="500956" y="381050"/>
                      <a:pt x="502480" y="380002"/>
                    </a:cubicBezTo>
                    <a:cubicBezTo>
                      <a:pt x="506862" y="377049"/>
                      <a:pt x="508005" y="371144"/>
                      <a:pt x="505147" y="366762"/>
                    </a:cubicBezTo>
                    <a:lnTo>
                      <a:pt x="505147" y="366762"/>
                    </a:lnTo>
                    <a:lnTo>
                      <a:pt x="397991" y="205504"/>
                    </a:lnTo>
                    <a:cubicBezTo>
                      <a:pt x="396181" y="202932"/>
                      <a:pt x="393990" y="200551"/>
                      <a:pt x="391419" y="198646"/>
                    </a:cubicBezTo>
                    <a:close/>
                    <a:moveTo>
                      <a:pt x="95858" y="57771"/>
                    </a:moveTo>
                    <a:cubicBezTo>
                      <a:pt x="74808" y="57771"/>
                      <a:pt x="57758" y="74821"/>
                      <a:pt x="57758" y="95871"/>
                    </a:cubicBezTo>
                    <a:cubicBezTo>
                      <a:pt x="57758" y="116921"/>
                      <a:pt x="74808" y="133971"/>
                      <a:pt x="95858" y="133971"/>
                    </a:cubicBezTo>
                    <a:cubicBezTo>
                      <a:pt x="116908" y="133971"/>
                      <a:pt x="133958" y="116921"/>
                      <a:pt x="133958" y="95871"/>
                    </a:cubicBezTo>
                    <a:cubicBezTo>
                      <a:pt x="133958" y="74821"/>
                      <a:pt x="116908" y="57771"/>
                      <a:pt x="95858" y="57771"/>
                    </a:cubicBezTo>
                    <a:close/>
                  </a:path>
                </a:pathLst>
              </a:custGeom>
              <a:gradFill>
                <a:gsLst>
                  <a:gs pos="0">
                    <a:schemeClr val="accent1">
                      <a:lumMod val="60000"/>
                      <a:lumOff val="40000"/>
                    </a:schemeClr>
                  </a:gs>
                  <a:gs pos="60000">
                    <a:schemeClr val="accent1"/>
                  </a:gs>
                </a:gsLst>
                <a:lin ang="2700000" scaled="0"/>
              </a:gradFill>
              <a:ln w="57150" cap="rnd">
                <a:noFill/>
                <a:prstDash val="solid"/>
                <a:round/>
              </a:ln>
              <a:effectLst>
                <a:outerShdw blurRad="76200" dist="50800" dir="5400000" algn="ctr" rotWithShape="0">
                  <a:schemeClr val="accent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8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3765"/>
                <a:endParaRPr lang="zh-CN" altLang="en-US" sz="2000" b="1" dirty="0">
                  <a:solidFill>
                    <a:schemeClr val="bg1"/>
                  </a:solidFill>
                </a:endParaRPr>
              </a:p>
            </p:txBody>
          </p:sp>
        </p:grpSp>
        <p:grpSp>
          <p:nvGrpSpPr>
            <p:cNvPr id="37" name="组合 36"/>
            <p:cNvGrpSpPr/>
            <p:nvPr/>
          </p:nvGrpSpPr>
          <p:grpSpPr>
            <a:xfrm>
              <a:off x="6782579" y="1288854"/>
              <a:ext cx="1108364" cy="1108364"/>
              <a:chOff x="2061289" y="4762201"/>
              <a:chExt cx="1108364" cy="1108364"/>
            </a:xfrm>
          </p:grpSpPr>
          <p:sp>
            <p:nvSpPr>
              <p:cNvPr id="31" name="椭圆 30"/>
              <p:cNvSpPr/>
              <p:nvPr/>
            </p:nvSpPr>
            <p:spPr>
              <a:xfrm>
                <a:off x="2061289" y="4762201"/>
                <a:ext cx="1108364" cy="1108364"/>
              </a:xfrm>
              <a:prstGeom prst="ellipse">
                <a:avLst/>
              </a:prstGeom>
              <a:solidFill>
                <a:schemeClr val="bg1"/>
              </a:solidFill>
              <a:ln w="12700" cap="rnd">
                <a:noFill/>
                <a:prstDash val="solid"/>
                <a:round/>
              </a:ln>
              <a:effectLst>
                <a:outerShdw blurRad="254000" dist="127000" algn="ctr" rotWithShape="0">
                  <a:schemeClr val="bg1">
                    <a:lumMod val="65000"/>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a:p>
            </p:txBody>
          </p:sp>
          <p:sp>
            <p:nvSpPr>
              <p:cNvPr id="34" name="任意多边形: 形状 33"/>
              <p:cNvSpPr/>
              <p:nvPr/>
            </p:nvSpPr>
            <p:spPr>
              <a:xfrm>
                <a:off x="2402647" y="5139206"/>
                <a:ext cx="425648" cy="354354"/>
              </a:xfrm>
              <a:custGeom>
                <a:avLst/>
                <a:gdLst>
                  <a:gd name="connsiteX0" fmla="*/ 483573 w 526297"/>
                  <a:gd name="connsiteY0" fmla="*/ 133971 h 438150"/>
                  <a:gd name="connsiteX1" fmla="*/ 527674 w 526297"/>
                  <a:gd name="connsiteY1" fmla="*/ 178072 h 438150"/>
                  <a:gd name="connsiteX2" fmla="*/ 527579 w 526297"/>
                  <a:gd name="connsiteY2" fmla="*/ 181501 h 438150"/>
                  <a:gd name="connsiteX3" fmla="*/ 514244 w 526297"/>
                  <a:gd name="connsiteY3" fmla="*/ 355237 h 438150"/>
                  <a:gd name="connsiteX4" fmla="*/ 485764 w 526297"/>
                  <a:gd name="connsiteY4" fmla="*/ 381621 h 438150"/>
                  <a:gd name="connsiteX5" fmla="*/ 454998 w 526297"/>
                  <a:gd name="connsiteY5" fmla="*/ 381621 h 438150"/>
                  <a:gd name="connsiteX6" fmla="*/ 454998 w 526297"/>
                  <a:gd name="connsiteY6" fmla="*/ 438771 h 438150"/>
                  <a:gd name="connsiteX7" fmla="*/ 435948 w 526297"/>
                  <a:gd name="connsiteY7" fmla="*/ 438771 h 438150"/>
                  <a:gd name="connsiteX8" fmla="*/ 435948 w 526297"/>
                  <a:gd name="connsiteY8" fmla="*/ 381621 h 438150"/>
                  <a:gd name="connsiteX9" fmla="*/ 93048 w 526297"/>
                  <a:gd name="connsiteY9" fmla="*/ 381621 h 438150"/>
                  <a:gd name="connsiteX10" fmla="*/ 93048 w 526297"/>
                  <a:gd name="connsiteY10" fmla="*/ 438771 h 438150"/>
                  <a:gd name="connsiteX11" fmla="*/ 73998 w 526297"/>
                  <a:gd name="connsiteY11" fmla="*/ 438771 h 438150"/>
                  <a:gd name="connsiteX12" fmla="*/ 73998 w 526297"/>
                  <a:gd name="connsiteY12" fmla="*/ 381621 h 438150"/>
                  <a:gd name="connsiteX13" fmla="*/ 43328 w 526297"/>
                  <a:gd name="connsiteY13" fmla="*/ 381621 h 438150"/>
                  <a:gd name="connsiteX14" fmla="*/ 14848 w 526297"/>
                  <a:gd name="connsiteY14" fmla="*/ 355237 h 438150"/>
                  <a:gd name="connsiteX15" fmla="*/ 1513 w 526297"/>
                  <a:gd name="connsiteY15" fmla="*/ 181501 h 438150"/>
                  <a:gd name="connsiteX16" fmla="*/ 42089 w 526297"/>
                  <a:gd name="connsiteY16" fmla="*/ 134162 h 438150"/>
                  <a:gd name="connsiteX17" fmla="*/ 45518 w 526297"/>
                  <a:gd name="connsiteY17" fmla="*/ 134066 h 438150"/>
                  <a:gd name="connsiteX18" fmla="*/ 101906 w 526297"/>
                  <a:gd name="connsiteY18" fmla="*/ 180834 h 438150"/>
                  <a:gd name="connsiteX19" fmla="*/ 121623 w 526297"/>
                  <a:gd name="connsiteY19" fmla="*/ 286371 h 438150"/>
                  <a:gd name="connsiteX20" fmla="*/ 407373 w 526297"/>
                  <a:gd name="connsiteY20" fmla="*/ 286371 h 438150"/>
                  <a:gd name="connsiteX21" fmla="*/ 427185 w 526297"/>
                  <a:gd name="connsiteY21" fmla="*/ 180739 h 438150"/>
                  <a:gd name="connsiteX22" fmla="*/ 483573 w 526297"/>
                  <a:gd name="connsiteY22" fmla="*/ 133971 h 438150"/>
                  <a:gd name="connsiteX23" fmla="*/ 416898 w 526297"/>
                  <a:gd name="connsiteY23" fmla="*/ 621 h 438150"/>
                  <a:gd name="connsiteX24" fmla="*/ 483573 w 526297"/>
                  <a:gd name="connsiteY24" fmla="*/ 67296 h 438150"/>
                  <a:gd name="connsiteX25" fmla="*/ 483573 w 526297"/>
                  <a:gd name="connsiteY25" fmla="*/ 115397 h 438150"/>
                  <a:gd name="connsiteX26" fmla="*/ 476429 w 526297"/>
                  <a:gd name="connsiteY26" fmla="*/ 114921 h 438150"/>
                  <a:gd name="connsiteX27" fmla="*/ 412040 w 526297"/>
                  <a:gd name="connsiteY27" fmla="*/ 166451 h 438150"/>
                  <a:gd name="connsiteX28" fmla="*/ 411564 w 526297"/>
                  <a:gd name="connsiteY28" fmla="*/ 168737 h 438150"/>
                  <a:gd name="connsiteX29" fmla="*/ 393086 w 526297"/>
                  <a:gd name="connsiteY29" fmla="*/ 267321 h 438150"/>
                  <a:gd name="connsiteX30" fmla="*/ 135911 w 526297"/>
                  <a:gd name="connsiteY30" fmla="*/ 267321 h 438150"/>
                  <a:gd name="connsiteX31" fmla="*/ 117432 w 526297"/>
                  <a:gd name="connsiteY31" fmla="*/ 168737 h 438150"/>
                  <a:gd name="connsiteX32" fmla="*/ 52567 w 526297"/>
                  <a:gd name="connsiteY32" fmla="*/ 114921 h 438150"/>
                  <a:gd name="connsiteX33" fmla="*/ 54948 w 526297"/>
                  <a:gd name="connsiteY33" fmla="*/ 67296 h 438150"/>
                  <a:gd name="connsiteX34" fmla="*/ 121623 w 526297"/>
                  <a:gd name="connsiteY34" fmla="*/ 621 h 438150"/>
                  <a:gd name="connsiteX35" fmla="*/ 416898 w 526297"/>
                  <a:gd name="connsiteY35" fmla="*/ 621 h 43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526297" h="438150">
                    <a:moveTo>
                      <a:pt x="483573" y="133971"/>
                    </a:moveTo>
                    <a:cubicBezTo>
                      <a:pt x="507957" y="133971"/>
                      <a:pt x="527674" y="153688"/>
                      <a:pt x="527674" y="178072"/>
                    </a:cubicBezTo>
                    <a:cubicBezTo>
                      <a:pt x="527674" y="179215"/>
                      <a:pt x="527674" y="180358"/>
                      <a:pt x="527579" y="181501"/>
                    </a:cubicBezTo>
                    <a:lnTo>
                      <a:pt x="514244" y="355237"/>
                    </a:lnTo>
                    <a:cubicBezTo>
                      <a:pt x="513101" y="370096"/>
                      <a:pt x="500718" y="381621"/>
                      <a:pt x="485764" y="381621"/>
                    </a:cubicBezTo>
                    <a:lnTo>
                      <a:pt x="454998" y="381621"/>
                    </a:lnTo>
                    <a:lnTo>
                      <a:pt x="454998" y="438771"/>
                    </a:lnTo>
                    <a:lnTo>
                      <a:pt x="435948" y="438771"/>
                    </a:lnTo>
                    <a:lnTo>
                      <a:pt x="435948" y="381621"/>
                    </a:lnTo>
                    <a:lnTo>
                      <a:pt x="93048" y="381621"/>
                    </a:lnTo>
                    <a:lnTo>
                      <a:pt x="93048" y="438771"/>
                    </a:lnTo>
                    <a:lnTo>
                      <a:pt x="73998" y="438771"/>
                    </a:lnTo>
                    <a:lnTo>
                      <a:pt x="73998" y="381621"/>
                    </a:lnTo>
                    <a:lnTo>
                      <a:pt x="43328" y="381621"/>
                    </a:lnTo>
                    <a:cubicBezTo>
                      <a:pt x="28373" y="381621"/>
                      <a:pt x="15991" y="370096"/>
                      <a:pt x="14848" y="355237"/>
                    </a:cubicBezTo>
                    <a:lnTo>
                      <a:pt x="1513" y="181501"/>
                    </a:lnTo>
                    <a:cubicBezTo>
                      <a:pt x="-392" y="157212"/>
                      <a:pt x="17801" y="135971"/>
                      <a:pt x="42089" y="134162"/>
                    </a:cubicBezTo>
                    <a:cubicBezTo>
                      <a:pt x="43232" y="134066"/>
                      <a:pt x="44375" y="134066"/>
                      <a:pt x="45518" y="134066"/>
                    </a:cubicBezTo>
                    <a:cubicBezTo>
                      <a:pt x="73141" y="134066"/>
                      <a:pt x="96858" y="153688"/>
                      <a:pt x="101906" y="180834"/>
                    </a:cubicBezTo>
                    <a:lnTo>
                      <a:pt x="121623" y="286371"/>
                    </a:lnTo>
                    <a:lnTo>
                      <a:pt x="407373" y="286371"/>
                    </a:lnTo>
                    <a:lnTo>
                      <a:pt x="427185" y="180739"/>
                    </a:lnTo>
                    <a:cubicBezTo>
                      <a:pt x="432233" y="153592"/>
                      <a:pt x="455951" y="133971"/>
                      <a:pt x="483573" y="133971"/>
                    </a:cubicBezTo>
                    <a:close/>
                    <a:moveTo>
                      <a:pt x="416898" y="621"/>
                    </a:moveTo>
                    <a:cubicBezTo>
                      <a:pt x="453760" y="621"/>
                      <a:pt x="483573" y="30434"/>
                      <a:pt x="483573" y="67296"/>
                    </a:cubicBezTo>
                    <a:lnTo>
                      <a:pt x="483573" y="115397"/>
                    </a:lnTo>
                    <a:cubicBezTo>
                      <a:pt x="481192" y="115112"/>
                      <a:pt x="478811" y="114921"/>
                      <a:pt x="476429" y="114921"/>
                    </a:cubicBezTo>
                    <a:cubicBezTo>
                      <a:pt x="445473" y="114921"/>
                      <a:pt x="418803" y="136448"/>
                      <a:pt x="412040" y="166451"/>
                    </a:cubicBezTo>
                    <a:lnTo>
                      <a:pt x="411564" y="168737"/>
                    </a:lnTo>
                    <a:lnTo>
                      <a:pt x="393086" y="267321"/>
                    </a:lnTo>
                    <a:lnTo>
                      <a:pt x="135911" y="267321"/>
                    </a:lnTo>
                    <a:lnTo>
                      <a:pt x="117432" y="168737"/>
                    </a:lnTo>
                    <a:cubicBezTo>
                      <a:pt x="111622" y="137495"/>
                      <a:pt x="84285" y="114921"/>
                      <a:pt x="52567" y="114921"/>
                    </a:cubicBezTo>
                    <a:lnTo>
                      <a:pt x="54948" y="67296"/>
                    </a:lnTo>
                    <a:cubicBezTo>
                      <a:pt x="54948" y="30434"/>
                      <a:pt x="84761" y="621"/>
                      <a:pt x="121623" y="621"/>
                    </a:cubicBezTo>
                    <a:lnTo>
                      <a:pt x="416898" y="621"/>
                    </a:lnTo>
                    <a:close/>
                  </a:path>
                </a:pathLst>
              </a:custGeom>
              <a:gradFill>
                <a:gsLst>
                  <a:gs pos="0">
                    <a:schemeClr val="accent3">
                      <a:lumMod val="60000"/>
                      <a:lumOff val="40000"/>
                    </a:schemeClr>
                  </a:gs>
                  <a:gs pos="60000">
                    <a:schemeClr val="accent3"/>
                  </a:gs>
                </a:gsLst>
                <a:lin ang="2700000" scaled="0"/>
              </a:gradFill>
              <a:ln w="57150" cap="rnd">
                <a:noFill/>
                <a:prstDash val="solid"/>
                <a:round/>
              </a:ln>
              <a:effectLst>
                <a:outerShdw blurRad="76200" dist="50800" dir="5400000" algn="ctr" rotWithShape="0">
                  <a:schemeClr val="accent3">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92500" lnSpcReduction="1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3765"/>
                <a:endParaRPr lang="zh-CN" altLang="en-US" sz="2000" b="1" dirty="0">
                  <a:solidFill>
                    <a:schemeClr val="bg1"/>
                  </a:solidFill>
                </a:endParaRPr>
              </a:p>
            </p:txBody>
          </p:sp>
        </p:grpSp>
        <p:sp>
          <p:nvSpPr>
            <p:cNvPr id="39" name="文本框 38"/>
            <p:cNvSpPr txBox="1"/>
            <p:nvPr/>
          </p:nvSpPr>
          <p:spPr>
            <a:xfrm>
              <a:off x="1744768" y="1416799"/>
              <a:ext cx="2306797" cy="307777"/>
            </a:xfrm>
            <a:prstGeom prst="rect">
              <a:avLst/>
            </a:prstGeom>
            <a:noFill/>
          </p:spPr>
          <p:txBody>
            <a:bodyPr wrap="square" rtlCol="0">
              <a:spAutoFit/>
            </a:bodyPr>
            <a:lstStyle/>
            <a:p>
              <a:pPr algn="ctr"/>
              <a:r>
                <a:rPr lang="en-US" altLang="zh-CN" sz="1400" b="1" dirty="0">
                  <a:solidFill>
                    <a:schemeClr val="accent1"/>
                  </a:solidFill>
                  <a:latin typeface="Calibri" pitchFamily="34" charset="0"/>
                  <a:ea typeface="宋体" pitchFamily="2" charset="-122"/>
                </a:rPr>
                <a:t>Supporting text here.</a:t>
              </a:r>
              <a:endParaRPr lang="en-US" altLang="zh-CN" sz="1400" b="1" dirty="0">
                <a:solidFill>
                  <a:schemeClr val="accent1"/>
                </a:solidFill>
                <a:latin typeface="Calibri" pitchFamily="34" charset="0"/>
                <a:ea typeface="宋体" pitchFamily="2" charset="-122"/>
              </a:endParaRPr>
            </a:p>
          </p:txBody>
        </p:sp>
        <p:sp>
          <p:nvSpPr>
            <p:cNvPr id="40" name="文本框 39"/>
            <p:cNvSpPr txBox="1"/>
            <p:nvPr/>
          </p:nvSpPr>
          <p:spPr>
            <a:xfrm>
              <a:off x="1744769" y="1750437"/>
              <a:ext cx="2306797" cy="530145"/>
            </a:xfrm>
            <a:prstGeom prst="rect">
              <a:avLst/>
            </a:prstGeom>
            <a:noFill/>
          </p:spPr>
          <p:txBody>
            <a:bodyPr wrap="square" rtlCol="0">
              <a:spAutoFit/>
            </a:bodyPr>
            <a:lstStyle/>
            <a:p>
              <a:pPr algn="ctr">
                <a:lnSpc>
                  <a:spcPct val="150000"/>
                </a:lnSpc>
              </a:pPr>
              <a:r>
                <a:rPr lang="en-US" altLang="zh-CN" sz="1000" dirty="0">
                  <a:latin typeface="Calibri" pitchFamily="34" charset="0"/>
                  <a:ea typeface="宋体" pitchFamily="2" charset="-122"/>
                </a:rPr>
                <a:t>Theme color makes PPT more convenient to change.</a:t>
              </a:r>
              <a:endParaRPr lang="en-US" altLang="zh-CN" sz="1000" dirty="0">
                <a:latin typeface="Calibri" pitchFamily="34" charset="0"/>
                <a:ea typeface="宋体" pitchFamily="2" charset="-122"/>
              </a:endParaRPr>
            </a:p>
          </p:txBody>
        </p:sp>
        <p:sp>
          <p:nvSpPr>
            <p:cNvPr id="45" name="文本框 44"/>
            <p:cNvSpPr txBox="1"/>
            <p:nvPr/>
          </p:nvSpPr>
          <p:spPr>
            <a:xfrm>
              <a:off x="8240734" y="1416346"/>
              <a:ext cx="2306797" cy="307777"/>
            </a:xfrm>
            <a:prstGeom prst="rect">
              <a:avLst/>
            </a:prstGeom>
            <a:noFill/>
          </p:spPr>
          <p:txBody>
            <a:bodyPr wrap="square" rtlCol="0">
              <a:spAutoFit/>
            </a:bodyPr>
            <a:lstStyle/>
            <a:p>
              <a:pPr algn="ctr"/>
              <a:r>
                <a:rPr lang="en-US" altLang="zh-CN" sz="1400" b="1" dirty="0">
                  <a:solidFill>
                    <a:schemeClr val="accent3"/>
                  </a:solidFill>
                  <a:latin typeface="Calibri" pitchFamily="34" charset="0"/>
                  <a:ea typeface="宋体" pitchFamily="2" charset="-122"/>
                </a:rPr>
                <a:t>Supporting text here.</a:t>
              </a:r>
              <a:endParaRPr lang="en-US" altLang="zh-CN" sz="1400" b="1" dirty="0">
                <a:solidFill>
                  <a:schemeClr val="accent3"/>
                </a:solidFill>
                <a:latin typeface="Calibri" pitchFamily="34" charset="0"/>
                <a:ea typeface="宋体" pitchFamily="2" charset="-122"/>
              </a:endParaRPr>
            </a:p>
          </p:txBody>
        </p:sp>
        <p:sp>
          <p:nvSpPr>
            <p:cNvPr id="46" name="文本框 45"/>
            <p:cNvSpPr txBox="1"/>
            <p:nvPr/>
          </p:nvSpPr>
          <p:spPr>
            <a:xfrm>
              <a:off x="8240734" y="1749983"/>
              <a:ext cx="2306797" cy="530145"/>
            </a:xfrm>
            <a:prstGeom prst="rect">
              <a:avLst/>
            </a:prstGeom>
            <a:noFill/>
          </p:spPr>
          <p:txBody>
            <a:bodyPr wrap="square" rtlCol="0">
              <a:spAutoFit/>
            </a:bodyPr>
            <a:lstStyle/>
            <a:p>
              <a:pPr algn="ctr">
                <a:lnSpc>
                  <a:spcPct val="150000"/>
                </a:lnSpc>
              </a:pPr>
              <a:r>
                <a:rPr lang="en-US" altLang="zh-CN" sz="1000" dirty="0">
                  <a:latin typeface="Calibri" pitchFamily="34" charset="0"/>
                  <a:ea typeface="宋体" pitchFamily="2" charset="-122"/>
                </a:rPr>
                <a:t>Theme color makes PPT more convenient to change.</a:t>
              </a:r>
              <a:endParaRPr lang="en-US" altLang="zh-CN" sz="1000" dirty="0">
                <a:latin typeface="Calibri" pitchFamily="34" charset="0"/>
                <a:ea typeface="宋体" pitchFamily="2" charset="-122"/>
              </a:endParaRPr>
            </a:p>
          </p:txBody>
        </p:sp>
        <p:grpSp>
          <p:nvGrpSpPr>
            <p:cNvPr id="78" name="组合 77"/>
            <p:cNvGrpSpPr/>
            <p:nvPr/>
          </p:nvGrpSpPr>
          <p:grpSpPr>
            <a:xfrm>
              <a:off x="7445714" y="3466026"/>
              <a:ext cx="1108364" cy="1108364"/>
              <a:chOff x="2061289" y="3025331"/>
              <a:chExt cx="1108364" cy="1108364"/>
            </a:xfrm>
          </p:grpSpPr>
          <p:sp>
            <p:nvSpPr>
              <p:cNvPr id="79" name="椭圆 78"/>
              <p:cNvSpPr/>
              <p:nvPr/>
            </p:nvSpPr>
            <p:spPr>
              <a:xfrm>
                <a:off x="2061289" y="3025331"/>
                <a:ext cx="1108364" cy="1108364"/>
              </a:xfrm>
              <a:prstGeom prst="ellipse">
                <a:avLst/>
              </a:prstGeom>
              <a:solidFill>
                <a:schemeClr val="bg1"/>
              </a:solidFill>
              <a:ln w="12700" cap="rnd">
                <a:noFill/>
                <a:prstDash val="solid"/>
                <a:round/>
              </a:ln>
              <a:effectLst>
                <a:outerShdw blurRad="254000" dist="127000" algn="ctr" rotWithShape="0">
                  <a:schemeClr val="bg1">
                    <a:lumMod val="65000"/>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a:p>
            </p:txBody>
          </p:sp>
          <p:sp>
            <p:nvSpPr>
              <p:cNvPr id="80" name="任意多边形: 形状 79"/>
              <p:cNvSpPr/>
              <p:nvPr/>
            </p:nvSpPr>
            <p:spPr>
              <a:xfrm>
                <a:off x="2421317" y="3366688"/>
                <a:ext cx="388308" cy="425650"/>
              </a:xfrm>
              <a:custGeom>
                <a:avLst/>
                <a:gdLst>
                  <a:gd name="connsiteX0" fmla="*/ 248770 w 495300"/>
                  <a:gd name="connsiteY0" fmla="*/ 621 h 542925"/>
                  <a:gd name="connsiteX1" fmla="*/ 496420 w 495300"/>
                  <a:gd name="connsiteY1" fmla="*/ 248271 h 542925"/>
                  <a:gd name="connsiteX2" fmla="*/ 323827 w 495300"/>
                  <a:gd name="connsiteY2" fmla="*/ 484396 h 542925"/>
                  <a:gd name="connsiteX3" fmla="*/ 346973 w 495300"/>
                  <a:gd name="connsiteY3" fmla="*/ 524496 h 542925"/>
                  <a:gd name="connsiteX4" fmla="*/ 420220 w 495300"/>
                  <a:gd name="connsiteY4" fmla="*/ 524496 h 542925"/>
                  <a:gd name="connsiteX5" fmla="*/ 420220 w 495300"/>
                  <a:gd name="connsiteY5" fmla="*/ 543546 h 542925"/>
                  <a:gd name="connsiteX6" fmla="*/ 77320 w 495300"/>
                  <a:gd name="connsiteY6" fmla="*/ 543546 h 542925"/>
                  <a:gd name="connsiteX7" fmla="*/ 77320 w 495300"/>
                  <a:gd name="connsiteY7" fmla="*/ 524496 h 542925"/>
                  <a:gd name="connsiteX8" fmla="*/ 150567 w 495300"/>
                  <a:gd name="connsiteY8" fmla="*/ 524496 h 542925"/>
                  <a:gd name="connsiteX9" fmla="*/ 173713 w 495300"/>
                  <a:gd name="connsiteY9" fmla="*/ 484396 h 542925"/>
                  <a:gd name="connsiteX10" fmla="*/ 1120 w 495300"/>
                  <a:gd name="connsiteY10" fmla="*/ 248271 h 542925"/>
                  <a:gd name="connsiteX11" fmla="*/ 248770 w 495300"/>
                  <a:gd name="connsiteY11" fmla="*/ 621 h 542925"/>
                  <a:gd name="connsiteX12" fmla="*/ 192763 w 495300"/>
                  <a:gd name="connsiteY12" fmla="*/ 489539 h 542925"/>
                  <a:gd name="connsiteX13" fmla="*/ 172570 w 495300"/>
                  <a:gd name="connsiteY13" fmla="*/ 524496 h 542925"/>
                  <a:gd name="connsiteX14" fmla="*/ 324970 w 495300"/>
                  <a:gd name="connsiteY14" fmla="*/ 524496 h 542925"/>
                  <a:gd name="connsiteX15" fmla="*/ 304777 w 495300"/>
                  <a:gd name="connsiteY15" fmla="*/ 489539 h 542925"/>
                  <a:gd name="connsiteX16" fmla="*/ 248770 w 495300"/>
                  <a:gd name="connsiteY16" fmla="*/ 495921 h 542925"/>
                  <a:gd name="connsiteX17" fmla="*/ 192763 w 495300"/>
                  <a:gd name="connsiteY17" fmla="*/ 489539 h 542925"/>
                  <a:gd name="connsiteX18" fmla="*/ 248770 w 495300"/>
                  <a:gd name="connsiteY18" fmla="*/ 143496 h 542925"/>
                  <a:gd name="connsiteX19" fmla="*/ 143995 w 495300"/>
                  <a:gd name="connsiteY19" fmla="*/ 248271 h 542925"/>
                  <a:gd name="connsiteX20" fmla="*/ 248770 w 495300"/>
                  <a:gd name="connsiteY20" fmla="*/ 353046 h 542925"/>
                  <a:gd name="connsiteX21" fmla="*/ 353545 w 495300"/>
                  <a:gd name="connsiteY21" fmla="*/ 248271 h 542925"/>
                  <a:gd name="connsiteX22" fmla="*/ 248770 w 495300"/>
                  <a:gd name="connsiteY22" fmla="*/ 143496 h 542925"/>
                  <a:gd name="connsiteX23" fmla="*/ 367833 w 495300"/>
                  <a:gd name="connsiteY23" fmla="*/ 114921 h 542925"/>
                  <a:gd name="connsiteX24" fmla="*/ 353545 w 495300"/>
                  <a:gd name="connsiteY24" fmla="*/ 129209 h 542925"/>
                  <a:gd name="connsiteX25" fmla="*/ 367833 w 495300"/>
                  <a:gd name="connsiteY25" fmla="*/ 143496 h 542925"/>
                  <a:gd name="connsiteX26" fmla="*/ 382120 w 495300"/>
                  <a:gd name="connsiteY26" fmla="*/ 129209 h 542925"/>
                  <a:gd name="connsiteX27" fmla="*/ 367833 w 495300"/>
                  <a:gd name="connsiteY27" fmla="*/ 114921 h 54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95300" h="542925">
                    <a:moveTo>
                      <a:pt x="248770" y="621"/>
                    </a:moveTo>
                    <a:cubicBezTo>
                      <a:pt x="385549" y="621"/>
                      <a:pt x="496420" y="111492"/>
                      <a:pt x="496420" y="248271"/>
                    </a:cubicBezTo>
                    <a:cubicBezTo>
                      <a:pt x="496420" y="358856"/>
                      <a:pt x="423935" y="452582"/>
                      <a:pt x="323827" y="484396"/>
                    </a:cubicBezTo>
                    <a:lnTo>
                      <a:pt x="346973" y="524496"/>
                    </a:lnTo>
                    <a:lnTo>
                      <a:pt x="420220" y="524496"/>
                    </a:lnTo>
                    <a:lnTo>
                      <a:pt x="420220" y="543546"/>
                    </a:lnTo>
                    <a:lnTo>
                      <a:pt x="77320" y="543546"/>
                    </a:lnTo>
                    <a:lnTo>
                      <a:pt x="77320" y="524496"/>
                    </a:lnTo>
                    <a:lnTo>
                      <a:pt x="150567" y="524496"/>
                    </a:lnTo>
                    <a:lnTo>
                      <a:pt x="173713" y="484396"/>
                    </a:lnTo>
                    <a:cubicBezTo>
                      <a:pt x="73605" y="452582"/>
                      <a:pt x="1120" y="358856"/>
                      <a:pt x="1120" y="248271"/>
                    </a:cubicBezTo>
                    <a:cubicBezTo>
                      <a:pt x="1120" y="111492"/>
                      <a:pt x="111991" y="621"/>
                      <a:pt x="248770" y="621"/>
                    </a:cubicBezTo>
                    <a:close/>
                    <a:moveTo>
                      <a:pt x="192763" y="489539"/>
                    </a:moveTo>
                    <a:lnTo>
                      <a:pt x="172570" y="524496"/>
                    </a:lnTo>
                    <a:lnTo>
                      <a:pt x="324970" y="524496"/>
                    </a:lnTo>
                    <a:lnTo>
                      <a:pt x="304777" y="489539"/>
                    </a:lnTo>
                    <a:cubicBezTo>
                      <a:pt x="286775" y="493730"/>
                      <a:pt x="268010" y="495921"/>
                      <a:pt x="248770" y="495921"/>
                    </a:cubicBezTo>
                    <a:cubicBezTo>
                      <a:pt x="229530" y="495921"/>
                      <a:pt x="210765" y="493730"/>
                      <a:pt x="192763" y="489539"/>
                    </a:cubicBezTo>
                    <a:close/>
                    <a:moveTo>
                      <a:pt x="248770" y="143496"/>
                    </a:moveTo>
                    <a:cubicBezTo>
                      <a:pt x="190858" y="143496"/>
                      <a:pt x="143995" y="190359"/>
                      <a:pt x="143995" y="248271"/>
                    </a:cubicBezTo>
                    <a:cubicBezTo>
                      <a:pt x="143995" y="306183"/>
                      <a:pt x="190858" y="353046"/>
                      <a:pt x="248770" y="353046"/>
                    </a:cubicBezTo>
                    <a:cubicBezTo>
                      <a:pt x="306682" y="353046"/>
                      <a:pt x="353545" y="306183"/>
                      <a:pt x="353545" y="248271"/>
                    </a:cubicBezTo>
                    <a:cubicBezTo>
                      <a:pt x="353545" y="190359"/>
                      <a:pt x="306682" y="143496"/>
                      <a:pt x="248770" y="143496"/>
                    </a:cubicBezTo>
                    <a:close/>
                    <a:moveTo>
                      <a:pt x="367833" y="114921"/>
                    </a:moveTo>
                    <a:cubicBezTo>
                      <a:pt x="359927" y="114921"/>
                      <a:pt x="353545" y="121303"/>
                      <a:pt x="353545" y="129209"/>
                    </a:cubicBezTo>
                    <a:cubicBezTo>
                      <a:pt x="353545" y="137114"/>
                      <a:pt x="359927" y="143496"/>
                      <a:pt x="367833" y="143496"/>
                    </a:cubicBezTo>
                    <a:cubicBezTo>
                      <a:pt x="375738" y="143496"/>
                      <a:pt x="382120" y="137114"/>
                      <a:pt x="382120" y="129209"/>
                    </a:cubicBezTo>
                    <a:cubicBezTo>
                      <a:pt x="382120" y="121303"/>
                      <a:pt x="375738" y="114921"/>
                      <a:pt x="367833" y="114921"/>
                    </a:cubicBezTo>
                    <a:close/>
                  </a:path>
                </a:pathLst>
              </a:custGeom>
              <a:gradFill>
                <a:gsLst>
                  <a:gs pos="0">
                    <a:schemeClr val="accent2">
                      <a:lumMod val="60000"/>
                      <a:lumOff val="40000"/>
                    </a:schemeClr>
                  </a:gs>
                  <a:gs pos="60000">
                    <a:schemeClr val="accent2"/>
                  </a:gs>
                </a:gsLst>
                <a:lin ang="2700000" scaled="0"/>
              </a:gradFill>
              <a:ln w="57150" cap="rnd">
                <a:noFill/>
                <a:prstDash val="solid"/>
                <a:round/>
              </a:ln>
              <a:effectLst>
                <a:outerShdw blurRad="76200" dist="50800" dir="5400000" algn="ctr" rotWithShape="0">
                  <a:schemeClr val="accent2">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3765"/>
                <a:endParaRPr lang="zh-CN" altLang="en-US" sz="2000" b="1" dirty="0">
                  <a:solidFill>
                    <a:schemeClr val="bg1"/>
                  </a:solidFill>
                </a:endParaRPr>
              </a:p>
            </p:txBody>
          </p:sp>
        </p:grpSp>
        <p:sp>
          <p:nvSpPr>
            <p:cNvPr id="82" name="文本框 81"/>
            <p:cNvSpPr txBox="1"/>
            <p:nvPr/>
          </p:nvSpPr>
          <p:spPr>
            <a:xfrm>
              <a:off x="8903868" y="3590657"/>
              <a:ext cx="2306797" cy="307777"/>
            </a:xfrm>
            <a:prstGeom prst="rect">
              <a:avLst/>
            </a:prstGeom>
            <a:noFill/>
          </p:spPr>
          <p:txBody>
            <a:bodyPr wrap="square" rtlCol="0">
              <a:spAutoFit/>
            </a:bodyPr>
            <a:lstStyle/>
            <a:p>
              <a:pPr algn="ctr"/>
              <a:r>
                <a:rPr lang="en-US" altLang="zh-CN" sz="1400" b="1" dirty="0">
                  <a:solidFill>
                    <a:schemeClr val="accent2"/>
                  </a:solidFill>
                  <a:latin typeface="Calibri" pitchFamily="34" charset="0"/>
                  <a:ea typeface="宋体" pitchFamily="2" charset="-122"/>
                </a:rPr>
                <a:t>Supporting text here.</a:t>
              </a:r>
              <a:endParaRPr lang="en-US" altLang="zh-CN" sz="1400" b="1" dirty="0">
                <a:solidFill>
                  <a:schemeClr val="accent2"/>
                </a:solidFill>
                <a:latin typeface="Calibri" pitchFamily="34" charset="0"/>
                <a:ea typeface="宋体" pitchFamily="2" charset="-122"/>
              </a:endParaRPr>
            </a:p>
          </p:txBody>
        </p:sp>
        <p:sp>
          <p:nvSpPr>
            <p:cNvPr id="83" name="文本框 82"/>
            <p:cNvSpPr txBox="1"/>
            <p:nvPr/>
          </p:nvSpPr>
          <p:spPr>
            <a:xfrm>
              <a:off x="8903870" y="3924296"/>
              <a:ext cx="2306797" cy="530145"/>
            </a:xfrm>
            <a:prstGeom prst="rect">
              <a:avLst/>
            </a:prstGeom>
            <a:noFill/>
          </p:spPr>
          <p:txBody>
            <a:bodyPr wrap="square" rtlCol="0">
              <a:spAutoFit/>
            </a:bodyPr>
            <a:lstStyle/>
            <a:p>
              <a:pPr algn="ctr">
                <a:lnSpc>
                  <a:spcPct val="150000"/>
                </a:lnSpc>
              </a:pPr>
              <a:r>
                <a:rPr lang="en-US" altLang="zh-CN" sz="1000" dirty="0">
                  <a:latin typeface="Calibri" pitchFamily="34" charset="0"/>
                  <a:ea typeface="宋体" pitchFamily="2" charset="-122"/>
                </a:rPr>
                <a:t>Theme color makes PPT more convenient to change.</a:t>
              </a:r>
              <a:endParaRPr lang="en-US" altLang="zh-CN" sz="1000" dirty="0">
                <a:latin typeface="Calibri" pitchFamily="34" charset="0"/>
                <a:ea typeface="宋体" pitchFamily="2" charset="-122"/>
              </a:endParaRPr>
            </a:p>
          </p:txBody>
        </p:sp>
        <p:sp>
          <p:nvSpPr>
            <p:cNvPr id="42" name="文本框 41"/>
            <p:cNvSpPr txBox="1"/>
            <p:nvPr/>
          </p:nvSpPr>
          <p:spPr>
            <a:xfrm>
              <a:off x="7132370" y="5209868"/>
              <a:ext cx="2306797" cy="307777"/>
            </a:xfrm>
            <a:prstGeom prst="rect">
              <a:avLst/>
            </a:prstGeom>
            <a:noFill/>
          </p:spPr>
          <p:txBody>
            <a:bodyPr wrap="square" rtlCol="0">
              <a:spAutoFit/>
            </a:bodyPr>
            <a:lstStyle/>
            <a:p>
              <a:pPr algn="ctr"/>
              <a:r>
                <a:rPr lang="en-US" altLang="zh-CN" sz="1400" b="1" dirty="0">
                  <a:solidFill>
                    <a:schemeClr val="accent4"/>
                  </a:solidFill>
                  <a:latin typeface="Calibri" pitchFamily="34" charset="0"/>
                  <a:ea typeface="宋体" pitchFamily="2" charset="-122"/>
                </a:rPr>
                <a:t>Supporting text here.</a:t>
              </a:r>
              <a:endParaRPr lang="en-US" altLang="zh-CN" sz="1400" b="1" dirty="0">
                <a:solidFill>
                  <a:schemeClr val="accent4"/>
                </a:solidFill>
                <a:latin typeface="Calibri" pitchFamily="34" charset="0"/>
                <a:ea typeface="宋体" pitchFamily="2" charset="-122"/>
              </a:endParaRPr>
            </a:p>
          </p:txBody>
        </p:sp>
        <p:sp>
          <p:nvSpPr>
            <p:cNvPr id="43" name="文本框 42"/>
            <p:cNvSpPr txBox="1"/>
            <p:nvPr/>
          </p:nvSpPr>
          <p:spPr>
            <a:xfrm>
              <a:off x="7132370" y="5543505"/>
              <a:ext cx="2306797" cy="530145"/>
            </a:xfrm>
            <a:prstGeom prst="rect">
              <a:avLst/>
            </a:prstGeom>
            <a:noFill/>
          </p:spPr>
          <p:txBody>
            <a:bodyPr wrap="square" rtlCol="0">
              <a:spAutoFit/>
            </a:bodyPr>
            <a:lstStyle/>
            <a:p>
              <a:pPr algn="ctr">
                <a:lnSpc>
                  <a:spcPct val="150000"/>
                </a:lnSpc>
              </a:pPr>
              <a:r>
                <a:rPr lang="en-US" altLang="zh-CN" sz="1000" dirty="0">
                  <a:latin typeface="Calibri" pitchFamily="34" charset="0"/>
                  <a:ea typeface="宋体" pitchFamily="2" charset="-122"/>
                </a:rPr>
                <a:t>Theme color makes PPT more convenient to change.</a:t>
              </a:r>
              <a:endParaRPr lang="en-US" altLang="zh-CN" sz="1000" dirty="0">
                <a:latin typeface="Calibri" pitchFamily="34" charset="0"/>
                <a:ea typeface="宋体" pitchFamily="2" charset="-122"/>
              </a:endParaRPr>
            </a:p>
          </p:txBody>
        </p:sp>
        <p:grpSp>
          <p:nvGrpSpPr>
            <p:cNvPr id="3" name="组合 2"/>
            <p:cNvGrpSpPr/>
            <p:nvPr/>
          </p:nvGrpSpPr>
          <p:grpSpPr>
            <a:xfrm>
              <a:off x="5520462" y="4761377"/>
              <a:ext cx="1108364" cy="1108364"/>
              <a:chOff x="5520462" y="4761377"/>
              <a:chExt cx="1108364" cy="1108364"/>
            </a:xfrm>
          </p:grpSpPr>
          <p:sp>
            <p:nvSpPr>
              <p:cNvPr id="30" name="椭圆 29"/>
              <p:cNvSpPr/>
              <p:nvPr/>
            </p:nvSpPr>
            <p:spPr>
              <a:xfrm>
                <a:off x="5520462" y="4761377"/>
                <a:ext cx="1108364" cy="1108364"/>
              </a:xfrm>
              <a:prstGeom prst="ellipse">
                <a:avLst/>
              </a:prstGeom>
              <a:solidFill>
                <a:schemeClr val="bg1"/>
              </a:solidFill>
              <a:ln w="12700" cap="rnd">
                <a:noFill/>
                <a:prstDash val="solid"/>
                <a:round/>
              </a:ln>
              <a:effectLst>
                <a:outerShdw blurRad="254000" dist="127000" algn="ctr" rotWithShape="0">
                  <a:schemeClr val="bg1">
                    <a:lumMod val="65000"/>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a:p>
            </p:txBody>
          </p:sp>
          <p:sp>
            <p:nvSpPr>
              <p:cNvPr id="84" name="任意多边形: 形状 83"/>
              <p:cNvSpPr/>
              <p:nvPr/>
            </p:nvSpPr>
            <p:spPr>
              <a:xfrm>
                <a:off x="5884079" y="5163813"/>
                <a:ext cx="381130" cy="303492"/>
              </a:xfrm>
              <a:custGeom>
                <a:avLst/>
                <a:gdLst>
                  <a:gd name="connsiteX0" fmla="*/ 486767 w 514350"/>
                  <a:gd name="connsiteY0" fmla="*/ 621 h 409575"/>
                  <a:gd name="connsiteX1" fmla="*/ 515342 w 514350"/>
                  <a:gd name="connsiteY1" fmla="*/ 29196 h 409575"/>
                  <a:gd name="connsiteX2" fmla="*/ 515342 w 514350"/>
                  <a:gd name="connsiteY2" fmla="*/ 324471 h 409575"/>
                  <a:gd name="connsiteX3" fmla="*/ 486767 w 514350"/>
                  <a:gd name="connsiteY3" fmla="*/ 353046 h 409575"/>
                  <a:gd name="connsiteX4" fmla="*/ 192159 w 514350"/>
                  <a:gd name="connsiteY4" fmla="*/ 353046 h 409575"/>
                  <a:gd name="connsiteX5" fmla="*/ 115387 w 514350"/>
                  <a:gd name="connsiteY5" fmla="*/ 410196 h 409575"/>
                  <a:gd name="connsiteX6" fmla="*/ 115387 w 514350"/>
                  <a:gd name="connsiteY6" fmla="*/ 353046 h 409575"/>
                  <a:gd name="connsiteX7" fmla="*/ 29567 w 514350"/>
                  <a:gd name="connsiteY7" fmla="*/ 353046 h 409575"/>
                  <a:gd name="connsiteX8" fmla="*/ 992 w 514350"/>
                  <a:gd name="connsiteY8" fmla="*/ 324471 h 409575"/>
                  <a:gd name="connsiteX9" fmla="*/ 992 w 514350"/>
                  <a:gd name="connsiteY9" fmla="*/ 29196 h 409575"/>
                  <a:gd name="connsiteX10" fmla="*/ 29567 w 514350"/>
                  <a:gd name="connsiteY10" fmla="*/ 621 h 409575"/>
                  <a:gd name="connsiteX11" fmla="*/ 486767 w 514350"/>
                  <a:gd name="connsiteY11" fmla="*/ 621 h 409575"/>
                  <a:gd name="connsiteX12" fmla="*/ 124817 w 514350"/>
                  <a:gd name="connsiteY12" fmla="*/ 143496 h 409575"/>
                  <a:gd name="connsiteX13" fmla="*/ 91480 w 514350"/>
                  <a:gd name="connsiteY13" fmla="*/ 176834 h 409575"/>
                  <a:gd name="connsiteX14" fmla="*/ 124817 w 514350"/>
                  <a:gd name="connsiteY14" fmla="*/ 210171 h 409575"/>
                  <a:gd name="connsiteX15" fmla="*/ 158155 w 514350"/>
                  <a:gd name="connsiteY15" fmla="*/ 176834 h 409575"/>
                  <a:gd name="connsiteX16" fmla="*/ 124817 w 514350"/>
                  <a:gd name="connsiteY16" fmla="*/ 143496 h 409575"/>
                  <a:gd name="connsiteX17" fmla="*/ 258167 w 514350"/>
                  <a:gd name="connsiteY17" fmla="*/ 143496 h 409575"/>
                  <a:gd name="connsiteX18" fmla="*/ 224830 w 514350"/>
                  <a:gd name="connsiteY18" fmla="*/ 176834 h 409575"/>
                  <a:gd name="connsiteX19" fmla="*/ 258167 w 514350"/>
                  <a:gd name="connsiteY19" fmla="*/ 210171 h 409575"/>
                  <a:gd name="connsiteX20" fmla="*/ 291505 w 514350"/>
                  <a:gd name="connsiteY20" fmla="*/ 176834 h 409575"/>
                  <a:gd name="connsiteX21" fmla="*/ 258167 w 514350"/>
                  <a:gd name="connsiteY21" fmla="*/ 143496 h 409575"/>
                  <a:gd name="connsiteX22" fmla="*/ 391517 w 514350"/>
                  <a:gd name="connsiteY22" fmla="*/ 143496 h 409575"/>
                  <a:gd name="connsiteX23" fmla="*/ 358180 w 514350"/>
                  <a:gd name="connsiteY23" fmla="*/ 176834 h 409575"/>
                  <a:gd name="connsiteX24" fmla="*/ 391517 w 514350"/>
                  <a:gd name="connsiteY24" fmla="*/ 210171 h 409575"/>
                  <a:gd name="connsiteX25" fmla="*/ 424855 w 514350"/>
                  <a:gd name="connsiteY25" fmla="*/ 176834 h 409575"/>
                  <a:gd name="connsiteX26" fmla="*/ 391517 w 514350"/>
                  <a:gd name="connsiteY26" fmla="*/ 143496 h 409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14350" h="409575">
                    <a:moveTo>
                      <a:pt x="486767" y="621"/>
                    </a:moveTo>
                    <a:cubicBezTo>
                      <a:pt x="502579" y="621"/>
                      <a:pt x="515342" y="13385"/>
                      <a:pt x="515342" y="29196"/>
                    </a:cubicBezTo>
                    <a:lnTo>
                      <a:pt x="515342" y="324471"/>
                    </a:lnTo>
                    <a:cubicBezTo>
                      <a:pt x="515342" y="340282"/>
                      <a:pt x="502579" y="353046"/>
                      <a:pt x="486767" y="353046"/>
                    </a:cubicBezTo>
                    <a:lnTo>
                      <a:pt x="192159" y="353046"/>
                    </a:lnTo>
                    <a:lnTo>
                      <a:pt x="115387" y="410196"/>
                    </a:lnTo>
                    <a:lnTo>
                      <a:pt x="115387" y="353046"/>
                    </a:lnTo>
                    <a:lnTo>
                      <a:pt x="29567" y="353046"/>
                    </a:lnTo>
                    <a:cubicBezTo>
                      <a:pt x="13755" y="353046"/>
                      <a:pt x="992" y="340282"/>
                      <a:pt x="992" y="324471"/>
                    </a:cubicBezTo>
                    <a:lnTo>
                      <a:pt x="992" y="29196"/>
                    </a:lnTo>
                    <a:cubicBezTo>
                      <a:pt x="992" y="13385"/>
                      <a:pt x="13755" y="621"/>
                      <a:pt x="29567" y="621"/>
                    </a:cubicBezTo>
                    <a:lnTo>
                      <a:pt x="486767" y="621"/>
                    </a:lnTo>
                    <a:close/>
                    <a:moveTo>
                      <a:pt x="124817" y="143496"/>
                    </a:moveTo>
                    <a:cubicBezTo>
                      <a:pt x="106434" y="143496"/>
                      <a:pt x="91480" y="158450"/>
                      <a:pt x="91480" y="176834"/>
                    </a:cubicBezTo>
                    <a:cubicBezTo>
                      <a:pt x="91480" y="195217"/>
                      <a:pt x="106434" y="210171"/>
                      <a:pt x="124817" y="210171"/>
                    </a:cubicBezTo>
                    <a:cubicBezTo>
                      <a:pt x="143200" y="210171"/>
                      <a:pt x="158155" y="195217"/>
                      <a:pt x="158155" y="176834"/>
                    </a:cubicBezTo>
                    <a:cubicBezTo>
                      <a:pt x="158155" y="158450"/>
                      <a:pt x="143200" y="143496"/>
                      <a:pt x="124817" y="143496"/>
                    </a:cubicBezTo>
                    <a:close/>
                    <a:moveTo>
                      <a:pt x="258167" y="143496"/>
                    </a:moveTo>
                    <a:cubicBezTo>
                      <a:pt x="239784" y="143496"/>
                      <a:pt x="224830" y="158450"/>
                      <a:pt x="224830" y="176834"/>
                    </a:cubicBezTo>
                    <a:cubicBezTo>
                      <a:pt x="224830" y="195217"/>
                      <a:pt x="239784" y="210171"/>
                      <a:pt x="258167" y="210171"/>
                    </a:cubicBezTo>
                    <a:cubicBezTo>
                      <a:pt x="276550" y="210171"/>
                      <a:pt x="291505" y="195217"/>
                      <a:pt x="291505" y="176834"/>
                    </a:cubicBezTo>
                    <a:cubicBezTo>
                      <a:pt x="291505" y="158450"/>
                      <a:pt x="276550" y="143496"/>
                      <a:pt x="258167" y="143496"/>
                    </a:cubicBezTo>
                    <a:close/>
                    <a:moveTo>
                      <a:pt x="391517" y="143496"/>
                    </a:moveTo>
                    <a:cubicBezTo>
                      <a:pt x="373134" y="143496"/>
                      <a:pt x="358180" y="158450"/>
                      <a:pt x="358180" y="176834"/>
                    </a:cubicBezTo>
                    <a:cubicBezTo>
                      <a:pt x="358180" y="195217"/>
                      <a:pt x="373134" y="210171"/>
                      <a:pt x="391517" y="210171"/>
                    </a:cubicBezTo>
                    <a:cubicBezTo>
                      <a:pt x="409900" y="210171"/>
                      <a:pt x="424855" y="195217"/>
                      <a:pt x="424855" y="176834"/>
                    </a:cubicBezTo>
                    <a:cubicBezTo>
                      <a:pt x="424855" y="158450"/>
                      <a:pt x="409900" y="143496"/>
                      <a:pt x="391517" y="143496"/>
                    </a:cubicBezTo>
                    <a:close/>
                  </a:path>
                </a:pathLst>
              </a:custGeom>
              <a:gradFill>
                <a:gsLst>
                  <a:gs pos="0">
                    <a:schemeClr val="accent4">
                      <a:lumMod val="60000"/>
                      <a:lumOff val="40000"/>
                    </a:schemeClr>
                  </a:gs>
                  <a:gs pos="60000">
                    <a:schemeClr val="accent4"/>
                  </a:gs>
                </a:gsLst>
                <a:lin ang="2700000" scaled="0"/>
              </a:gradFill>
              <a:ln w="57150" cap="rnd">
                <a:noFill/>
                <a:prstDash val="solid"/>
                <a:round/>
              </a:ln>
              <a:effectLst>
                <a:outerShdw blurRad="76200" dist="50800" dir="5400000" algn="ctr" rotWithShape="0">
                  <a:schemeClr val="accent4">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8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3765"/>
                <a:endParaRPr lang="zh-CN" altLang="en-US" sz="2000" b="1" dirty="0">
                  <a:solidFill>
                    <a:schemeClr val="bg1"/>
                  </a:solidFill>
                </a:endParaRPr>
              </a:p>
            </p:txBody>
          </p:sp>
        </p:grpSp>
        <p:grpSp>
          <p:nvGrpSpPr>
            <p:cNvPr id="5" name="组合 4"/>
            <p:cNvGrpSpPr/>
            <p:nvPr/>
          </p:nvGrpSpPr>
          <p:grpSpPr>
            <a:xfrm>
              <a:off x="3521111" y="3466026"/>
              <a:ext cx="1108364" cy="1108364"/>
              <a:chOff x="3521111" y="3466026"/>
              <a:chExt cx="1108364" cy="1108364"/>
            </a:xfrm>
          </p:grpSpPr>
          <p:sp>
            <p:nvSpPr>
              <p:cNvPr id="48" name="椭圆 47"/>
              <p:cNvSpPr/>
              <p:nvPr/>
            </p:nvSpPr>
            <p:spPr>
              <a:xfrm>
                <a:off x="3521111" y="3466026"/>
                <a:ext cx="1108364" cy="1108364"/>
              </a:xfrm>
              <a:prstGeom prst="ellipse">
                <a:avLst/>
              </a:prstGeom>
              <a:solidFill>
                <a:schemeClr val="bg1"/>
              </a:solidFill>
              <a:ln w="12700" cap="rnd">
                <a:noFill/>
                <a:prstDash val="solid"/>
                <a:round/>
              </a:ln>
              <a:effectLst>
                <a:outerShdw blurRad="254000" dist="127000" algn="ctr" rotWithShape="0">
                  <a:schemeClr val="bg1">
                    <a:lumMod val="65000"/>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a:p>
            </p:txBody>
          </p:sp>
          <p:sp>
            <p:nvSpPr>
              <p:cNvPr id="36" name="任意多边形: 形状 35"/>
              <p:cNvSpPr/>
              <p:nvPr/>
            </p:nvSpPr>
            <p:spPr>
              <a:xfrm>
                <a:off x="3870901" y="3819467"/>
                <a:ext cx="408784" cy="401482"/>
              </a:xfrm>
              <a:custGeom>
                <a:avLst/>
                <a:gdLst>
                  <a:gd name="connsiteX0" fmla="*/ 343764 w 533400"/>
                  <a:gd name="connsiteY0" fmla="*/ 276846 h 523875"/>
                  <a:gd name="connsiteX1" fmla="*/ 372339 w 533400"/>
                  <a:gd name="connsiteY1" fmla="*/ 305421 h 523875"/>
                  <a:gd name="connsiteX2" fmla="*/ 372339 w 533400"/>
                  <a:gd name="connsiteY2" fmla="*/ 495921 h 523875"/>
                  <a:gd name="connsiteX3" fmla="*/ 343764 w 533400"/>
                  <a:gd name="connsiteY3" fmla="*/ 524496 h 523875"/>
                  <a:gd name="connsiteX4" fmla="*/ 191364 w 533400"/>
                  <a:gd name="connsiteY4" fmla="*/ 524496 h 523875"/>
                  <a:gd name="connsiteX5" fmla="*/ 162789 w 533400"/>
                  <a:gd name="connsiteY5" fmla="*/ 495921 h 523875"/>
                  <a:gd name="connsiteX6" fmla="*/ 162789 w 533400"/>
                  <a:gd name="connsiteY6" fmla="*/ 305421 h 523875"/>
                  <a:gd name="connsiteX7" fmla="*/ 191364 w 533400"/>
                  <a:gd name="connsiteY7" fmla="*/ 276846 h 523875"/>
                  <a:gd name="connsiteX8" fmla="*/ 343764 w 533400"/>
                  <a:gd name="connsiteY8" fmla="*/ 276846 h 523875"/>
                  <a:gd name="connsiteX9" fmla="*/ 143739 w 533400"/>
                  <a:gd name="connsiteY9" fmla="*/ 114921 h 523875"/>
                  <a:gd name="connsiteX10" fmla="*/ 179934 w 533400"/>
                  <a:gd name="connsiteY10" fmla="*/ 153021 h 523875"/>
                  <a:gd name="connsiteX11" fmla="*/ 181839 w 533400"/>
                  <a:gd name="connsiteY11" fmla="*/ 153021 h 523875"/>
                  <a:gd name="connsiteX12" fmla="*/ 353289 w 533400"/>
                  <a:gd name="connsiteY12" fmla="*/ 153021 h 523875"/>
                  <a:gd name="connsiteX13" fmla="*/ 391389 w 533400"/>
                  <a:gd name="connsiteY13" fmla="*/ 116826 h 523875"/>
                  <a:gd name="connsiteX14" fmla="*/ 391389 w 533400"/>
                  <a:gd name="connsiteY14" fmla="*/ 114921 h 523875"/>
                  <a:gd name="connsiteX15" fmla="*/ 505689 w 533400"/>
                  <a:gd name="connsiteY15" fmla="*/ 114921 h 523875"/>
                  <a:gd name="connsiteX16" fmla="*/ 534264 w 533400"/>
                  <a:gd name="connsiteY16" fmla="*/ 143496 h 523875"/>
                  <a:gd name="connsiteX17" fmla="*/ 534264 w 533400"/>
                  <a:gd name="connsiteY17" fmla="*/ 381621 h 523875"/>
                  <a:gd name="connsiteX18" fmla="*/ 505689 w 533400"/>
                  <a:gd name="connsiteY18" fmla="*/ 410196 h 523875"/>
                  <a:gd name="connsiteX19" fmla="*/ 391389 w 533400"/>
                  <a:gd name="connsiteY19" fmla="*/ 410196 h 523875"/>
                  <a:gd name="connsiteX20" fmla="*/ 391389 w 533400"/>
                  <a:gd name="connsiteY20" fmla="*/ 295896 h 523875"/>
                  <a:gd name="connsiteX21" fmla="*/ 355194 w 533400"/>
                  <a:gd name="connsiteY21" fmla="*/ 257796 h 523875"/>
                  <a:gd name="connsiteX22" fmla="*/ 353289 w 533400"/>
                  <a:gd name="connsiteY22" fmla="*/ 257796 h 523875"/>
                  <a:gd name="connsiteX23" fmla="*/ 181839 w 533400"/>
                  <a:gd name="connsiteY23" fmla="*/ 257796 h 523875"/>
                  <a:gd name="connsiteX24" fmla="*/ 143739 w 533400"/>
                  <a:gd name="connsiteY24" fmla="*/ 293991 h 523875"/>
                  <a:gd name="connsiteX25" fmla="*/ 143739 w 533400"/>
                  <a:gd name="connsiteY25" fmla="*/ 295896 h 523875"/>
                  <a:gd name="connsiteX26" fmla="*/ 143739 w 533400"/>
                  <a:gd name="connsiteY26" fmla="*/ 410196 h 523875"/>
                  <a:gd name="connsiteX27" fmla="*/ 29439 w 533400"/>
                  <a:gd name="connsiteY27" fmla="*/ 410196 h 523875"/>
                  <a:gd name="connsiteX28" fmla="*/ 864 w 533400"/>
                  <a:gd name="connsiteY28" fmla="*/ 381621 h 523875"/>
                  <a:gd name="connsiteX29" fmla="*/ 864 w 533400"/>
                  <a:gd name="connsiteY29" fmla="*/ 201408 h 523875"/>
                  <a:gd name="connsiteX30" fmla="*/ 11151 w 533400"/>
                  <a:gd name="connsiteY30" fmla="*/ 175405 h 523875"/>
                  <a:gd name="connsiteX31" fmla="*/ 56300 w 533400"/>
                  <a:gd name="connsiteY31" fmla="*/ 127018 h 523875"/>
                  <a:gd name="connsiteX32" fmla="*/ 84112 w 533400"/>
                  <a:gd name="connsiteY32" fmla="*/ 114921 h 523875"/>
                  <a:gd name="connsiteX33" fmla="*/ 143739 w 533400"/>
                  <a:gd name="connsiteY33" fmla="*/ 114921 h 523875"/>
                  <a:gd name="connsiteX34" fmla="*/ 462827 w 533400"/>
                  <a:gd name="connsiteY34" fmla="*/ 172071 h 523875"/>
                  <a:gd name="connsiteX35" fmla="*/ 448539 w 533400"/>
                  <a:gd name="connsiteY35" fmla="*/ 186359 h 523875"/>
                  <a:gd name="connsiteX36" fmla="*/ 462827 w 533400"/>
                  <a:gd name="connsiteY36" fmla="*/ 200646 h 523875"/>
                  <a:gd name="connsiteX37" fmla="*/ 477114 w 533400"/>
                  <a:gd name="connsiteY37" fmla="*/ 186359 h 523875"/>
                  <a:gd name="connsiteX38" fmla="*/ 462827 w 533400"/>
                  <a:gd name="connsiteY38" fmla="*/ 172071 h 523875"/>
                  <a:gd name="connsiteX39" fmla="*/ 343764 w 533400"/>
                  <a:gd name="connsiteY39" fmla="*/ 621 h 523875"/>
                  <a:gd name="connsiteX40" fmla="*/ 372339 w 533400"/>
                  <a:gd name="connsiteY40" fmla="*/ 29196 h 523875"/>
                  <a:gd name="connsiteX41" fmla="*/ 372339 w 533400"/>
                  <a:gd name="connsiteY41" fmla="*/ 105396 h 523875"/>
                  <a:gd name="connsiteX42" fmla="*/ 343764 w 533400"/>
                  <a:gd name="connsiteY42" fmla="*/ 133971 h 523875"/>
                  <a:gd name="connsiteX43" fmla="*/ 191364 w 533400"/>
                  <a:gd name="connsiteY43" fmla="*/ 133971 h 523875"/>
                  <a:gd name="connsiteX44" fmla="*/ 162789 w 533400"/>
                  <a:gd name="connsiteY44" fmla="*/ 105396 h 523875"/>
                  <a:gd name="connsiteX45" fmla="*/ 162789 w 533400"/>
                  <a:gd name="connsiteY45" fmla="*/ 29196 h 523875"/>
                  <a:gd name="connsiteX46" fmla="*/ 191364 w 533400"/>
                  <a:gd name="connsiteY46" fmla="*/ 621 h 523875"/>
                  <a:gd name="connsiteX47" fmla="*/ 343764 w 533400"/>
                  <a:gd name="connsiteY47" fmla="*/ 621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533400" h="523875">
                    <a:moveTo>
                      <a:pt x="343764" y="276846"/>
                    </a:moveTo>
                    <a:cubicBezTo>
                      <a:pt x="359576" y="276846"/>
                      <a:pt x="372339" y="289610"/>
                      <a:pt x="372339" y="305421"/>
                    </a:cubicBezTo>
                    <a:lnTo>
                      <a:pt x="372339" y="495921"/>
                    </a:lnTo>
                    <a:cubicBezTo>
                      <a:pt x="372339" y="511732"/>
                      <a:pt x="359576" y="524496"/>
                      <a:pt x="343764" y="524496"/>
                    </a:cubicBezTo>
                    <a:lnTo>
                      <a:pt x="191364" y="524496"/>
                    </a:lnTo>
                    <a:cubicBezTo>
                      <a:pt x="175552" y="524496"/>
                      <a:pt x="162789" y="511732"/>
                      <a:pt x="162789" y="495921"/>
                    </a:cubicBezTo>
                    <a:lnTo>
                      <a:pt x="162789" y="305421"/>
                    </a:lnTo>
                    <a:cubicBezTo>
                      <a:pt x="162789" y="289610"/>
                      <a:pt x="175552" y="276846"/>
                      <a:pt x="191364" y="276846"/>
                    </a:cubicBezTo>
                    <a:lnTo>
                      <a:pt x="343764" y="276846"/>
                    </a:lnTo>
                    <a:close/>
                    <a:moveTo>
                      <a:pt x="143739" y="114921"/>
                    </a:moveTo>
                    <a:cubicBezTo>
                      <a:pt x="143739" y="135305"/>
                      <a:pt x="159741" y="151973"/>
                      <a:pt x="179934" y="153021"/>
                    </a:cubicBezTo>
                    <a:lnTo>
                      <a:pt x="181839" y="153021"/>
                    </a:lnTo>
                    <a:lnTo>
                      <a:pt x="353289" y="153021"/>
                    </a:lnTo>
                    <a:cubicBezTo>
                      <a:pt x="373673" y="153021"/>
                      <a:pt x="390341" y="137019"/>
                      <a:pt x="391389" y="116826"/>
                    </a:cubicBezTo>
                    <a:lnTo>
                      <a:pt x="391389" y="114921"/>
                    </a:lnTo>
                    <a:lnTo>
                      <a:pt x="505689" y="114921"/>
                    </a:lnTo>
                    <a:cubicBezTo>
                      <a:pt x="521501" y="114921"/>
                      <a:pt x="534264" y="127685"/>
                      <a:pt x="534264" y="143496"/>
                    </a:cubicBezTo>
                    <a:lnTo>
                      <a:pt x="534264" y="381621"/>
                    </a:lnTo>
                    <a:cubicBezTo>
                      <a:pt x="534264" y="397432"/>
                      <a:pt x="521501" y="410196"/>
                      <a:pt x="505689" y="410196"/>
                    </a:cubicBezTo>
                    <a:lnTo>
                      <a:pt x="391389" y="410196"/>
                    </a:lnTo>
                    <a:lnTo>
                      <a:pt x="391389" y="295896"/>
                    </a:lnTo>
                    <a:cubicBezTo>
                      <a:pt x="391389" y="275512"/>
                      <a:pt x="375387" y="258844"/>
                      <a:pt x="355194" y="257796"/>
                    </a:cubicBezTo>
                    <a:lnTo>
                      <a:pt x="353289" y="257796"/>
                    </a:lnTo>
                    <a:lnTo>
                      <a:pt x="181839" y="257796"/>
                    </a:lnTo>
                    <a:cubicBezTo>
                      <a:pt x="161455" y="257796"/>
                      <a:pt x="144787" y="273798"/>
                      <a:pt x="143739" y="293991"/>
                    </a:cubicBezTo>
                    <a:lnTo>
                      <a:pt x="143739" y="295896"/>
                    </a:lnTo>
                    <a:lnTo>
                      <a:pt x="143739" y="410196"/>
                    </a:lnTo>
                    <a:lnTo>
                      <a:pt x="29439" y="410196"/>
                    </a:lnTo>
                    <a:cubicBezTo>
                      <a:pt x="13627" y="410196"/>
                      <a:pt x="864" y="397432"/>
                      <a:pt x="864" y="381621"/>
                    </a:cubicBezTo>
                    <a:lnTo>
                      <a:pt x="864" y="201408"/>
                    </a:lnTo>
                    <a:cubicBezTo>
                      <a:pt x="864" y="191788"/>
                      <a:pt x="4484" y="182454"/>
                      <a:pt x="11151" y="175405"/>
                    </a:cubicBezTo>
                    <a:lnTo>
                      <a:pt x="56300" y="127018"/>
                    </a:lnTo>
                    <a:cubicBezTo>
                      <a:pt x="63538" y="119303"/>
                      <a:pt x="73635" y="114921"/>
                      <a:pt x="84112" y="114921"/>
                    </a:cubicBezTo>
                    <a:lnTo>
                      <a:pt x="143739" y="114921"/>
                    </a:lnTo>
                    <a:close/>
                    <a:moveTo>
                      <a:pt x="462827" y="172071"/>
                    </a:moveTo>
                    <a:cubicBezTo>
                      <a:pt x="454921" y="172071"/>
                      <a:pt x="448539" y="178453"/>
                      <a:pt x="448539" y="186359"/>
                    </a:cubicBezTo>
                    <a:cubicBezTo>
                      <a:pt x="448539" y="194264"/>
                      <a:pt x="454921" y="200646"/>
                      <a:pt x="462827" y="200646"/>
                    </a:cubicBezTo>
                    <a:cubicBezTo>
                      <a:pt x="470732" y="200646"/>
                      <a:pt x="477114" y="194264"/>
                      <a:pt x="477114" y="186359"/>
                    </a:cubicBezTo>
                    <a:cubicBezTo>
                      <a:pt x="477114" y="178453"/>
                      <a:pt x="470732" y="172071"/>
                      <a:pt x="462827" y="172071"/>
                    </a:cubicBezTo>
                    <a:close/>
                    <a:moveTo>
                      <a:pt x="343764" y="621"/>
                    </a:moveTo>
                    <a:cubicBezTo>
                      <a:pt x="359576" y="621"/>
                      <a:pt x="372339" y="13385"/>
                      <a:pt x="372339" y="29196"/>
                    </a:cubicBezTo>
                    <a:lnTo>
                      <a:pt x="372339" y="105396"/>
                    </a:lnTo>
                    <a:cubicBezTo>
                      <a:pt x="372339" y="121207"/>
                      <a:pt x="359576" y="133971"/>
                      <a:pt x="343764" y="133971"/>
                    </a:cubicBezTo>
                    <a:lnTo>
                      <a:pt x="191364" y="133971"/>
                    </a:lnTo>
                    <a:cubicBezTo>
                      <a:pt x="175552" y="133971"/>
                      <a:pt x="162789" y="121207"/>
                      <a:pt x="162789" y="105396"/>
                    </a:cubicBezTo>
                    <a:lnTo>
                      <a:pt x="162789" y="29196"/>
                    </a:lnTo>
                    <a:cubicBezTo>
                      <a:pt x="162789" y="13385"/>
                      <a:pt x="175552" y="621"/>
                      <a:pt x="191364" y="621"/>
                    </a:cubicBezTo>
                    <a:lnTo>
                      <a:pt x="343764" y="621"/>
                    </a:lnTo>
                    <a:close/>
                  </a:path>
                </a:pathLst>
              </a:custGeom>
              <a:gradFill>
                <a:gsLst>
                  <a:gs pos="0">
                    <a:schemeClr val="accent5">
                      <a:lumMod val="60000"/>
                      <a:lumOff val="40000"/>
                    </a:schemeClr>
                  </a:gs>
                  <a:gs pos="60000">
                    <a:schemeClr val="accent5"/>
                  </a:gs>
                </a:gsLst>
                <a:lin ang="2700000" scaled="0"/>
              </a:gradFill>
              <a:ln w="57150" cap="rnd">
                <a:noFill/>
                <a:prstDash val="solid"/>
                <a:round/>
              </a:ln>
              <a:effectLst>
                <a:outerShdw blurRad="76200" dist="50800" dir="5400000" algn="ctr" rotWithShape="0">
                  <a:schemeClr val="accent5">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3765"/>
                <a:endParaRPr lang="zh-CN" altLang="en-US" sz="2000" b="1" dirty="0">
                  <a:solidFill>
                    <a:schemeClr val="bg1"/>
                  </a:solidFill>
                </a:endParaRPr>
              </a:p>
            </p:txBody>
          </p:sp>
        </p:grpSp>
        <p:sp>
          <p:nvSpPr>
            <p:cNvPr id="51" name="文本框 50"/>
            <p:cNvSpPr txBox="1"/>
            <p:nvPr/>
          </p:nvSpPr>
          <p:spPr>
            <a:xfrm>
              <a:off x="895372" y="3590657"/>
              <a:ext cx="2306797" cy="307777"/>
            </a:xfrm>
            <a:prstGeom prst="rect">
              <a:avLst/>
            </a:prstGeom>
            <a:noFill/>
          </p:spPr>
          <p:txBody>
            <a:bodyPr wrap="square" rtlCol="0">
              <a:spAutoFit/>
            </a:bodyPr>
            <a:lstStyle/>
            <a:p>
              <a:pPr algn="ctr"/>
              <a:r>
                <a:rPr lang="en-US" altLang="zh-CN" sz="1400" b="1" dirty="0">
                  <a:solidFill>
                    <a:schemeClr val="accent5"/>
                  </a:solidFill>
                  <a:latin typeface="Calibri" pitchFamily="34" charset="0"/>
                  <a:ea typeface="宋体" pitchFamily="2" charset="-122"/>
                </a:rPr>
                <a:t>Supporting text here.</a:t>
              </a:r>
              <a:endParaRPr lang="en-US" altLang="zh-CN" sz="1400" b="1" dirty="0">
                <a:solidFill>
                  <a:schemeClr val="accent5"/>
                </a:solidFill>
                <a:latin typeface="Calibri" pitchFamily="34" charset="0"/>
                <a:ea typeface="宋体" pitchFamily="2" charset="-122"/>
              </a:endParaRPr>
            </a:p>
          </p:txBody>
        </p:sp>
        <p:sp>
          <p:nvSpPr>
            <p:cNvPr id="52" name="文本框 51"/>
            <p:cNvSpPr txBox="1"/>
            <p:nvPr/>
          </p:nvSpPr>
          <p:spPr>
            <a:xfrm>
              <a:off x="895373" y="3924296"/>
              <a:ext cx="2306797" cy="530145"/>
            </a:xfrm>
            <a:prstGeom prst="rect">
              <a:avLst/>
            </a:prstGeom>
            <a:noFill/>
          </p:spPr>
          <p:txBody>
            <a:bodyPr wrap="square" rtlCol="0">
              <a:spAutoFit/>
            </a:bodyPr>
            <a:lstStyle/>
            <a:p>
              <a:pPr algn="ctr">
                <a:lnSpc>
                  <a:spcPct val="150000"/>
                </a:lnSpc>
              </a:pPr>
              <a:r>
                <a:rPr lang="en-US" altLang="zh-CN" sz="1000" dirty="0">
                  <a:latin typeface="Calibri" pitchFamily="34" charset="0"/>
                  <a:ea typeface="宋体" pitchFamily="2" charset="-122"/>
                </a:rPr>
                <a:t>Theme color makes PPT more convenient to change.</a:t>
              </a:r>
              <a:endParaRPr lang="en-US" altLang="zh-CN" sz="1000" dirty="0">
                <a:latin typeface="Calibri" pitchFamily="34" charset="0"/>
                <a:ea typeface="宋体" pitchFamily="2" charset="-122"/>
              </a:endParaRPr>
            </a:p>
          </p:txBody>
        </p:sp>
      </p:grpSp>
    </p:spTree>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íşlíḑê"/>
        <p:cNvGrpSpPr/>
        <p:nvPr/>
      </p:nvGrpSpPr>
      <p:grpSpPr>
        <a:xfrm>
          <a:off x="0" y="0"/>
          <a:ext cx="0" cy="0"/>
          <a:chOff x="0" y="0"/>
          <a:chExt cx="0" cy="0"/>
        </a:xfrm>
      </p:grpSpPr>
      <p:grpSp>
        <p:nvGrpSpPr>
          <p:cNvPr id="2" name="íŝlïḓè"/>
          <p:cNvGrpSpPr/>
          <p:nvPr/>
        </p:nvGrpSpPr>
        <p:grpSpPr>
          <a:xfrm>
            <a:off x="627523" y="1463106"/>
            <a:ext cx="10750931" cy="5394895"/>
            <a:chOff x="627523" y="1463106"/>
            <a:chExt cx="10750930" cy="5394894"/>
          </a:xfrm>
        </p:grpSpPr>
        <p:grpSp>
          <p:nvGrpSpPr>
            <p:cNvPr id="70" name="iṣ1ïḋé"/>
            <p:cNvGrpSpPr/>
            <p:nvPr/>
          </p:nvGrpSpPr>
          <p:grpSpPr>
            <a:xfrm>
              <a:off x="4524292" y="1940410"/>
              <a:ext cx="333926" cy="4917590"/>
              <a:chOff x="4092811" y="1940410"/>
              <a:chExt cx="333926" cy="4917590"/>
            </a:xfrm>
          </p:grpSpPr>
          <p:cxnSp>
            <p:nvCxnSpPr>
              <p:cNvPr id="7" name="ïṧḻïḋe"/>
              <p:cNvCxnSpPr>
                <a:stCxn id="11" idx="4"/>
              </p:cNvCxnSpPr>
              <p:nvPr/>
            </p:nvCxnSpPr>
            <p:spPr>
              <a:xfrm>
                <a:off x="4259774" y="2274332"/>
                <a:ext cx="0" cy="4583668"/>
              </a:xfrm>
              <a:prstGeom prst="line">
                <a:avLst/>
              </a:prstGeom>
              <a:ln w="12700" cap="rnd">
                <a:solidFill>
                  <a:schemeClr val="accent1">
                    <a:lumMod val="20000"/>
                    <a:lumOff val="80000"/>
                  </a:schemeClr>
                </a:solidFill>
                <a:round/>
              </a:ln>
            </p:spPr>
            <p:style>
              <a:lnRef idx="1">
                <a:schemeClr val="accent1"/>
              </a:lnRef>
              <a:fillRef idx="0">
                <a:schemeClr val="accent1"/>
              </a:fillRef>
              <a:effectRef idx="0">
                <a:schemeClr val="accent1"/>
              </a:effectRef>
              <a:fontRef idx="minor">
                <a:schemeClr val="tx1"/>
              </a:fontRef>
            </p:style>
          </p:cxnSp>
          <p:sp>
            <p:nvSpPr>
              <p:cNvPr id="11" name="išḷïḋê"/>
              <p:cNvSpPr/>
              <p:nvPr/>
            </p:nvSpPr>
            <p:spPr>
              <a:xfrm>
                <a:off x="4092811" y="1940410"/>
                <a:ext cx="333926" cy="333922"/>
              </a:xfrm>
              <a:prstGeom prst="ellipse">
                <a:avLst/>
              </a:prstGeom>
              <a:solidFill>
                <a:schemeClr val="accent1">
                  <a:lumMod val="20000"/>
                  <a:lumOff val="80000"/>
                </a:schemeClr>
              </a:solidFill>
              <a:ln w="254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fontScale="55000" lnSpcReduction="20000"/>
              </a:bodyPr>
              <a:lstStyle/>
              <a:p>
                <a:pPr algn="ctr" defTabSz="914400"/>
                <a:endParaRPr lang="zh-CN" altLang="en-US" sz="2000" b="1" dirty="0">
                  <a:solidFill>
                    <a:schemeClr val="bg1"/>
                  </a:solidFill>
                </a:endParaRPr>
              </a:p>
            </p:txBody>
          </p:sp>
          <p:sp>
            <p:nvSpPr>
              <p:cNvPr id="15" name="îsļïḑè"/>
              <p:cNvSpPr/>
              <p:nvPr/>
            </p:nvSpPr>
            <p:spPr>
              <a:xfrm>
                <a:off x="4167641" y="2015239"/>
                <a:ext cx="184266" cy="184264"/>
              </a:xfrm>
              <a:prstGeom prst="ellipse">
                <a:avLst/>
              </a:prstGeom>
              <a:solidFill>
                <a:schemeClr val="accent1"/>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fontScale="25000" lnSpcReduction="20000"/>
              </a:bodyPr>
              <a:lstStyle/>
              <a:p>
                <a:pPr algn="ctr" defTabSz="914400"/>
                <a:endParaRPr lang="zh-CN" altLang="en-US" sz="2000" b="1" dirty="0">
                  <a:solidFill>
                    <a:schemeClr val="bg1"/>
                  </a:solidFill>
                </a:endParaRPr>
              </a:p>
            </p:txBody>
          </p:sp>
          <p:sp>
            <p:nvSpPr>
              <p:cNvPr id="53" name="ïSliḍê"/>
              <p:cNvSpPr/>
              <p:nvPr/>
            </p:nvSpPr>
            <p:spPr>
              <a:xfrm>
                <a:off x="4092811" y="3636172"/>
                <a:ext cx="333926" cy="333922"/>
              </a:xfrm>
              <a:prstGeom prst="ellipse">
                <a:avLst/>
              </a:prstGeom>
              <a:solidFill>
                <a:schemeClr val="accent1">
                  <a:lumMod val="20000"/>
                  <a:lumOff val="80000"/>
                </a:schemeClr>
              </a:solidFill>
              <a:ln w="254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fontScale="55000" lnSpcReduction="20000"/>
              </a:bodyPr>
              <a:lstStyle/>
              <a:p>
                <a:pPr algn="ctr" defTabSz="914400"/>
                <a:endParaRPr lang="zh-CN" altLang="en-US" sz="2000" b="1" dirty="0">
                  <a:solidFill>
                    <a:schemeClr val="bg1"/>
                  </a:solidFill>
                </a:endParaRPr>
              </a:p>
            </p:txBody>
          </p:sp>
          <p:sp>
            <p:nvSpPr>
              <p:cNvPr id="54" name="ïşlíďé"/>
              <p:cNvSpPr/>
              <p:nvPr/>
            </p:nvSpPr>
            <p:spPr>
              <a:xfrm>
                <a:off x="4167641" y="3711001"/>
                <a:ext cx="184266" cy="184264"/>
              </a:xfrm>
              <a:prstGeom prst="ellipse">
                <a:avLst/>
              </a:prstGeom>
              <a:solidFill>
                <a:schemeClr val="accent1"/>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fontScale="25000" lnSpcReduction="20000"/>
              </a:bodyPr>
              <a:lstStyle/>
              <a:p>
                <a:pPr algn="ctr" defTabSz="914400"/>
                <a:endParaRPr lang="zh-CN" altLang="en-US" sz="2000" b="1" dirty="0">
                  <a:solidFill>
                    <a:schemeClr val="bg1"/>
                  </a:solidFill>
                </a:endParaRPr>
              </a:p>
            </p:txBody>
          </p:sp>
          <p:sp>
            <p:nvSpPr>
              <p:cNvPr id="61" name="is1ïde"/>
              <p:cNvSpPr/>
              <p:nvPr/>
            </p:nvSpPr>
            <p:spPr>
              <a:xfrm>
                <a:off x="4092811" y="5331934"/>
                <a:ext cx="333926" cy="333922"/>
              </a:xfrm>
              <a:prstGeom prst="ellipse">
                <a:avLst/>
              </a:prstGeom>
              <a:solidFill>
                <a:schemeClr val="accent1">
                  <a:lumMod val="20000"/>
                  <a:lumOff val="80000"/>
                </a:schemeClr>
              </a:solidFill>
              <a:ln w="254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fontScale="55000" lnSpcReduction="20000"/>
              </a:bodyPr>
              <a:lstStyle/>
              <a:p>
                <a:pPr algn="ctr" defTabSz="914400"/>
                <a:endParaRPr lang="zh-CN" altLang="en-US" sz="2000" b="1" dirty="0">
                  <a:solidFill>
                    <a:schemeClr val="bg1"/>
                  </a:solidFill>
                </a:endParaRPr>
              </a:p>
            </p:txBody>
          </p:sp>
          <p:sp>
            <p:nvSpPr>
              <p:cNvPr id="62" name="ïS1îḍè"/>
              <p:cNvSpPr/>
              <p:nvPr/>
            </p:nvSpPr>
            <p:spPr>
              <a:xfrm>
                <a:off x="4167641" y="5406763"/>
                <a:ext cx="184266" cy="184264"/>
              </a:xfrm>
              <a:prstGeom prst="ellipse">
                <a:avLst/>
              </a:prstGeom>
              <a:solidFill>
                <a:schemeClr val="accent1"/>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fontScale="25000" lnSpcReduction="20000"/>
              </a:bodyPr>
              <a:lstStyle/>
              <a:p>
                <a:pPr algn="ctr" defTabSz="914400"/>
                <a:endParaRPr lang="zh-CN" altLang="en-US" sz="2000" b="1" dirty="0">
                  <a:solidFill>
                    <a:schemeClr val="bg1"/>
                  </a:solidFill>
                </a:endParaRPr>
              </a:p>
            </p:txBody>
          </p:sp>
        </p:grpSp>
        <p:sp>
          <p:nvSpPr>
            <p:cNvPr id="24" name="îṩļiďé"/>
            <p:cNvSpPr/>
            <p:nvPr/>
          </p:nvSpPr>
          <p:spPr>
            <a:xfrm>
              <a:off x="5348962" y="1463106"/>
              <a:ext cx="6029491" cy="1288532"/>
            </a:xfrm>
            <a:prstGeom prst="roundRect">
              <a:avLst>
                <a:gd name="adj" fmla="val 0"/>
              </a:avLst>
            </a:prstGeom>
            <a:solidFill>
              <a:schemeClr val="bg1"/>
            </a:solidFill>
            <a:ln w="12700" cap="rnd">
              <a:noFill/>
              <a:prstDash val="solid"/>
              <a:round/>
            </a:ln>
            <a:effectLst>
              <a:outerShdw blurRad="254000" dist="127000" algn="ctr" rotWithShape="0">
                <a:schemeClr val="tx1">
                  <a:lumMod val="85000"/>
                  <a:lumOff val="15000"/>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endParaRPr lang="zh-CN" altLang="en-US" sz="1600" b="1" dirty="0">
                <a:solidFill>
                  <a:schemeClr val="bg1"/>
                </a:solidFill>
              </a:endParaRPr>
            </a:p>
          </p:txBody>
        </p:sp>
        <p:sp>
          <p:nvSpPr>
            <p:cNvPr id="20" name="íṣlîḋê"/>
            <p:cNvSpPr/>
            <p:nvPr/>
          </p:nvSpPr>
          <p:spPr>
            <a:xfrm>
              <a:off x="5602032" y="1706416"/>
              <a:ext cx="801912" cy="801912"/>
            </a:xfrm>
            <a:prstGeom prst="rect">
              <a:avLst/>
            </a:prstGeom>
            <a:solidFill>
              <a:schemeClr val="accent1"/>
            </a:solidFill>
            <a:ln w="12700" cap="rnd">
              <a:noFill/>
              <a:prstDash val="solid"/>
              <a:round/>
            </a:ln>
            <a:effectLst>
              <a:outerShdw blurRad="254000" dist="127000" algn="ctr" rotWithShape="0">
                <a:schemeClr val="tx1">
                  <a:lumMod val="85000"/>
                  <a:lumOff val="15000"/>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a:bodyPr>
            <a:lstStyle/>
            <a:p>
              <a:pPr algn="ctr" defTabSz="914400"/>
              <a:endParaRPr lang="en-US" altLang="zh-CN" sz="1600" b="1" dirty="0">
                <a:solidFill>
                  <a:schemeClr val="bg1"/>
                </a:solidFill>
              </a:endParaRPr>
            </a:p>
          </p:txBody>
        </p:sp>
        <p:sp>
          <p:nvSpPr>
            <p:cNvPr id="26" name="iŝḻíḑé"/>
            <p:cNvSpPr/>
            <p:nvPr/>
          </p:nvSpPr>
          <p:spPr>
            <a:xfrm>
              <a:off x="6693126" y="1749703"/>
              <a:ext cx="1400339" cy="397457"/>
            </a:xfrm>
            <a:prstGeom prst="rect">
              <a:avLst/>
            </a:prstGeom>
            <a:noFill/>
            <a:ln>
              <a:noFill/>
            </a:ln>
          </p:spPr>
          <p:txBody>
            <a:bodyPr wrap="square" lIns="91440" tIns="45720" rIns="91440" bIns="45720" anchor="b" anchorCtr="0">
              <a:normAutofit fontScale="85000" lnSpcReduction="20000"/>
            </a:bodyPr>
            <a:lstStyle/>
            <a:p>
              <a:pPr defTabSz="914400">
                <a:defRPr/>
              </a:pPr>
              <a:r>
                <a:rPr lang="en-US" altLang="zh-CN" sz="2800" b="1" dirty="0">
                  <a:solidFill>
                    <a:schemeClr val="accent1"/>
                  </a:solidFill>
                  <a:latin typeface="Calibri" pitchFamily="34" charset="0"/>
                  <a:ea typeface="宋体" pitchFamily="2" charset="-122"/>
                </a:rPr>
                <a:t>5,324</a:t>
              </a:r>
              <a:endParaRPr lang="en-US" altLang="zh-CN" sz="2800" b="1" dirty="0">
                <a:solidFill>
                  <a:schemeClr val="accent1"/>
                </a:solidFill>
                <a:latin typeface="Calibri" pitchFamily="34" charset="0"/>
                <a:ea typeface="宋体" pitchFamily="2" charset="-122"/>
              </a:endParaRPr>
            </a:p>
          </p:txBody>
        </p:sp>
        <p:sp>
          <p:nvSpPr>
            <p:cNvPr id="28" name="ïṩļïḓé"/>
            <p:cNvSpPr/>
            <p:nvPr/>
          </p:nvSpPr>
          <p:spPr>
            <a:xfrm>
              <a:off x="6693125" y="2132550"/>
              <a:ext cx="3646390" cy="397456"/>
            </a:xfrm>
            <a:prstGeom prst="rect">
              <a:avLst/>
            </a:prstGeom>
            <a:ln>
              <a:noFill/>
            </a:ln>
          </p:spPr>
          <p:txBody>
            <a:bodyPr wrap="square" lIns="91440" tIns="45720" rIns="91440" bIns="45720" anchor="t">
              <a:noAutofit/>
            </a:bodyPr>
            <a:lstStyle/>
            <a:p>
              <a:r>
                <a:rPr lang="en-US" altLang="zh-CN" sz="1100" dirty="0">
                  <a:latin typeface="Calibri" pitchFamily="34" charset="0"/>
                  <a:ea typeface="宋体" pitchFamily="2" charset="-122"/>
                </a:rPr>
                <a:t>Copy paste fonts. Choose the only option to retain text……</a:t>
              </a:r>
              <a:endParaRPr lang="en-US" altLang="zh-CN" sz="1100" dirty="0">
                <a:latin typeface="Calibri" pitchFamily="34" charset="0"/>
                <a:ea typeface="宋体" pitchFamily="2" charset="-122"/>
              </a:endParaRPr>
            </a:p>
          </p:txBody>
        </p:sp>
        <p:sp>
          <p:nvSpPr>
            <p:cNvPr id="30" name="iṡļide"/>
            <p:cNvSpPr/>
            <p:nvPr/>
          </p:nvSpPr>
          <p:spPr>
            <a:xfrm>
              <a:off x="5863651" y="1937743"/>
              <a:ext cx="278674" cy="339257"/>
            </a:xfrm>
            <a:custGeom>
              <a:avLst/>
              <a:gdLst>
                <a:gd name="connsiteX0" fmla="*/ 286102 w 438150"/>
                <a:gd name="connsiteY0" fmla="*/ 621 h 533400"/>
                <a:gd name="connsiteX1" fmla="*/ 286102 w 438150"/>
                <a:gd name="connsiteY1" fmla="*/ 153021 h 533400"/>
                <a:gd name="connsiteX2" fmla="*/ 438502 w 438150"/>
                <a:gd name="connsiteY2" fmla="*/ 153021 h 533400"/>
                <a:gd name="connsiteX3" fmla="*/ 438502 w 438150"/>
                <a:gd name="connsiteY3" fmla="*/ 534021 h 533400"/>
                <a:gd name="connsiteX4" fmla="*/ 352 w 438150"/>
                <a:gd name="connsiteY4" fmla="*/ 534021 h 533400"/>
                <a:gd name="connsiteX5" fmla="*/ 352 w 438150"/>
                <a:gd name="connsiteY5" fmla="*/ 621 h 533400"/>
                <a:gd name="connsiteX6" fmla="*/ 286102 w 438150"/>
                <a:gd name="connsiteY6" fmla="*/ 621 h 533400"/>
                <a:gd name="connsiteX7" fmla="*/ 248002 w 438150"/>
                <a:gd name="connsiteY7" fmla="*/ 200646 h 533400"/>
                <a:gd name="connsiteX8" fmla="*/ 152752 w 438150"/>
                <a:gd name="connsiteY8" fmla="*/ 200646 h 533400"/>
                <a:gd name="connsiteX9" fmla="*/ 152752 w 438150"/>
                <a:gd name="connsiteY9" fmla="*/ 410196 h 533400"/>
                <a:gd name="connsiteX10" fmla="*/ 171802 w 438150"/>
                <a:gd name="connsiteY10" fmla="*/ 410196 h 533400"/>
                <a:gd name="connsiteX11" fmla="*/ 171802 w 438150"/>
                <a:gd name="connsiteY11" fmla="*/ 314946 h 533400"/>
                <a:gd name="connsiteX12" fmla="*/ 248002 w 438150"/>
                <a:gd name="connsiteY12" fmla="*/ 314946 h 533400"/>
                <a:gd name="connsiteX13" fmla="*/ 249907 w 438150"/>
                <a:gd name="connsiteY13" fmla="*/ 314946 h 533400"/>
                <a:gd name="connsiteX14" fmla="*/ 305152 w 438150"/>
                <a:gd name="connsiteY14" fmla="*/ 257796 h 533400"/>
                <a:gd name="connsiteX15" fmla="*/ 248002 w 438150"/>
                <a:gd name="connsiteY15" fmla="*/ 200646 h 533400"/>
                <a:gd name="connsiteX16" fmla="*/ 248002 w 438150"/>
                <a:gd name="connsiteY16" fmla="*/ 200646 h 533400"/>
                <a:gd name="connsiteX17" fmla="*/ 248002 w 438150"/>
                <a:gd name="connsiteY17" fmla="*/ 219696 h 533400"/>
                <a:gd name="connsiteX18" fmla="*/ 286102 w 438150"/>
                <a:gd name="connsiteY18" fmla="*/ 257796 h 533400"/>
                <a:gd name="connsiteX19" fmla="*/ 248002 w 438150"/>
                <a:gd name="connsiteY19" fmla="*/ 295896 h 533400"/>
                <a:gd name="connsiteX20" fmla="*/ 248002 w 438150"/>
                <a:gd name="connsiteY20" fmla="*/ 295896 h 533400"/>
                <a:gd name="connsiteX21" fmla="*/ 171802 w 438150"/>
                <a:gd name="connsiteY21" fmla="*/ 295896 h 533400"/>
                <a:gd name="connsiteX22" fmla="*/ 171802 w 438150"/>
                <a:gd name="connsiteY22" fmla="*/ 219696 h 533400"/>
                <a:gd name="connsiteX23" fmla="*/ 248002 w 438150"/>
                <a:gd name="connsiteY23" fmla="*/ 219696 h 533400"/>
                <a:gd name="connsiteX24" fmla="*/ 428977 w 438150"/>
                <a:gd name="connsiteY24" fmla="*/ 133971 h 533400"/>
                <a:gd name="connsiteX25" fmla="*/ 305152 w 438150"/>
                <a:gd name="connsiteY25" fmla="*/ 133971 h 533400"/>
                <a:gd name="connsiteX26" fmla="*/ 305152 w 438150"/>
                <a:gd name="connsiteY26" fmla="*/ 10146 h 533400"/>
                <a:gd name="connsiteX27" fmla="*/ 428977 w 438150"/>
                <a:gd name="connsiteY27" fmla="*/ 133971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38150" h="533400">
                  <a:moveTo>
                    <a:pt x="286102" y="621"/>
                  </a:moveTo>
                  <a:lnTo>
                    <a:pt x="286102" y="153021"/>
                  </a:lnTo>
                  <a:lnTo>
                    <a:pt x="438502" y="153021"/>
                  </a:lnTo>
                  <a:lnTo>
                    <a:pt x="438502" y="534021"/>
                  </a:lnTo>
                  <a:lnTo>
                    <a:pt x="352" y="534021"/>
                  </a:lnTo>
                  <a:lnTo>
                    <a:pt x="352" y="621"/>
                  </a:lnTo>
                  <a:lnTo>
                    <a:pt x="286102" y="621"/>
                  </a:lnTo>
                  <a:close/>
                  <a:moveTo>
                    <a:pt x="248002" y="200646"/>
                  </a:moveTo>
                  <a:lnTo>
                    <a:pt x="152752" y="200646"/>
                  </a:lnTo>
                  <a:lnTo>
                    <a:pt x="152752" y="410196"/>
                  </a:lnTo>
                  <a:lnTo>
                    <a:pt x="171802" y="410196"/>
                  </a:lnTo>
                  <a:lnTo>
                    <a:pt x="171802" y="314946"/>
                  </a:lnTo>
                  <a:lnTo>
                    <a:pt x="248002" y="314946"/>
                  </a:lnTo>
                  <a:lnTo>
                    <a:pt x="249907" y="314946"/>
                  </a:lnTo>
                  <a:cubicBezTo>
                    <a:pt x="280387" y="313994"/>
                    <a:pt x="305152" y="288276"/>
                    <a:pt x="305152" y="257796"/>
                  </a:cubicBezTo>
                  <a:cubicBezTo>
                    <a:pt x="305152" y="226364"/>
                    <a:pt x="279434" y="200646"/>
                    <a:pt x="248002" y="200646"/>
                  </a:cubicBezTo>
                  <a:lnTo>
                    <a:pt x="248002" y="200646"/>
                  </a:lnTo>
                  <a:close/>
                  <a:moveTo>
                    <a:pt x="248002" y="219696"/>
                  </a:moveTo>
                  <a:cubicBezTo>
                    <a:pt x="268957" y="219696"/>
                    <a:pt x="286102" y="236841"/>
                    <a:pt x="286102" y="257796"/>
                  </a:cubicBezTo>
                  <a:cubicBezTo>
                    <a:pt x="286102" y="278751"/>
                    <a:pt x="268957" y="295896"/>
                    <a:pt x="248002" y="295896"/>
                  </a:cubicBezTo>
                  <a:lnTo>
                    <a:pt x="248002" y="295896"/>
                  </a:lnTo>
                  <a:lnTo>
                    <a:pt x="171802" y="295896"/>
                  </a:lnTo>
                  <a:lnTo>
                    <a:pt x="171802" y="219696"/>
                  </a:lnTo>
                  <a:lnTo>
                    <a:pt x="248002" y="219696"/>
                  </a:lnTo>
                  <a:close/>
                  <a:moveTo>
                    <a:pt x="428977" y="133971"/>
                  </a:moveTo>
                  <a:lnTo>
                    <a:pt x="305152" y="133971"/>
                  </a:lnTo>
                  <a:lnTo>
                    <a:pt x="305152" y="10146"/>
                  </a:lnTo>
                  <a:lnTo>
                    <a:pt x="428977" y="133971"/>
                  </a:lnTo>
                  <a:close/>
                </a:path>
              </a:pathLst>
            </a:custGeom>
            <a:solidFill>
              <a:schemeClr val="bg1"/>
            </a:solidFill>
            <a:ln w="9525" cap="flat">
              <a:noFill/>
              <a:prstDash val="solid"/>
              <a:miter/>
            </a:ln>
          </p:spPr>
          <p:txBody>
            <a:bodyPr rtlCol="0" anchor="ctr"/>
            <a:lstStyle/>
            <a:p>
              <a:endParaRPr lang="zh-CN" altLang="en-US"/>
            </a:p>
          </p:txBody>
        </p:sp>
        <p:sp>
          <p:nvSpPr>
            <p:cNvPr id="56" name="ïSlîďe"/>
            <p:cNvSpPr/>
            <p:nvPr/>
          </p:nvSpPr>
          <p:spPr>
            <a:xfrm>
              <a:off x="5348962" y="3158868"/>
              <a:ext cx="6029491" cy="1288532"/>
            </a:xfrm>
            <a:prstGeom prst="roundRect">
              <a:avLst>
                <a:gd name="adj" fmla="val 0"/>
              </a:avLst>
            </a:prstGeom>
            <a:solidFill>
              <a:schemeClr val="bg1"/>
            </a:solidFill>
            <a:ln w="12700" cap="rnd">
              <a:noFill/>
              <a:prstDash val="solid"/>
              <a:round/>
            </a:ln>
            <a:effectLst>
              <a:outerShdw blurRad="254000" dist="127000" algn="ctr" rotWithShape="0">
                <a:schemeClr val="tx1">
                  <a:lumMod val="85000"/>
                  <a:lumOff val="15000"/>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endParaRPr lang="zh-CN" altLang="en-US" sz="1600" b="1" dirty="0">
                <a:solidFill>
                  <a:schemeClr val="bg1"/>
                </a:solidFill>
              </a:endParaRPr>
            </a:p>
          </p:txBody>
        </p:sp>
        <p:sp>
          <p:nvSpPr>
            <p:cNvPr id="57" name="íşḻiḍê"/>
            <p:cNvSpPr/>
            <p:nvPr/>
          </p:nvSpPr>
          <p:spPr>
            <a:xfrm>
              <a:off x="5602032" y="3402178"/>
              <a:ext cx="801912" cy="801912"/>
            </a:xfrm>
            <a:prstGeom prst="rect">
              <a:avLst/>
            </a:prstGeom>
            <a:solidFill>
              <a:schemeClr val="accent1"/>
            </a:solidFill>
            <a:ln w="12700" cap="rnd">
              <a:noFill/>
              <a:prstDash val="solid"/>
              <a:round/>
            </a:ln>
            <a:effectLst>
              <a:outerShdw blurRad="254000" dist="127000" algn="ctr" rotWithShape="0">
                <a:schemeClr val="tx1">
                  <a:lumMod val="85000"/>
                  <a:lumOff val="15000"/>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a:bodyPr>
            <a:lstStyle/>
            <a:p>
              <a:pPr algn="ctr" defTabSz="914400"/>
              <a:endParaRPr lang="en-US" altLang="zh-CN" sz="1600" b="1" dirty="0">
                <a:solidFill>
                  <a:schemeClr val="bg1"/>
                </a:solidFill>
              </a:endParaRPr>
            </a:p>
          </p:txBody>
        </p:sp>
        <p:sp>
          <p:nvSpPr>
            <p:cNvPr id="58" name="îṡ1iḑe"/>
            <p:cNvSpPr/>
            <p:nvPr/>
          </p:nvSpPr>
          <p:spPr>
            <a:xfrm>
              <a:off x="6693126" y="3445465"/>
              <a:ext cx="1400339" cy="397457"/>
            </a:xfrm>
            <a:prstGeom prst="rect">
              <a:avLst/>
            </a:prstGeom>
            <a:noFill/>
            <a:ln>
              <a:noFill/>
            </a:ln>
          </p:spPr>
          <p:txBody>
            <a:bodyPr wrap="square" lIns="91440" tIns="45720" rIns="91440" bIns="45720" anchor="b" anchorCtr="0">
              <a:normAutofit fontScale="85000" lnSpcReduction="20000"/>
            </a:bodyPr>
            <a:lstStyle/>
            <a:p>
              <a:pPr defTabSz="914400">
                <a:defRPr/>
              </a:pPr>
              <a:r>
                <a:rPr lang="en-US" altLang="zh-CN" sz="2800" b="1" dirty="0">
                  <a:solidFill>
                    <a:schemeClr val="accent1"/>
                  </a:solidFill>
                  <a:latin typeface="Calibri" pitchFamily="34" charset="0"/>
                  <a:ea typeface="宋体" pitchFamily="2" charset="-122"/>
                </a:rPr>
                <a:t>5,324</a:t>
              </a:r>
              <a:endParaRPr lang="en-US" altLang="zh-CN" sz="2800" b="1" dirty="0">
                <a:solidFill>
                  <a:schemeClr val="accent1"/>
                </a:solidFill>
                <a:latin typeface="Calibri" pitchFamily="34" charset="0"/>
                <a:ea typeface="宋体" pitchFamily="2" charset="-122"/>
              </a:endParaRPr>
            </a:p>
          </p:txBody>
        </p:sp>
        <p:sp>
          <p:nvSpPr>
            <p:cNvPr id="59" name="išļide"/>
            <p:cNvSpPr/>
            <p:nvPr/>
          </p:nvSpPr>
          <p:spPr>
            <a:xfrm>
              <a:off x="6693125" y="3828312"/>
              <a:ext cx="3646390" cy="397456"/>
            </a:xfrm>
            <a:prstGeom prst="rect">
              <a:avLst/>
            </a:prstGeom>
            <a:ln>
              <a:noFill/>
            </a:ln>
          </p:spPr>
          <p:txBody>
            <a:bodyPr wrap="square" lIns="91440" tIns="45720" rIns="91440" bIns="45720" anchor="t">
              <a:noAutofit/>
            </a:bodyPr>
            <a:lstStyle/>
            <a:p>
              <a:r>
                <a:rPr lang="en-US" altLang="zh-CN" sz="1100" dirty="0">
                  <a:latin typeface="Calibri" pitchFamily="34" charset="0"/>
                  <a:ea typeface="宋体" pitchFamily="2" charset="-122"/>
                </a:rPr>
                <a:t>Copy paste fonts. Choose the only option to retain text……</a:t>
              </a:r>
              <a:endParaRPr lang="en-US" altLang="zh-CN" sz="1100" dirty="0">
                <a:latin typeface="Calibri" pitchFamily="34" charset="0"/>
                <a:ea typeface="宋体" pitchFamily="2" charset="-122"/>
              </a:endParaRPr>
            </a:p>
          </p:txBody>
        </p:sp>
        <p:sp>
          <p:nvSpPr>
            <p:cNvPr id="64" name="íŝḻíde"/>
            <p:cNvSpPr/>
            <p:nvPr/>
          </p:nvSpPr>
          <p:spPr>
            <a:xfrm>
              <a:off x="5348962" y="4854630"/>
              <a:ext cx="6029491" cy="1288532"/>
            </a:xfrm>
            <a:prstGeom prst="roundRect">
              <a:avLst>
                <a:gd name="adj" fmla="val 0"/>
              </a:avLst>
            </a:prstGeom>
            <a:solidFill>
              <a:schemeClr val="bg1"/>
            </a:solidFill>
            <a:ln w="12700" cap="rnd">
              <a:noFill/>
              <a:prstDash val="solid"/>
              <a:round/>
            </a:ln>
            <a:effectLst>
              <a:outerShdw blurRad="254000" dist="127000" algn="ctr" rotWithShape="0">
                <a:schemeClr val="tx1">
                  <a:lumMod val="85000"/>
                  <a:lumOff val="15000"/>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endParaRPr lang="zh-CN" altLang="en-US" sz="1600" b="1" dirty="0">
                <a:solidFill>
                  <a:schemeClr val="bg1"/>
                </a:solidFill>
              </a:endParaRPr>
            </a:p>
          </p:txBody>
        </p:sp>
        <p:sp>
          <p:nvSpPr>
            <p:cNvPr id="65" name="isļiḍé"/>
            <p:cNvSpPr/>
            <p:nvPr/>
          </p:nvSpPr>
          <p:spPr>
            <a:xfrm>
              <a:off x="5602032" y="5097940"/>
              <a:ext cx="801912" cy="801912"/>
            </a:xfrm>
            <a:prstGeom prst="rect">
              <a:avLst/>
            </a:prstGeom>
            <a:solidFill>
              <a:schemeClr val="accent1"/>
            </a:solidFill>
            <a:ln w="12700" cap="rnd">
              <a:noFill/>
              <a:prstDash val="solid"/>
              <a:round/>
            </a:ln>
            <a:effectLst>
              <a:outerShdw blurRad="254000" dist="127000" algn="ctr" rotWithShape="0">
                <a:schemeClr val="tx1">
                  <a:lumMod val="85000"/>
                  <a:lumOff val="15000"/>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a:bodyPr>
            <a:lstStyle/>
            <a:p>
              <a:pPr algn="ctr" defTabSz="914400"/>
              <a:endParaRPr lang="en-US" altLang="zh-CN" sz="1600" b="1" dirty="0">
                <a:solidFill>
                  <a:schemeClr val="bg1"/>
                </a:solidFill>
              </a:endParaRPr>
            </a:p>
          </p:txBody>
        </p:sp>
        <p:sp>
          <p:nvSpPr>
            <p:cNvPr id="66" name="ïṣļïḋè"/>
            <p:cNvSpPr/>
            <p:nvPr/>
          </p:nvSpPr>
          <p:spPr>
            <a:xfrm>
              <a:off x="6693126" y="5141227"/>
              <a:ext cx="1400339" cy="397457"/>
            </a:xfrm>
            <a:prstGeom prst="rect">
              <a:avLst/>
            </a:prstGeom>
            <a:noFill/>
            <a:ln>
              <a:noFill/>
            </a:ln>
          </p:spPr>
          <p:txBody>
            <a:bodyPr wrap="square" lIns="91440" tIns="45720" rIns="91440" bIns="45720" anchor="b" anchorCtr="0">
              <a:normAutofit fontScale="85000" lnSpcReduction="20000"/>
            </a:bodyPr>
            <a:lstStyle/>
            <a:p>
              <a:pPr defTabSz="914400">
                <a:defRPr/>
              </a:pPr>
              <a:r>
                <a:rPr lang="en-US" altLang="zh-CN" sz="2800" b="1" dirty="0">
                  <a:solidFill>
                    <a:schemeClr val="accent1"/>
                  </a:solidFill>
                  <a:latin typeface="Calibri" pitchFamily="34" charset="0"/>
                  <a:ea typeface="宋体" pitchFamily="2" charset="-122"/>
                </a:rPr>
                <a:t>5,324</a:t>
              </a:r>
              <a:endParaRPr lang="en-US" altLang="zh-CN" sz="2800" b="1" dirty="0">
                <a:solidFill>
                  <a:schemeClr val="accent1"/>
                </a:solidFill>
                <a:latin typeface="Calibri" pitchFamily="34" charset="0"/>
                <a:ea typeface="宋体" pitchFamily="2" charset="-122"/>
              </a:endParaRPr>
            </a:p>
          </p:txBody>
        </p:sp>
        <p:sp>
          <p:nvSpPr>
            <p:cNvPr id="67" name="iṧ1iďe"/>
            <p:cNvSpPr/>
            <p:nvPr/>
          </p:nvSpPr>
          <p:spPr>
            <a:xfrm>
              <a:off x="6693125" y="5524074"/>
              <a:ext cx="3646390" cy="397456"/>
            </a:xfrm>
            <a:prstGeom prst="rect">
              <a:avLst/>
            </a:prstGeom>
            <a:ln>
              <a:noFill/>
            </a:ln>
          </p:spPr>
          <p:txBody>
            <a:bodyPr wrap="square" lIns="91440" tIns="45720" rIns="91440" bIns="45720" anchor="t">
              <a:noAutofit/>
            </a:bodyPr>
            <a:lstStyle/>
            <a:p>
              <a:r>
                <a:rPr lang="en-US" altLang="zh-CN" sz="1100" dirty="0">
                  <a:latin typeface="Calibri" pitchFamily="34" charset="0"/>
                  <a:ea typeface="宋体" pitchFamily="2" charset="-122"/>
                </a:rPr>
                <a:t>Copy paste fonts. Choose the only option to retain text……</a:t>
              </a:r>
              <a:endParaRPr lang="en-US" altLang="zh-CN" sz="1100" dirty="0">
                <a:latin typeface="Calibri" pitchFamily="34" charset="0"/>
                <a:ea typeface="宋体" pitchFamily="2" charset="-122"/>
              </a:endParaRPr>
            </a:p>
          </p:txBody>
        </p:sp>
        <p:sp>
          <p:nvSpPr>
            <p:cNvPr id="71" name="ï$1íďe"/>
            <p:cNvSpPr txBox="1"/>
            <p:nvPr/>
          </p:nvSpPr>
          <p:spPr>
            <a:xfrm>
              <a:off x="627523" y="1672523"/>
              <a:ext cx="3239064" cy="1754326"/>
            </a:xfrm>
            <a:prstGeom prst="rect">
              <a:avLst/>
            </a:prstGeom>
            <a:noFill/>
          </p:spPr>
          <p:txBody>
            <a:bodyPr wrap="square" rtlCol="0">
              <a:spAutoFit/>
            </a:bodyPr>
            <a:lstStyle/>
            <a:p>
              <a:r>
                <a:rPr lang="en-US" altLang="zh-CN" sz="3600" b="1" dirty="0">
                  <a:latin typeface="Calibri" pitchFamily="34" charset="0"/>
                  <a:ea typeface="宋体" pitchFamily="2" charset="-122"/>
                </a:rPr>
                <a:t>Unified fonts make </a:t>
              </a:r>
              <a:r>
                <a:rPr lang="en-US" altLang="zh-CN" sz="3600" b="1" dirty="0">
                  <a:solidFill>
                    <a:schemeClr val="accent1"/>
                  </a:solidFill>
                  <a:latin typeface="Calibri" pitchFamily="34" charset="0"/>
                  <a:ea typeface="宋体" pitchFamily="2" charset="-122"/>
                </a:rPr>
                <a:t>reading more fluent.</a:t>
              </a:r>
              <a:endParaRPr lang="en-US" altLang="zh-CN" sz="3600" b="1" dirty="0">
                <a:solidFill>
                  <a:schemeClr val="accent1"/>
                </a:solidFill>
                <a:latin typeface="Calibri" pitchFamily="34" charset="0"/>
                <a:ea typeface="宋体" pitchFamily="2" charset="-122"/>
              </a:endParaRPr>
            </a:p>
          </p:txBody>
        </p:sp>
        <p:cxnSp>
          <p:nvCxnSpPr>
            <p:cNvPr id="72" name="iṧ1iḓê"/>
            <p:cNvCxnSpPr/>
            <p:nvPr/>
          </p:nvCxnSpPr>
          <p:spPr>
            <a:xfrm>
              <a:off x="732088" y="3842922"/>
              <a:ext cx="438481" cy="0"/>
            </a:xfrm>
            <a:prstGeom prst="line">
              <a:avLst/>
            </a:prstGeom>
            <a:ln w="25400" cap="flat">
              <a:solidFill>
                <a:schemeClr val="accent1"/>
              </a:solidFill>
              <a:bevel/>
            </a:ln>
          </p:spPr>
          <p:style>
            <a:lnRef idx="1">
              <a:schemeClr val="accent1"/>
            </a:lnRef>
            <a:fillRef idx="0">
              <a:schemeClr val="accent1"/>
            </a:fillRef>
            <a:effectRef idx="0">
              <a:schemeClr val="accent1"/>
            </a:effectRef>
            <a:fontRef idx="minor">
              <a:schemeClr val="tx1"/>
            </a:fontRef>
          </p:style>
        </p:cxnSp>
        <p:sp>
          <p:nvSpPr>
            <p:cNvPr id="75" name="ïs1îďé"/>
            <p:cNvSpPr txBox="1"/>
            <p:nvPr/>
          </p:nvSpPr>
          <p:spPr>
            <a:xfrm>
              <a:off x="627523" y="4145526"/>
              <a:ext cx="3024793" cy="830997"/>
            </a:xfrm>
            <a:prstGeom prst="rect">
              <a:avLst/>
            </a:prstGeom>
            <a:noFill/>
          </p:spPr>
          <p:txBody>
            <a:bodyPr wrap="square" rtlCol="0">
              <a:spAutoFit/>
            </a:bodyPr>
            <a:lstStyle/>
            <a:p>
              <a:r>
                <a:rPr lang="en-US" altLang="zh-CN" sz="1200" dirty="0">
                  <a:solidFill>
                    <a:schemeClr val="bg1">
                      <a:lumMod val="50000"/>
                    </a:schemeClr>
                  </a:solidFill>
                  <a:latin typeface="Calibri" pitchFamily="34" charset="0"/>
                  <a:ea typeface="宋体" pitchFamily="2" charset="-122"/>
                </a:rPr>
                <a:t>Theme color makes PPT more convenient to change. Adjust the spacing to adapt to Chinese typesetting, use the reference line in PPT……</a:t>
              </a:r>
              <a:endParaRPr lang="en-US" altLang="zh-CN" sz="1200" dirty="0">
                <a:solidFill>
                  <a:schemeClr val="bg1">
                    <a:lumMod val="50000"/>
                  </a:schemeClr>
                </a:solidFill>
                <a:latin typeface="Calibri" pitchFamily="34" charset="0"/>
                <a:ea typeface="宋体" pitchFamily="2" charset="-122"/>
              </a:endParaRPr>
            </a:p>
          </p:txBody>
        </p:sp>
        <p:sp>
          <p:nvSpPr>
            <p:cNvPr id="77" name="ïṥļídè"/>
            <p:cNvSpPr/>
            <p:nvPr/>
          </p:nvSpPr>
          <p:spPr>
            <a:xfrm>
              <a:off x="5826210" y="3616157"/>
              <a:ext cx="353556" cy="373954"/>
            </a:xfrm>
            <a:custGeom>
              <a:avLst/>
              <a:gdLst>
                <a:gd name="connsiteX0" fmla="*/ 400530 w 495300"/>
                <a:gd name="connsiteY0" fmla="*/ 621 h 523875"/>
                <a:gd name="connsiteX1" fmla="*/ 400530 w 495300"/>
                <a:gd name="connsiteY1" fmla="*/ 162546 h 523875"/>
                <a:gd name="connsiteX2" fmla="*/ 257655 w 495300"/>
                <a:gd name="connsiteY2" fmla="*/ 162546 h 523875"/>
                <a:gd name="connsiteX3" fmla="*/ 257655 w 495300"/>
                <a:gd name="connsiteY3" fmla="*/ 286371 h 523875"/>
                <a:gd name="connsiteX4" fmla="*/ 457680 w 495300"/>
                <a:gd name="connsiteY4" fmla="*/ 286371 h 523875"/>
                <a:gd name="connsiteX5" fmla="*/ 457680 w 495300"/>
                <a:gd name="connsiteY5" fmla="*/ 429246 h 523875"/>
                <a:gd name="connsiteX6" fmla="*/ 495780 w 495300"/>
                <a:gd name="connsiteY6" fmla="*/ 429246 h 523875"/>
                <a:gd name="connsiteX7" fmla="*/ 495780 w 495300"/>
                <a:gd name="connsiteY7" fmla="*/ 524496 h 523875"/>
                <a:gd name="connsiteX8" fmla="*/ 400530 w 495300"/>
                <a:gd name="connsiteY8" fmla="*/ 524496 h 523875"/>
                <a:gd name="connsiteX9" fmla="*/ 400530 w 495300"/>
                <a:gd name="connsiteY9" fmla="*/ 429246 h 523875"/>
                <a:gd name="connsiteX10" fmla="*/ 438630 w 495300"/>
                <a:gd name="connsiteY10" fmla="*/ 429246 h 523875"/>
                <a:gd name="connsiteX11" fmla="*/ 438630 w 495300"/>
                <a:gd name="connsiteY11" fmla="*/ 305421 h 523875"/>
                <a:gd name="connsiteX12" fmla="*/ 257655 w 495300"/>
                <a:gd name="connsiteY12" fmla="*/ 305421 h 523875"/>
                <a:gd name="connsiteX13" fmla="*/ 257655 w 495300"/>
                <a:gd name="connsiteY13" fmla="*/ 429246 h 523875"/>
                <a:gd name="connsiteX14" fmla="*/ 295755 w 495300"/>
                <a:gd name="connsiteY14" fmla="*/ 429246 h 523875"/>
                <a:gd name="connsiteX15" fmla="*/ 295755 w 495300"/>
                <a:gd name="connsiteY15" fmla="*/ 524496 h 523875"/>
                <a:gd name="connsiteX16" fmla="*/ 200505 w 495300"/>
                <a:gd name="connsiteY16" fmla="*/ 524496 h 523875"/>
                <a:gd name="connsiteX17" fmla="*/ 200505 w 495300"/>
                <a:gd name="connsiteY17" fmla="*/ 429246 h 523875"/>
                <a:gd name="connsiteX18" fmla="*/ 238605 w 495300"/>
                <a:gd name="connsiteY18" fmla="*/ 429246 h 523875"/>
                <a:gd name="connsiteX19" fmla="*/ 238605 w 495300"/>
                <a:gd name="connsiteY19" fmla="*/ 305421 h 523875"/>
                <a:gd name="connsiteX20" fmla="*/ 57630 w 495300"/>
                <a:gd name="connsiteY20" fmla="*/ 305421 h 523875"/>
                <a:gd name="connsiteX21" fmla="*/ 57630 w 495300"/>
                <a:gd name="connsiteY21" fmla="*/ 429246 h 523875"/>
                <a:gd name="connsiteX22" fmla="*/ 95730 w 495300"/>
                <a:gd name="connsiteY22" fmla="*/ 429246 h 523875"/>
                <a:gd name="connsiteX23" fmla="*/ 95730 w 495300"/>
                <a:gd name="connsiteY23" fmla="*/ 524496 h 523875"/>
                <a:gd name="connsiteX24" fmla="*/ 480 w 495300"/>
                <a:gd name="connsiteY24" fmla="*/ 524496 h 523875"/>
                <a:gd name="connsiteX25" fmla="*/ 480 w 495300"/>
                <a:gd name="connsiteY25" fmla="*/ 429246 h 523875"/>
                <a:gd name="connsiteX26" fmla="*/ 38580 w 495300"/>
                <a:gd name="connsiteY26" fmla="*/ 429246 h 523875"/>
                <a:gd name="connsiteX27" fmla="*/ 38580 w 495300"/>
                <a:gd name="connsiteY27" fmla="*/ 286371 h 523875"/>
                <a:gd name="connsiteX28" fmla="*/ 238605 w 495300"/>
                <a:gd name="connsiteY28" fmla="*/ 286371 h 523875"/>
                <a:gd name="connsiteX29" fmla="*/ 238605 w 495300"/>
                <a:gd name="connsiteY29" fmla="*/ 162546 h 523875"/>
                <a:gd name="connsiteX30" fmla="*/ 95730 w 495300"/>
                <a:gd name="connsiteY30" fmla="*/ 162546 h 523875"/>
                <a:gd name="connsiteX31" fmla="*/ 95730 w 495300"/>
                <a:gd name="connsiteY31" fmla="*/ 621 h 523875"/>
                <a:gd name="connsiteX32" fmla="*/ 400530 w 495300"/>
                <a:gd name="connsiteY32" fmla="*/ 621 h 523875"/>
                <a:gd name="connsiteX33" fmla="*/ 148118 w 495300"/>
                <a:gd name="connsiteY33" fmla="*/ 95871 h 523875"/>
                <a:gd name="connsiteX34" fmla="*/ 133830 w 495300"/>
                <a:gd name="connsiteY34" fmla="*/ 110159 h 523875"/>
                <a:gd name="connsiteX35" fmla="*/ 148118 w 495300"/>
                <a:gd name="connsiteY35" fmla="*/ 124446 h 523875"/>
                <a:gd name="connsiteX36" fmla="*/ 162405 w 495300"/>
                <a:gd name="connsiteY36" fmla="*/ 110159 h 523875"/>
                <a:gd name="connsiteX37" fmla="*/ 148118 w 495300"/>
                <a:gd name="connsiteY37" fmla="*/ 95871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95300" h="523875">
                  <a:moveTo>
                    <a:pt x="400530" y="621"/>
                  </a:moveTo>
                  <a:lnTo>
                    <a:pt x="400530" y="162546"/>
                  </a:lnTo>
                  <a:lnTo>
                    <a:pt x="257655" y="162546"/>
                  </a:lnTo>
                  <a:lnTo>
                    <a:pt x="257655" y="286371"/>
                  </a:lnTo>
                  <a:lnTo>
                    <a:pt x="457680" y="286371"/>
                  </a:lnTo>
                  <a:lnTo>
                    <a:pt x="457680" y="429246"/>
                  </a:lnTo>
                  <a:lnTo>
                    <a:pt x="495780" y="429246"/>
                  </a:lnTo>
                  <a:lnTo>
                    <a:pt x="495780" y="524496"/>
                  </a:lnTo>
                  <a:lnTo>
                    <a:pt x="400530" y="524496"/>
                  </a:lnTo>
                  <a:lnTo>
                    <a:pt x="400530" y="429246"/>
                  </a:lnTo>
                  <a:lnTo>
                    <a:pt x="438630" y="429246"/>
                  </a:lnTo>
                  <a:lnTo>
                    <a:pt x="438630" y="305421"/>
                  </a:lnTo>
                  <a:lnTo>
                    <a:pt x="257655" y="305421"/>
                  </a:lnTo>
                  <a:lnTo>
                    <a:pt x="257655" y="429246"/>
                  </a:lnTo>
                  <a:lnTo>
                    <a:pt x="295755" y="429246"/>
                  </a:lnTo>
                  <a:lnTo>
                    <a:pt x="295755" y="524496"/>
                  </a:lnTo>
                  <a:lnTo>
                    <a:pt x="200505" y="524496"/>
                  </a:lnTo>
                  <a:lnTo>
                    <a:pt x="200505" y="429246"/>
                  </a:lnTo>
                  <a:lnTo>
                    <a:pt x="238605" y="429246"/>
                  </a:lnTo>
                  <a:lnTo>
                    <a:pt x="238605" y="305421"/>
                  </a:lnTo>
                  <a:lnTo>
                    <a:pt x="57630" y="305421"/>
                  </a:lnTo>
                  <a:lnTo>
                    <a:pt x="57630" y="429246"/>
                  </a:lnTo>
                  <a:lnTo>
                    <a:pt x="95730" y="429246"/>
                  </a:lnTo>
                  <a:lnTo>
                    <a:pt x="95730" y="524496"/>
                  </a:lnTo>
                  <a:lnTo>
                    <a:pt x="480" y="524496"/>
                  </a:lnTo>
                  <a:lnTo>
                    <a:pt x="480" y="429246"/>
                  </a:lnTo>
                  <a:lnTo>
                    <a:pt x="38580" y="429246"/>
                  </a:lnTo>
                  <a:lnTo>
                    <a:pt x="38580" y="286371"/>
                  </a:lnTo>
                  <a:lnTo>
                    <a:pt x="238605" y="286371"/>
                  </a:lnTo>
                  <a:lnTo>
                    <a:pt x="238605" y="162546"/>
                  </a:lnTo>
                  <a:lnTo>
                    <a:pt x="95730" y="162546"/>
                  </a:lnTo>
                  <a:lnTo>
                    <a:pt x="95730" y="621"/>
                  </a:lnTo>
                  <a:lnTo>
                    <a:pt x="400530" y="621"/>
                  </a:lnTo>
                  <a:close/>
                  <a:moveTo>
                    <a:pt x="148118" y="95871"/>
                  </a:moveTo>
                  <a:cubicBezTo>
                    <a:pt x="140498" y="95871"/>
                    <a:pt x="133830" y="102539"/>
                    <a:pt x="133830" y="110159"/>
                  </a:cubicBezTo>
                  <a:cubicBezTo>
                    <a:pt x="133830" y="117779"/>
                    <a:pt x="140498" y="124446"/>
                    <a:pt x="148118" y="124446"/>
                  </a:cubicBezTo>
                  <a:cubicBezTo>
                    <a:pt x="155737" y="124446"/>
                    <a:pt x="162405" y="117779"/>
                    <a:pt x="162405" y="110159"/>
                  </a:cubicBezTo>
                  <a:cubicBezTo>
                    <a:pt x="162405" y="102539"/>
                    <a:pt x="155737" y="95871"/>
                    <a:pt x="148118" y="95871"/>
                  </a:cubicBezTo>
                  <a:close/>
                </a:path>
              </a:pathLst>
            </a:custGeom>
            <a:solidFill>
              <a:schemeClr val="bg1"/>
            </a:solidFill>
            <a:ln w="9525" cap="flat">
              <a:noFill/>
              <a:prstDash val="solid"/>
              <a:miter/>
            </a:ln>
          </p:spPr>
          <p:txBody>
            <a:bodyPr rtlCol="0" anchor="ctr"/>
            <a:lstStyle/>
            <a:p>
              <a:endParaRPr lang="zh-CN" altLang="en-US"/>
            </a:p>
          </p:txBody>
        </p:sp>
        <p:sp>
          <p:nvSpPr>
            <p:cNvPr id="79" name="iṡḻïḍé"/>
            <p:cNvSpPr/>
            <p:nvPr/>
          </p:nvSpPr>
          <p:spPr>
            <a:xfrm>
              <a:off x="5826210" y="5311919"/>
              <a:ext cx="353556" cy="373954"/>
            </a:xfrm>
            <a:custGeom>
              <a:avLst/>
              <a:gdLst>
                <a:gd name="connsiteX0" fmla="*/ 372211 w 495300"/>
                <a:gd name="connsiteY0" fmla="*/ 621 h 523875"/>
                <a:gd name="connsiteX1" fmla="*/ 372211 w 495300"/>
                <a:gd name="connsiteY1" fmla="*/ 19671 h 523875"/>
                <a:gd name="connsiteX2" fmla="*/ 334111 w 495300"/>
                <a:gd name="connsiteY2" fmla="*/ 19671 h 523875"/>
                <a:gd name="connsiteX3" fmla="*/ 334111 w 495300"/>
                <a:gd name="connsiteY3" fmla="*/ 143496 h 523875"/>
                <a:gd name="connsiteX4" fmla="*/ 496036 w 495300"/>
                <a:gd name="connsiteY4" fmla="*/ 486396 h 523875"/>
                <a:gd name="connsiteX5" fmla="*/ 481749 w 495300"/>
                <a:gd name="connsiteY5" fmla="*/ 524496 h 523875"/>
                <a:gd name="connsiteX6" fmla="*/ 15024 w 495300"/>
                <a:gd name="connsiteY6" fmla="*/ 524496 h 523875"/>
                <a:gd name="connsiteX7" fmla="*/ 736 w 495300"/>
                <a:gd name="connsiteY7" fmla="*/ 486396 h 523875"/>
                <a:gd name="connsiteX8" fmla="*/ 162661 w 495300"/>
                <a:gd name="connsiteY8" fmla="*/ 143496 h 523875"/>
                <a:gd name="connsiteX9" fmla="*/ 162661 w 495300"/>
                <a:gd name="connsiteY9" fmla="*/ 19671 h 523875"/>
                <a:gd name="connsiteX10" fmla="*/ 124561 w 495300"/>
                <a:gd name="connsiteY10" fmla="*/ 19671 h 523875"/>
                <a:gd name="connsiteX11" fmla="*/ 124561 w 495300"/>
                <a:gd name="connsiteY11" fmla="*/ 621 h 523875"/>
                <a:gd name="connsiteX12" fmla="*/ 372211 w 495300"/>
                <a:gd name="connsiteY12" fmla="*/ 621 h 523875"/>
                <a:gd name="connsiteX13" fmla="*/ 259816 w 495300"/>
                <a:gd name="connsiteY13" fmla="*/ 404481 h 523875"/>
                <a:gd name="connsiteX14" fmla="*/ 256958 w 495300"/>
                <a:gd name="connsiteY14" fmla="*/ 406386 h 523875"/>
                <a:gd name="connsiteX15" fmla="*/ 251243 w 495300"/>
                <a:gd name="connsiteY15" fmla="*/ 410196 h 523875"/>
                <a:gd name="connsiteX16" fmla="*/ 59791 w 495300"/>
                <a:gd name="connsiteY16" fmla="*/ 416864 h 523875"/>
                <a:gd name="connsiteX17" fmla="*/ 55981 w 495300"/>
                <a:gd name="connsiteY17" fmla="*/ 414959 h 523875"/>
                <a:gd name="connsiteX18" fmla="*/ 21691 w 495300"/>
                <a:gd name="connsiteY18" fmla="*/ 487349 h 523875"/>
                <a:gd name="connsiteX19" fmla="*/ 28358 w 495300"/>
                <a:gd name="connsiteY19" fmla="*/ 505446 h 523875"/>
                <a:gd name="connsiteX20" fmla="*/ 468414 w 495300"/>
                <a:gd name="connsiteY20" fmla="*/ 505446 h 523875"/>
                <a:gd name="connsiteX21" fmla="*/ 475081 w 495300"/>
                <a:gd name="connsiteY21" fmla="*/ 487349 h 523875"/>
                <a:gd name="connsiteX22" fmla="*/ 428408 w 495300"/>
                <a:gd name="connsiteY22" fmla="*/ 388289 h 523875"/>
                <a:gd name="connsiteX23" fmla="*/ 259816 w 495300"/>
                <a:gd name="connsiteY23" fmla="*/ 404481 h 523875"/>
                <a:gd name="connsiteX24" fmla="*/ 310299 w 495300"/>
                <a:gd name="connsiteY24" fmla="*/ 257796 h 523875"/>
                <a:gd name="connsiteX25" fmla="*/ 276961 w 495300"/>
                <a:gd name="connsiteY25" fmla="*/ 291134 h 523875"/>
                <a:gd name="connsiteX26" fmla="*/ 310299 w 495300"/>
                <a:gd name="connsiteY26" fmla="*/ 324471 h 523875"/>
                <a:gd name="connsiteX27" fmla="*/ 343636 w 495300"/>
                <a:gd name="connsiteY27" fmla="*/ 291134 h 523875"/>
                <a:gd name="connsiteX28" fmla="*/ 310299 w 495300"/>
                <a:gd name="connsiteY28" fmla="*/ 257796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95300" h="523875">
                  <a:moveTo>
                    <a:pt x="372211" y="621"/>
                  </a:moveTo>
                  <a:lnTo>
                    <a:pt x="372211" y="19671"/>
                  </a:lnTo>
                  <a:lnTo>
                    <a:pt x="334111" y="19671"/>
                  </a:lnTo>
                  <a:lnTo>
                    <a:pt x="334111" y="143496"/>
                  </a:lnTo>
                  <a:lnTo>
                    <a:pt x="496036" y="486396"/>
                  </a:lnTo>
                  <a:lnTo>
                    <a:pt x="481749" y="524496"/>
                  </a:lnTo>
                  <a:lnTo>
                    <a:pt x="15024" y="524496"/>
                  </a:lnTo>
                  <a:lnTo>
                    <a:pt x="736" y="486396"/>
                  </a:lnTo>
                  <a:lnTo>
                    <a:pt x="162661" y="143496"/>
                  </a:lnTo>
                  <a:lnTo>
                    <a:pt x="162661" y="19671"/>
                  </a:lnTo>
                  <a:lnTo>
                    <a:pt x="124561" y="19671"/>
                  </a:lnTo>
                  <a:lnTo>
                    <a:pt x="124561" y="621"/>
                  </a:lnTo>
                  <a:lnTo>
                    <a:pt x="372211" y="621"/>
                  </a:lnTo>
                  <a:close/>
                  <a:moveTo>
                    <a:pt x="259816" y="404481"/>
                  </a:moveTo>
                  <a:lnTo>
                    <a:pt x="256958" y="406386"/>
                  </a:lnTo>
                  <a:lnTo>
                    <a:pt x="251243" y="410196"/>
                  </a:lnTo>
                  <a:cubicBezTo>
                    <a:pt x="203618" y="441629"/>
                    <a:pt x="124561" y="442581"/>
                    <a:pt x="59791" y="416864"/>
                  </a:cubicBezTo>
                  <a:lnTo>
                    <a:pt x="55981" y="414959"/>
                  </a:lnTo>
                  <a:lnTo>
                    <a:pt x="21691" y="487349"/>
                  </a:lnTo>
                  <a:lnTo>
                    <a:pt x="28358" y="505446"/>
                  </a:lnTo>
                  <a:lnTo>
                    <a:pt x="468414" y="505446"/>
                  </a:lnTo>
                  <a:lnTo>
                    <a:pt x="475081" y="487349"/>
                  </a:lnTo>
                  <a:lnTo>
                    <a:pt x="428408" y="388289"/>
                  </a:lnTo>
                  <a:cubicBezTo>
                    <a:pt x="370306" y="374001"/>
                    <a:pt x="300774" y="378764"/>
                    <a:pt x="259816" y="404481"/>
                  </a:cubicBezTo>
                  <a:close/>
                  <a:moveTo>
                    <a:pt x="310299" y="257796"/>
                  </a:moveTo>
                  <a:cubicBezTo>
                    <a:pt x="292201" y="257796"/>
                    <a:pt x="276961" y="273036"/>
                    <a:pt x="276961" y="291134"/>
                  </a:cubicBezTo>
                  <a:cubicBezTo>
                    <a:pt x="276961" y="309231"/>
                    <a:pt x="292201" y="324471"/>
                    <a:pt x="310299" y="324471"/>
                  </a:cubicBezTo>
                  <a:cubicBezTo>
                    <a:pt x="328396" y="324471"/>
                    <a:pt x="343636" y="309231"/>
                    <a:pt x="343636" y="291134"/>
                  </a:cubicBezTo>
                  <a:cubicBezTo>
                    <a:pt x="343636" y="272084"/>
                    <a:pt x="328396" y="257796"/>
                    <a:pt x="310299" y="257796"/>
                  </a:cubicBezTo>
                  <a:close/>
                </a:path>
              </a:pathLst>
            </a:custGeom>
            <a:solidFill>
              <a:schemeClr val="bg1"/>
            </a:solidFill>
            <a:ln w="9525" cap="flat">
              <a:noFill/>
              <a:prstDash val="solid"/>
              <a:miter/>
            </a:ln>
          </p:spPr>
          <p:txBody>
            <a:bodyPr rtlCol="0" anchor="ctr"/>
            <a:lstStyle/>
            <a:p>
              <a:endParaRPr lang="zh-CN" altLang="en-US"/>
            </a:p>
          </p:txBody>
        </p:sp>
      </p:gr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extBox 6"/>
          <p:cNvSpPr txBox="1"/>
          <p:nvPr/>
        </p:nvSpPr>
        <p:spPr>
          <a:xfrm>
            <a:off x="547832" y="187607"/>
            <a:ext cx="5548168" cy="461665"/>
          </a:xfrm>
          <a:prstGeom prst="rect">
            <a:avLst/>
          </a:prstGeom>
        </p:spPr>
        <p:txBody>
          <a:bodyPr vert="horz" wrap="square" lIns="0" tIns="0" rIns="0" bIns="0" rtlCol="0" anchor="ctr">
            <a:noAutofit/>
          </a:bodyPr>
          <a:lstStyle>
            <a:defPPr>
              <a:defRPr lang="zh-CN"/>
            </a:defPPr>
            <a:lvl1pPr marL="12700" marR="0" lvl="0" indent="0" fontAlgn="auto">
              <a:lnSpc>
                <a:spcPct val="100000"/>
              </a:lnSpc>
              <a:spcBef>
                <a:spcPts val="100"/>
              </a:spcBef>
              <a:spcAft>
                <a:spcPts val="0"/>
              </a:spcAft>
              <a:buClrTx/>
              <a:buSzTx/>
              <a:buFontTx/>
              <a:buNone/>
              <a:defRPr kumimoji="0" sz="3200" b="1" i="0" u="none" strike="noStrike" cap="none" spc="0" normalizeH="0" baseline="0">
                <a:ln>
                  <a:noFill/>
                </a:ln>
                <a:solidFill>
                  <a:srgbClr val="F05A23"/>
                </a:solidFill>
                <a:effectLst/>
                <a:uLnTx/>
                <a:uFillTx/>
                <a:latin typeface="Arial" panose="020B0604020202090204"/>
                <a:ea typeface="华文楷体" panose="02010600040101010101" pitchFamily="2" charset="-122"/>
              </a:defRPr>
            </a:lvl1pPr>
          </a:lstStyle>
          <a:p>
            <a:r>
              <a:rPr lang="en-US" altLang="zh-CN" sz="2400" dirty="0"/>
              <a:t>3</a:t>
            </a:r>
            <a:r>
              <a:rPr lang="zh-CN" altLang="en-US" sz="2400" dirty="0"/>
              <a:t>、</a:t>
            </a:r>
            <a:endParaRPr lang="en-US" sz="2400" dirty="0"/>
          </a:p>
        </p:txBody>
      </p:sp>
      <p:pic>
        <p:nvPicPr>
          <p:cNvPr id="40" name="图片 39"/>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9949418" y="253211"/>
            <a:ext cx="1837445" cy="501494"/>
          </a:xfrm>
          <a:prstGeom prst="rect">
            <a:avLst/>
          </a:prstGeom>
        </p:spPr>
      </p:pic>
    </p:spTree>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组合 2"/>
          <p:cNvGrpSpPr/>
          <p:nvPr/>
        </p:nvGrpSpPr>
        <p:grpSpPr>
          <a:xfrm>
            <a:off x="660401" y="1138194"/>
            <a:ext cx="10858500" cy="4581614"/>
            <a:chOff x="660400" y="1138193"/>
            <a:chExt cx="10858500" cy="4581614"/>
          </a:xfrm>
        </p:grpSpPr>
        <p:sp>
          <p:nvSpPr>
            <p:cNvPr id="24" name="矩形 23"/>
            <p:cNvSpPr/>
            <p:nvPr/>
          </p:nvSpPr>
          <p:spPr>
            <a:xfrm>
              <a:off x="8985517" y="3054881"/>
              <a:ext cx="2313245" cy="2664926"/>
            </a:xfrm>
            <a:prstGeom prst="rect">
              <a:avLst/>
            </a:prstGeom>
            <a:solidFill>
              <a:schemeClr val="tx1">
                <a:lumMod val="50000"/>
                <a:lumOff val="50000"/>
                <a:alpha val="5000"/>
              </a:schemeClr>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a:bodyPr>
            <a:lstStyle/>
            <a:p>
              <a:pPr algn="ctr" defTabSz="913765"/>
              <a:endParaRPr lang="zh-CN" altLang="en-US" sz="2000" b="1" dirty="0">
                <a:solidFill>
                  <a:schemeClr val="bg1"/>
                </a:solidFill>
              </a:endParaRPr>
            </a:p>
          </p:txBody>
        </p:sp>
        <p:sp>
          <p:nvSpPr>
            <p:cNvPr id="23" name="矩形 22"/>
            <p:cNvSpPr/>
            <p:nvPr/>
          </p:nvSpPr>
          <p:spPr>
            <a:xfrm>
              <a:off x="6212997" y="3054881"/>
              <a:ext cx="2313245" cy="2664926"/>
            </a:xfrm>
            <a:prstGeom prst="rect">
              <a:avLst/>
            </a:prstGeom>
            <a:solidFill>
              <a:schemeClr val="tx1">
                <a:lumMod val="50000"/>
                <a:lumOff val="50000"/>
                <a:alpha val="5000"/>
              </a:schemeClr>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a:bodyPr>
            <a:lstStyle/>
            <a:p>
              <a:pPr algn="ctr" defTabSz="913765"/>
              <a:endParaRPr lang="zh-CN" altLang="en-US" sz="2000" b="1" dirty="0">
                <a:solidFill>
                  <a:schemeClr val="bg1"/>
                </a:solidFill>
              </a:endParaRPr>
            </a:p>
          </p:txBody>
        </p:sp>
        <p:sp>
          <p:nvSpPr>
            <p:cNvPr id="22" name="矩形 21"/>
            <p:cNvSpPr/>
            <p:nvPr/>
          </p:nvSpPr>
          <p:spPr>
            <a:xfrm>
              <a:off x="3437626" y="3054881"/>
              <a:ext cx="2313245" cy="2664926"/>
            </a:xfrm>
            <a:prstGeom prst="rect">
              <a:avLst/>
            </a:prstGeom>
            <a:solidFill>
              <a:schemeClr val="tx1">
                <a:lumMod val="50000"/>
                <a:lumOff val="50000"/>
                <a:alpha val="5000"/>
              </a:schemeClr>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a:bodyPr>
            <a:lstStyle/>
            <a:p>
              <a:pPr algn="ctr" defTabSz="913765"/>
              <a:endParaRPr lang="zh-CN" altLang="en-US" sz="2000" b="1" dirty="0">
                <a:solidFill>
                  <a:schemeClr val="bg1"/>
                </a:solidFill>
              </a:endParaRPr>
            </a:p>
          </p:txBody>
        </p:sp>
        <p:sp>
          <p:nvSpPr>
            <p:cNvPr id="21" name="矩形 20"/>
            <p:cNvSpPr/>
            <p:nvPr/>
          </p:nvSpPr>
          <p:spPr>
            <a:xfrm>
              <a:off x="668945" y="3054881"/>
              <a:ext cx="2313245" cy="2664926"/>
            </a:xfrm>
            <a:prstGeom prst="rect">
              <a:avLst/>
            </a:prstGeom>
            <a:solidFill>
              <a:schemeClr val="tx1">
                <a:lumMod val="50000"/>
                <a:lumOff val="50000"/>
                <a:alpha val="5000"/>
              </a:schemeClr>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a:bodyPr>
            <a:lstStyle/>
            <a:p>
              <a:pPr algn="ctr" defTabSz="913765"/>
              <a:endParaRPr lang="zh-CN" altLang="en-US" sz="2000" b="1" dirty="0">
                <a:solidFill>
                  <a:schemeClr val="bg1"/>
                </a:solidFill>
              </a:endParaRPr>
            </a:p>
          </p:txBody>
        </p:sp>
        <p:cxnSp>
          <p:nvCxnSpPr>
            <p:cNvPr id="8" name="直接连接符 7"/>
            <p:cNvCxnSpPr>
              <a:stCxn id="53" idx="3"/>
              <a:endCxn id="74" idx="1"/>
            </p:cNvCxnSpPr>
            <p:nvPr/>
          </p:nvCxnSpPr>
          <p:spPr>
            <a:xfrm>
              <a:off x="875732" y="4586605"/>
              <a:ext cx="8319864" cy="0"/>
            </a:xfrm>
            <a:prstGeom prst="line">
              <a:avLst/>
            </a:prstGeom>
            <a:ln>
              <a:solidFill>
                <a:schemeClr val="tx1">
                  <a:lumMod val="50000"/>
                  <a:lumOff val="50000"/>
                  <a:alpha val="30000"/>
                </a:schemeClr>
              </a:solidFill>
            </a:ln>
          </p:spPr>
          <p:style>
            <a:lnRef idx="1">
              <a:schemeClr val="accent1"/>
            </a:lnRef>
            <a:fillRef idx="0">
              <a:schemeClr val="accent1"/>
            </a:fillRef>
            <a:effectRef idx="0">
              <a:schemeClr val="accent1"/>
            </a:effectRef>
            <a:fontRef idx="minor">
              <a:schemeClr val="tx1"/>
            </a:fontRef>
          </p:style>
        </p:cxnSp>
        <p:sp>
          <p:nvSpPr>
            <p:cNvPr id="12" name="箭头: 五边形 11"/>
            <p:cNvSpPr/>
            <p:nvPr/>
          </p:nvSpPr>
          <p:spPr>
            <a:xfrm>
              <a:off x="660400" y="2628899"/>
              <a:ext cx="2529604" cy="428625"/>
            </a:xfrm>
            <a:prstGeom prst="homePlate">
              <a:avLst/>
            </a:prstGeom>
            <a:gradFill>
              <a:gsLst>
                <a:gs pos="0">
                  <a:schemeClr val="accent1">
                    <a:lumMod val="60000"/>
                    <a:lumOff val="40000"/>
                  </a:schemeClr>
                </a:gs>
                <a:gs pos="60000">
                  <a:schemeClr val="accent1"/>
                </a:gs>
              </a:gsLst>
              <a:lin ang="2700000" scaled="0"/>
            </a:gradFill>
            <a:ln w="57150" cap="rnd">
              <a:noFill/>
              <a:prstDash val="solid"/>
              <a:round/>
            </a:ln>
            <a:effectLst>
              <a:outerShdw blurRad="76200" dist="50800" dir="5400000" algn="ctr" rotWithShape="0">
                <a:schemeClr val="accent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r>
                <a:rPr lang="en-US" altLang="zh-CN" sz="1200" b="1" dirty="0">
                  <a:solidFill>
                    <a:srgbClr val="FFFFFF"/>
                  </a:solidFill>
                  <a:latin typeface="Calibri" pitchFamily="34" charset="0"/>
                  <a:ea typeface="宋体" pitchFamily="2" charset="-122"/>
                </a:rPr>
                <a:t>Supporting text here.</a:t>
              </a:r>
              <a:endParaRPr lang="en-US" altLang="zh-CN" sz="1200" b="1" dirty="0">
                <a:solidFill>
                  <a:srgbClr val="FFFFFF"/>
                </a:solidFill>
                <a:latin typeface="Calibri" pitchFamily="34" charset="0"/>
                <a:ea typeface="宋体" pitchFamily="2" charset="-122"/>
              </a:endParaRPr>
            </a:p>
          </p:txBody>
        </p:sp>
        <p:sp>
          <p:nvSpPr>
            <p:cNvPr id="51" name="文本框 50"/>
            <p:cNvSpPr txBox="1"/>
            <p:nvPr/>
          </p:nvSpPr>
          <p:spPr>
            <a:xfrm>
              <a:off x="660400" y="1138193"/>
              <a:ext cx="10858500" cy="523220"/>
            </a:xfrm>
            <a:prstGeom prst="rect">
              <a:avLst/>
            </a:prstGeom>
            <a:noFill/>
            <a:ln>
              <a:noFill/>
            </a:ln>
          </p:spPr>
          <p:txBody>
            <a:bodyPr wrap="square" lIns="91440" tIns="45720" rIns="91440" bIns="45720" anchor="ctr" anchorCtr="0">
              <a:spAutoFit/>
            </a:bodyPr>
            <a:lstStyle/>
            <a:p>
              <a:pPr algn="ctr" defTabSz="913765">
                <a:buSzPct val="25000"/>
                <a:defRPr/>
              </a:pPr>
              <a:r>
                <a:rPr lang="en-US" sz="2800" b="1" dirty="0">
                  <a:latin typeface="Calibri" pitchFamily="34" charset="0"/>
                  <a:ea typeface="宋体" pitchFamily="2" charset="-122"/>
                </a:rPr>
                <a:t>Unified fonts make reading more fluent.</a:t>
              </a:r>
              <a:endParaRPr lang="en-US" sz="2800" b="1" dirty="0">
                <a:latin typeface="Calibri" pitchFamily="34" charset="0"/>
                <a:ea typeface="宋体" pitchFamily="2" charset="-122"/>
              </a:endParaRPr>
            </a:p>
          </p:txBody>
        </p:sp>
        <p:sp>
          <p:nvSpPr>
            <p:cNvPr id="52" name="文本框 51"/>
            <p:cNvSpPr txBox="1"/>
            <p:nvPr/>
          </p:nvSpPr>
          <p:spPr>
            <a:xfrm>
              <a:off x="660400" y="1668858"/>
              <a:ext cx="10858500" cy="246221"/>
            </a:xfrm>
            <a:prstGeom prst="rect">
              <a:avLst/>
            </a:prstGeom>
            <a:noFill/>
          </p:spPr>
          <p:txBody>
            <a:bodyPr wrap="square" rtlCol="0">
              <a:spAutoFit/>
            </a:bodyPr>
            <a:lstStyle/>
            <a:p>
              <a:pPr algn="ctr"/>
              <a:r>
                <a:rPr lang="en-US" altLang="zh-CN" sz="1000" dirty="0">
                  <a:latin typeface="Calibri" pitchFamily="34" charset="0"/>
                  <a:ea typeface="宋体" pitchFamily="2" charset="-122"/>
                </a:rPr>
                <a:t>Theme color makes PPT more convenient to change.</a:t>
              </a:r>
              <a:endParaRPr lang="en-US" altLang="zh-CN" sz="1000" dirty="0">
                <a:latin typeface="Calibri" pitchFamily="34" charset="0"/>
                <a:ea typeface="宋体" pitchFamily="2" charset="-122"/>
              </a:endParaRPr>
            </a:p>
          </p:txBody>
        </p:sp>
        <p:sp>
          <p:nvSpPr>
            <p:cNvPr id="32" name="文本框 31"/>
            <p:cNvSpPr txBox="1"/>
            <p:nvPr/>
          </p:nvSpPr>
          <p:spPr>
            <a:xfrm>
              <a:off x="660400" y="3286126"/>
              <a:ext cx="2321791" cy="991810"/>
            </a:xfrm>
            <a:prstGeom prst="rect">
              <a:avLst/>
            </a:prstGeom>
            <a:noFill/>
          </p:spPr>
          <p:txBody>
            <a:bodyPr wrap="square" rtlCol="0">
              <a:spAutoFit/>
            </a:bodyPr>
            <a:lstStyle/>
            <a:p>
              <a:pPr defTabSz="913765">
                <a:lnSpc>
                  <a:spcPct val="150000"/>
                </a:lnSpc>
                <a:buSzPct val="25000"/>
                <a:defRPr/>
              </a:pPr>
              <a:r>
                <a:rPr lang="en-US" altLang="zh-CN" sz="1000" dirty="0">
                  <a:latin typeface="Calibri" pitchFamily="34" charset="0"/>
                  <a:ea typeface="宋体" pitchFamily="2" charset="-122"/>
                </a:rPr>
                <a:t>Theme color makes PPT more </a:t>
              </a:r>
              <a:endParaRPr lang="en-US" altLang="zh-CN" sz="1000" dirty="0">
                <a:latin typeface="Calibri" pitchFamily="34" charset="0"/>
                <a:ea typeface="宋体" pitchFamily="2" charset="-122"/>
              </a:endParaRPr>
            </a:p>
            <a:p>
              <a:pPr defTabSz="913765">
                <a:lnSpc>
                  <a:spcPct val="150000"/>
                </a:lnSpc>
                <a:buSzPct val="25000"/>
                <a:defRPr/>
              </a:pPr>
              <a:r>
                <a:rPr lang="en-US" altLang="zh-CN" sz="1000" dirty="0">
                  <a:latin typeface="Calibri" pitchFamily="34" charset="0"/>
                  <a:ea typeface="宋体" pitchFamily="2" charset="-122"/>
                </a:rPr>
                <a:t>convenient to change.</a:t>
              </a:r>
              <a:endParaRPr lang="en-US" altLang="zh-CN" sz="1000" dirty="0">
                <a:latin typeface="Calibri" pitchFamily="34" charset="0"/>
                <a:ea typeface="宋体" pitchFamily="2" charset="-122"/>
              </a:endParaRPr>
            </a:p>
            <a:p>
              <a:pPr defTabSz="913765">
                <a:lnSpc>
                  <a:spcPct val="150000"/>
                </a:lnSpc>
                <a:buSzPct val="25000"/>
                <a:defRPr/>
              </a:pPr>
              <a:r>
                <a:rPr lang="en-US" altLang="zh-CN" sz="1000" dirty="0">
                  <a:latin typeface="Calibri" pitchFamily="34" charset="0"/>
                  <a:ea typeface="宋体" pitchFamily="2" charset="-122"/>
                </a:rPr>
                <a:t>Copy paste  fonts. Choose the only option to retain text. </a:t>
              </a:r>
              <a:endParaRPr lang="en-US" altLang="zh-CN" sz="1000" dirty="0">
                <a:latin typeface="Calibri" pitchFamily="34" charset="0"/>
                <a:ea typeface="宋体" pitchFamily="2" charset="-122"/>
              </a:endParaRPr>
            </a:p>
          </p:txBody>
        </p:sp>
        <p:sp>
          <p:nvSpPr>
            <p:cNvPr id="33" name="文本框 32"/>
            <p:cNvSpPr txBox="1"/>
            <p:nvPr/>
          </p:nvSpPr>
          <p:spPr>
            <a:xfrm>
              <a:off x="660400" y="4871675"/>
              <a:ext cx="2321791" cy="530145"/>
            </a:xfrm>
            <a:prstGeom prst="rect">
              <a:avLst/>
            </a:prstGeom>
            <a:noFill/>
          </p:spPr>
          <p:txBody>
            <a:bodyPr wrap="square" rtlCol="0">
              <a:spAutoFit/>
            </a:bodyPr>
            <a:lstStyle/>
            <a:p>
              <a:pPr defTabSz="913765">
                <a:lnSpc>
                  <a:spcPct val="150000"/>
                </a:lnSpc>
                <a:buSzPct val="25000"/>
                <a:defRPr/>
              </a:pPr>
              <a:r>
                <a:rPr lang="en-US" altLang="zh-CN" sz="1000" dirty="0">
                  <a:latin typeface="Calibri" pitchFamily="34" charset="0"/>
                  <a:ea typeface="宋体" pitchFamily="2" charset="-122"/>
                </a:rPr>
                <a:t>Theme color makes PPT more </a:t>
              </a:r>
              <a:endParaRPr lang="en-US" altLang="zh-CN" sz="1000" dirty="0">
                <a:latin typeface="Calibri" pitchFamily="34" charset="0"/>
                <a:ea typeface="宋体" pitchFamily="2" charset="-122"/>
              </a:endParaRPr>
            </a:p>
            <a:p>
              <a:pPr defTabSz="913765">
                <a:lnSpc>
                  <a:spcPct val="150000"/>
                </a:lnSpc>
                <a:buSzPct val="25000"/>
                <a:defRPr/>
              </a:pPr>
              <a:r>
                <a:rPr lang="en-US" altLang="zh-CN" sz="1000" dirty="0">
                  <a:latin typeface="Calibri" pitchFamily="34" charset="0"/>
                  <a:ea typeface="宋体" pitchFamily="2" charset="-122"/>
                </a:rPr>
                <a:t>convenient to change. </a:t>
              </a:r>
              <a:endParaRPr lang="en-US" altLang="zh-CN" sz="1000" dirty="0">
                <a:latin typeface="Calibri" pitchFamily="34" charset="0"/>
                <a:ea typeface="宋体" pitchFamily="2" charset="-122"/>
              </a:endParaRPr>
            </a:p>
          </p:txBody>
        </p:sp>
        <p:sp>
          <p:nvSpPr>
            <p:cNvPr id="53" name="矩形 52"/>
            <p:cNvSpPr/>
            <p:nvPr/>
          </p:nvSpPr>
          <p:spPr>
            <a:xfrm>
              <a:off x="762794" y="4530137"/>
              <a:ext cx="112938" cy="112936"/>
            </a:xfrm>
            <a:prstGeom prst="rect">
              <a:avLst/>
            </a:prstGeom>
            <a:gradFill>
              <a:gsLst>
                <a:gs pos="0">
                  <a:schemeClr val="accent1">
                    <a:lumMod val="60000"/>
                    <a:lumOff val="40000"/>
                  </a:schemeClr>
                </a:gs>
                <a:gs pos="60000">
                  <a:schemeClr val="accent1"/>
                </a:gs>
              </a:gsLst>
              <a:lin ang="2700000" scaled="0"/>
            </a:gradFill>
            <a:ln w="57150" cap="rnd">
              <a:noFill/>
              <a:prstDash val="solid"/>
              <a:round/>
            </a:ln>
            <a:effectLst>
              <a:outerShdw blurRad="76200" dist="50800" dir="5400000" algn="ctr" rotWithShape="0">
                <a:schemeClr val="accent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25000" lnSpcReduction="20000"/>
            </a:bodyPr>
            <a:lstStyle/>
            <a:p>
              <a:pPr algn="ctr" defTabSz="913765"/>
              <a:endParaRPr lang="zh-CN" altLang="en-US" sz="2000" b="1">
                <a:solidFill>
                  <a:schemeClr val="bg1"/>
                </a:solidFill>
              </a:endParaRPr>
            </a:p>
          </p:txBody>
        </p:sp>
        <p:sp>
          <p:nvSpPr>
            <p:cNvPr id="58" name="任意多边形: 形状 57"/>
            <p:cNvSpPr/>
            <p:nvPr/>
          </p:nvSpPr>
          <p:spPr>
            <a:xfrm>
              <a:off x="3436699" y="2628899"/>
              <a:ext cx="2529604" cy="428625"/>
            </a:xfrm>
            <a:custGeom>
              <a:avLst/>
              <a:gdLst>
                <a:gd name="connsiteX0" fmla="*/ 0 w 2529604"/>
                <a:gd name="connsiteY0" fmla="*/ 0 h 428625"/>
                <a:gd name="connsiteX1" fmla="*/ 2315292 w 2529604"/>
                <a:gd name="connsiteY1" fmla="*/ 0 h 428625"/>
                <a:gd name="connsiteX2" fmla="*/ 2529604 w 2529604"/>
                <a:gd name="connsiteY2" fmla="*/ 214313 h 428625"/>
                <a:gd name="connsiteX3" fmla="*/ 2315292 w 2529604"/>
                <a:gd name="connsiteY3" fmla="*/ 428625 h 428625"/>
                <a:gd name="connsiteX4" fmla="*/ 0 w 2529604"/>
                <a:gd name="connsiteY4" fmla="*/ 428625 h 428625"/>
                <a:gd name="connsiteX5" fmla="*/ 0 w 2529604"/>
                <a:gd name="connsiteY5" fmla="*/ 427673 h 428625"/>
                <a:gd name="connsiteX6" fmla="*/ 213360 w 2529604"/>
                <a:gd name="connsiteY6" fmla="*/ 214313 h 428625"/>
                <a:gd name="connsiteX7" fmla="*/ 0 w 2529604"/>
                <a:gd name="connsiteY7" fmla="*/ 952 h 428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29604" h="428625">
                  <a:moveTo>
                    <a:pt x="0" y="0"/>
                  </a:moveTo>
                  <a:lnTo>
                    <a:pt x="2315292" y="0"/>
                  </a:lnTo>
                  <a:lnTo>
                    <a:pt x="2529604" y="214313"/>
                  </a:lnTo>
                  <a:lnTo>
                    <a:pt x="2315292" y="428625"/>
                  </a:lnTo>
                  <a:lnTo>
                    <a:pt x="0" y="428625"/>
                  </a:lnTo>
                  <a:lnTo>
                    <a:pt x="0" y="427673"/>
                  </a:lnTo>
                  <a:lnTo>
                    <a:pt x="213360" y="214313"/>
                  </a:lnTo>
                  <a:lnTo>
                    <a:pt x="0" y="952"/>
                  </a:lnTo>
                  <a:close/>
                </a:path>
              </a:pathLst>
            </a:custGeom>
            <a:gradFill>
              <a:gsLst>
                <a:gs pos="0">
                  <a:schemeClr val="accent2">
                    <a:lumMod val="60000"/>
                    <a:lumOff val="40000"/>
                  </a:schemeClr>
                </a:gs>
                <a:gs pos="60000">
                  <a:schemeClr val="accent2"/>
                </a:gs>
              </a:gsLst>
              <a:lin ang="2700000" scaled="0"/>
            </a:gradFill>
            <a:ln w="57150" cap="rnd">
              <a:noFill/>
              <a:prstDash val="solid"/>
              <a:round/>
            </a:ln>
            <a:effectLst>
              <a:outerShdw blurRad="76200" dist="50800" dir="5400000" algn="ctr" rotWithShape="0">
                <a:schemeClr val="accent2">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a:r>
                <a:rPr lang="en-US" altLang="zh-CN" sz="1200" b="1" dirty="0">
                  <a:solidFill>
                    <a:srgbClr val="FFFFFF"/>
                  </a:solidFill>
                  <a:latin typeface="Calibri" pitchFamily="34" charset="0"/>
                  <a:ea typeface="宋体" pitchFamily="2" charset="-122"/>
                </a:rPr>
                <a:t>Supporting text here.</a:t>
              </a:r>
              <a:endParaRPr lang="en-US" altLang="zh-CN" sz="1200" b="1" dirty="0">
                <a:solidFill>
                  <a:srgbClr val="FFFFFF"/>
                </a:solidFill>
                <a:latin typeface="Calibri" pitchFamily="34" charset="0"/>
                <a:ea typeface="宋体" pitchFamily="2" charset="-122"/>
              </a:endParaRPr>
            </a:p>
          </p:txBody>
        </p:sp>
        <p:sp>
          <p:nvSpPr>
            <p:cNvPr id="59" name="任意多边形: 形状 58"/>
            <p:cNvSpPr/>
            <p:nvPr/>
          </p:nvSpPr>
          <p:spPr>
            <a:xfrm>
              <a:off x="6212998" y="2628899"/>
              <a:ext cx="2529604" cy="428625"/>
            </a:xfrm>
            <a:custGeom>
              <a:avLst/>
              <a:gdLst>
                <a:gd name="connsiteX0" fmla="*/ 0 w 2529604"/>
                <a:gd name="connsiteY0" fmla="*/ 0 h 428625"/>
                <a:gd name="connsiteX1" fmla="*/ 2315292 w 2529604"/>
                <a:gd name="connsiteY1" fmla="*/ 0 h 428625"/>
                <a:gd name="connsiteX2" fmla="*/ 2529604 w 2529604"/>
                <a:gd name="connsiteY2" fmla="*/ 214313 h 428625"/>
                <a:gd name="connsiteX3" fmla="*/ 2315292 w 2529604"/>
                <a:gd name="connsiteY3" fmla="*/ 428625 h 428625"/>
                <a:gd name="connsiteX4" fmla="*/ 0 w 2529604"/>
                <a:gd name="connsiteY4" fmla="*/ 428625 h 428625"/>
                <a:gd name="connsiteX5" fmla="*/ 0 w 2529604"/>
                <a:gd name="connsiteY5" fmla="*/ 427673 h 428625"/>
                <a:gd name="connsiteX6" fmla="*/ 213360 w 2529604"/>
                <a:gd name="connsiteY6" fmla="*/ 214313 h 428625"/>
                <a:gd name="connsiteX7" fmla="*/ 0 w 2529604"/>
                <a:gd name="connsiteY7" fmla="*/ 952 h 428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29604" h="428625">
                  <a:moveTo>
                    <a:pt x="0" y="0"/>
                  </a:moveTo>
                  <a:lnTo>
                    <a:pt x="2315292" y="0"/>
                  </a:lnTo>
                  <a:lnTo>
                    <a:pt x="2529604" y="214313"/>
                  </a:lnTo>
                  <a:lnTo>
                    <a:pt x="2315292" y="428625"/>
                  </a:lnTo>
                  <a:lnTo>
                    <a:pt x="0" y="428625"/>
                  </a:lnTo>
                  <a:lnTo>
                    <a:pt x="0" y="427673"/>
                  </a:lnTo>
                  <a:lnTo>
                    <a:pt x="213360" y="214313"/>
                  </a:lnTo>
                  <a:lnTo>
                    <a:pt x="0" y="952"/>
                  </a:lnTo>
                  <a:close/>
                </a:path>
              </a:pathLst>
            </a:custGeom>
            <a:gradFill>
              <a:gsLst>
                <a:gs pos="0">
                  <a:schemeClr val="accent3">
                    <a:lumMod val="60000"/>
                    <a:lumOff val="40000"/>
                  </a:schemeClr>
                </a:gs>
                <a:gs pos="60000">
                  <a:schemeClr val="accent3"/>
                </a:gs>
              </a:gsLst>
              <a:lin ang="2700000" scaled="0"/>
            </a:gradFill>
            <a:ln w="57150" cap="rnd">
              <a:noFill/>
              <a:prstDash val="solid"/>
              <a:round/>
            </a:ln>
            <a:effectLst>
              <a:outerShdw blurRad="76200" dist="50800" dir="5400000" algn="ctr" rotWithShape="0">
                <a:schemeClr val="accent3">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a:r>
                <a:rPr lang="en-US" altLang="zh-CN" sz="1200" b="1" dirty="0">
                  <a:solidFill>
                    <a:srgbClr val="FFFFFF"/>
                  </a:solidFill>
                  <a:latin typeface="Calibri" pitchFamily="34" charset="0"/>
                  <a:ea typeface="宋体" pitchFamily="2" charset="-122"/>
                </a:rPr>
                <a:t>Supporting text here.</a:t>
              </a:r>
              <a:endParaRPr lang="en-US" altLang="zh-CN" sz="1200" b="1" dirty="0">
                <a:solidFill>
                  <a:srgbClr val="FFFFFF"/>
                </a:solidFill>
                <a:latin typeface="Calibri" pitchFamily="34" charset="0"/>
                <a:ea typeface="宋体" pitchFamily="2" charset="-122"/>
              </a:endParaRPr>
            </a:p>
          </p:txBody>
        </p:sp>
        <p:sp>
          <p:nvSpPr>
            <p:cNvPr id="60" name="任意多边形: 形状 59"/>
            <p:cNvSpPr/>
            <p:nvPr/>
          </p:nvSpPr>
          <p:spPr>
            <a:xfrm>
              <a:off x="8989296" y="2628899"/>
              <a:ext cx="2529604" cy="428625"/>
            </a:xfrm>
            <a:custGeom>
              <a:avLst/>
              <a:gdLst>
                <a:gd name="connsiteX0" fmla="*/ 0 w 2529604"/>
                <a:gd name="connsiteY0" fmla="*/ 0 h 428625"/>
                <a:gd name="connsiteX1" fmla="*/ 2315292 w 2529604"/>
                <a:gd name="connsiteY1" fmla="*/ 0 h 428625"/>
                <a:gd name="connsiteX2" fmla="*/ 2529604 w 2529604"/>
                <a:gd name="connsiteY2" fmla="*/ 214313 h 428625"/>
                <a:gd name="connsiteX3" fmla="*/ 2315292 w 2529604"/>
                <a:gd name="connsiteY3" fmla="*/ 428625 h 428625"/>
                <a:gd name="connsiteX4" fmla="*/ 0 w 2529604"/>
                <a:gd name="connsiteY4" fmla="*/ 428625 h 428625"/>
                <a:gd name="connsiteX5" fmla="*/ 0 w 2529604"/>
                <a:gd name="connsiteY5" fmla="*/ 427673 h 428625"/>
                <a:gd name="connsiteX6" fmla="*/ 213360 w 2529604"/>
                <a:gd name="connsiteY6" fmla="*/ 214313 h 428625"/>
                <a:gd name="connsiteX7" fmla="*/ 0 w 2529604"/>
                <a:gd name="connsiteY7" fmla="*/ 952 h 428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29604" h="428625">
                  <a:moveTo>
                    <a:pt x="0" y="0"/>
                  </a:moveTo>
                  <a:lnTo>
                    <a:pt x="2315292" y="0"/>
                  </a:lnTo>
                  <a:lnTo>
                    <a:pt x="2529604" y="214313"/>
                  </a:lnTo>
                  <a:lnTo>
                    <a:pt x="2315292" y="428625"/>
                  </a:lnTo>
                  <a:lnTo>
                    <a:pt x="0" y="428625"/>
                  </a:lnTo>
                  <a:lnTo>
                    <a:pt x="0" y="427673"/>
                  </a:lnTo>
                  <a:lnTo>
                    <a:pt x="213360" y="214313"/>
                  </a:lnTo>
                  <a:lnTo>
                    <a:pt x="0" y="952"/>
                  </a:lnTo>
                  <a:close/>
                </a:path>
              </a:pathLst>
            </a:custGeom>
            <a:gradFill>
              <a:gsLst>
                <a:gs pos="0">
                  <a:schemeClr val="accent4">
                    <a:lumMod val="60000"/>
                    <a:lumOff val="40000"/>
                  </a:schemeClr>
                </a:gs>
                <a:gs pos="60000">
                  <a:schemeClr val="accent4"/>
                </a:gs>
              </a:gsLst>
              <a:lin ang="2700000" scaled="0"/>
            </a:gradFill>
            <a:ln w="57150" cap="rnd">
              <a:noFill/>
              <a:prstDash val="solid"/>
              <a:round/>
            </a:ln>
            <a:effectLst>
              <a:outerShdw blurRad="76200" dist="50800" dir="5400000" algn="ctr" rotWithShape="0">
                <a:schemeClr val="accent4">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a:r>
                <a:rPr lang="en-US" altLang="zh-CN" sz="1200" b="1">
                  <a:solidFill>
                    <a:srgbClr val="FFFFFF"/>
                  </a:solidFill>
                  <a:latin typeface="Calibri" pitchFamily="34" charset="0"/>
                  <a:ea typeface="宋体" pitchFamily="2" charset="-122"/>
                </a:rPr>
                <a:t>Supporting text here.</a:t>
              </a:r>
              <a:endParaRPr lang="en-US" altLang="zh-CN" sz="1200" b="1" dirty="0">
                <a:solidFill>
                  <a:srgbClr val="FFFFFF"/>
                </a:solidFill>
                <a:latin typeface="Calibri" pitchFamily="34" charset="0"/>
                <a:ea typeface="宋体" pitchFamily="2" charset="-122"/>
              </a:endParaRPr>
            </a:p>
          </p:txBody>
        </p:sp>
        <p:sp>
          <p:nvSpPr>
            <p:cNvPr id="64" name="文本框 63"/>
            <p:cNvSpPr txBox="1"/>
            <p:nvPr/>
          </p:nvSpPr>
          <p:spPr>
            <a:xfrm>
              <a:off x="3540605" y="3286126"/>
              <a:ext cx="2226433" cy="991810"/>
            </a:xfrm>
            <a:prstGeom prst="rect">
              <a:avLst/>
            </a:prstGeom>
            <a:noFill/>
          </p:spPr>
          <p:txBody>
            <a:bodyPr wrap="square" rtlCol="0">
              <a:spAutoFit/>
            </a:bodyPr>
            <a:lstStyle/>
            <a:p>
              <a:pPr defTabSz="913765">
                <a:lnSpc>
                  <a:spcPct val="150000"/>
                </a:lnSpc>
                <a:buSzPct val="25000"/>
                <a:defRPr/>
              </a:pPr>
              <a:r>
                <a:rPr lang="en-US" altLang="zh-CN" sz="1000" dirty="0">
                  <a:latin typeface="Calibri" pitchFamily="34" charset="0"/>
                  <a:ea typeface="宋体" pitchFamily="2" charset="-122"/>
                </a:rPr>
                <a:t>Theme color makes PPT more </a:t>
              </a:r>
              <a:endParaRPr lang="en-US" altLang="zh-CN" sz="1000" dirty="0">
                <a:latin typeface="Calibri" pitchFamily="34" charset="0"/>
                <a:ea typeface="宋体" pitchFamily="2" charset="-122"/>
              </a:endParaRPr>
            </a:p>
            <a:p>
              <a:pPr defTabSz="913765">
                <a:lnSpc>
                  <a:spcPct val="150000"/>
                </a:lnSpc>
                <a:buSzPct val="25000"/>
                <a:defRPr/>
              </a:pPr>
              <a:r>
                <a:rPr lang="en-US" altLang="zh-CN" sz="1000" dirty="0">
                  <a:latin typeface="Calibri" pitchFamily="34" charset="0"/>
                  <a:ea typeface="宋体" pitchFamily="2" charset="-122"/>
                </a:rPr>
                <a:t>convenient to change.</a:t>
              </a:r>
              <a:endParaRPr lang="en-US" altLang="zh-CN" sz="1000" dirty="0">
                <a:latin typeface="Calibri" pitchFamily="34" charset="0"/>
                <a:ea typeface="宋体" pitchFamily="2" charset="-122"/>
              </a:endParaRPr>
            </a:p>
            <a:p>
              <a:pPr defTabSz="913765">
                <a:lnSpc>
                  <a:spcPct val="150000"/>
                </a:lnSpc>
                <a:buSzPct val="25000"/>
                <a:defRPr/>
              </a:pPr>
              <a:r>
                <a:rPr lang="en-US" altLang="zh-CN" sz="1000" dirty="0">
                  <a:latin typeface="Calibri" pitchFamily="34" charset="0"/>
                  <a:ea typeface="宋体" pitchFamily="2" charset="-122"/>
                </a:rPr>
                <a:t>Copy paste  fonts. Choose the only option to retain text. </a:t>
              </a:r>
              <a:endParaRPr lang="en-US" altLang="zh-CN" sz="1000" dirty="0">
                <a:latin typeface="Calibri" pitchFamily="34" charset="0"/>
                <a:ea typeface="宋体" pitchFamily="2" charset="-122"/>
              </a:endParaRPr>
            </a:p>
          </p:txBody>
        </p:sp>
        <p:sp>
          <p:nvSpPr>
            <p:cNvPr id="65" name="文本框 64"/>
            <p:cNvSpPr txBox="1"/>
            <p:nvPr/>
          </p:nvSpPr>
          <p:spPr>
            <a:xfrm>
              <a:off x="3540605" y="4871675"/>
              <a:ext cx="2226433" cy="530145"/>
            </a:xfrm>
            <a:prstGeom prst="rect">
              <a:avLst/>
            </a:prstGeom>
            <a:noFill/>
          </p:spPr>
          <p:txBody>
            <a:bodyPr wrap="square" rtlCol="0">
              <a:spAutoFit/>
            </a:bodyPr>
            <a:lstStyle/>
            <a:p>
              <a:pPr defTabSz="913765">
                <a:lnSpc>
                  <a:spcPct val="150000"/>
                </a:lnSpc>
                <a:buSzPct val="25000"/>
                <a:defRPr/>
              </a:pPr>
              <a:r>
                <a:rPr lang="en-US" altLang="zh-CN" sz="1000">
                  <a:latin typeface="Calibri" pitchFamily="34" charset="0"/>
                  <a:ea typeface="宋体" pitchFamily="2" charset="-122"/>
                </a:rPr>
                <a:t>Theme color makes PPT more </a:t>
              </a:r>
              <a:endParaRPr lang="en-US" altLang="zh-CN" sz="1000">
                <a:latin typeface="Calibri" pitchFamily="34" charset="0"/>
                <a:ea typeface="宋体" pitchFamily="2" charset="-122"/>
              </a:endParaRPr>
            </a:p>
            <a:p>
              <a:pPr defTabSz="913765">
                <a:lnSpc>
                  <a:spcPct val="150000"/>
                </a:lnSpc>
                <a:buSzPct val="25000"/>
                <a:defRPr/>
              </a:pPr>
              <a:r>
                <a:rPr lang="en-US" altLang="zh-CN" sz="1000">
                  <a:latin typeface="Calibri" pitchFamily="34" charset="0"/>
                  <a:ea typeface="宋体" pitchFamily="2" charset="-122"/>
                </a:rPr>
                <a:t>convenient to change. </a:t>
              </a:r>
              <a:endParaRPr lang="en-US" altLang="zh-CN" sz="1000" dirty="0">
                <a:latin typeface="Calibri" pitchFamily="34" charset="0"/>
                <a:ea typeface="宋体" pitchFamily="2" charset="-122"/>
              </a:endParaRPr>
            </a:p>
          </p:txBody>
        </p:sp>
        <p:sp>
          <p:nvSpPr>
            <p:cNvPr id="66" name="矩形 65"/>
            <p:cNvSpPr/>
            <p:nvPr/>
          </p:nvSpPr>
          <p:spPr>
            <a:xfrm>
              <a:off x="3642999" y="4530137"/>
              <a:ext cx="112938" cy="112936"/>
            </a:xfrm>
            <a:prstGeom prst="rect">
              <a:avLst/>
            </a:prstGeom>
            <a:gradFill>
              <a:gsLst>
                <a:gs pos="0">
                  <a:schemeClr val="accent2">
                    <a:lumMod val="60000"/>
                    <a:lumOff val="40000"/>
                  </a:schemeClr>
                </a:gs>
                <a:gs pos="60000">
                  <a:schemeClr val="accent2"/>
                </a:gs>
              </a:gsLst>
              <a:lin ang="2700000" scaled="0"/>
            </a:gradFill>
            <a:ln w="57150" cap="rnd">
              <a:noFill/>
              <a:prstDash val="solid"/>
              <a:round/>
            </a:ln>
            <a:effectLst>
              <a:outerShdw blurRad="76200" dist="50800" dir="5400000" algn="ctr" rotWithShape="0">
                <a:schemeClr val="accent2">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25000" lnSpcReduction="20000"/>
            </a:bodyPr>
            <a:lstStyle/>
            <a:p>
              <a:pPr algn="ctr"/>
              <a:endParaRPr lang="zh-CN" altLang="en-US" sz="1200" b="1">
                <a:solidFill>
                  <a:srgbClr val="FFFFFF"/>
                </a:solidFill>
              </a:endParaRPr>
            </a:p>
          </p:txBody>
        </p:sp>
        <p:sp>
          <p:nvSpPr>
            <p:cNvPr id="68" name="文本框 67"/>
            <p:cNvSpPr txBox="1"/>
            <p:nvPr/>
          </p:nvSpPr>
          <p:spPr>
            <a:xfrm>
              <a:off x="6316904" y="3286126"/>
              <a:ext cx="2226433" cy="991810"/>
            </a:xfrm>
            <a:prstGeom prst="rect">
              <a:avLst/>
            </a:prstGeom>
            <a:noFill/>
          </p:spPr>
          <p:txBody>
            <a:bodyPr wrap="square" rtlCol="0">
              <a:spAutoFit/>
            </a:bodyPr>
            <a:lstStyle/>
            <a:p>
              <a:pPr defTabSz="913765">
                <a:lnSpc>
                  <a:spcPct val="150000"/>
                </a:lnSpc>
                <a:buSzPct val="25000"/>
                <a:defRPr/>
              </a:pPr>
              <a:r>
                <a:rPr lang="en-US" altLang="zh-CN" sz="1000" dirty="0">
                  <a:latin typeface="Calibri" pitchFamily="34" charset="0"/>
                  <a:ea typeface="宋体" pitchFamily="2" charset="-122"/>
                </a:rPr>
                <a:t>Theme color makes PPT more </a:t>
              </a:r>
              <a:endParaRPr lang="en-US" altLang="zh-CN" sz="1000" dirty="0">
                <a:latin typeface="Calibri" pitchFamily="34" charset="0"/>
                <a:ea typeface="宋体" pitchFamily="2" charset="-122"/>
              </a:endParaRPr>
            </a:p>
            <a:p>
              <a:pPr defTabSz="913765">
                <a:lnSpc>
                  <a:spcPct val="150000"/>
                </a:lnSpc>
                <a:buSzPct val="25000"/>
                <a:defRPr/>
              </a:pPr>
              <a:r>
                <a:rPr lang="en-US" altLang="zh-CN" sz="1000" dirty="0">
                  <a:latin typeface="Calibri" pitchFamily="34" charset="0"/>
                  <a:ea typeface="宋体" pitchFamily="2" charset="-122"/>
                </a:rPr>
                <a:t>convenient to change.</a:t>
              </a:r>
              <a:endParaRPr lang="en-US" altLang="zh-CN" sz="1000" dirty="0">
                <a:latin typeface="Calibri" pitchFamily="34" charset="0"/>
                <a:ea typeface="宋体" pitchFamily="2" charset="-122"/>
              </a:endParaRPr>
            </a:p>
            <a:p>
              <a:pPr defTabSz="913765">
                <a:lnSpc>
                  <a:spcPct val="150000"/>
                </a:lnSpc>
                <a:buSzPct val="25000"/>
                <a:defRPr/>
              </a:pPr>
              <a:r>
                <a:rPr lang="en-US" altLang="zh-CN" sz="1000" dirty="0">
                  <a:latin typeface="Calibri" pitchFamily="34" charset="0"/>
                  <a:ea typeface="宋体" pitchFamily="2" charset="-122"/>
                </a:rPr>
                <a:t>Copy paste  fonts. Choose the only option to retain text. </a:t>
              </a:r>
              <a:endParaRPr lang="en-US" altLang="zh-CN" sz="1000" dirty="0">
                <a:latin typeface="Calibri" pitchFamily="34" charset="0"/>
                <a:ea typeface="宋体" pitchFamily="2" charset="-122"/>
              </a:endParaRPr>
            </a:p>
          </p:txBody>
        </p:sp>
        <p:sp>
          <p:nvSpPr>
            <p:cNvPr id="69" name="文本框 68"/>
            <p:cNvSpPr txBox="1"/>
            <p:nvPr/>
          </p:nvSpPr>
          <p:spPr>
            <a:xfrm>
              <a:off x="6316904" y="4871675"/>
              <a:ext cx="2226433" cy="530145"/>
            </a:xfrm>
            <a:prstGeom prst="rect">
              <a:avLst/>
            </a:prstGeom>
            <a:noFill/>
          </p:spPr>
          <p:txBody>
            <a:bodyPr wrap="square" rtlCol="0">
              <a:spAutoFit/>
            </a:bodyPr>
            <a:lstStyle/>
            <a:p>
              <a:pPr defTabSz="913765">
                <a:lnSpc>
                  <a:spcPct val="150000"/>
                </a:lnSpc>
                <a:buSzPct val="25000"/>
                <a:defRPr/>
              </a:pPr>
              <a:r>
                <a:rPr lang="en-US" altLang="zh-CN" sz="1000" dirty="0">
                  <a:latin typeface="Calibri" pitchFamily="34" charset="0"/>
                  <a:ea typeface="宋体" pitchFamily="2" charset="-122"/>
                </a:rPr>
                <a:t>Theme color makes PPT more </a:t>
              </a:r>
              <a:endParaRPr lang="en-US" altLang="zh-CN" sz="1000" dirty="0">
                <a:latin typeface="Calibri" pitchFamily="34" charset="0"/>
                <a:ea typeface="宋体" pitchFamily="2" charset="-122"/>
              </a:endParaRPr>
            </a:p>
            <a:p>
              <a:pPr defTabSz="913765">
                <a:lnSpc>
                  <a:spcPct val="150000"/>
                </a:lnSpc>
                <a:buSzPct val="25000"/>
                <a:defRPr/>
              </a:pPr>
              <a:r>
                <a:rPr lang="en-US" altLang="zh-CN" sz="1000" dirty="0">
                  <a:latin typeface="Calibri" pitchFamily="34" charset="0"/>
                  <a:ea typeface="宋体" pitchFamily="2" charset="-122"/>
                </a:rPr>
                <a:t>convenient to change. </a:t>
              </a:r>
              <a:endParaRPr lang="en-US" altLang="zh-CN" sz="1000" dirty="0">
                <a:latin typeface="Calibri" pitchFamily="34" charset="0"/>
                <a:ea typeface="宋体" pitchFamily="2" charset="-122"/>
              </a:endParaRPr>
            </a:p>
          </p:txBody>
        </p:sp>
        <p:sp>
          <p:nvSpPr>
            <p:cNvPr id="70" name="矩形 69"/>
            <p:cNvSpPr/>
            <p:nvPr/>
          </p:nvSpPr>
          <p:spPr>
            <a:xfrm>
              <a:off x="6419298" y="4530137"/>
              <a:ext cx="112938" cy="112936"/>
            </a:xfrm>
            <a:prstGeom prst="rect">
              <a:avLst/>
            </a:prstGeom>
            <a:gradFill>
              <a:gsLst>
                <a:gs pos="0">
                  <a:schemeClr val="accent3">
                    <a:lumMod val="60000"/>
                    <a:lumOff val="40000"/>
                  </a:schemeClr>
                </a:gs>
                <a:gs pos="60000">
                  <a:schemeClr val="accent3"/>
                </a:gs>
              </a:gsLst>
              <a:lin ang="2700000" scaled="0"/>
            </a:gradFill>
            <a:ln w="57150" cap="rnd">
              <a:noFill/>
              <a:prstDash val="solid"/>
              <a:round/>
            </a:ln>
            <a:effectLst>
              <a:outerShdw blurRad="76200" dist="50800" dir="5400000" algn="ctr" rotWithShape="0">
                <a:schemeClr val="accent3">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25000" lnSpcReduction="20000"/>
            </a:bodyPr>
            <a:lstStyle/>
            <a:p>
              <a:pPr algn="ctr"/>
              <a:endParaRPr lang="zh-CN" altLang="en-US" sz="1200" b="1">
                <a:solidFill>
                  <a:srgbClr val="FFFFFF"/>
                </a:solidFill>
              </a:endParaRPr>
            </a:p>
          </p:txBody>
        </p:sp>
        <p:sp>
          <p:nvSpPr>
            <p:cNvPr id="72" name="文本框 71"/>
            <p:cNvSpPr txBox="1"/>
            <p:nvPr/>
          </p:nvSpPr>
          <p:spPr>
            <a:xfrm>
              <a:off x="9093203" y="3286126"/>
              <a:ext cx="2226433" cy="991810"/>
            </a:xfrm>
            <a:prstGeom prst="rect">
              <a:avLst/>
            </a:prstGeom>
            <a:noFill/>
          </p:spPr>
          <p:txBody>
            <a:bodyPr wrap="square" rtlCol="0">
              <a:spAutoFit/>
            </a:bodyPr>
            <a:lstStyle/>
            <a:p>
              <a:pPr defTabSz="913765">
                <a:lnSpc>
                  <a:spcPct val="150000"/>
                </a:lnSpc>
                <a:buSzPct val="25000"/>
                <a:defRPr/>
              </a:pPr>
              <a:r>
                <a:rPr lang="en-US" altLang="zh-CN" sz="1000" dirty="0">
                  <a:latin typeface="Calibri" pitchFamily="34" charset="0"/>
                  <a:ea typeface="宋体" pitchFamily="2" charset="-122"/>
                </a:rPr>
                <a:t>Theme color makes PPT more </a:t>
              </a:r>
              <a:endParaRPr lang="en-US" altLang="zh-CN" sz="1000" dirty="0">
                <a:latin typeface="Calibri" pitchFamily="34" charset="0"/>
                <a:ea typeface="宋体" pitchFamily="2" charset="-122"/>
              </a:endParaRPr>
            </a:p>
            <a:p>
              <a:pPr defTabSz="913765">
                <a:lnSpc>
                  <a:spcPct val="150000"/>
                </a:lnSpc>
                <a:buSzPct val="25000"/>
                <a:defRPr/>
              </a:pPr>
              <a:r>
                <a:rPr lang="en-US" altLang="zh-CN" sz="1000" dirty="0">
                  <a:latin typeface="Calibri" pitchFamily="34" charset="0"/>
                  <a:ea typeface="宋体" pitchFamily="2" charset="-122"/>
                </a:rPr>
                <a:t>convenient to change.</a:t>
              </a:r>
              <a:endParaRPr lang="en-US" altLang="zh-CN" sz="1000" dirty="0">
                <a:latin typeface="Calibri" pitchFamily="34" charset="0"/>
                <a:ea typeface="宋体" pitchFamily="2" charset="-122"/>
              </a:endParaRPr>
            </a:p>
            <a:p>
              <a:pPr defTabSz="913765">
                <a:lnSpc>
                  <a:spcPct val="150000"/>
                </a:lnSpc>
                <a:buSzPct val="25000"/>
                <a:defRPr/>
              </a:pPr>
              <a:r>
                <a:rPr lang="en-US" altLang="zh-CN" sz="1000" dirty="0">
                  <a:latin typeface="Calibri" pitchFamily="34" charset="0"/>
                  <a:ea typeface="宋体" pitchFamily="2" charset="-122"/>
                </a:rPr>
                <a:t>Copy paste  fonts. Choose the only option to retain text. </a:t>
              </a:r>
              <a:endParaRPr lang="en-US" altLang="zh-CN" sz="1000" dirty="0">
                <a:latin typeface="Calibri" pitchFamily="34" charset="0"/>
                <a:ea typeface="宋体" pitchFamily="2" charset="-122"/>
              </a:endParaRPr>
            </a:p>
          </p:txBody>
        </p:sp>
        <p:sp>
          <p:nvSpPr>
            <p:cNvPr id="73" name="文本框 72"/>
            <p:cNvSpPr txBox="1"/>
            <p:nvPr/>
          </p:nvSpPr>
          <p:spPr>
            <a:xfrm>
              <a:off x="9093203" y="4871675"/>
              <a:ext cx="2226433" cy="530145"/>
            </a:xfrm>
            <a:prstGeom prst="rect">
              <a:avLst/>
            </a:prstGeom>
            <a:noFill/>
          </p:spPr>
          <p:txBody>
            <a:bodyPr wrap="square" rtlCol="0">
              <a:spAutoFit/>
            </a:bodyPr>
            <a:lstStyle/>
            <a:p>
              <a:pPr defTabSz="913765">
                <a:lnSpc>
                  <a:spcPct val="150000"/>
                </a:lnSpc>
                <a:buSzPct val="25000"/>
                <a:defRPr/>
              </a:pPr>
              <a:r>
                <a:rPr lang="en-US" altLang="zh-CN" sz="1000" dirty="0">
                  <a:latin typeface="Calibri" pitchFamily="34" charset="0"/>
                  <a:ea typeface="宋体" pitchFamily="2" charset="-122"/>
                </a:rPr>
                <a:t>Theme color makes PPT more </a:t>
              </a:r>
              <a:endParaRPr lang="en-US" altLang="zh-CN" sz="1000" dirty="0">
                <a:latin typeface="Calibri" pitchFamily="34" charset="0"/>
                <a:ea typeface="宋体" pitchFamily="2" charset="-122"/>
              </a:endParaRPr>
            </a:p>
            <a:p>
              <a:pPr defTabSz="913765">
                <a:lnSpc>
                  <a:spcPct val="150000"/>
                </a:lnSpc>
                <a:buSzPct val="25000"/>
                <a:defRPr/>
              </a:pPr>
              <a:r>
                <a:rPr lang="en-US" altLang="zh-CN" sz="1000" dirty="0">
                  <a:latin typeface="Calibri" pitchFamily="34" charset="0"/>
                  <a:ea typeface="宋体" pitchFamily="2" charset="-122"/>
                </a:rPr>
                <a:t>convenient to change. </a:t>
              </a:r>
              <a:endParaRPr lang="en-US" altLang="zh-CN" sz="1000" dirty="0">
                <a:latin typeface="Calibri" pitchFamily="34" charset="0"/>
                <a:ea typeface="宋体" pitchFamily="2" charset="-122"/>
              </a:endParaRPr>
            </a:p>
          </p:txBody>
        </p:sp>
        <p:sp>
          <p:nvSpPr>
            <p:cNvPr id="74" name="矩形 73"/>
            <p:cNvSpPr/>
            <p:nvPr/>
          </p:nvSpPr>
          <p:spPr>
            <a:xfrm>
              <a:off x="9195596" y="4530137"/>
              <a:ext cx="112938" cy="112936"/>
            </a:xfrm>
            <a:prstGeom prst="rect">
              <a:avLst/>
            </a:prstGeom>
            <a:gradFill>
              <a:gsLst>
                <a:gs pos="0">
                  <a:schemeClr val="accent4">
                    <a:lumMod val="60000"/>
                    <a:lumOff val="40000"/>
                  </a:schemeClr>
                </a:gs>
                <a:gs pos="60000">
                  <a:schemeClr val="accent4"/>
                </a:gs>
              </a:gsLst>
              <a:lin ang="2700000" scaled="0"/>
            </a:gradFill>
            <a:ln w="57150" cap="rnd">
              <a:noFill/>
              <a:prstDash val="solid"/>
              <a:round/>
            </a:ln>
            <a:effectLst>
              <a:outerShdw blurRad="76200" dist="50800" dir="5400000" algn="ctr" rotWithShape="0">
                <a:schemeClr val="accent4">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25000" lnSpcReduction="20000"/>
            </a:bodyPr>
            <a:lstStyle/>
            <a:p>
              <a:pPr algn="ctr"/>
              <a:endParaRPr lang="zh-CN" altLang="en-US" sz="1200" b="1">
                <a:solidFill>
                  <a:srgbClr val="FFFFFF"/>
                </a:solidFill>
              </a:endParaRPr>
            </a:p>
          </p:txBody>
        </p:sp>
      </p:grpSp>
    </p:spTree>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1436075" y="1246247"/>
            <a:ext cx="9326201" cy="4416638"/>
            <a:chOff x="1436075" y="1246247"/>
            <a:chExt cx="9326201" cy="4416638"/>
          </a:xfrm>
        </p:grpSpPr>
        <p:sp>
          <p:nvSpPr>
            <p:cNvPr id="3" name="矩形: 圆角 2"/>
            <p:cNvSpPr/>
            <p:nvPr/>
          </p:nvSpPr>
          <p:spPr>
            <a:xfrm>
              <a:off x="3966117" y="1246247"/>
              <a:ext cx="4259766" cy="1338146"/>
            </a:xfrm>
            <a:prstGeom prst="roundRect">
              <a:avLst>
                <a:gd name="adj" fmla="val 50000"/>
              </a:avLst>
            </a:prstGeom>
            <a:solidFill>
              <a:schemeClr val="tx1">
                <a:lumMod val="50000"/>
                <a:lumOff val="50000"/>
                <a:alpha val="10000"/>
              </a:schemeClr>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noAutofit/>
            </a:bodyPr>
            <a:lstStyle/>
            <a:p>
              <a:pPr marL="0" marR="0" lvl="0" indent="0" algn="ctr" defTabSz="913765" rtl="0" eaLnBrk="1" fontAlgn="auto" latinLnBrk="0" hangingPunct="1">
                <a:lnSpc>
                  <a:spcPct val="100000"/>
                </a:lnSpc>
                <a:spcBef>
                  <a:spcPts val="0"/>
                </a:spcBef>
                <a:spcAft>
                  <a:spcPts val="0"/>
                </a:spcAft>
                <a:buClrTx/>
                <a:buSzPct val="25000"/>
                <a:buFontTx/>
                <a:buNone/>
                <a:defRPr/>
              </a:pPr>
              <a:r>
                <a:rPr kumimoji="0" lang="en-US" altLang="zh-CN" sz="2400" b="1" i="0" u="none" strike="noStrike" kern="1200" cap="none" spc="0" normalizeH="0" baseline="0" noProof="0" dirty="0">
                  <a:ln>
                    <a:noFill/>
                  </a:ln>
                  <a:solidFill>
                    <a:schemeClr val="tx1"/>
                  </a:solidFill>
                  <a:effectLst/>
                  <a:uLnTx/>
                  <a:uFillTx/>
                  <a:latin typeface="Arial" panose="020B0604020202090204" pitchFamily="34" charset="0"/>
                  <a:ea typeface="华文楷体" panose="02010600040101010101" pitchFamily="2" charset="-122"/>
                </a:rPr>
                <a:t>Unified fonts make </a:t>
              </a:r>
              <a:endParaRPr kumimoji="0" lang="en-US" altLang="zh-CN" sz="2400" b="1" i="0" u="none" strike="noStrike" kern="1200" cap="none" spc="0" normalizeH="0" baseline="0" noProof="0" dirty="0">
                <a:ln>
                  <a:noFill/>
                </a:ln>
                <a:solidFill>
                  <a:schemeClr val="tx1"/>
                </a:solidFill>
                <a:effectLst/>
                <a:uLnTx/>
                <a:uFillTx/>
                <a:latin typeface="Arial" panose="020B0604020202090204" pitchFamily="34" charset="0"/>
                <a:ea typeface="华文楷体" panose="02010600040101010101" pitchFamily="2" charset="-122"/>
              </a:endParaRPr>
            </a:p>
            <a:p>
              <a:pPr marL="0" marR="0" lvl="0" indent="0" algn="ctr" defTabSz="913765" rtl="0" eaLnBrk="1" fontAlgn="auto" latinLnBrk="0" hangingPunct="1">
                <a:lnSpc>
                  <a:spcPct val="100000"/>
                </a:lnSpc>
                <a:spcBef>
                  <a:spcPts val="0"/>
                </a:spcBef>
                <a:spcAft>
                  <a:spcPts val="0"/>
                </a:spcAft>
                <a:buClrTx/>
                <a:buSzPct val="25000"/>
                <a:buFontTx/>
                <a:buNone/>
                <a:defRPr/>
              </a:pPr>
              <a:r>
                <a:rPr kumimoji="0" lang="en-US" altLang="zh-CN" sz="2400" b="1" i="0" u="none" strike="noStrike" kern="1200" cap="none" spc="0" normalizeH="0" baseline="0" noProof="0" dirty="0">
                  <a:ln>
                    <a:noFill/>
                  </a:ln>
                  <a:solidFill>
                    <a:schemeClr val="tx1"/>
                  </a:solidFill>
                  <a:effectLst/>
                  <a:uLnTx/>
                  <a:uFillTx/>
                  <a:latin typeface="Arial" panose="020B0604020202090204" pitchFamily="34" charset="0"/>
                  <a:ea typeface="华文楷体" panose="02010600040101010101" pitchFamily="2" charset="-122"/>
                </a:rPr>
                <a:t>reading more fluent.</a:t>
              </a:r>
              <a:endParaRPr kumimoji="0" lang="en-US" altLang="zh-CN" sz="2400" b="1" i="0" u="none" strike="noStrike" kern="1200" cap="none" spc="0" normalizeH="0" baseline="0" noProof="0" dirty="0">
                <a:ln>
                  <a:noFill/>
                </a:ln>
                <a:solidFill>
                  <a:schemeClr val="tx1"/>
                </a:solidFill>
                <a:effectLst/>
                <a:uLnTx/>
                <a:uFillTx/>
                <a:latin typeface="Arial" panose="020B0604020202090204" pitchFamily="34" charset="0"/>
                <a:ea typeface="华文楷体" panose="02010600040101010101" pitchFamily="2" charset="-122"/>
              </a:endParaRPr>
            </a:p>
          </p:txBody>
        </p:sp>
        <p:sp>
          <p:nvSpPr>
            <p:cNvPr id="4" name="椭圆 3"/>
            <p:cNvSpPr/>
            <p:nvPr/>
          </p:nvSpPr>
          <p:spPr>
            <a:xfrm>
              <a:off x="1959640" y="3593384"/>
              <a:ext cx="1066800" cy="1066800"/>
            </a:xfrm>
            <a:prstGeom prst="ellipse">
              <a:avLst/>
            </a:prstGeom>
            <a:solidFill>
              <a:schemeClr val="tx1">
                <a:lumMod val="50000"/>
                <a:lumOff val="50000"/>
                <a:alpha val="10000"/>
              </a:schemeClr>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p>
              <a:pPr algn="ctr" defTabSz="913765"/>
              <a:endParaRPr lang="zh-CN" altLang="en-US" sz="1400" b="1">
                <a:solidFill>
                  <a:schemeClr val="accent1"/>
                </a:solidFill>
              </a:endParaRPr>
            </a:p>
          </p:txBody>
        </p:sp>
        <p:sp>
          <p:nvSpPr>
            <p:cNvPr id="5" name="椭圆 4"/>
            <p:cNvSpPr/>
            <p:nvPr/>
          </p:nvSpPr>
          <p:spPr>
            <a:xfrm>
              <a:off x="5562600" y="3593384"/>
              <a:ext cx="1066800" cy="1066800"/>
            </a:xfrm>
            <a:prstGeom prst="ellipse">
              <a:avLst/>
            </a:prstGeom>
            <a:solidFill>
              <a:schemeClr val="accent1"/>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p>
              <a:pPr algn="ctr" defTabSz="913765"/>
              <a:endParaRPr lang="zh-CN" altLang="en-US" sz="1400" b="1">
                <a:solidFill>
                  <a:schemeClr val="accent1"/>
                </a:solidFill>
              </a:endParaRPr>
            </a:p>
          </p:txBody>
        </p:sp>
        <p:sp>
          <p:nvSpPr>
            <p:cNvPr id="6" name="椭圆 5"/>
            <p:cNvSpPr/>
            <p:nvPr/>
          </p:nvSpPr>
          <p:spPr>
            <a:xfrm>
              <a:off x="9165560" y="3593384"/>
              <a:ext cx="1066800" cy="1066800"/>
            </a:xfrm>
            <a:prstGeom prst="ellipse">
              <a:avLst/>
            </a:prstGeom>
            <a:solidFill>
              <a:schemeClr val="tx1">
                <a:lumMod val="50000"/>
                <a:lumOff val="50000"/>
                <a:alpha val="10000"/>
              </a:schemeClr>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p>
              <a:pPr algn="ctr" defTabSz="913765"/>
              <a:endParaRPr lang="zh-CN" altLang="en-US" sz="1400" b="1">
                <a:solidFill>
                  <a:schemeClr val="accent1"/>
                </a:solidFill>
              </a:endParaRPr>
            </a:p>
          </p:txBody>
        </p:sp>
        <p:cxnSp>
          <p:nvCxnSpPr>
            <p:cNvPr id="10" name="连接符: 肘形 9"/>
            <p:cNvCxnSpPr>
              <a:stCxn id="4" idx="0"/>
              <a:endCxn id="6" idx="0"/>
            </p:cNvCxnSpPr>
            <p:nvPr/>
          </p:nvCxnSpPr>
          <p:spPr>
            <a:xfrm rot="5400000" flipH="1" flipV="1">
              <a:off x="6096000" y="-9576"/>
              <a:ext cx="12700" cy="7205920"/>
            </a:xfrm>
            <a:prstGeom prst="bentConnector3">
              <a:avLst>
                <a:gd name="adj1" fmla="val 3960000"/>
              </a:avLst>
            </a:prstGeom>
            <a:ln>
              <a:solidFill>
                <a:schemeClr val="tx1">
                  <a:lumMod val="50000"/>
                  <a:lumOff val="50000"/>
                  <a:alpha val="40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4" name="直接连接符 13"/>
            <p:cNvCxnSpPr>
              <a:stCxn id="3" idx="2"/>
              <a:endCxn id="5" idx="0"/>
            </p:cNvCxnSpPr>
            <p:nvPr/>
          </p:nvCxnSpPr>
          <p:spPr>
            <a:xfrm>
              <a:off x="6096000" y="2584393"/>
              <a:ext cx="0" cy="1008991"/>
            </a:xfrm>
            <a:prstGeom prst="line">
              <a:avLst/>
            </a:prstGeom>
            <a:ln>
              <a:solidFill>
                <a:schemeClr val="tx1">
                  <a:lumMod val="50000"/>
                  <a:lumOff val="50000"/>
                  <a:alpha val="40000"/>
                </a:schemeClr>
              </a:solidFill>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7" name="文本框 16"/>
            <p:cNvSpPr txBox="1"/>
            <p:nvPr/>
          </p:nvSpPr>
          <p:spPr>
            <a:xfrm>
              <a:off x="1436075" y="4796485"/>
              <a:ext cx="2113931" cy="338554"/>
            </a:xfrm>
            <a:prstGeom prst="rect">
              <a:avLst/>
            </a:prstGeom>
            <a:noFill/>
          </p:spPr>
          <p:txBody>
            <a:bodyPr wrap="square" rtlCol="0">
              <a:spAutoFit/>
            </a:bodyPr>
            <a:lstStyle/>
            <a:p>
              <a:pPr algn="ctr"/>
              <a:r>
                <a:rPr lang="en-US" altLang="zh-CN" sz="1600" b="1" dirty="0">
                  <a:latin typeface="Arial" panose="020B0604020202090204" pitchFamily="34" charset="0"/>
                  <a:ea typeface="华文楷体" panose="02010600040101010101" pitchFamily="2" charset="-122"/>
                </a:rPr>
                <a:t>Text here</a:t>
              </a:r>
              <a:endParaRPr lang="en-US" altLang="zh-CN" sz="1600" b="1" dirty="0">
                <a:latin typeface="Arial" panose="020B0604020202090204" pitchFamily="34" charset="0"/>
                <a:ea typeface="华文楷体" panose="02010600040101010101" pitchFamily="2" charset="-122"/>
              </a:endParaRPr>
            </a:p>
          </p:txBody>
        </p:sp>
        <p:sp>
          <p:nvSpPr>
            <p:cNvPr id="18" name="文本框 17"/>
            <p:cNvSpPr txBox="1"/>
            <p:nvPr/>
          </p:nvSpPr>
          <p:spPr>
            <a:xfrm>
              <a:off x="1436075" y="5137420"/>
              <a:ext cx="2113930" cy="525465"/>
            </a:xfrm>
            <a:prstGeom prst="rect">
              <a:avLst/>
            </a:prstGeom>
            <a:noFill/>
          </p:spPr>
          <p:txBody>
            <a:bodyPr wrap="square" rtlCol="0">
              <a:spAutoFit/>
            </a:bodyPr>
            <a:lstStyle/>
            <a:p>
              <a:pPr algn="ctr">
                <a:lnSpc>
                  <a:spcPct val="150000"/>
                </a:lnSpc>
              </a:pPr>
              <a:r>
                <a:rPr lang="en-US" altLang="zh-CN" sz="1000" dirty="0">
                  <a:latin typeface="Arial" panose="020B0604020202090204" pitchFamily="34" charset="0"/>
                  <a:ea typeface="华文楷体" panose="02010600040101010101" pitchFamily="2" charset="-122"/>
                </a:rPr>
                <a:t>Theme color makes PPT more convenient to change. </a:t>
              </a:r>
              <a:endParaRPr lang="en-US" altLang="zh-CN" sz="1000" dirty="0">
                <a:latin typeface="Arial" panose="020B0604020202090204" pitchFamily="34" charset="0"/>
                <a:ea typeface="华文楷体" panose="02010600040101010101" pitchFamily="2" charset="-122"/>
              </a:endParaRPr>
            </a:p>
          </p:txBody>
        </p:sp>
        <p:sp>
          <p:nvSpPr>
            <p:cNvPr id="21" name="文本框 20"/>
            <p:cNvSpPr txBox="1"/>
            <p:nvPr/>
          </p:nvSpPr>
          <p:spPr>
            <a:xfrm>
              <a:off x="5039035" y="4796485"/>
              <a:ext cx="2113931" cy="338554"/>
            </a:xfrm>
            <a:prstGeom prst="rect">
              <a:avLst/>
            </a:prstGeom>
            <a:noFill/>
          </p:spPr>
          <p:txBody>
            <a:bodyPr wrap="square" rtlCol="0">
              <a:spAutoFit/>
            </a:bodyPr>
            <a:lstStyle/>
            <a:p>
              <a:pPr algn="ctr"/>
              <a:r>
                <a:rPr lang="en-US" altLang="zh-CN" sz="1600" b="1" dirty="0">
                  <a:latin typeface="Arial" panose="020B0604020202090204" pitchFamily="34" charset="0"/>
                  <a:ea typeface="华文楷体" panose="02010600040101010101" pitchFamily="2" charset="-122"/>
                </a:rPr>
                <a:t>Text here</a:t>
              </a:r>
              <a:endParaRPr lang="en-US" altLang="zh-CN" sz="1600" b="1" dirty="0">
                <a:latin typeface="Arial" panose="020B0604020202090204" pitchFamily="34" charset="0"/>
                <a:ea typeface="华文楷体" panose="02010600040101010101" pitchFamily="2" charset="-122"/>
              </a:endParaRPr>
            </a:p>
          </p:txBody>
        </p:sp>
        <p:sp>
          <p:nvSpPr>
            <p:cNvPr id="22" name="文本框 21"/>
            <p:cNvSpPr txBox="1"/>
            <p:nvPr/>
          </p:nvSpPr>
          <p:spPr>
            <a:xfrm>
              <a:off x="5039035" y="5137420"/>
              <a:ext cx="2113930" cy="525465"/>
            </a:xfrm>
            <a:prstGeom prst="rect">
              <a:avLst/>
            </a:prstGeom>
            <a:noFill/>
          </p:spPr>
          <p:txBody>
            <a:bodyPr wrap="square" rtlCol="0">
              <a:spAutoFit/>
            </a:bodyPr>
            <a:lstStyle/>
            <a:p>
              <a:pPr algn="ctr">
                <a:lnSpc>
                  <a:spcPct val="150000"/>
                </a:lnSpc>
              </a:pPr>
              <a:r>
                <a:rPr lang="en-US" altLang="zh-CN" sz="1000" dirty="0">
                  <a:latin typeface="Arial" panose="020B0604020202090204" pitchFamily="34" charset="0"/>
                  <a:ea typeface="华文楷体" panose="02010600040101010101" pitchFamily="2" charset="-122"/>
                </a:rPr>
                <a:t>Theme color makes PPT more convenient to change. </a:t>
              </a:r>
              <a:endParaRPr lang="en-US" altLang="zh-CN" sz="1000" dirty="0">
                <a:latin typeface="Arial" panose="020B0604020202090204" pitchFamily="34" charset="0"/>
                <a:ea typeface="华文楷体" panose="02010600040101010101" pitchFamily="2" charset="-122"/>
              </a:endParaRPr>
            </a:p>
          </p:txBody>
        </p:sp>
        <p:sp>
          <p:nvSpPr>
            <p:cNvPr id="23" name="文本框 22"/>
            <p:cNvSpPr txBox="1"/>
            <p:nvPr/>
          </p:nvSpPr>
          <p:spPr>
            <a:xfrm>
              <a:off x="8648345" y="4796485"/>
              <a:ext cx="2113931" cy="338554"/>
            </a:xfrm>
            <a:prstGeom prst="rect">
              <a:avLst/>
            </a:prstGeom>
            <a:noFill/>
          </p:spPr>
          <p:txBody>
            <a:bodyPr wrap="square" rtlCol="0">
              <a:spAutoFit/>
            </a:bodyPr>
            <a:lstStyle/>
            <a:p>
              <a:pPr algn="ctr"/>
              <a:r>
                <a:rPr lang="en-US" altLang="zh-CN" sz="1600" b="1" dirty="0">
                  <a:latin typeface="Arial" panose="020B0604020202090204" pitchFamily="34" charset="0"/>
                  <a:ea typeface="华文楷体" panose="02010600040101010101" pitchFamily="2" charset="-122"/>
                </a:rPr>
                <a:t>Text here</a:t>
              </a:r>
              <a:endParaRPr lang="en-US" altLang="zh-CN" sz="1600" b="1" dirty="0">
                <a:latin typeface="Arial" panose="020B0604020202090204" pitchFamily="34" charset="0"/>
                <a:ea typeface="华文楷体" panose="02010600040101010101" pitchFamily="2" charset="-122"/>
              </a:endParaRPr>
            </a:p>
          </p:txBody>
        </p:sp>
        <p:sp>
          <p:nvSpPr>
            <p:cNvPr id="24" name="文本框 23"/>
            <p:cNvSpPr txBox="1"/>
            <p:nvPr/>
          </p:nvSpPr>
          <p:spPr>
            <a:xfrm>
              <a:off x="8648345" y="5137420"/>
              <a:ext cx="2113930" cy="525465"/>
            </a:xfrm>
            <a:prstGeom prst="rect">
              <a:avLst/>
            </a:prstGeom>
            <a:noFill/>
          </p:spPr>
          <p:txBody>
            <a:bodyPr wrap="square" rtlCol="0">
              <a:spAutoFit/>
            </a:bodyPr>
            <a:lstStyle/>
            <a:p>
              <a:pPr algn="ctr">
                <a:lnSpc>
                  <a:spcPct val="150000"/>
                </a:lnSpc>
              </a:pPr>
              <a:r>
                <a:rPr lang="en-US" altLang="zh-CN" sz="1000" dirty="0">
                  <a:latin typeface="Arial" panose="020B0604020202090204" pitchFamily="34" charset="0"/>
                  <a:ea typeface="华文楷体" panose="02010600040101010101" pitchFamily="2" charset="-122"/>
                </a:rPr>
                <a:t>Theme color makes PPT more convenient to change. </a:t>
              </a:r>
              <a:endParaRPr lang="en-US" altLang="zh-CN" sz="1000" dirty="0">
                <a:latin typeface="Arial" panose="020B0604020202090204" pitchFamily="34" charset="0"/>
                <a:ea typeface="华文楷体" panose="02010600040101010101" pitchFamily="2" charset="-122"/>
              </a:endParaRPr>
            </a:p>
          </p:txBody>
        </p:sp>
        <p:sp>
          <p:nvSpPr>
            <p:cNvPr id="25" name="任意多边形: 形状 24"/>
            <p:cNvSpPr/>
            <p:nvPr/>
          </p:nvSpPr>
          <p:spPr>
            <a:xfrm>
              <a:off x="2340728" y="3977194"/>
              <a:ext cx="304624" cy="299180"/>
            </a:xfrm>
            <a:custGeom>
              <a:avLst/>
              <a:gdLst>
                <a:gd name="connsiteX0" fmla="*/ 343764 w 533400"/>
                <a:gd name="connsiteY0" fmla="*/ 276846 h 523875"/>
                <a:gd name="connsiteX1" fmla="*/ 372339 w 533400"/>
                <a:gd name="connsiteY1" fmla="*/ 305421 h 523875"/>
                <a:gd name="connsiteX2" fmla="*/ 372339 w 533400"/>
                <a:gd name="connsiteY2" fmla="*/ 495921 h 523875"/>
                <a:gd name="connsiteX3" fmla="*/ 343764 w 533400"/>
                <a:gd name="connsiteY3" fmla="*/ 524496 h 523875"/>
                <a:gd name="connsiteX4" fmla="*/ 191364 w 533400"/>
                <a:gd name="connsiteY4" fmla="*/ 524496 h 523875"/>
                <a:gd name="connsiteX5" fmla="*/ 162789 w 533400"/>
                <a:gd name="connsiteY5" fmla="*/ 495921 h 523875"/>
                <a:gd name="connsiteX6" fmla="*/ 162789 w 533400"/>
                <a:gd name="connsiteY6" fmla="*/ 305421 h 523875"/>
                <a:gd name="connsiteX7" fmla="*/ 191364 w 533400"/>
                <a:gd name="connsiteY7" fmla="*/ 276846 h 523875"/>
                <a:gd name="connsiteX8" fmla="*/ 343764 w 533400"/>
                <a:gd name="connsiteY8" fmla="*/ 276846 h 523875"/>
                <a:gd name="connsiteX9" fmla="*/ 143739 w 533400"/>
                <a:gd name="connsiteY9" fmla="*/ 114921 h 523875"/>
                <a:gd name="connsiteX10" fmla="*/ 179934 w 533400"/>
                <a:gd name="connsiteY10" fmla="*/ 153021 h 523875"/>
                <a:gd name="connsiteX11" fmla="*/ 181839 w 533400"/>
                <a:gd name="connsiteY11" fmla="*/ 153021 h 523875"/>
                <a:gd name="connsiteX12" fmla="*/ 353289 w 533400"/>
                <a:gd name="connsiteY12" fmla="*/ 153021 h 523875"/>
                <a:gd name="connsiteX13" fmla="*/ 391389 w 533400"/>
                <a:gd name="connsiteY13" fmla="*/ 116826 h 523875"/>
                <a:gd name="connsiteX14" fmla="*/ 391389 w 533400"/>
                <a:gd name="connsiteY14" fmla="*/ 114921 h 523875"/>
                <a:gd name="connsiteX15" fmla="*/ 505689 w 533400"/>
                <a:gd name="connsiteY15" fmla="*/ 114921 h 523875"/>
                <a:gd name="connsiteX16" fmla="*/ 534264 w 533400"/>
                <a:gd name="connsiteY16" fmla="*/ 143496 h 523875"/>
                <a:gd name="connsiteX17" fmla="*/ 534264 w 533400"/>
                <a:gd name="connsiteY17" fmla="*/ 381621 h 523875"/>
                <a:gd name="connsiteX18" fmla="*/ 505689 w 533400"/>
                <a:gd name="connsiteY18" fmla="*/ 410196 h 523875"/>
                <a:gd name="connsiteX19" fmla="*/ 391389 w 533400"/>
                <a:gd name="connsiteY19" fmla="*/ 410196 h 523875"/>
                <a:gd name="connsiteX20" fmla="*/ 391389 w 533400"/>
                <a:gd name="connsiteY20" fmla="*/ 295896 h 523875"/>
                <a:gd name="connsiteX21" fmla="*/ 355194 w 533400"/>
                <a:gd name="connsiteY21" fmla="*/ 257796 h 523875"/>
                <a:gd name="connsiteX22" fmla="*/ 353289 w 533400"/>
                <a:gd name="connsiteY22" fmla="*/ 257796 h 523875"/>
                <a:gd name="connsiteX23" fmla="*/ 181839 w 533400"/>
                <a:gd name="connsiteY23" fmla="*/ 257796 h 523875"/>
                <a:gd name="connsiteX24" fmla="*/ 143739 w 533400"/>
                <a:gd name="connsiteY24" fmla="*/ 293991 h 523875"/>
                <a:gd name="connsiteX25" fmla="*/ 143739 w 533400"/>
                <a:gd name="connsiteY25" fmla="*/ 295896 h 523875"/>
                <a:gd name="connsiteX26" fmla="*/ 143739 w 533400"/>
                <a:gd name="connsiteY26" fmla="*/ 410196 h 523875"/>
                <a:gd name="connsiteX27" fmla="*/ 29439 w 533400"/>
                <a:gd name="connsiteY27" fmla="*/ 410196 h 523875"/>
                <a:gd name="connsiteX28" fmla="*/ 864 w 533400"/>
                <a:gd name="connsiteY28" fmla="*/ 381621 h 523875"/>
                <a:gd name="connsiteX29" fmla="*/ 864 w 533400"/>
                <a:gd name="connsiteY29" fmla="*/ 201408 h 523875"/>
                <a:gd name="connsiteX30" fmla="*/ 11151 w 533400"/>
                <a:gd name="connsiteY30" fmla="*/ 175405 h 523875"/>
                <a:gd name="connsiteX31" fmla="*/ 56300 w 533400"/>
                <a:gd name="connsiteY31" fmla="*/ 127018 h 523875"/>
                <a:gd name="connsiteX32" fmla="*/ 84112 w 533400"/>
                <a:gd name="connsiteY32" fmla="*/ 114921 h 523875"/>
                <a:gd name="connsiteX33" fmla="*/ 143739 w 533400"/>
                <a:gd name="connsiteY33" fmla="*/ 114921 h 523875"/>
                <a:gd name="connsiteX34" fmla="*/ 462827 w 533400"/>
                <a:gd name="connsiteY34" fmla="*/ 172071 h 523875"/>
                <a:gd name="connsiteX35" fmla="*/ 448539 w 533400"/>
                <a:gd name="connsiteY35" fmla="*/ 186359 h 523875"/>
                <a:gd name="connsiteX36" fmla="*/ 462827 w 533400"/>
                <a:gd name="connsiteY36" fmla="*/ 200646 h 523875"/>
                <a:gd name="connsiteX37" fmla="*/ 477114 w 533400"/>
                <a:gd name="connsiteY37" fmla="*/ 186359 h 523875"/>
                <a:gd name="connsiteX38" fmla="*/ 462827 w 533400"/>
                <a:gd name="connsiteY38" fmla="*/ 172071 h 523875"/>
                <a:gd name="connsiteX39" fmla="*/ 343764 w 533400"/>
                <a:gd name="connsiteY39" fmla="*/ 621 h 523875"/>
                <a:gd name="connsiteX40" fmla="*/ 372339 w 533400"/>
                <a:gd name="connsiteY40" fmla="*/ 29196 h 523875"/>
                <a:gd name="connsiteX41" fmla="*/ 372339 w 533400"/>
                <a:gd name="connsiteY41" fmla="*/ 105396 h 523875"/>
                <a:gd name="connsiteX42" fmla="*/ 343764 w 533400"/>
                <a:gd name="connsiteY42" fmla="*/ 133971 h 523875"/>
                <a:gd name="connsiteX43" fmla="*/ 191364 w 533400"/>
                <a:gd name="connsiteY43" fmla="*/ 133971 h 523875"/>
                <a:gd name="connsiteX44" fmla="*/ 162789 w 533400"/>
                <a:gd name="connsiteY44" fmla="*/ 105396 h 523875"/>
                <a:gd name="connsiteX45" fmla="*/ 162789 w 533400"/>
                <a:gd name="connsiteY45" fmla="*/ 29196 h 523875"/>
                <a:gd name="connsiteX46" fmla="*/ 191364 w 533400"/>
                <a:gd name="connsiteY46" fmla="*/ 621 h 523875"/>
                <a:gd name="connsiteX47" fmla="*/ 343764 w 533400"/>
                <a:gd name="connsiteY47" fmla="*/ 621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533400" h="523875">
                  <a:moveTo>
                    <a:pt x="343764" y="276846"/>
                  </a:moveTo>
                  <a:cubicBezTo>
                    <a:pt x="359576" y="276846"/>
                    <a:pt x="372339" y="289610"/>
                    <a:pt x="372339" y="305421"/>
                  </a:cubicBezTo>
                  <a:lnTo>
                    <a:pt x="372339" y="495921"/>
                  </a:lnTo>
                  <a:cubicBezTo>
                    <a:pt x="372339" y="511732"/>
                    <a:pt x="359576" y="524496"/>
                    <a:pt x="343764" y="524496"/>
                  </a:cubicBezTo>
                  <a:lnTo>
                    <a:pt x="191364" y="524496"/>
                  </a:lnTo>
                  <a:cubicBezTo>
                    <a:pt x="175552" y="524496"/>
                    <a:pt x="162789" y="511732"/>
                    <a:pt x="162789" y="495921"/>
                  </a:cubicBezTo>
                  <a:lnTo>
                    <a:pt x="162789" y="305421"/>
                  </a:lnTo>
                  <a:cubicBezTo>
                    <a:pt x="162789" y="289610"/>
                    <a:pt x="175552" y="276846"/>
                    <a:pt x="191364" y="276846"/>
                  </a:cubicBezTo>
                  <a:lnTo>
                    <a:pt x="343764" y="276846"/>
                  </a:lnTo>
                  <a:close/>
                  <a:moveTo>
                    <a:pt x="143739" y="114921"/>
                  </a:moveTo>
                  <a:cubicBezTo>
                    <a:pt x="143739" y="135305"/>
                    <a:pt x="159741" y="151973"/>
                    <a:pt x="179934" y="153021"/>
                  </a:cubicBezTo>
                  <a:lnTo>
                    <a:pt x="181839" y="153021"/>
                  </a:lnTo>
                  <a:lnTo>
                    <a:pt x="353289" y="153021"/>
                  </a:lnTo>
                  <a:cubicBezTo>
                    <a:pt x="373673" y="153021"/>
                    <a:pt x="390341" y="137019"/>
                    <a:pt x="391389" y="116826"/>
                  </a:cubicBezTo>
                  <a:lnTo>
                    <a:pt x="391389" y="114921"/>
                  </a:lnTo>
                  <a:lnTo>
                    <a:pt x="505689" y="114921"/>
                  </a:lnTo>
                  <a:cubicBezTo>
                    <a:pt x="521501" y="114921"/>
                    <a:pt x="534264" y="127685"/>
                    <a:pt x="534264" y="143496"/>
                  </a:cubicBezTo>
                  <a:lnTo>
                    <a:pt x="534264" y="381621"/>
                  </a:lnTo>
                  <a:cubicBezTo>
                    <a:pt x="534264" y="397432"/>
                    <a:pt x="521501" y="410196"/>
                    <a:pt x="505689" y="410196"/>
                  </a:cubicBezTo>
                  <a:lnTo>
                    <a:pt x="391389" y="410196"/>
                  </a:lnTo>
                  <a:lnTo>
                    <a:pt x="391389" y="295896"/>
                  </a:lnTo>
                  <a:cubicBezTo>
                    <a:pt x="391389" y="275512"/>
                    <a:pt x="375387" y="258844"/>
                    <a:pt x="355194" y="257796"/>
                  </a:cubicBezTo>
                  <a:lnTo>
                    <a:pt x="353289" y="257796"/>
                  </a:lnTo>
                  <a:lnTo>
                    <a:pt x="181839" y="257796"/>
                  </a:lnTo>
                  <a:cubicBezTo>
                    <a:pt x="161455" y="257796"/>
                    <a:pt x="144787" y="273798"/>
                    <a:pt x="143739" y="293991"/>
                  </a:cubicBezTo>
                  <a:lnTo>
                    <a:pt x="143739" y="295896"/>
                  </a:lnTo>
                  <a:lnTo>
                    <a:pt x="143739" y="410196"/>
                  </a:lnTo>
                  <a:lnTo>
                    <a:pt x="29439" y="410196"/>
                  </a:lnTo>
                  <a:cubicBezTo>
                    <a:pt x="13627" y="410196"/>
                    <a:pt x="864" y="397432"/>
                    <a:pt x="864" y="381621"/>
                  </a:cubicBezTo>
                  <a:lnTo>
                    <a:pt x="864" y="201408"/>
                  </a:lnTo>
                  <a:cubicBezTo>
                    <a:pt x="864" y="191788"/>
                    <a:pt x="4484" y="182454"/>
                    <a:pt x="11151" y="175405"/>
                  </a:cubicBezTo>
                  <a:lnTo>
                    <a:pt x="56300" y="127018"/>
                  </a:lnTo>
                  <a:cubicBezTo>
                    <a:pt x="63538" y="119303"/>
                    <a:pt x="73635" y="114921"/>
                    <a:pt x="84112" y="114921"/>
                  </a:cubicBezTo>
                  <a:lnTo>
                    <a:pt x="143739" y="114921"/>
                  </a:lnTo>
                  <a:close/>
                  <a:moveTo>
                    <a:pt x="462827" y="172071"/>
                  </a:moveTo>
                  <a:cubicBezTo>
                    <a:pt x="454921" y="172071"/>
                    <a:pt x="448539" y="178453"/>
                    <a:pt x="448539" y="186359"/>
                  </a:cubicBezTo>
                  <a:cubicBezTo>
                    <a:pt x="448539" y="194264"/>
                    <a:pt x="454921" y="200646"/>
                    <a:pt x="462827" y="200646"/>
                  </a:cubicBezTo>
                  <a:cubicBezTo>
                    <a:pt x="470732" y="200646"/>
                    <a:pt x="477114" y="194264"/>
                    <a:pt x="477114" y="186359"/>
                  </a:cubicBezTo>
                  <a:cubicBezTo>
                    <a:pt x="477114" y="178453"/>
                    <a:pt x="470732" y="172071"/>
                    <a:pt x="462827" y="172071"/>
                  </a:cubicBezTo>
                  <a:close/>
                  <a:moveTo>
                    <a:pt x="343764" y="621"/>
                  </a:moveTo>
                  <a:cubicBezTo>
                    <a:pt x="359576" y="621"/>
                    <a:pt x="372339" y="13385"/>
                    <a:pt x="372339" y="29196"/>
                  </a:cubicBezTo>
                  <a:lnTo>
                    <a:pt x="372339" y="105396"/>
                  </a:lnTo>
                  <a:cubicBezTo>
                    <a:pt x="372339" y="121207"/>
                    <a:pt x="359576" y="133971"/>
                    <a:pt x="343764" y="133971"/>
                  </a:cubicBezTo>
                  <a:lnTo>
                    <a:pt x="191364" y="133971"/>
                  </a:lnTo>
                  <a:cubicBezTo>
                    <a:pt x="175552" y="133971"/>
                    <a:pt x="162789" y="121207"/>
                    <a:pt x="162789" y="105396"/>
                  </a:cubicBezTo>
                  <a:lnTo>
                    <a:pt x="162789" y="29196"/>
                  </a:lnTo>
                  <a:cubicBezTo>
                    <a:pt x="162789" y="13385"/>
                    <a:pt x="175552" y="621"/>
                    <a:pt x="191364" y="621"/>
                  </a:cubicBezTo>
                  <a:lnTo>
                    <a:pt x="343764" y="621"/>
                  </a:lnTo>
                  <a:close/>
                </a:path>
              </a:pathLst>
            </a:custGeom>
            <a:solidFill>
              <a:schemeClr val="tx1">
                <a:lumMod val="50000"/>
                <a:lumOff val="50000"/>
              </a:schemeClr>
            </a:solid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8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3765"/>
              <a:endParaRPr lang="zh-CN" altLang="en-US" sz="2000" b="1" dirty="0">
                <a:solidFill>
                  <a:schemeClr val="bg1"/>
                </a:solidFill>
              </a:endParaRPr>
            </a:p>
          </p:txBody>
        </p:sp>
        <p:sp>
          <p:nvSpPr>
            <p:cNvPr id="26" name="任意多边形: 形状 25"/>
            <p:cNvSpPr/>
            <p:nvPr/>
          </p:nvSpPr>
          <p:spPr>
            <a:xfrm>
              <a:off x="9538141" y="3992901"/>
              <a:ext cx="321638" cy="267766"/>
            </a:xfrm>
            <a:custGeom>
              <a:avLst/>
              <a:gdLst>
                <a:gd name="connsiteX0" fmla="*/ 483573 w 526297"/>
                <a:gd name="connsiteY0" fmla="*/ 133971 h 438150"/>
                <a:gd name="connsiteX1" fmla="*/ 527674 w 526297"/>
                <a:gd name="connsiteY1" fmla="*/ 178072 h 438150"/>
                <a:gd name="connsiteX2" fmla="*/ 527579 w 526297"/>
                <a:gd name="connsiteY2" fmla="*/ 181501 h 438150"/>
                <a:gd name="connsiteX3" fmla="*/ 514244 w 526297"/>
                <a:gd name="connsiteY3" fmla="*/ 355237 h 438150"/>
                <a:gd name="connsiteX4" fmla="*/ 485764 w 526297"/>
                <a:gd name="connsiteY4" fmla="*/ 381621 h 438150"/>
                <a:gd name="connsiteX5" fmla="*/ 454998 w 526297"/>
                <a:gd name="connsiteY5" fmla="*/ 381621 h 438150"/>
                <a:gd name="connsiteX6" fmla="*/ 454998 w 526297"/>
                <a:gd name="connsiteY6" fmla="*/ 438771 h 438150"/>
                <a:gd name="connsiteX7" fmla="*/ 435948 w 526297"/>
                <a:gd name="connsiteY7" fmla="*/ 438771 h 438150"/>
                <a:gd name="connsiteX8" fmla="*/ 435948 w 526297"/>
                <a:gd name="connsiteY8" fmla="*/ 381621 h 438150"/>
                <a:gd name="connsiteX9" fmla="*/ 93048 w 526297"/>
                <a:gd name="connsiteY9" fmla="*/ 381621 h 438150"/>
                <a:gd name="connsiteX10" fmla="*/ 93048 w 526297"/>
                <a:gd name="connsiteY10" fmla="*/ 438771 h 438150"/>
                <a:gd name="connsiteX11" fmla="*/ 73998 w 526297"/>
                <a:gd name="connsiteY11" fmla="*/ 438771 h 438150"/>
                <a:gd name="connsiteX12" fmla="*/ 73998 w 526297"/>
                <a:gd name="connsiteY12" fmla="*/ 381621 h 438150"/>
                <a:gd name="connsiteX13" fmla="*/ 43328 w 526297"/>
                <a:gd name="connsiteY13" fmla="*/ 381621 h 438150"/>
                <a:gd name="connsiteX14" fmla="*/ 14848 w 526297"/>
                <a:gd name="connsiteY14" fmla="*/ 355237 h 438150"/>
                <a:gd name="connsiteX15" fmla="*/ 1513 w 526297"/>
                <a:gd name="connsiteY15" fmla="*/ 181501 h 438150"/>
                <a:gd name="connsiteX16" fmla="*/ 42089 w 526297"/>
                <a:gd name="connsiteY16" fmla="*/ 134162 h 438150"/>
                <a:gd name="connsiteX17" fmla="*/ 45518 w 526297"/>
                <a:gd name="connsiteY17" fmla="*/ 134066 h 438150"/>
                <a:gd name="connsiteX18" fmla="*/ 101906 w 526297"/>
                <a:gd name="connsiteY18" fmla="*/ 180834 h 438150"/>
                <a:gd name="connsiteX19" fmla="*/ 121623 w 526297"/>
                <a:gd name="connsiteY19" fmla="*/ 286371 h 438150"/>
                <a:gd name="connsiteX20" fmla="*/ 407373 w 526297"/>
                <a:gd name="connsiteY20" fmla="*/ 286371 h 438150"/>
                <a:gd name="connsiteX21" fmla="*/ 427185 w 526297"/>
                <a:gd name="connsiteY21" fmla="*/ 180739 h 438150"/>
                <a:gd name="connsiteX22" fmla="*/ 483573 w 526297"/>
                <a:gd name="connsiteY22" fmla="*/ 133971 h 438150"/>
                <a:gd name="connsiteX23" fmla="*/ 416898 w 526297"/>
                <a:gd name="connsiteY23" fmla="*/ 621 h 438150"/>
                <a:gd name="connsiteX24" fmla="*/ 483573 w 526297"/>
                <a:gd name="connsiteY24" fmla="*/ 67296 h 438150"/>
                <a:gd name="connsiteX25" fmla="*/ 483573 w 526297"/>
                <a:gd name="connsiteY25" fmla="*/ 115397 h 438150"/>
                <a:gd name="connsiteX26" fmla="*/ 476429 w 526297"/>
                <a:gd name="connsiteY26" fmla="*/ 114921 h 438150"/>
                <a:gd name="connsiteX27" fmla="*/ 412040 w 526297"/>
                <a:gd name="connsiteY27" fmla="*/ 166451 h 438150"/>
                <a:gd name="connsiteX28" fmla="*/ 411564 w 526297"/>
                <a:gd name="connsiteY28" fmla="*/ 168737 h 438150"/>
                <a:gd name="connsiteX29" fmla="*/ 393086 w 526297"/>
                <a:gd name="connsiteY29" fmla="*/ 267321 h 438150"/>
                <a:gd name="connsiteX30" fmla="*/ 135911 w 526297"/>
                <a:gd name="connsiteY30" fmla="*/ 267321 h 438150"/>
                <a:gd name="connsiteX31" fmla="*/ 117432 w 526297"/>
                <a:gd name="connsiteY31" fmla="*/ 168737 h 438150"/>
                <a:gd name="connsiteX32" fmla="*/ 52567 w 526297"/>
                <a:gd name="connsiteY32" fmla="*/ 114921 h 438150"/>
                <a:gd name="connsiteX33" fmla="*/ 54948 w 526297"/>
                <a:gd name="connsiteY33" fmla="*/ 67296 h 438150"/>
                <a:gd name="connsiteX34" fmla="*/ 121623 w 526297"/>
                <a:gd name="connsiteY34" fmla="*/ 621 h 438150"/>
                <a:gd name="connsiteX35" fmla="*/ 416898 w 526297"/>
                <a:gd name="connsiteY35" fmla="*/ 621 h 43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526297" h="438150">
                  <a:moveTo>
                    <a:pt x="483573" y="133971"/>
                  </a:moveTo>
                  <a:cubicBezTo>
                    <a:pt x="507957" y="133971"/>
                    <a:pt x="527674" y="153688"/>
                    <a:pt x="527674" y="178072"/>
                  </a:cubicBezTo>
                  <a:cubicBezTo>
                    <a:pt x="527674" y="179215"/>
                    <a:pt x="527674" y="180358"/>
                    <a:pt x="527579" y="181501"/>
                  </a:cubicBezTo>
                  <a:lnTo>
                    <a:pt x="514244" y="355237"/>
                  </a:lnTo>
                  <a:cubicBezTo>
                    <a:pt x="513101" y="370096"/>
                    <a:pt x="500718" y="381621"/>
                    <a:pt x="485764" y="381621"/>
                  </a:cubicBezTo>
                  <a:lnTo>
                    <a:pt x="454998" y="381621"/>
                  </a:lnTo>
                  <a:lnTo>
                    <a:pt x="454998" y="438771"/>
                  </a:lnTo>
                  <a:lnTo>
                    <a:pt x="435948" y="438771"/>
                  </a:lnTo>
                  <a:lnTo>
                    <a:pt x="435948" y="381621"/>
                  </a:lnTo>
                  <a:lnTo>
                    <a:pt x="93048" y="381621"/>
                  </a:lnTo>
                  <a:lnTo>
                    <a:pt x="93048" y="438771"/>
                  </a:lnTo>
                  <a:lnTo>
                    <a:pt x="73998" y="438771"/>
                  </a:lnTo>
                  <a:lnTo>
                    <a:pt x="73998" y="381621"/>
                  </a:lnTo>
                  <a:lnTo>
                    <a:pt x="43328" y="381621"/>
                  </a:lnTo>
                  <a:cubicBezTo>
                    <a:pt x="28373" y="381621"/>
                    <a:pt x="15991" y="370096"/>
                    <a:pt x="14848" y="355237"/>
                  </a:cubicBezTo>
                  <a:lnTo>
                    <a:pt x="1513" y="181501"/>
                  </a:lnTo>
                  <a:cubicBezTo>
                    <a:pt x="-392" y="157212"/>
                    <a:pt x="17801" y="135971"/>
                    <a:pt x="42089" y="134162"/>
                  </a:cubicBezTo>
                  <a:cubicBezTo>
                    <a:pt x="43232" y="134066"/>
                    <a:pt x="44375" y="134066"/>
                    <a:pt x="45518" y="134066"/>
                  </a:cubicBezTo>
                  <a:cubicBezTo>
                    <a:pt x="73141" y="134066"/>
                    <a:pt x="96858" y="153688"/>
                    <a:pt x="101906" y="180834"/>
                  </a:cubicBezTo>
                  <a:lnTo>
                    <a:pt x="121623" y="286371"/>
                  </a:lnTo>
                  <a:lnTo>
                    <a:pt x="407373" y="286371"/>
                  </a:lnTo>
                  <a:lnTo>
                    <a:pt x="427185" y="180739"/>
                  </a:lnTo>
                  <a:cubicBezTo>
                    <a:pt x="432233" y="153592"/>
                    <a:pt x="455951" y="133971"/>
                    <a:pt x="483573" y="133971"/>
                  </a:cubicBezTo>
                  <a:close/>
                  <a:moveTo>
                    <a:pt x="416898" y="621"/>
                  </a:moveTo>
                  <a:cubicBezTo>
                    <a:pt x="453760" y="621"/>
                    <a:pt x="483573" y="30434"/>
                    <a:pt x="483573" y="67296"/>
                  </a:cubicBezTo>
                  <a:lnTo>
                    <a:pt x="483573" y="115397"/>
                  </a:lnTo>
                  <a:cubicBezTo>
                    <a:pt x="481192" y="115112"/>
                    <a:pt x="478811" y="114921"/>
                    <a:pt x="476429" y="114921"/>
                  </a:cubicBezTo>
                  <a:cubicBezTo>
                    <a:pt x="445473" y="114921"/>
                    <a:pt x="418803" y="136448"/>
                    <a:pt x="412040" y="166451"/>
                  </a:cubicBezTo>
                  <a:lnTo>
                    <a:pt x="411564" y="168737"/>
                  </a:lnTo>
                  <a:lnTo>
                    <a:pt x="393086" y="267321"/>
                  </a:lnTo>
                  <a:lnTo>
                    <a:pt x="135911" y="267321"/>
                  </a:lnTo>
                  <a:lnTo>
                    <a:pt x="117432" y="168737"/>
                  </a:lnTo>
                  <a:cubicBezTo>
                    <a:pt x="111622" y="137495"/>
                    <a:pt x="84285" y="114921"/>
                    <a:pt x="52567" y="114921"/>
                  </a:cubicBezTo>
                  <a:lnTo>
                    <a:pt x="54948" y="67296"/>
                  </a:lnTo>
                  <a:cubicBezTo>
                    <a:pt x="54948" y="30434"/>
                    <a:pt x="84761" y="621"/>
                    <a:pt x="121623" y="621"/>
                  </a:cubicBezTo>
                  <a:lnTo>
                    <a:pt x="416898" y="621"/>
                  </a:lnTo>
                  <a:close/>
                </a:path>
              </a:pathLst>
            </a:custGeom>
            <a:solidFill>
              <a:schemeClr val="tx1">
                <a:lumMod val="50000"/>
                <a:lumOff val="50000"/>
              </a:schemeClr>
            </a:solid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70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3765"/>
              <a:endParaRPr lang="zh-CN" altLang="en-US" sz="2000" b="1" dirty="0">
                <a:solidFill>
                  <a:schemeClr val="bg1"/>
                </a:solidFill>
              </a:endParaRPr>
            </a:p>
          </p:txBody>
        </p:sp>
        <p:sp>
          <p:nvSpPr>
            <p:cNvPr id="27" name="任意多边形: 形状 26"/>
            <p:cNvSpPr/>
            <p:nvPr/>
          </p:nvSpPr>
          <p:spPr>
            <a:xfrm>
              <a:off x="5958739" y="3976325"/>
              <a:ext cx="274522" cy="300918"/>
            </a:xfrm>
            <a:custGeom>
              <a:avLst/>
              <a:gdLst>
                <a:gd name="connsiteX0" fmla="*/ 248770 w 495300"/>
                <a:gd name="connsiteY0" fmla="*/ 621 h 542925"/>
                <a:gd name="connsiteX1" fmla="*/ 496420 w 495300"/>
                <a:gd name="connsiteY1" fmla="*/ 248271 h 542925"/>
                <a:gd name="connsiteX2" fmla="*/ 323827 w 495300"/>
                <a:gd name="connsiteY2" fmla="*/ 484396 h 542925"/>
                <a:gd name="connsiteX3" fmla="*/ 346973 w 495300"/>
                <a:gd name="connsiteY3" fmla="*/ 524496 h 542925"/>
                <a:gd name="connsiteX4" fmla="*/ 420220 w 495300"/>
                <a:gd name="connsiteY4" fmla="*/ 524496 h 542925"/>
                <a:gd name="connsiteX5" fmla="*/ 420220 w 495300"/>
                <a:gd name="connsiteY5" fmla="*/ 543546 h 542925"/>
                <a:gd name="connsiteX6" fmla="*/ 77320 w 495300"/>
                <a:gd name="connsiteY6" fmla="*/ 543546 h 542925"/>
                <a:gd name="connsiteX7" fmla="*/ 77320 w 495300"/>
                <a:gd name="connsiteY7" fmla="*/ 524496 h 542925"/>
                <a:gd name="connsiteX8" fmla="*/ 150567 w 495300"/>
                <a:gd name="connsiteY8" fmla="*/ 524496 h 542925"/>
                <a:gd name="connsiteX9" fmla="*/ 173713 w 495300"/>
                <a:gd name="connsiteY9" fmla="*/ 484396 h 542925"/>
                <a:gd name="connsiteX10" fmla="*/ 1120 w 495300"/>
                <a:gd name="connsiteY10" fmla="*/ 248271 h 542925"/>
                <a:gd name="connsiteX11" fmla="*/ 248770 w 495300"/>
                <a:gd name="connsiteY11" fmla="*/ 621 h 542925"/>
                <a:gd name="connsiteX12" fmla="*/ 192763 w 495300"/>
                <a:gd name="connsiteY12" fmla="*/ 489539 h 542925"/>
                <a:gd name="connsiteX13" fmla="*/ 172570 w 495300"/>
                <a:gd name="connsiteY13" fmla="*/ 524496 h 542925"/>
                <a:gd name="connsiteX14" fmla="*/ 324970 w 495300"/>
                <a:gd name="connsiteY14" fmla="*/ 524496 h 542925"/>
                <a:gd name="connsiteX15" fmla="*/ 304777 w 495300"/>
                <a:gd name="connsiteY15" fmla="*/ 489539 h 542925"/>
                <a:gd name="connsiteX16" fmla="*/ 248770 w 495300"/>
                <a:gd name="connsiteY16" fmla="*/ 495921 h 542925"/>
                <a:gd name="connsiteX17" fmla="*/ 192763 w 495300"/>
                <a:gd name="connsiteY17" fmla="*/ 489539 h 542925"/>
                <a:gd name="connsiteX18" fmla="*/ 248770 w 495300"/>
                <a:gd name="connsiteY18" fmla="*/ 143496 h 542925"/>
                <a:gd name="connsiteX19" fmla="*/ 143995 w 495300"/>
                <a:gd name="connsiteY19" fmla="*/ 248271 h 542925"/>
                <a:gd name="connsiteX20" fmla="*/ 248770 w 495300"/>
                <a:gd name="connsiteY20" fmla="*/ 353046 h 542925"/>
                <a:gd name="connsiteX21" fmla="*/ 353545 w 495300"/>
                <a:gd name="connsiteY21" fmla="*/ 248271 h 542925"/>
                <a:gd name="connsiteX22" fmla="*/ 248770 w 495300"/>
                <a:gd name="connsiteY22" fmla="*/ 143496 h 542925"/>
                <a:gd name="connsiteX23" fmla="*/ 367833 w 495300"/>
                <a:gd name="connsiteY23" fmla="*/ 114921 h 542925"/>
                <a:gd name="connsiteX24" fmla="*/ 353545 w 495300"/>
                <a:gd name="connsiteY24" fmla="*/ 129209 h 542925"/>
                <a:gd name="connsiteX25" fmla="*/ 367833 w 495300"/>
                <a:gd name="connsiteY25" fmla="*/ 143496 h 542925"/>
                <a:gd name="connsiteX26" fmla="*/ 382120 w 495300"/>
                <a:gd name="connsiteY26" fmla="*/ 129209 h 542925"/>
                <a:gd name="connsiteX27" fmla="*/ 367833 w 495300"/>
                <a:gd name="connsiteY27" fmla="*/ 114921 h 54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95300" h="542925">
                  <a:moveTo>
                    <a:pt x="248770" y="621"/>
                  </a:moveTo>
                  <a:cubicBezTo>
                    <a:pt x="385549" y="621"/>
                    <a:pt x="496420" y="111492"/>
                    <a:pt x="496420" y="248271"/>
                  </a:cubicBezTo>
                  <a:cubicBezTo>
                    <a:pt x="496420" y="358856"/>
                    <a:pt x="423935" y="452582"/>
                    <a:pt x="323827" y="484396"/>
                  </a:cubicBezTo>
                  <a:lnTo>
                    <a:pt x="346973" y="524496"/>
                  </a:lnTo>
                  <a:lnTo>
                    <a:pt x="420220" y="524496"/>
                  </a:lnTo>
                  <a:lnTo>
                    <a:pt x="420220" y="543546"/>
                  </a:lnTo>
                  <a:lnTo>
                    <a:pt x="77320" y="543546"/>
                  </a:lnTo>
                  <a:lnTo>
                    <a:pt x="77320" y="524496"/>
                  </a:lnTo>
                  <a:lnTo>
                    <a:pt x="150567" y="524496"/>
                  </a:lnTo>
                  <a:lnTo>
                    <a:pt x="173713" y="484396"/>
                  </a:lnTo>
                  <a:cubicBezTo>
                    <a:pt x="73605" y="452582"/>
                    <a:pt x="1120" y="358856"/>
                    <a:pt x="1120" y="248271"/>
                  </a:cubicBezTo>
                  <a:cubicBezTo>
                    <a:pt x="1120" y="111492"/>
                    <a:pt x="111991" y="621"/>
                    <a:pt x="248770" y="621"/>
                  </a:cubicBezTo>
                  <a:close/>
                  <a:moveTo>
                    <a:pt x="192763" y="489539"/>
                  </a:moveTo>
                  <a:lnTo>
                    <a:pt x="172570" y="524496"/>
                  </a:lnTo>
                  <a:lnTo>
                    <a:pt x="324970" y="524496"/>
                  </a:lnTo>
                  <a:lnTo>
                    <a:pt x="304777" y="489539"/>
                  </a:lnTo>
                  <a:cubicBezTo>
                    <a:pt x="286775" y="493730"/>
                    <a:pt x="268010" y="495921"/>
                    <a:pt x="248770" y="495921"/>
                  </a:cubicBezTo>
                  <a:cubicBezTo>
                    <a:pt x="229530" y="495921"/>
                    <a:pt x="210765" y="493730"/>
                    <a:pt x="192763" y="489539"/>
                  </a:cubicBezTo>
                  <a:close/>
                  <a:moveTo>
                    <a:pt x="248770" y="143496"/>
                  </a:moveTo>
                  <a:cubicBezTo>
                    <a:pt x="190858" y="143496"/>
                    <a:pt x="143995" y="190359"/>
                    <a:pt x="143995" y="248271"/>
                  </a:cubicBezTo>
                  <a:cubicBezTo>
                    <a:pt x="143995" y="306183"/>
                    <a:pt x="190858" y="353046"/>
                    <a:pt x="248770" y="353046"/>
                  </a:cubicBezTo>
                  <a:cubicBezTo>
                    <a:pt x="306682" y="353046"/>
                    <a:pt x="353545" y="306183"/>
                    <a:pt x="353545" y="248271"/>
                  </a:cubicBezTo>
                  <a:cubicBezTo>
                    <a:pt x="353545" y="190359"/>
                    <a:pt x="306682" y="143496"/>
                    <a:pt x="248770" y="143496"/>
                  </a:cubicBezTo>
                  <a:close/>
                  <a:moveTo>
                    <a:pt x="367833" y="114921"/>
                  </a:moveTo>
                  <a:cubicBezTo>
                    <a:pt x="359927" y="114921"/>
                    <a:pt x="353545" y="121303"/>
                    <a:pt x="353545" y="129209"/>
                  </a:cubicBezTo>
                  <a:cubicBezTo>
                    <a:pt x="353545" y="137114"/>
                    <a:pt x="359927" y="143496"/>
                    <a:pt x="367833" y="143496"/>
                  </a:cubicBezTo>
                  <a:cubicBezTo>
                    <a:pt x="375738" y="143496"/>
                    <a:pt x="382120" y="137114"/>
                    <a:pt x="382120" y="129209"/>
                  </a:cubicBezTo>
                  <a:cubicBezTo>
                    <a:pt x="382120" y="121303"/>
                    <a:pt x="375738" y="114921"/>
                    <a:pt x="367833" y="114921"/>
                  </a:cubicBezTo>
                  <a:close/>
                </a:path>
              </a:pathLst>
            </a:custGeom>
            <a:solidFill>
              <a:srgbClr val="FFFFFF"/>
            </a:solid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8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3765"/>
              <a:endParaRPr lang="zh-CN" altLang="en-US" sz="2000" b="1" dirty="0">
                <a:solidFill>
                  <a:schemeClr val="bg1"/>
                </a:solidFill>
              </a:endParaRPr>
            </a:p>
          </p:txBody>
        </p:sp>
      </p:grpSp>
    </p:spTree>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660399" y="1063050"/>
            <a:ext cx="10858501" cy="4521627"/>
            <a:chOff x="660399" y="1063050"/>
            <a:chExt cx="10858501" cy="4521627"/>
          </a:xfrm>
        </p:grpSpPr>
        <p:sp>
          <p:nvSpPr>
            <p:cNvPr id="29" name="文本框 28"/>
            <p:cNvSpPr txBox="1"/>
            <p:nvPr/>
          </p:nvSpPr>
          <p:spPr>
            <a:xfrm>
              <a:off x="660400" y="1063050"/>
              <a:ext cx="10858500" cy="523220"/>
            </a:xfrm>
            <a:prstGeom prst="rect">
              <a:avLst/>
            </a:prstGeom>
            <a:noFill/>
          </p:spPr>
          <p:txBody>
            <a:bodyPr wrap="square">
              <a:spAutoFit/>
            </a:bodyPr>
            <a:lstStyle/>
            <a:p>
              <a:pPr marL="0" marR="0" lvl="0" indent="0" algn="ctr" defTabSz="913765" rtl="0" eaLnBrk="1" fontAlgn="auto" latinLnBrk="0" hangingPunct="1">
                <a:lnSpc>
                  <a:spcPct val="100000"/>
                </a:lnSpc>
                <a:spcBef>
                  <a:spcPts val="0"/>
                </a:spcBef>
                <a:spcAft>
                  <a:spcPts val="0"/>
                </a:spcAft>
                <a:buClrTx/>
                <a:buSzPct val="25000"/>
                <a:buFontTx/>
                <a:buNone/>
                <a:defRPr/>
              </a:pPr>
              <a:r>
                <a:rPr kumimoji="0" lang="en-US" altLang="zh-CN" sz="2800" b="1" i="0" u="none" strike="noStrike" kern="1200" cap="none" spc="0" normalizeH="0" baseline="0" noProof="0" dirty="0">
                  <a:ln>
                    <a:noFill/>
                  </a:ln>
                  <a:solidFill>
                    <a:schemeClr val="accent1"/>
                  </a:solidFill>
                  <a:effectLst/>
                  <a:uLnTx/>
                  <a:uFillTx/>
                  <a:latin typeface="Arial" panose="020B0604020202090204" pitchFamily="34" charset="0"/>
                  <a:ea typeface="华文楷体" panose="02010600040101010101" pitchFamily="2" charset="-122"/>
                </a:rPr>
                <a:t>Unified </a:t>
              </a:r>
              <a:r>
                <a:rPr kumimoji="0" lang="en-US" altLang="zh-CN" sz="2800" b="1" i="0" u="none" strike="noStrike" kern="1200" cap="none" spc="0" normalizeH="0" baseline="0" noProof="0">
                  <a:ln>
                    <a:noFill/>
                  </a:ln>
                  <a:solidFill>
                    <a:schemeClr val="accent1"/>
                  </a:solidFill>
                  <a:effectLst/>
                  <a:uLnTx/>
                  <a:uFillTx/>
                  <a:latin typeface="Arial" panose="020B0604020202090204" pitchFamily="34" charset="0"/>
                  <a:ea typeface="华文楷体" panose="02010600040101010101" pitchFamily="2" charset="-122"/>
                </a:rPr>
                <a:t>fonts </a:t>
              </a:r>
              <a:r>
                <a:rPr kumimoji="0" lang="en-US" altLang="zh-CN" sz="2800" b="1" i="0" u="none" strike="noStrike" kern="1200" cap="none" spc="0" normalizeH="0" baseline="0" noProof="0">
                  <a:ln>
                    <a:noFill/>
                  </a:ln>
                  <a:effectLst/>
                  <a:uLnTx/>
                  <a:uFillTx/>
                  <a:latin typeface="Arial" panose="020B0604020202090204" pitchFamily="34" charset="0"/>
                  <a:ea typeface="华文楷体" panose="02010600040101010101" pitchFamily="2" charset="-122"/>
                </a:rPr>
                <a:t>make reading more fluent. </a:t>
              </a:r>
              <a:endParaRPr kumimoji="0" lang="en-US" altLang="zh-CN" sz="2800" b="1" i="0" u="none" strike="noStrike" kern="1200" cap="none" spc="0" normalizeH="0" baseline="0" noProof="0" dirty="0">
                <a:ln>
                  <a:noFill/>
                </a:ln>
                <a:effectLst/>
                <a:uLnTx/>
                <a:uFillTx/>
                <a:latin typeface="Arial" panose="020B0604020202090204" pitchFamily="34" charset="0"/>
                <a:ea typeface="华文楷体" panose="02010600040101010101" pitchFamily="2" charset="-122"/>
              </a:endParaRPr>
            </a:p>
          </p:txBody>
        </p:sp>
        <p:grpSp>
          <p:nvGrpSpPr>
            <p:cNvPr id="30" name="组合 29"/>
            <p:cNvGrpSpPr/>
            <p:nvPr/>
          </p:nvGrpSpPr>
          <p:grpSpPr>
            <a:xfrm>
              <a:off x="660399" y="2171700"/>
              <a:ext cx="10858501" cy="3412977"/>
              <a:chOff x="660399" y="2171700"/>
              <a:chExt cx="10858501" cy="3412977"/>
            </a:xfrm>
          </p:grpSpPr>
          <p:grpSp>
            <p:nvGrpSpPr>
              <p:cNvPr id="31" name="组合 30"/>
              <p:cNvGrpSpPr/>
              <p:nvPr/>
            </p:nvGrpSpPr>
            <p:grpSpPr>
              <a:xfrm>
                <a:off x="660399" y="3752562"/>
                <a:ext cx="3285861" cy="1832115"/>
                <a:chOff x="5556118" y="3871454"/>
                <a:chExt cx="2286000" cy="1832115"/>
              </a:xfrm>
            </p:grpSpPr>
            <p:sp>
              <p:nvSpPr>
                <p:cNvPr id="48" name="矩形: 圆角 47"/>
                <p:cNvSpPr/>
                <p:nvPr/>
              </p:nvSpPr>
              <p:spPr>
                <a:xfrm>
                  <a:off x="5556118" y="3871454"/>
                  <a:ext cx="2286000" cy="1832115"/>
                </a:xfrm>
                <a:prstGeom prst="roundRect">
                  <a:avLst>
                    <a:gd name="adj" fmla="val 10000"/>
                  </a:avLst>
                </a:prstGeom>
                <a:solidFill>
                  <a:schemeClr val="bg1"/>
                </a:solidFill>
                <a:ln w="12700" cap="flat">
                  <a:solidFill>
                    <a:schemeClr val="accent1"/>
                  </a:solidFill>
                  <a:prstDash val="solid"/>
                  <a:miter/>
                </a:ln>
                <a:effectLst>
                  <a:outerShdw dist="50800" dir="2700000" algn="ctr" rotWithShape="0">
                    <a:schemeClr val="accent1"/>
                  </a:outerShdw>
                </a:effectLst>
              </p:spPr>
              <p:txBody>
                <a:bodyPr rtlCol="0" anchor="ctr"/>
                <a:lstStyle/>
                <a:p>
                  <a:r>
                    <a:rPr lang="en-US" altLang="zh-CN" sz="900" dirty="0">
                      <a:latin typeface="Arial" panose="020B0604020202090204" pitchFamily="34" charset="0"/>
                      <a:ea typeface="华文楷体" panose="02010600040101010101" pitchFamily="2" charset="-122"/>
                    </a:rPr>
                    <a:t>Lorem ipsum dolor sit </a:t>
                  </a:r>
                  <a:r>
                    <a:rPr lang="en-US" altLang="zh-CN" sz="900" dirty="0" err="1">
                      <a:latin typeface="Arial" panose="020B0604020202090204" pitchFamily="34" charset="0"/>
                      <a:ea typeface="华文楷体" panose="02010600040101010101" pitchFamily="2" charset="-122"/>
                    </a:rPr>
                    <a:t>amet</a:t>
                  </a:r>
                  <a:r>
                    <a:rPr lang="en-US" altLang="zh-CN" sz="900" dirty="0">
                      <a:latin typeface="Arial" panose="020B0604020202090204" pitchFamily="34" charset="0"/>
                      <a:ea typeface="华文楷体" panose="02010600040101010101" pitchFamily="2" charset="-122"/>
                    </a:rPr>
                    <a:t>, </a:t>
                  </a:r>
                  <a:r>
                    <a:rPr lang="en-US" altLang="zh-CN" sz="900" dirty="0" err="1">
                      <a:latin typeface="Arial" panose="020B0604020202090204" pitchFamily="34" charset="0"/>
                      <a:ea typeface="华文楷体" panose="02010600040101010101" pitchFamily="2" charset="-122"/>
                    </a:rPr>
                    <a:t>consectetuer</a:t>
                  </a:r>
                  <a:r>
                    <a:rPr lang="en-US" altLang="zh-CN" sz="900" dirty="0">
                      <a:latin typeface="Arial" panose="020B0604020202090204" pitchFamily="34" charset="0"/>
                      <a:ea typeface="华文楷体" panose="02010600040101010101" pitchFamily="2" charset="-122"/>
                    </a:rPr>
                    <a:t> </a:t>
                  </a:r>
                  <a:r>
                    <a:rPr lang="en-US" altLang="zh-CN" sz="900" dirty="0" err="1">
                      <a:latin typeface="Arial" panose="020B0604020202090204" pitchFamily="34" charset="0"/>
                      <a:ea typeface="华文楷体" panose="02010600040101010101" pitchFamily="2" charset="-122"/>
                    </a:rPr>
                    <a:t>adipiscing</a:t>
                  </a:r>
                  <a:r>
                    <a:rPr lang="en-US" altLang="zh-CN" sz="900" dirty="0">
                      <a:latin typeface="Arial" panose="020B0604020202090204" pitchFamily="34" charset="0"/>
                      <a:ea typeface="华文楷体" panose="02010600040101010101" pitchFamily="2" charset="-122"/>
                    </a:rPr>
                    <a:t> </a:t>
                  </a:r>
                  <a:r>
                    <a:rPr lang="en-US" altLang="zh-CN" sz="900" dirty="0" err="1">
                      <a:latin typeface="Arial" panose="020B0604020202090204" pitchFamily="34" charset="0"/>
                      <a:ea typeface="华文楷体" panose="02010600040101010101" pitchFamily="2" charset="-122"/>
                    </a:rPr>
                    <a:t>elit</a:t>
                  </a:r>
                  <a:r>
                    <a:rPr lang="en-US" altLang="zh-CN" sz="900" dirty="0">
                      <a:latin typeface="Arial" panose="020B0604020202090204" pitchFamily="34" charset="0"/>
                      <a:ea typeface="华文楷体" panose="02010600040101010101" pitchFamily="2" charset="-122"/>
                    </a:rPr>
                    <a:t>. Maecenas </a:t>
                  </a:r>
                  <a:r>
                    <a:rPr lang="en-US" altLang="zh-CN" sz="900" dirty="0" err="1">
                      <a:latin typeface="Arial" panose="020B0604020202090204" pitchFamily="34" charset="0"/>
                      <a:ea typeface="华文楷体" panose="02010600040101010101" pitchFamily="2" charset="-122"/>
                    </a:rPr>
                    <a:t>porttitor</a:t>
                  </a:r>
                  <a:r>
                    <a:rPr lang="en-US" altLang="zh-CN" sz="900" dirty="0">
                      <a:latin typeface="Arial" panose="020B0604020202090204" pitchFamily="34" charset="0"/>
                      <a:ea typeface="华文楷体" panose="02010600040101010101" pitchFamily="2" charset="-122"/>
                    </a:rPr>
                    <a:t> </a:t>
                  </a:r>
                  <a:r>
                    <a:rPr lang="en-US" altLang="zh-CN" sz="900" dirty="0" err="1">
                      <a:latin typeface="Arial" panose="020B0604020202090204" pitchFamily="34" charset="0"/>
                      <a:ea typeface="华文楷体" panose="02010600040101010101" pitchFamily="2" charset="-122"/>
                    </a:rPr>
                    <a:t>congue</a:t>
                  </a:r>
                  <a:r>
                    <a:rPr lang="en-US" altLang="zh-CN" sz="900" dirty="0">
                      <a:latin typeface="Arial" panose="020B0604020202090204" pitchFamily="34" charset="0"/>
                      <a:ea typeface="华文楷体" panose="02010600040101010101" pitchFamily="2" charset="-122"/>
                    </a:rPr>
                    <a:t> </a:t>
                  </a:r>
                  <a:r>
                    <a:rPr lang="en-US" altLang="zh-CN" sz="900" dirty="0" err="1">
                      <a:latin typeface="Arial" panose="020B0604020202090204" pitchFamily="34" charset="0"/>
                      <a:ea typeface="华文楷体" panose="02010600040101010101" pitchFamily="2" charset="-122"/>
                    </a:rPr>
                    <a:t>massa</a:t>
                  </a:r>
                  <a:r>
                    <a:rPr lang="en-US" altLang="zh-CN" sz="900" dirty="0">
                      <a:latin typeface="Arial" panose="020B0604020202090204" pitchFamily="34" charset="0"/>
                      <a:ea typeface="华文楷体" panose="02010600040101010101" pitchFamily="2" charset="-122"/>
                    </a:rPr>
                    <a:t>. </a:t>
                  </a:r>
                  <a:r>
                    <a:rPr lang="en-US" altLang="zh-CN" sz="900" dirty="0" err="1">
                      <a:latin typeface="Arial" panose="020B0604020202090204" pitchFamily="34" charset="0"/>
                      <a:ea typeface="华文楷体" panose="02010600040101010101" pitchFamily="2" charset="-122"/>
                    </a:rPr>
                    <a:t>Fusce</a:t>
                  </a:r>
                  <a:r>
                    <a:rPr lang="en-US" altLang="zh-CN" sz="900" dirty="0">
                      <a:latin typeface="Arial" panose="020B0604020202090204" pitchFamily="34" charset="0"/>
                      <a:ea typeface="华文楷体" panose="02010600040101010101" pitchFamily="2" charset="-122"/>
                    </a:rPr>
                    <a:t> </a:t>
                  </a:r>
                  <a:r>
                    <a:rPr lang="en-US" altLang="zh-CN" sz="900" dirty="0" err="1">
                      <a:latin typeface="Arial" panose="020B0604020202090204" pitchFamily="34" charset="0"/>
                      <a:ea typeface="华文楷体" panose="02010600040101010101" pitchFamily="2" charset="-122"/>
                    </a:rPr>
                    <a:t>posuere</a:t>
                  </a:r>
                  <a:r>
                    <a:rPr lang="en-US" altLang="zh-CN" sz="900" dirty="0">
                      <a:latin typeface="Arial" panose="020B0604020202090204" pitchFamily="34" charset="0"/>
                      <a:ea typeface="华文楷体" panose="02010600040101010101" pitchFamily="2" charset="-122"/>
                    </a:rPr>
                    <a:t>, magna sed pulvinar </a:t>
                  </a:r>
                  <a:r>
                    <a:rPr lang="en-US" altLang="zh-CN" sz="900" dirty="0" err="1">
                      <a:latin typeface="Arial" panose="020B0604020202090204" pitchFamily="34" charset="0"/>
                      <a:ea typeface="华文楷体" panose="02010600040101010101" pitchFamily="2" charset="-122"/>
                    </a:rPr>
                    <a:t>ultricies</a:t>
                  </a:r>
                  <a:r>
                    <a:rPr lang="en-US" altLang="zh-CN" sz="900" dirty="0">
                      <a:latin typeface="Arial" panose="020B0604020202090204" pitchFamily="34" charset="0"/>
                      <a:ea typeface="华文楷体" panose="02010600040101010101" pitchFamily="2" charset="-122"/>
                    </a:rPr>
                    <a:t>, </a:t>
                  </a:r>
                  <a:r>
                    <a:rPr lang="en-US" altLang="zh-CN" sz="900" dirty="0" err="1">
                      <a:latin typeface="Arial" panose="020B0604020202090204" pitchFamily="34" charset="0"/>
                      <a:ea typeface="华文楷体" panose="02010600040101010101" pitchFamily="2" charset="-122"/>
                    </a:rPr>
                    <a:t>purus</a:t>
                  </a:r>
                  <a:r>
                    <a:rPr lang="en-US" altLang="zh-CN" sz="900" dirty="0">
                      <a:latin typeface="Arial" panose="020B0604020202090204" pitchFamily="34" charset="0"/>
                      <a:ea typeface="华文楷体" panose="02010600040101010101" pitchFamily="2" charset="-122"/>
                    </a:rPr>
                    <a:t> </a:t>
                  </a:r>
                  <a:r>
                    <a:rPr lang="en-US" altLang="zh-CN" sz="900" dirty="0" err="1">
                      <a:latin typeface="Arial" panose="020B0604020202090204" pitchFamily="34" charset="0"/>
                      <a:ea typeface="华文楷体" panose="02010600040101010101" pitchFamily="2" charset="-122"/>
                    </a:rPr>
                    <a:t>lectus</a:t>
                  </a:r>
                  <a:r>
                    <a:rPr lang="en-US" altLang="zh-CN" sz="900" dirty="0">
                      <a:latin typeface="Arial" panose="020B0604020202090204" pitchFamily="34" charset="0"/>
                      <a:ea typeface="华文楷体" panose="02010600040101010101" pitchFamily="2" charset="-122"/>
                    </a:rPr>
                    <a:t> </a:t>
                  </a:r>
                  <a:r>
                    <a:rPr lang="en-US" altLang="zh-CN" sz="900" dirty="0" err="1">
                      <a:latin typeface="Arial" panose="020B0604020202090204" pitchFamily="34" charset="0"/>
                      <a:ea typeface="华文楷体" panose="02010600040101010101" pitchFamily="2" charset="-122"/>
                    </a:rPr>
                    <a:t>malesuada</a:t>
                  </a:r>
                  <a:r>
                    <a:rPr lang="en-US" altLang="zh-CN" sz="900" dirty="0">
                      <a:latin typeface="Arial" panose="020B0604020202090204" pitchFamily="34" charset="0"/>
                      <a:ea typeface="华文楷体" panose="02010600040101010101" pitchFamily="2" charset="-122"/>
                    </a:rPr>
                    <a:t> libero, sit </a:t>
                  </a:r>
                  <a:r>
                    <a:rPr lang="en-US" altLang="zh-CN" sz="900" dirty="0" err="1">
                      <a:latin typeface="Arial" panose="020B0604020202090204" pitchFamily="34" charset="0"/>
                      <a:ea typeface="华文楷体" panose="02010600040101010101" pitchFamily="2" charset="-122"/>
                    </a:rPr>
                    <a:t>amet</a:t>
                  </a:r>
                  <a:r>
                    <a:rPr lang="en-US" altLang="zh-CN" sz="900" dirty="0">
                      <a:latin typeface="Arial" panose="020B0604020202090204" pitchFamily="34" charset="0"/>
                      <a:ea typeface="华文楷体" panose="02010600040101010101" pitchFamily="2" charset="-122"/>
                    </a:rPr>
                    <a:t> </a:t>
                  </a:r>
                  <a:r>
                    <a:rPr lang="en-US" altLang="zh-CN" sz="900" dirty="0" err="1">
                      <a:latin typeface="Arial" panose="020B0604020202090204" pitchFamily="34" charset="0"/>
                      <a:ea typeface="华文楷体" panose="02010600040101010101" pitchFamily="2" charset="-122"/>
                    </a:rPr>
                    <a:t>commodo</a:t>
                  </a:r>
                  <a:r>
                    <a:rPr lang="en-US" altLang="zh-CN" sz="900" dirty="0">
                      <a:latin typeface="Arial" panose="020B0604020202090204" pitchFamily="34" charset="0"/>
                      <a:ea typeface="华文楷体" panose="02010600040101010101" pitchFamily="2" charset="-122"/>
                    </a:rPr>
                    <a:t> magna eros </a:t>
                  </a:r>
                  <a:r>
                    <a:rPr lang="en-US" altLang="zh-CN" sz="900" dirty="0" err="1">
                      <a:latin typeface="Arial" panose="020B0604020202090204" pitchFamily="34" charset="0"/>
                      <a:ea typeface="华文楷体" panose="02010600040101010101" pitchFamily="2" charset="-122"/>
                    </a:rPr>
                    <a:t>quis</a:t>
                  </a:r>
                  <a:r>
                    <a:rPr lang="en-US" altLang="zh-CN" sz="900" dirty="0">
                      <a:latin typeface="Arial" panose="020B0604020202090204" pitchFamily="34" charset="0"/>
                      <a:ea typeface="华文楷体" panose="02010600040101010101" pitchFamily="2" charset="-122"/>
                    </a:rPr>
                    <a:t> </a:t>
                  </a:r>
                  <a:r>
                    <a:rPr lang="en-US" altLang="zh-CN" sz="900" dirty="0" err="1">
                      <a:latin typeface="Arial" panose="020B0604020202090204" pitchFamily="34" charset="0"/>
                      <a:ea typeface="华文楷体" panose="02010600040101010101" pitchFamily="2" charset="-122"/>
                    </a:rPr>
                    <a:t>urna</a:t>
                  </a:r>
                  <a:r>
                    <a:rPr lang="en-US" altLang="zh-CN" sz="900" dirty="0">
                      <a:latin typeface="Arial" panose="020B0604020202090204" pitchFamily="34" charset="0"/>
                      <a:ea typeface="华文楷体" panose="02010600040101010101" pitchFamily="2" charset="-122"/>
                    </a:rPr>
                    <a:t>.</a:t>
                  </a:r>
                  <a:endParaRPr lang="en-US" altLang="zh-CN" sz="900" dirty="0">
                    <a:latin typeface="Arial" panose="020B0604020202090204" pitchFamily="34" charset="0"/>
                    <a:ea typeface="华文楷体" panose="02010600040101010101" pitchFamily="2" charset="-122"/>
                  </a:endParaRPr>
                </a:p>
              </p:txBody>
            </p:sp>
            <p:sp>
              <p:nvSpPr>
                <p:cNvPr id="49" name="矩形 48"/>
                <p:cNvSpPr/>
                <p:nvPr/>
              </p:nvSpPr>
              <p:spPr>
                <a:xfrm>
                  <a:off x="5556118" y="4094953"/>
                  <a:ext cx="2286000"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kumimoji="1" lang="en-US" altLang="zh-CN" sz="1400" b="1" dirty="0">
                      <a:solidFill>
                        <a:schemeClr val="tx1"/>
                      </a:solidFill>
                      <a:latin typeface="Arial" panose="020B0604020202090204" pitchFamily="34" charset="0"/>
                      <a:ea typeface="华文楷体" panose="02010600040101010101" pitchFamily="2" charset="-122"/>
                    </a:rPr>
                    <a:t>Text</a:t>
                  </a:r>
                  <a:r>
                    <a:rPr kumimoji="1" lang="zh-CN" altLang="en-US" sz="1400" b="1" dirty="0">
                      <a:solidFill>
                        <a:schemeClr val="tx1"/>
                      </a:solidFill>
                      <a:latin typeface="Arial" panose="020B0604020202090204" pitchFamily="34" charset="0"/>
                      <a:ea typeface="华文楷体" panose="02010600040101010101" pitchFamily="2" charset="-122"/>
                    </a:rPr>
                    <a:t> </a:t>
                  </a:r>
                  <a:r>
                    <a:rPr kumimoji="1" lang="en-US" altLang="zh-CN" sz="1400" b="1" dirty="0">
                      <a:solidFill>
                        <a:schemeClr val="tx1"/>
                      </a:solidFill>
                      <a:latin typeface="Arial" panose="020B0604020202090204" pitchFamily="34" charset="0"/>
                      <a:ea typeface="华文楷体" panose="02010600040101010101" pitchFamily="2" charset="-122"/>
                    </a:rPr>
                    <a:t>here</a:t>
                  </a:r>
                  <a:endParaRPr kumimoji="1" lang="en-US" altLang="zh-CN" sz="1400" b="1" dirty="0">
                    <a:solidFill>
                      <a:schemeClr val="tx1"/>
                    </a:solidFill>
                    <a:latin typeface="Arial" panose="020B0604020202090204" pitchFamily="34" charset="0"/>
                    <a:ea typeface="华文楷体" panose="02010600040101010101" pitchFamily="2" charset="-122"/>
                  </a:endParaRPr>
                </a:p>
              </p:txBody>
            </p:sp>
          </p:grpSp>
          <p:sp>
            <p:nvSpPr>
              <p:cNvPr id="32" name="文本框 31"/>
              <p:cNvSpPr txBox="1"/>
              <p:nvPr/>
            </p:nvSpPr>
            <p:spPr>
              <a:xfrm>
                <a:off x="3946260" y="2171700"/>
                <a:ext cx="540000" cy="540000"/>
              </a:xfrm>
              <a:prstGeom prst="roundRect">
                <a:avLst>
                  <a:gd name="adj" fmla="val 50000"/>
                </a:avLst>
              </a:prstGeom>
              <a:solidFill>
                <a:schemeClr val="accent1"/>
              </a:solidFill>
            </p:spPr>
            <p:txBody>
              <a:bodyPr wrap="none" lIns="108000" tIns="108000" rIns="108000" bIns="108000" rtlCol="0" anchor="ctr" anchorCtr="1">
                <a:noAutofit/>
              </a:bodyPr>
              <a:lstStyle/>
              <a:p>
                <a:pPr algn="ctr"/>
                <a:r>
                  <a:rPr kumimoji="1" lang="en-US" altLang="zh-CN" sz="2000" b="1">
                    <a:solidFill>
                      <a:schemeClr val="bg1"/>
                    </a:solidFill>
                    <a:latin typeface="Arial" panose="020B0604020202090204" pitchFamily="34" charset="0"/>
                    <a:ea typeface="华文楷体" panose="02010600040101010101" pitchFamily="2" charset="-122"/>
                  </a:rPr>
                  <a:t>01</a:t>
                </a:r>
                <a:endParaRPr kumimoji="1" lang="zh-CN" altLang="en-US" sz="2000" b="1" dirty="0">
                  <a:solidFill>
                    <a:schemeClr val="bg1"/>
                  </a:solidFill>
                  <a:latin typeface="Arial" panose="020B0604020202090204" pitchFamily="34" charset="0"/>
                  <a:ea typeface="华文楷体" panose="02010600040101010101" pitchFamily="2" charset="-122"/>
                </a:endParaRPr>
              </a:p>
            </p:txBody>
          </p:sp>
          <p:sp>
            <p:nvSpPr>
              <p:cNvPr id="33" name="矩形 32"/>
              <p:cNvSpPr/>
              <p:nvPr/>
            </p:nvSpPr>
            <p:spPr>
              <a:xfrm>
                <a:off x="3231664" y="2853151"/>
                <a:ext cx="1969192"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kumimoji="1" lang="en-US" altLang="zh-CN" b="1" dirty="0">
                    <a:solidFill>
                      <a:schemeClr val="tx1"/>
                    </a:solidFill>
                    <a:latin typeface="Arial" panose="020B0604020202090204" pitchFamily="34" charset="0"/>
                    <a:ea typeface="华文楷体" panose="02010600040101010101" pitchFamily="2" charset="-122"/>
                  </a:rPr>
                  <a:t>Text</a:t>
                </a:r>
                <a:r>
                  <a:rPr kumimoji="1" lang="zh-CN" altLang="en-US" b="1" dirty="0">
                    <a:solidFill>
                      <a:schemeClr val="tx1"/>
                    </a:solidFill>
                    <a:latin typeface="Arial" panose="020B0604020202090204" pitchFamily="34" charset="0"/>
                    <a:ea typeface="华文楷体" panose="02010600040101010101" pitchFamily="2" charset="-122"/>
                  </a:rPr>
                  <a:t> </a:t>
                </a:r>
                <a:r>
                  <a:rPr kumimoji="1" lang="en-US" altLang="zh-CN" b="1" dirty="0">
                    <a:solidFill>
                      <a:schemeClr val="tx1"/>
                    </a:solidFill>
                    <a:latin typeface="Arial" panose="020B0604020202090204" pitchFamily="34" charset="0"/>
                    <a:ea typeface="华文楷体" panose="02010600040101010101" pitchFamily="2" charset="-122"/>
                  </a:rPr>
                  <a:t>here</a:t>
                </a:r>
                <a:endParaRPr kumimoji="1" lang="en-US" altLang="zh-CN" b="1" dirty="0">
                  <a:solidFill>
                    <a:schemeClr val="tx1"/>
                  </a:solidFill>
                  <a:latin typeface="Arial" panose="020B0604020202090204" pitchFamily="34" charset="0"/>
                  <a:ea typeface="华文楷体" panose="02010600040101010101" pitchFamily="2" charset="-122"/>
                </a:endParaRPr>
              </a:p>
            </p:txBody>
          </p:sp>
          <p:cxnSp>
            <p:nvCxnSpPr>
              <p:cNvPr id="34" name="直接箭头连接符 33"/>
              <p:cNvCxnSpPr/>
              <p:nvPr/>
            </p:nvCxnSpPr>
            <p:spPr>
              <a:xfrm>
                <a:off x="4196447" y="3308772"/>
                <a:ext cx="0" cy="221895"/>
              </a:xfrm>
              <a:prstGeom prst="straightConnector1">
                <a:avLst/>
              </a:prstGeom>
              <a:ln w="15875">
                <a:solidFill>
                  <a:schemeClr val="tx1">
                    <a:lumMod val="50000"/>
                    <a:lumOff val="50000"/>
                    <a:alpha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35" name="直接箭头连接符 34"/>
              <p:cNvCxnSpPr/>
              <p:nvPr/>
            </p:nvCxnSpPr>
            <p:spPr>
              <a:xfrm flipH="1">
                <a:off x="2303329" y="3530667"/>
                <a:ext cx="7572640" cy="0"/>
              </a:xfrm>
              <a:prstGeom prst="straightConnector1">
                <a:avLst/>
              </a:prstGeom>
              <a:ln w="15875">
                <a:solidFill>
                  <a:schemeClr val="tx1">
                    <a:lumMod val="50000"/>
                    <a:lumOff val="50000"/>
                    <a:alpha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36" name="直接箭头连接符 35"/>
              <p:cNvCxnSpPr/>
              <p:nvPr/>
            </p:nvCxnSpPr>
            <p:spPr>
              <a:xfrm>
                <a:off x="2303329" y="3530667"/>
                <a:ext cx="0" cy="221895"/>
              </a:xfrm>
              <a:prstGeom prst="straightConnector1">
                <a:avLst/>
              </a:prstGeom>
              <a:ln w="15875">
                <a:solidFill>
                  <a:schemeClr val="tx1">
                    <a:lumMod val="50000"/>
                    <a:lumOff val="50000"/>
                    <a:alpha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37" name="直接箭头连接符 36"/>
              <p:cNvCxnSpPr/>
              <p:nvPr/>
            </p:nvCxnSpPr>
            <p:spPr>
              <a:xfrm>
                <a:off x="6069837" y="3530667"/>
                <a:ext cx="0" cy="221895"/>
              </a:xfrm>
              <a:prstGeom prst="straightConnector1">
                <a:avLst/>
              </a:prstGeom>
              <a:ln w="15875">
                <a:solidFill>
                  <a:schemeClr val="tx1">
                    <a:lumMod val="50000"/>
                    <a:lumOff val="50000"/>
                    <a:alpha val="50000"/>
                  </a:schemeClr>
                </a:solidFill>
                <a:tailEnd type="none"/>
              </a:ln>
            </p:spPr>
            <p:style>
              <a:lnRef idx="1">
                <a:schemeClr val="accent1"/>
              </a:lnRef>
              <a:fillRef idx="0">
                <a:schemeClr val="accent1"/>
              </a:fillRef>
              <a:effectRef idx="0">
                <a:schemeClr val="accent1"/>
              </a:effectRef>
              <a:fontRef idx="minor">
                <a:schemeClr val="tx1"/>
              </a:fontRef>
            </p:style>
          </p:cxnSp>
          <p:grpSp>
            <p:nvGrpSpPr>
              <p:cNvPr id="38" name="组合 37"/>
              <p:cNvGrpSpPr/>
              <p:nvPr/>
            </p:nvGrpSpPr>
            <p:grpSpPr>
              <a:xfrm>
                <a:off x="4426907" y="3752562"/>
                <a:ext cx="3285861" cy="1832115"/>
                <a:chOff x="5556118" y="3871454"/>
                <a:chExt cx="2286000" cy="1832115"/>
              </a:xfrm>
            </p:grpSpPr>
            <p:sp>
              <p:nvSpPr>
                <p:cNvPr id="46" name="矩形: 圆角 45"/>
                <p:cNvSpPr/>
                <p:nvPr/>
              </p:nvSpPr>
              <p:spPr>
                <a:xfrm>
                  <a:off x="5556118" y="3871454"/>
                  <a:ext cx="2286000" cy="1832115"/>
                </a:xfrm>
                <a:prstGeom prst="roundRect">
                  <a:avLst>
                    <a:gd name="adj" fmla="val 10000"/>
                  </a:avLst>
                </a:prstGeom>
                <a:solidFill>
                  <a:schemeClr val="bg1"/>
                </a:solidFill>
                <a:ln w="12700" cap="flat">
                  <a:solidFill>
                    <a:schemeClr val="tx2"/>
                  </a:solidFill>
                  <a:prstDash val="solid"/>
                  <a:miter/>
                </a:ln>
                <a:effectLst>
                  <a:outerShdw dist="50800" dir="2700000" algn="ctr" rotWithShape="0">
                    <a:schemeClr val="tx2"/>
                  </a:outerShdw>
                </a:effectLst>
              </p:spPr>
              <p:txBody>
                <a:bodyPr rtlCol="0" anchor="ctr"/>
                <a:lstStyle/>
                <a:p>
                  <a:r>
                    <a:rPr lang="en-US" altLang="zh-CN" sz="900" dirty="0">
                      <a:latin typeface="Arial" panose="020B0604020202090204" pitchFamily="34" charset="0"/>
                      <a:ea typeface="华文楷体" panose="02010600040101010101" pitchFamily="2" charset="-122"/>
                    </a:rPr>
                    <a:t>Lorem ipsum dolor </a:t>
                  </a:r>
                  <a:r>
                    <a:rPr lang="en-US" altLang="zh-CN" sz="900">
                      <a:latin typeface="Arial" panose="020B0604020202090204" pitchFamily="34" charset="0"/>
                      <a:ea typeface="华文楷体" panose="02010600040101010101" pitchFamily="2" charset="-122"/>
                    </a:rPr>
                    <a:t>sit amet, consectetuer adipiscing elit</a:t>
                  </a:r>
                  <a:r>
                    <a:rPr lang="en-US" altLang="zh-CN" sz="900" dirty="0">
                      <a:latin typeface="Arial" panose="020B0604020202090204" pitchFamily="34" charset="0"/>
                      <a:ea typeface="华文楷体" panose="02010600040101010101" pitchFamily="2" charset="-122"/>
                    </a:rPr>
                    <a:t>. </a:t>
                  </a:r>
                  <a:r>
                    <a:rPr lang="en-US" altLang="zh-CN" sz="900">
                      <a:latin typeface="Arial" panose="020B0604020202090204" pitchFamily="34" charset="0"/>
                      <a:ea typeface="华文楷体" panose="02010600040101010101" pitchFamily="2" charset="-122"/>
                    </a:rPr>
                    <a:t>Maecenas porttitor congue massa. Fusce posuere</a:t>
                  </a:r>
                  <a:r>
                    <a:rPr lang="en-US" altLang="zh-CN" sz="900" dirty="0">
                      <a:latin typeface="Arial" panose="020B0604020202090204" pitchFamily="34" charset="0"/>
                      <a:ea typeface="华文楷体" panose="02010600040101010101" pitchFamily="2" charset="-122"/>
                    </a:rPr>
                    <a:t>, magna sed </a:t>
                  </a:r>
                  <a:r>
                    <a:rPr lang="en-US" altLang="zh-CN" sz="900">
                      <a:latin typeface="Arial" panose="020B0604020202090204" pitchFamily="34" charset="0"/>
                      <a:ea typeface="华文楷体" panose="02010600040101010101" pitchFamily="2" charset="-122"/>
                    </a:rPr>
                    <a:t>pulvinar ultricies, purus lectus malesuada</a:t>
                  </a:r>
                  <a:r>
                    <a:rPr lang="en-US" altLang="zh-CN" sz="900" dirty="0">
                      <a:latin typeface="Arial" panose="020B0604020202090204" pitchFamily="34" charset="0"/>
                      <a:ea typeface="华文楷体" panose="02010600040101010101" pitchFamily="2" charset="-122"/>
                    </a:rPr>
                    <a:t> libero, </a:t>
                  </a:r>
                  <a:r>
                    <a:rPr lang="en-US" altLang="zh-CN" sz="900">
                      <a:latin typeface="Arial" panose="020B0604020202090204" pitchFamily="34" charset="0"/>
                      <a:ea typeface="华文楷体" panose="02010600040101010101" pitchFamily="2" charset="-122"/>
                    </a:rPr>
                    <a:t>sit amet commodo</a:t>
                  </a:r>
                  <a:r>
                    <a:rPr lang="en-US" altLang="zh-CN" sz="900" dirty="0">
                      <a:latin typeface="Arial" panose="020B0604020202090204" pitchFamily="34" charset="0"/>
                      <a:ea typeface="华文楷体" panose="02010600040101010101" pitchFamily="2" charset="-122"/>
                    </a:rPr>
                    <a:t> magna </a:t>
                  </a:r>
                  <a:r>
                    <a:rPr lang="en-US" altLang="zh-CN" sz="900">
                      <a:latin typeface="Arial" panose="020B0604020202090204" pitchFamily="34" charset="0"/>
                      <a:ea typeface="华文楷体" panose="02010600040101010101" pitchFamily="2" charset="-122"/>
                    </a:rPr>
                    <a:t>eros quis urna</a:t>
                  </a:r>
                  <a:r>
                    <a:rPr lang="en-US" altLang="zh-CN" sz="900" dirty="0">
                      <a:latin typeface="Arial" panose="020B0604020202090204" pitchFamily="34" charset="0"/>
                      <a:ea typeface="华文楷体" panose="02010600040101010101" pitchFamily="2" charset="-122"/>
                    </a:rPr>
                    <a:t>.</a:t>
                  </a:r>
                  <a:endParaRPr lang="en-US" altLang="zh-CN" sz="900" dirty="0">
                    <a:latin typeface="Arial" panose="020B0604020202090204" pitchFamily="34" charset="0"/>
                    <a:ea typeface="华文楷体" panose="02010600040101010101" pitchFamily="2" charset="-122"/>
                  </a:endParaRPr>
                </a:p>
              </p:txBody>
            </p:sp>
            <p:sp>
              <p:nvSpPr>
                <p:cNvPr id="47" name="矩形 46"/>
                <p:cNvSpPr/>
                <p:nvPr/>
              </p:nvSpPr>
              <p:spPr>
                <a:xfrm>
                  <a:off x="5556118" y="4094953"/>
                  <a:ext cx="2286000"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kumimoji="1" lang="en-US" altLang="zh-CN" sz="1400" b="1" dirty="0">
                      <a:solidFill>
                        <a:schemeClr val="tx1"/>
                      </a:solidFill>
                      <a:latin typeface="Arial" panose="020B0604020202090204" pitchFamily="34" charset="0"/>
                      <a:ea typeface="华文楷体" panose="02010600040101010101" pitchFamily="2" charset="-122"/>
                    </a:rPr>
                    <a:t>Text</a:t>
                  </a:r>
                  <a:r>
                    <a:rPr kumimoji="1" lang="zh-CN" altLang="en-US" sz="1400" b="1" dirty="0">
                      <a:solidFill>
                        <a:schemeClr val="tx1"/>
                      </a:solidFill>
                      <a:latin typeface="Arial" panose="020B0604020202090204" pitchFamily="34" charset="0"/>
                      <a:ea typeface="华文楷体" panose="02010600040101010101" pitchFamily="2" charset="-122"/>
                    </a:rPr>
                    <a:t> </a:t>
                  </a:r>
                  <a:r>
                    <a:rPr kumimoji="1" lang="en-US" altLang="zh-CN" sz="1400" b="1" dirty="0">
                      <a:solidFill>
                        <a:schemeClr val="tx1"/>
                      </a:solidFill>
                      <a:latin typeface="Arial" panose="020B0604020202090204" pitchFamily="34" charset="0"/>
                      <a:ea typeface="华文楷体" panose="02010600040101010101" pitchFamily="2" charset="-122"/>
                    </a:rPr>
                    <a:t>here</a:t>
                  </a:r>
                  <a:endParaRPr kumimoji="1" lang="en-US" altLang="zh-CN" sz="1400" b="1" dirty="0">
                    <a:solidFill>
                      <a:schemeClr val="tx1"/>
                    </a:solidFill>
                    <a:latin typeface="Arial" panose="020B0604020202090204" pitchFamily="34" charset="0"/>
                    <a:ea typeface="华文楷体" panose="02010600040101010101" pitchFamily="2" charset="-122"/>
                  </a:endParaRPr>
                </a:p>
              </p:txBody>
            </p:sp>
          </p:grpSp>
          <p:grpSp>
            <p:nvGrpSpPr>
              <p:cNvPr id="39" name="组合 38"/>
              <p:cNvGrpSpPr/>
              <p:nvPr/>
            </p:nvGrpSpPr>
            <p:grpSpPr>
              <a:xfrm>
                <a:off x="8233039" y="3752562"/>
                <a:ext cx="3285861" cy="1832115"/>
                <a:chOff x="5556118" y="3871454"/>
                <a:chExt cx="2286000" cy="1832115"/>
              </a:xfrm>
            </p:grpSpPr>
            <p:sp>
              <p:nvSpPr>
                <p:cNvPr id="44" name="矩形: 圆角 43"/>
                <p:cNvSpPr/>
                <p:nvPr/>
              </p:nvSpPr>
              <p:spPr>
                <a:xfrm>
                  <a:off x="5556118" y="3871454"/>
                  <a:ext cx="2286000" cy="1832115"/>
                </a:xfrm>
                <a:prstGeom prst="roundRect">
                  <a:avLst>
                    <a:gd name="adj" fmla="val 10000"/>
                  </a:avLst>
                </a:prstGeom>
                <a:solidFill>
                  <a:schemeClr val="bg1"/>
                </a:solidFill>
                <a:ln w="12700" cap="flat">
                  <a:solidFill>
                    <a:schemeClr val="accent1"/>
                  </a:solidFill>
                  <a:prstDash val="solid"/>
                  <a:miter/>
                </a:ln>
                <a:effectLst>
                  <a:outerShdw dist="50800" dir="2700000" algn="ctr" rotWithShape="0">
                    <a:schemeClr val="accent1"/>
                  </a:outerShdw>
                </a:effectLst>
              </p:spPr>
              <p:txBody>
                <a:bodyPr rtlCol="0" anchor="ctr"/>
                <a:lstStyle/>
                <a:p>
                  <a:r>
                    <a:rPr lang="en-US" altLang="zh-CN" sz="900" dirty="0">
                      <a:latin typeface="Arial" panose="020B0604020202090204" pitchFamily="34" charset="0"/>
                      <a:ea typeface="华文楷体" panose="02010600040101010101" pitchFamily="2" charset="-122"/>
                    </a:rPr>
                    <a:t>Lorem ipsum dolor sit </a:t>
                  </a:r>
                  <a:r>
                    <a:rPr lang="en-US" altLang="zh-CN" sz="900" dirty="0" err="1">
                      <a:latin typeface="Arial" panose="020B0604020202090204" pitchFamily="34" charset="0"/>
                      <a:ea typeface="华文楷体" panose="02010600040101010101" pitchFamily="2" charset="-122"/>
                    </a:rPr>
                    <a:t>amet</a:t>
                  </a:r>
                  <a:r>
                    <a:rPr lang="en-US" altLang="zh-CN" sz="900" dirty="0">
                      <a:latin typeface="Arial" panose="020B0604020202090204" pitchFamily="34" charset="0"/>
                      <a:ea typeface="华文楷体" panose="02010600040101010101" pitchFamily="2" charset="-122"/>
                    </a:rPr>
                    <a:t>, </a:t>
                  </a:r>
                  <a:r>
                    <a:rPr lang="en-US" altLang="zh-CN" sz="900" dirty="0" err="1">
                      <a:latin typeface="Arial" panose="020B0604020202090204" pitchFamily="34" charset="0"/>
                      <a:ea typeface="华文楷体" panose="02010600040101010101" pitchFamily="2" charset="-122"/>
                    </a:rPr>
                    <a:t>consectetuer</a:t>
                  </a:r>
                  <a:r>
                    <a:rPr lang="en-US" altLang="zh-CN" sz="900" dirty="0">
                      <a:latin typeface="Arial" panose="020B0604020202090204" pitchFamily="34" charset="0"/>
                      <a:ea typeface="华文楷体" panose="02010600040101010101" pitchFamily="2" charset="-122"/>
                    </a:rPr>
                    <a:t> </a:t>
                  </a:r>
                  <a:r>
                    <a:rPr lang="en-US" altLang="zh-CN" sz="900" dirty="0" err="1">
                      <a:latin typeface="Arial" panose="020B0604020202090204" pitchFamily="34" charset="0"/>
                      <a:ea typeface="华文楷体" panose="02010600040101010101" pitchFamily="2" charset="-122"/>
                    </a:rPr>
                    <a:t>adipiscing</a:t>
                  </a:r>
                  <a:r>
                    <a:rPr lang="en-US" altLang="zh-CN" sz="900" dirty="0">
                      <a:latin typeface="Arial" panose="020B0604020202090204" pitchFamily="34" charset="0"/>
                      <a:ea typeface="华文楷体" panose="02010600040101010101" pitchFamily="2" charset="-122"/>
                    </a:rPr>
                    <a:t> </a:t>
                  </a:r>
                  <a:r>
                    <a:rPr lang="en-US" altLang="zh-CN" sz="900" dirty="0" err="1">
                      <a:latin typeface="Arial" panose="020B0604020202090204" pitchFamily="34" charset="0"/>
                      <a:ea typeface="华文楷体" panose="02010600040101010101" pitchFamily="2" charset="-122"/>
                    </a:rPr>
                    <a:t>elit</a:t>
                  </a:r>
                  <a:r>
                    <a:rPr lang="en-US" altLang="zh-CN" sz="900" dirty="0">
                      <a:latin typeface="Arial" panose="020B0604020202090204" pitchFamily="34" charset="0"/>
                      <a:ea typeface="华文楷体" panose="02010600040101010101" pitchFamily="2" charset="-122"/>
                    </a:rPr>
                    <a:t>. Maecenas </a:t>
                  </a:r>
                  <a:r>
                    <a:rPr lang="en-US" altLang="zh-CN" sz="900" dirty="0" err="1">
                      <a:latin typeface="Arial" panose="020B0604020202090204" pitchFamily="34" charset="0"/>
                      <a:ea typeface="华文楷体" panose="02010600040101010101" pitchFamily="2" charset="-122"/>
                    </a:rPr>
                    <a:t>porttitor</a:t>
                  </a:r>
                  <a:r>
                    <a:rPr lang="en-US" altLang="zh-CN" sz="900" dirty="0">
                      <a:latin typeface="Arial" panose="020B0604020202090204" pitchFamily="34" charset="0"/>
                      <a:ea typeface="华文楷体" panose="02010600040101010101" pitchFamily="2" charset="-122"/>
                    </a:rPr>
                    <a:t> </a:t>
                  </a:r>
                  <a:r>
                    <a:rPr lang="en-US" altLang="zh-CN" sz="900" dirty="0" err="1">
                      <a:latin typeface="Arial" panose="020B0604020202090204" pitchFamily="34" charset="0"/>
                      <a:ea typeface="华文楷体" panose="02010600040101010101" pitchFamily="2" charset="-122"/>
                    </a:rPr>
                    <a:t>congue</a:t>
                  </a:r>
                  <a:r>
                    <a:rPr lang="en-US" altLang="zh-CN" sz="900" dirty="0">
                      <a:latin typeface="Arial" panose="020B0604020202090204" pitchFamily="34" charset="0"/>
                      <a:ea typeface="华文楷体" panose="02010600040101010101" pitchFamily="2" charset="-122"/>
                    </a:rPr>
                    <a:t> </a:t>
                  </a:r>
                  <a:r>
                    <a:rPr lang="en-US" altLang="zh-CN" sz="900" dirty="0" err="1">
                      <a:latin typeface="Arial" panose="020B0604020202090204" pitchFamily="34" charset="0"/>
                      <a:ea typeface="华文楷体" panose="02010600040101010101" pitchFamily="2" charset="-122"/>
                    </a:rPr>
                    <a:t>massa</a:t>
                  </a:r>
                  <a:r>
                    <a:rPr lang="en-US" altLang="zh-CN" sz="900" dirty="0">
                      <a:latin typeface="Arial" panose="020B0604020202090204" pitchFamily="34" charset="0"/>
                      <a:ea typeface="华文楷体" panose="02010600040101010101" pitchFamily="2" charset="-122"/>
                    </a:rPr>
                    <a:t>. </a:t>
                  </a:r>
                  <a:r>
                    <a:rPr lang="en-US" altLang="zh-CN" sz="900" dirty="0" err="1">
                      <a:latin typeface="Arial" panose="020B0604020202090204" pitchFamily="34" charset="0"/>
                      <a:ea typeface="华文楷体" panose="02010600040101010101" pitchFamily="2" charset="-122"/>
                    </a:rPr>
                    <a:t>Fusce</a:t>
                  </a:r>
                  <a:r>
                    <a:rPr lang="en-US" altLang="zh-CN" sz="900" dirty="0">
                      <a:latin typeface="Arial" panose="020B0604020202090204" pitchFamily="34" charset="0"/>
                      <a:ea typeface="华文楷体" panose="02010600040101010101" pitchFamily="2" charset="-122"/>
                    </a:rPr>
                    <a:t> </a:t>
                  </a:r>
                  <a:r>
                    <a:rPr lang="en-US" altLang="zh-CN" sz="900" dirty="0" err="1">
                      <a:latin typeface="Arial" panose="020B0604020202090204" pitchFamily="34" charset="0"/>
                      <a:ea typeface="华文楷体" panose="02010600040101010101" pitchFamily="2" charset="-122"/>
                    </a:rPr>
                    <a:t>posuere</a:t>
                  </a:r>
                  <a:r>
                    <a:rPr lang="en-US" altLang="zh-CN" sz="900" dirty="0">
                      <a:latin typeface="Arial" panose="020B0604020202090204" pitchFamily="34" charset="0"/>
                      <a:ea typeface="华文楷体" panose="02010600040101010101" pitchFamily="2" charset="-122"/>
                    </a:rPr>
                    <a:t>, magna sed pulvinar </a:t>
                  </a:r>
                  <a:r>
                    <a:rPr lang="en-US" altLang="zh-CN" sz="900" dirty="0" err="1">
                      <a:latin typeface="Arial" panose="020B0604020202090204" pitchFamily="34" charset="0"/>
                      <a:ea typeface="华文楷体" panose="02010600040101010101" pitchFamily="2" charset="-122"/>
                    </a:rPr>
                    <a:t>ultricies</a:t>
                  </a:r>
                  <a:r>
                    <a:rPr lang="en-US" altLang="zh-CN" sz="900" dirty="0">
                      <a:latin typeface="Arial" panose="020B0604020202090204" pitchFamily="34" charset="0"/>
                      <a:ea typeface="华文楷体" panose="02010600040101010101" pitchFamily="2" charset="-122"/>
                    </a:rPr>
                    <a:t>, </a:t>
                  </a:r>
                  <a:r>
                    <a:rPr lang="en-US" altLang="zh-CN" sz="900" dirty="0" err="1">
                      <a:latin typeface="Arial" panose="020B0604020202090204" pitchFamily="34" charset="0"/>
                      <a:ea typeface="华文楷体" panose="02010600040101010101" pitchFamily="2" charset="-122"/>
                    </a:rPr>
                    <a:t>purus</a:t>
                  </a:r>
                  <a:r>
                    <a:rPr lang="en-US" altLang="zh-CN" sz="900" dirty="0">
                      <a:latin typeface="Arial" panose="020B0604020202090204" pitchFamily="34" charset="0"/>
                      <a:ea typeface="华文楷体" panose="02010600040101010101" pitchFamily="2" charset="-122"/>
                    </a:rPr>
                    <a:t> </a:t>
                  </a:r>
                  <a:r>
                    <a:rPr lang="en-US" altLang="zh-CN" sz="900" dirty="0" err="1">
                      <a:latin typeface="Arial" panose="020B0604020202090204" pitchFamily="34" charset="0"/>
                      <a:ea typeface="华文楷体" panose="02010600040101010101" pitchFamily="2" charset="-122"/>
                    </a:rPr>
                    <a:t>lectus</a:t>
                  </a:r>
                  <a:r>
                    <a:rPr lang="en-US" altLang="zh-CN" sz="900" dirty="0">
                      <a:latin typeface="Arial" panose="020B0604020202090204" pitchFamily="34" charset="0"/>
                      <a:ea typeface="华文楷体" panose="02010600040101010101" pitchFamily="2" charset="-122"/>
                    </a:rPr>
                    <a:t> </a:t>
                  </a:r>
                  <a:r>
                    <a:rPr lang="en-US" altLang="zh-CN" sz="900" dirty="0" err="1">
                      <a:latin typeface="Arial" panose="020B0604020202090204" pitchFamily="34" charset="0"/>
                      <a:ea typeface="华文楷体" panose="02010600040101010101" pitchFamily="2" charset="-122"/>
                    </a:rPr>
                    <a:t>malesuada</a:t>
                  </a:r>
                  <a:r>
                    <a:rPr lang="en-US" altLang="zh-CN" sz="900" dirty="0">
                      <a:latin typeface="Arial" panose="020B0604020202090204" pitchFamily="34" charset="0"/>
                      <a:ea typeface="华文楷体" panose="02010600040101010101" pitchFamily="2" charset="-122"/>
                    </a:rPr>
                    <a:t> libero, sit </a:t>
                  </a:r>
                  <a:r>
                    <a:rPr lang="en-US" altLang="zh-CN" sz="900" dirty="0" err="1">
                      <a:latin typeface="Arial" panose="020B0604020202090204" pitchFamily="34" charset="0"/>
                      <a:ea typeface="华文楷体" panose="02010600040101010101" pitchFamily="2" charset="-122"/>
                    </a:rPr>
                    <a:t>amet</a:t>
                  </a:r>
                  <a:r>
                    <a:rPr lang="en-US" altLang="zh-CN" sz="900" dirty="0">
                      <a:latin typeface="Arial" panose="020B0604020202090204" pitchFamily="34" charset="0"/>
                      <a:ea typeface="华文楷体" panose="02010600040101010101" pitchFamily="2" charset="-122"/>
                    </a:rPr>
                    <a:t> </a:t>
                  </a:r>
                  <a:r>
                    <a:rPr lang="en-US" altLang="zh-CN" sz="900" dirty="0" err="1">
                      <a:latin typeface="Arial" panose="020B0604020202090204" pitchFamily="34" charset="0"/>
                      <a:ea typeface="华文楷体" panose="02010600040101010101" pitchFamily="2" charset="-122"/>
                    </a:rPr>
                    <a:t>commodo</a:t>
                  </a:r>
                  <a:r>
                    <a:rPr lang="en-US" altLang="zh-CN" sz="900" dirty="0">
                      <a:latin typeface="Arial" panose="020B0604020202090204" pitchFamily="34" charset="0"/>
                      <a:ea typeface="华文楷体" panose="02010600040101010101" pitchFamily="2" charset="-122"/>
                    </a:rPr>
                    <a:t> magna eros </a:t>
                  </a:r>
                  <a:r>
                    <a:rPr lang="en-US" altLang="zh-CN" sz="900" dirty="0" err="1">
                      <a:latin typeface="Arial" panose="020B0604020202090204" pitchFamily="34" charset="0"/>
                      <a:ea typeface="华文楷体" panose="02010600040101010101" pitchFamily="2" charset="-122"/>
                    </a:rPr>
                    <a:t>quis</a:t>
                  </a:r>
                  <a:r>
                    <a:rPr lang="en-US" altLang="zh-CN" sz="900" dirty="0">
                      <a:latin typeface="Arial" panose="020B0604020202090204" pitchFamily="34" charset="0"/>
                      <a:ea typeface="华文楷体" panose="02010600040101010101" pitchFamily="2" charset="-122"/>
                    </a:rPr>
                    <a:t> </a:t>
                  </a:r>
                  <a:r>
                    <a:rPr lang="en-US" altLang="zh-CN" sz="900" dirty="0" err="1">
                      <a:latin typeface="Arial" panose="020B0604020202090204" pitchFamily="34" charset="0"/>
                      <a:ea typeface="华文楷体" panose="02010600040101010101" pitchFamily="2" charset="-122"/>
                    </a:rPr>
                    <a:t>urna</a:t>
                  </a:r>
                  <a:r>
                    <a:rPr lang="en-US" altLang="zh-CN" sz="900" dirty="0">
                      <a:latin typeface="Arial" panose="020B0604020202090204" pitchFamily="34" charset="0"/>
                      <a:ea typeface="华文楷体" panose="02010600040101010101" pitchFamily="2" charset="-122"/>
                    </a:rPr>
                    <a:t>.</a:t>
                  </a:r>
                  <a:endParaRPr lang="en-US" altLang="zh-CN" sz="900" dirty="0">
                    <a:latin typeface="Arial" panose="020B0604020202090204" pitchFamily="34" charset="0"/>
                    <a:ea typeface="华文楷体" panose="02010600040101010101" pitchFamily="2" charset="-122"/>
                  </a:endParaRPr>
                </a:p>
              </p:txBody>
            </p:sp>
            <p:sp>
              <p:nvSpPr>
                <p:cNvPr id="45" name="矩形 44"/>
                <p:cNvSpPr/>
                <p:nvPr/>
              </p:nvSpPr>
              <p:spPr>
                <a:xfrm>
                  <a:off x="5556118" y="4094953"/>
                  <a:ext cx="2286000"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kumimoji="1" lang="en-US" altLang="zh-CN" sz="1400" b="1" dirty="0">
                      <a:solidFill>
                        <a:schemeClr val="tx1"/>
                      </a:solidFill>
                      <a:latin typeface="Arial" panose="020B0604020202090204" pitchFamily="34" charset="0"/>
                      <a:ea typeface="华文楷体" panose="02010600040101010101" pitchFamily="2" charset="-122"/>
                    </a:rPr>
                    <a:t>Text</a:t>
                  </a:r>
                  <a:r>
                    <a:rPr kumimoji="1" lang="zh-CN" altLang="en-US" sz="1400" b="1" dirty="0">
                      <a:solidFill>
                        <a:schemeClr val="tx1"/>
                      </a:solidFill>
                      <a:latin typeface="Arial" panose="020B0604020202090204" pitchFamily="34" charset="0"/>
                      <a:ea typeface="华文楷体" panose="02010600040101010101" pitchFamily="2" charset="-122"/>
                    </a:rPr>
                    <a:t> </a:t>
                  </a:r>
                  <a:r>
                    <a:rPr kumimoji="1" lang="en-US" altLang="zh-CN" sz="1400" b="1" dirty="0">
                      <a:solidFill>
                        <a:schemeClr val="tx1"/>
                      </a:solidFill>
                      <a:latin typeface="Arial" panose="020B0604020202090204" pitchFamily="34" charset="0"/>
                      <a:ea typeface="华文楷体" panose="02010600040101010101" pitchFamily="2" charset="-122"/>
                    </a:rPr>
                    <a:t>here</a:t>
                  </a:r>
                  <a:endParaRPr kumimoji="1" lang="en-US" altLang="zh-CN" sz="1400" b="1" dirty="0">
                    <a:solidFill>
                      <a:schemeClr val="tx1"/>
                    </a:solidFill>
                    <a:latin typeface="Arial" panose="020B0604020202090204" pitchFamily="34" charset="0"/>
                    <a:ea typeface="华文楷体" panose="02010600040101010101" pitchFamily="2" charset="-122"/>
                  </a:endParaRPr>
                </a:p>
              </p:txBody>
            </p:sp>
          </p:grpSp>
          <p:cxnSp>
            <p:nvCxnSpPr>
              <p:cNvPr id="40" name="直接箭头连接符 39"/>
              <p:cNvCxnSpPr/>
              <p:nvPr/>
            </p:nvCxnSpPr>
            <p:spPr>
              <a:xfrm>
                <a:off x="9875969" y="3530667"/>
                <a:ext cx="0" cy="221895"/>
              </a:xfrm>
              <a:prstGeom prst="straightConnector1">
                <a:avLst/>
              </a:prstGeom>
              <a:ln w="15875">
                <a:solidFill>
                  <a:schemeClr val="tx1">
                    <a:lumMod val="50000"/>
                    <a:lumOff val="50000"/>
                    <a:alpha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41" name="文本框 40"/>
              <p:cNvSpPr txBox="1"/>
              <p:nvPr/>
            </p:nvSpPr>
            <p:spPr>
              <a:xfrm>
                <a:off x="7693039" y="2171700"/>
                <a:ext cx="540000" cy="540000"/>
              </a:xfrm>
              <a:prstGeom prst="roundRect">
                <a:avLst>
                  <a:gd name="adj" fmla="val 50000"/>
                </a:avLst>
              </a:prstGeom>
              <a:solidFill>
                <a:schemeClr val="tx2"/>
              </a:solidFill>
            </p:spPr>
            <p:txBody>
              <a:bodyPr wrap="none" lIns="108000" tIns="108000" rIns="108000" bIns="108000" rtlCol="0" anchor="ctr" anchorCtr="1">
                <a:noAutofit/>
              </a:bodyPr>
              <a:lstStyle/>
              <a:p>
                <a:pPr algn="ctr"/>
                <a:r>
                  <a:rPr kumimoji="1" lang="en-US" altLang="zh-CN" sz="2000" b="1" dirty="0">
                    <a:solidFill>
                      <a:schemeClr val="bg1"/>
                    </a:solidFill>
                    <a:latin typeface="Arial" panose="020B0604020202090204" pitchFamily="34" charset="0"/>
                    <a:ea typeface="华文楷体" panose="02010600040101010101" pitchFamily="2" charset="-122"/>
                  </a:rPr>
                  <a:t>02</a:t>
                </a:r>
                <a:endParaRPr kumimoji="1" lang="zh-CN" altLang="en-US" sz="2000" b="1" dirty="0">
                  <a:solidFill>
                    <a:schemeClr val="bg1"/>
                  </a:solidFill>
                  <a:latin typeface="Arial" panose="020B0604020202090204" pitchFamily="34" charset="0"/>
                  <a:ea typeface="华文楷体" panose="02010600040101010101" pitchFamily="2" charset="-122"/>
                </a:endParaRPr>
              </a:p>
            </p:txBody>
          </p:sp>
          <p:sp>
            <p:nvSpPr>
              <p:cNvPr id="42" name="矩形 41"/>
              <p:cNvSpPr/>
              <p:nvPr/>
            </p:nvSpPr>
            <p:spPr>
              <a:xfrm>
                <a:off x="6978443" y="2853151"/>
                <a:ext cx="1969192"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kumimoji="1" lang="en-US" altLang="zh-CN" b="1" dirty="0">
                    <a:solidFill>
                      <a:schemeClr val="tx1"/>
                    </a:solidFill>
                    <a:latin typeface="Arial" panose="020B0604020202090204" pitchFamily="34" charset="0"/>
                    <a:ea typeface="华文楷体" panose="02010600040101010101" pitchFamily="2" charset="-122"/>
                  </a:rPr>
                  <a:t>Text</a:t>
                </a:r>
                <a:r>
                  <a:rPr kumimoji="1" lang="zh-CN" altLang="en-US" b="1" dirty="0">
                    <a:solidFill>
                      <a:schemeClr val="tx1"/>
                    </a:solidFill>
                    <a:latin typeface="Arial" panose="020B0604020202090204" pitchFamily="34" charset="0"/>
                    <a:ea typeface="华文楷体" panose="02010600040101010101" pitchFamily="2" charset="-122"/>
                  </a:rPr>
                  <a:t> </a:t>
                </a:r>
                <a:r>
                  <a:rPr kumimoji="1" lang="en-US" altLang="zh-CN" b="1" dirty="0">
                    <a:solidFill>
                      <a:schemeClr val="tx1"/>
                    </a:solidFill>
                    <a:latin typeface="Arial" panose="020B0604020202090204" pitchFamily="34" charset="0"/>
                    <a:ea typeface="华文楷体" panose="02010600040101010101" pitchFamily="2" charset="-122"/>
                  </a:rPr>
                  <a:t>here</a:t>
                </a:r>
                <a:endParaRPr kumimoji="1" lang="en-US" altLang="zh-CN" b="1" dirty="0">
                  <a:solidFill>
                    <a:schemeClr val="tx1"/>
                  </a:solidFill>
                  <a:latin typeface="Arial" panose="020B0604020202090204" pitchFamily="34" charset="0"/>
                  <a:ea typeface="华文楷体" panose="02010600040101010101" pitchFamily="2" charset="-122"/>
                </a:endParaRPr>
              </a:p>
            </p:txBody>
          </p:sp>
          <p:cxnSp>
            <p:nvCxnSpPr>
              <p:cNvPr id="43" name="直接箭头连接符 42"/>
              <p:cNvCxnSpPr/>
              <p:nvPr/>
            </p:nvCxnSpPr>
            <p:spPr>
              <a:xfrm>
                <a:off x="7943226" y="3308772"/>
                <a:ext cx="0" cy="221895"/>
              </a:xfrm>
              <a:prstGeom prst="straightConnector1">
                <a:avLst/>
              </a:prstGeom>
              <a:ln w="15875">
                <a:solidFill>
                  <a:schemeClr val="tx1">
                    <a:lumMod val="50000"/>
                    <a:lumOff val="50000"/>
                    <a:alpha val="50000"/>
                  </a:schemeClr>
                </a:solidFill>
                <a:tailEnd type="none"/>
              </a:ln>
            </p:spPr>
            <p:style>
              <a:lnRef idx="1">
                <a:schemeClr val="accent1"/>
              </a:lnRef>
              <a:fillRef idx="0">
                <a:schemeClr val="accent1"/>
              </a:fillRef>
              <a:effectRef idx="0">
                <a:schemeClr val="accent1"/>
              </a:effectRef>
              <a:fontRef idx="minor">
                <a:schemeClr val="tx1"/>
              </a:fontRef>
            </p:style>
          </p:cxnSp>
        </p:grpSp>
      </p:grpSp>
    </p:spTree>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666750" y="110376"/>
            <a:ext cx="10945395" cy="5160514"/>
            <a:chOff x="666750" y="110376"/>
            <a:chExt cx="10945395" cy="5160514"/>
          </a:xfrm>
        </p:grpSpPr>
        <p:sp>
          <p:nvSpPr>
            <p:cNvPr id="40" name="椭圆 39"/>
            <p:cNvSpPr/>
            <p:nvPr/>
          </p:nvSpPr>
          <p:spPr>
            <a:xfrm>
              <a:off x="3841681" y="110376"/>
              <a:ext cx="4694210" cy="4694210"/>
            </a:xfrm>
            <a:prstGeom prst="ellipse">
              <a:avLst/>
            </a:prstGeom>
            <a:solidFill>
              <a:schemeClr val="accent4">
                <a:alpha val="35000"/>
              </a:schemeClr>
            </a:solidFill>
            <a:ln>
              <a:noFill/>
            </a:ln>
            <a:effectLst>
              <a:softEdge rad="825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圆角 38"/>
            <p:cNvSpPr/>
            <p:nvPr/>
          </p:nvSpPr>
          <p:spPr>
            <a:xfrm>
              <a:off x="9326145" y="4327014"/>
              <a:ext cx="2286000" cy="943876"/>
            </a:xfrm>
            <a:prstGeom prst="roundRect">
              <a:avLst>
                <a:gd name="adj" fmla="val 0"/>
              </a:avLst>
            </a:prstGeom>
            <a:solidFill>
              <a:schemeClr val="accent4"/>
            </a:solidFill>
            <a:ln w="6055" cap="flat">
              <a:noFill/>
              <a:prstDash val="solid"/>
              <a:miter/>
            </a:ln>
          </p:spPr>
          <p:txBody>
            <a:bodyPr rtlCol="0" anchor="ctr"/>
            <a:lstStyle/>
            <a:p>
              <a:endParaRPr lang="zh-CN" altLang="en-US">
                <a:solidFill>
                  <a:schemeClr val="bg1"/>
                </a:solidFill>
              </a:endParaRPr>
            </a:p>
          </p:txBody>
        </p:sp>
        <p:sp>
          <p:nvSpPr>
            <p:cNvPr id="38" name="矩形: 圆角 37"/>
            <p:cNvSpPr/>
            <p:nvPr/>
          </p:nvSpPr>
          <p:spPr>
            <a:xfrm>
              <a:off x="6450209" y="4327014"/>
              <a:ext cx="2286000" cy="943876"/>
            </a:xfrm>
            <a:prstGeom prst="roundRect">
              <a:avLst>
                <a:gd name="adj" fmla="val 0"/>
              </a:avLst>
            </a:prstGeom>
            <a:solidFill>
              <a:schemeClr val="accent4"/>
            </a:solidFill>
            <a:ln w="6055" cap="flat">
              <a:noFill/>
              <a:prstDash val="solid"/>
              <a:miter/>
            </a:ln>
          </p:spPr>
          <p:txBody>
            <a:bodyPr rtlCol="0" anchor="ctr"/>
            <a:lstStyle/>
            <a:p>
              <a:endParaRPr lang="zh-CN" altLang="en-US">
                <a:solidFill>
                  <a:schemeClr val="bg1"/>
                </a:solidFill>
              </a:endParaRPr>
            </a:p>
          </p:txBody>
        </p:sp>
        <p:sp>
          <p:nvSpPr>
            <p:cNvPr id="37" name="矩形: 圆角 36"/>
            <p:cNvSpPr/>
            <p:nvPr/>
          </p:nvSpPr>
          <p:spPr>
            <a:xfrm>
              <a:off x="3611145" y="4327014"/>
              <a:ext cx="2286000" cy="943876"/>
            </a:xfrm>
            <a:prstGeom prst="roundRect">
              <a:avLst>
                <a:gd name="adj" fmla="val 0"/>
              </a:avLst>
            </a:prstGeom>
            <a:solidFill>
              <a:schemeClr val="accent4"/>
            </a:solidFill>
            <a:ln w="6055" cap="flat">
              <a:noFill/>
              <a:prstDash val="solid"/>
              <a:miter/>
            </a:ln>
          </p:spPr>
          <p:txBody>
            <a:bodyPr rtlCol="0" anchor="ctr"/>
            <a:lstStyle/>
            <a:p>
              <a:endParaRPr lang="zh-CN" altLang="en-US">
                <a:solidFill>
                  <a:schemeClr val="bg1"/>
                </a:solidFill>
              </a:endParaRPr>
            </a:p>
          </p:txBody>
        </p:sp>
        <p:sp>
          <p:nvSpPr>
            <p:cNvPr id="36" name="矩形: 圆角 35"/>
            <p:cNvSpPr/>
            <p:nvPr/>
          </p:nvSpPr>
          <p:spPr>
            <a:xfrm>
              <a:off x="737533" y="4327014"/>
              <a:ext cx="2286000" cy="943876"/>
            </a:xfrm>
            <a:prstGeom prst="roundRect">
              <a:avLst>
                <a:gd name="adj" fmla="val 0"/>
              </a:avLst>
            </a:prstGeom>
            <a:solidFill>
              <a:schemeClr val="accent4"/>
            </a:solidFill>
            <a:ln w="6055" cap="flat">
              <a:noFill/>
              <a:prstDash val="solid"/>
              <a:miter/>
            </a:ln>
          </p:spPr>
          <p:txBody>
            <a:bodyPr rtlCol="0" anchor="ctr"/>
            <a:lstStyle/>
            <a:p>
              <a:endParaRPr lang="zh-CN" altLang="en-US">
                <a:solidFill>
                  <a:schemeClr val="bg1"/>
                </a:solidFill>
              </a:endParaRPr>
            </a:p>
          </p:txBody>
        </p:sp>
        <p:sp>
          <p:nvSpPr>
            <p:cNvPr id="35" name="矩形: 圆角 34"/>
            <p:cNvSpPr/>
            <p:nvPr/>
          </p:nvSpPr>
          <p:spPr>
            <a:xfrm>
              <a:off x="3667574" y="1917214"/>
              <a:ext cx="5077064" cy="1316535"/>
            </a:xfrm>
            <a:prstGeom prst="roundRect">
              <a:avLst>
                <a:gd name="adj" fmla="val 0"/>
              </a:avLst>
            </a:prstGeom>
            <a:solidFill>
              <a:schemeClr val="accent4"/>
            </a:solidFill>
            <a:ln w="6055" cap="flat">
              <a:noFill/>
              <a:prstDash val="solid"/>
              <a:miter/>
            </a:ln>
          </p:spPr>
          <p:txBody>
            <a:bodyPr rtlCol="0" anchor="ctr"/>
            <a:lstStyle/>
            <a:p>
              <a:pPr algn="ctr"/>
              <a:endParaRPr lang="zh-CN" altLang="en-US"/>
            </a:p>
          </p:txBody>
        </p:sp>
        <p:grpSp>
          <p:nvGrpSpPr>
            <p:cNvPr id="3" name="组合 2"/>
            <p:cNvGrpSpPr/>
            <p:nvPr/>
          </p:nvGrpSpPr>
          <p:grpSpPr>
            <a:xfrm>
              <a:off x="666750" y="1689033"/>
              <a:ext cx="10858500" cy="3495557"/>
              <a:chOff x="660400" y="1892233"/>
              <a:chExt cx="10858500" cy="3495557"/>
            </a:xfrm>
          </p:grpSpPr>
          <p:cxnSp>
            <p:nvCxnSpPr>
              <p:cNvPr id="4" name="直接箭头连接符 3"/>
              <p:cNvCxnSpPr/>
              <p:nvPr/>
            </p:nvCxnSpPr>
            <p:spPr>
              <a:xfrm flipH="1">
                <a:off x="1799261" y="3809116"/>
                <a:ext cx="8576639" cy="0"/>
              </a:xfrm>
              <a:prstGeom prst="straightConnector1">
                <a:avLst/>
              </a:prstGeom>
              <a:ln w="15875">
                <a:solidFill>
                  <a:schemeClr val="tx1">
                    <a:lumMod val="50000"/>
                    <a:lumOff val="50000"/>
                    <a:alpha val="50000"/>
                  </a:schemeClr>
                </a:solidFill>
                <a:tailEnd type="none"/>
              </a:ln>
            </p:spPr>
            <p:style>
              <a:lnRef idx="1">
                <a:schemeClr val="accent1"/>
              </a:lnRef>
              <a:fillRef idx="0">
                <a:schemeClr val="accent1"/>
              </a:fillRef>
              <a:effectRef idx="0">
                <a:schemeClr val="accent1"/>
              </a:effectRef>
              <a:fontRef idx="minor">
                <a:schemeClr val="tx1"/>
              </a:fontRef>
            </p:style>
          </p:cxnSp>
          <p:grpSp>
            <p:nvGrpSpPr>
              <p:cNvPr id="5" name="组合 4"/>
              <p:cNvGrpSpPr/>
              <p:nvPr/>
            </p:nvGrpSpPr>
            <p:grpSpPr>
              <a:xfrm>
                <a:off x="3567160" y="1892233"/>
                <a:ext cx="5083081" cy="1452354"/>
                <a:chOff x="3554460" y="2192646"/>
                <a:chExt cx="5083081" cy="1452354"/>
              </a:xfrm>
            </p:grpSpPr>
            <p:sp>
              <p:nvSpPr>
                <p:cNvPr id="31" name="矩形: 圆角 30"/>
                <p:cNvSpPr/>
                <p:nvPr/>
              </p:nvSpPr>
              <p:spPr>
                <a:xfrm>
                  <a:off x="3554460" y="2338390"/>
                  <a:ext cx="5083081" cy="1306610"/>
                </a:xfrm>
                <a:prstGeom prst="roundRect">
                  <a:avLst>
                    <a:gd name="adj" fmla="val 0"/>
                  </a:avLst>
                </a:prstGeom>
                <a:solidFill>
                  <a:schemeClr val="bg1"/>
                </a:solidFill>
                <a:ln w="25400" cap="flat">
                  <a:solidFill>
                    <a:schemeClr val="accent4"/>
                  </a:solidFill>
                  <a:prstDash val="solid"/>
                  <a:miter/>
                </a:ln>
              </p:spPr>
              <p:txBody>
                <a:bodyPr rtlCol="0" anchor="ctr"/>
                <a:lstStyle/>
                <a:p>
                  <a:pPr algn="ctr"/>
                  <a:endParaRPr lang="zh-CN" altLang="en-US"/>
                </a:p>
              </p:txBody>
            </p:sp>
            <p:grpSp>
              <p:nvGrpSpPr>
                <p:cNvPr id="32" name="组合 31"/>
                <p:cNvGrpSpPr/>
                <p:nvPr/>
              </p:nvGrpSpPr>
              <p:grpSpPr>
                <a:xfrm>
                  <a:off x="3662460" y="2192646"/>
                  <a:ext cx="4867081" cy="1340496"/>
                  <a:chOff x="7062281" y="4334536"/>
                  <a:chExt cx="3059102" cy="1240539"/>
                </a:xfrm>
              </p:grpSpPr>
              <p:sp>
                <p:nvSpPr>
                  <p:cNvPr id="33" name="矩形 32"/>
                  <p:cNvSpPr/>
                  <p:nvPr/>
                </p:nvSpPr>
                <p:spPr>
                  <a:xfrm>
                    <a:off x="7062281" y="4650720"/>
                    <a:ext cx="3059102" cy="9243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t" anchorCtr="0">
                    <a:spAutoFit/>
                  </a:bodyPr>
                  <a:lstStyle/>
                  <a:p>
                    <a:pPr>
                      <a:lnSpc>
                        <a:spcPct val="130000"/>
                      </a:lnSpc>
                    </a:pPr>
                    <a:r>
                      <a:rPr kumimoji="1" lang="en-US" altLang="zh-CN" sz="1000" dirty="0">
                        <a:solidFill>
                          <a:schemeClr val="tx1"/>
                        </a:solidFill>
                        <a:latin typeface="Arial" panose="020B0604020202090204" pitchFamily="34" charset="0"/>
                        <a:ea typeface="华文楷体" panose="02010600040101010101" pitchFamily="2" charset="-122"/>
                      </a:rPr>
                      <a:t>Theme color makes PPT more convenient to change. Adjust the spacing to adapt to Chinese typesetting, use the reference line in PPT…… Theme color makes PPT more convenient to change. Adjust the spacing to adapt to Chinese typesetting, use the reference line in PPT……</a:t>
                    </a:r>
                    <a:endParaRPr kumimoji="1" lang="en-US" altLang="zh-CN" sz="1000" dirty="0">
                      <a:solidFill>
                        <a:schemeClr val="tx1"/>
                      </a:solidFill>
                      <a:latin typeface="Arial" panose="020B0604020202090204" pitchFamily="34" charset="0"/>
                      <a:ea typeface="华文楷体" panose="02010600040101010101" pitchFamily="2" charset="-122"/>
                    </a:endParaRPr>
                  </a:p>
                </p:txBody>
              </p:sp>
              <p:sp>
                <p:nvSpPr>
                  <p:cNvPr id="34" name="矩形: 圆角 33"/>
                  <p:cNvSpPr/>
                  <p:nvPr/>
                </p:nvSpPr>
                <p:spPr>
                  <a:xfrm>
                    <a:off x="8030771" y="4334536"/>
                    <a:ext cx="1111374" cy="271819"/>
                  </a:xfrm>
                  <a:prstGeom prst="roundRect">
                    <a:avLst>
                      <a:gd name="adj" fmla="val 0"/>
                    </a:avLst>
                  </a:prstGeom>
                  <a:solidFill>
                    <a:schemeClr val="bg1"/>
                  </a:solidFill>
                  <a:ln w="254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wrap="none" lIns="108000" tIns="54000" rIns="108000" bIns="54000" rtlCol="0" anchor="ctr" anchorCtr="0">
                    <a:spAutoFit/>
                  </a:bodyPr>
                  <a:lstStyle/>
                  <a:p>
                    <a:r>
                      <a:rPr kumimoji="1" lang="en-US" altLang="zh-CN" sz="1200" b="1" dirty="0">
                        <a:solidFill>
                          <a:schemeClr val="accent4"/>
                        </a:solidFill>
                        <a:latin typeface="Arial" panose="020B0604020202090204" pitchFamily="34" charset="0"/>
                        <a:ea typeface="华文楷体" panose="02010600040101010101" pitchFamily="2" charset="-122"/>
                      </a:rPr>
                      <a:t>Supporting text here.</a:t>
                    </a:r>
                    <a:endParaRPr kumimoji="1" lang="en-US" altLang="zh-CN" sz="1200" b="1" dirty="0">
                      <a:solidFill>
                        <a:schemeClr val="accent4"/>
                      </a:solidFill>
                      <a:latin typeface="Arial" panose="020B0604020202090204" pitchFamily="34" charset="0"/>
                      <a:ea typeface="华文楷体" panose="02010600040101010101" pitchFamily="2" charset="-122"/>
                    </a:endParaRPr>
                  </a:p>
                </p:txBody>
              </p:sp>
            </p:grpSp>
          </p:grpSp>
          <p:cxnSp>
            <p:nvCxnSpPr>
              <p:cNvPr id="6" name="直接箭头连接符 5"/>
              <p:cNvCxnSpPr/>
              <p:nvPr/>
            </p:nvCxnSpPr>
            <p:spPr>
              <a:xfrm>
                <a:off x="6102350" y="3344587"/>
                <a:ext cx="0" cy="464529"/>
              </a:xfrm>
              <a:prstGeom prst="straightConnector1">
                <a:avLst/>
              </a:prstGeom>
              <a:ln w="15875">
                <a:solidFill>
                  <a:schemeClr val="tx1">
                    <a:lumMod val="50000"/>
                    <a:lumOff val="50000"/>
                    <a:alpha val="50000"/>
                  </a:schemeClr>
                </a:solidFill>
                <a:tailEnd type="none"/>
              </a:ln>
            </p:spPr>
            <p:style>
              <a:lnRef idx="1">
                <a:schemeClr val="accent1"/>
              </a:lnRef>
              <a:fillRef idx="0">
                <a:schemeClr val="accent1"/>
              </a:fillRef>
              <a:effectRef idx="0">
                <a:schemeClr val="accent1"/>
              </a:effectRef>
              <a:fontRef idx="minor">
                <a:schemeClr val="tx1"/>
              </a:fontRef>
            </p:style>
          </p:cxnSp>
          <p:grpSp>
            <p:nvGrpSpPr>
              <p:cNvPr id="7" name="组合 6"/>
              <p:cNvGrpSpPr/>
              <p:nvPr/>
            </p:nvGrpSpPr>
            <p:grpSpPr>
              <a:xfrm>
                <a:off x="660400" y="3809116"/>
                <a:ext cx="2286000" cy="1578674"/>
                <a:chOff x="6256241" y="3809116"/>
                <a:chExt cx="2286000" cy="1578674"/>
              </a:xfrm>
            </p:grpSpPr>
            <p:cxnSp>
              <p:nvCxnSpPr>
                <p:cNvPr id="26" name="直接箭头连接符 25"/>
                <p:cNvCxnSpPr/>
                <p:nvPr/>
              </p:nvCxnSpPr>
              <p:spPr>
                <a:xfrm>
                  <a:off x="7399241" y="3809116"/>
                  <a:ext cx="0" cy="462475"/>
                </a:xfrm>
                <a:prstGeom prst="straightConnector1">
                  <a:avLst/>
                </a:prstGeom>
                <a:ln w="15875">
                  <a:solidFill>
                    <a:schemeClr val="tx1">
                      <a:lumMod val="50000"/>
                      <a:lumOff val="50000"/>
                      <a:alpha val="50000"/>
                    </a:schemeClr>
                  </a:solidFill>
                  <a:tailEnd type="none"/>
                </a:ln>
              </p:spPr>
              <p:style>
                <a:lnRef idx="1">
                  <a:schemeClr val="accent1"/>
                </a:lnRef>
                <a:fillRef idx="0">
                  <a:schemeClr val="accent1"/>
                </a:fillRef>
                <a:effectRef idx="0">
                  <a:schemeClr val="accent1"/>
                </a:effectRef>
                <a:fontRef idx="minor">
                  <a:schemeClr val="tx1"/>
                </a:fontRef>
              </p:style>
            </p:cxnSp>
            <p:grpSp>
              <p:nvGrpSpPr>
                <p:cNvPr id="27" name="组合 26"/>
                <p:cNvGrpSpPr/>
                <p:nvPr/>
              </p:nvGrpSpPr>
              <p:grpSpPr>
                <a:xfrm>
                  <a:off x="6256241" y="4287021"/>
                  <a:ext cx="2286000" cy="1100769"/>
                  <a:chOff x="5867372" y="3392764"/>
                  <a:chExt cx="2286000" cy="1100769"/>
                </a:xfrm>
              </p:grpSpPr>
              <p:sp>
                <p:nvSpPr>
                  <p:cNvPr id="28" name="矩形: 圆角 27"/>
                  <p:cNvSpPr/>
                  <p:nvPr/>
                </p:nvSpPr>
                <p:spPr>
                  <a:xfrm>
                    <a:off x="5867372" y="3549657"/>
                    <a:ext cx="2286000" cy="943876"/>
                  </a:xfrm>
                  <a:prstGeom prst="roundRect">
                    <a:avLst>
                      <a:gd name="adj" fmla="val 0"/>
                    </a:avLst>
                  </a:prstGeom>
                  <a:solidFill>
                    <a:schemeClr val="bg1"/>
                  </a:solidFill>
                  <a:ln w="25400" cap="flat">
                    <a:solidFill>
                      <a:schemeClr val="accent4"/>
                    </a:solidFill>
                    <a:prstDash val="solid"/>
                    <a:miter/>
                  </a:ln>
                </p:spPr>
                <p:txBody>
                  <a:bodyPr rtlCol="0" anchor="ctr"/>
                  <a:lstStyle/>
                  <a:p>
                    <a:pPr algn="ctr"/>
                    <a:endParaRPr lang="zh-CN" altLang="en-US">
                      <a:solidFill>
                        <a:schemeClr val="accent4"/>
                      </a:solidFill>
                    </a:endParaRPr>
                  </a:p>
                </p:txBody>
              </p:sp>
              <p:sp>
                <p:nvSpPr>
                  <p:cNvPr id="29" name="矩形: 圆角 28"/>
                  <p:cNvSpPr/>
                  <p:nvPr/>
                </p:nvSpPr>
                <p:spPr>
                  <a:xfrm>
                    <a:off x="6025049" y="3702387"/>
                    <a:ext cx="1970647" cy="633469"/>
                  </a:xfrm>
                  <a:prstGeom prst="roundRect">
                    <a:avLst>
                      <a:gd name="adj" fmla="val 10544"/>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t"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lnSpc>
                        <a:spcPct val="130000"/>
                      </a:lnSpc>
                    </a:pPr>
                    <a:r>
                      <a:rPr kumimoji="1" lang="en-US" altLang="zh-CN" sz="1000" dirty="0">
                        <a:solidFill>
                          <a:schemeClr val="tx1"/>
                        </a:solidFill>
                        <a:latin typeface="Arial" panose="020B0604020202090204" pitchFamily="34" charset="0"/>
                        <a:ea typeface="华文楷体" panose="02010600040101010101" pitchFamily="2" charset="-122"/>
                      </a:rPr>
                      <a:t>Theme color makes PPT more convenient to change.</a:t>
                    </a:r>
                    <a:endParaRPr kumimoji="1" lang="en-US" altLang="zh-CN" sz="1000" dirty="0">
                      <a:solidFill>
                        <a:schemeClr val="tx1"/>
                      </a:solidFill>
                      <a:latin typeface="Arial" panose="020B0604020202090204" pitchFamily="34" charset="0"/>
                      <a:ea typeface="华文楷体" panose="02010600040101010101" pitchFamily="2" charset="-122"/>
                    </a:endParaRPr>
                  </a:p>
                </p:txBody>
              </p:sp>
              <p:sp>
                <p:nvSpPr>
                  <p:cNvPr id="30" name="矩形: 圆角 29"/>
                  <p:cNvSpPr/>
                  <p:nvPr/>
                </p:nvSpPr>
                <p:spPr>
                  <a:xfrm>
                    <a:off x="6525767" y="3392764"/>
                    <a:ext cx="969211" cy="290085"/>
                  </a:xfrm>
                  <a:prstGeom prst="roundRect">
                    <a:avLst>
                      <a:gd name="adj" fmla="val 0"/>
                    </a:avLst>
                  </a:prstGeom>
                  <a:solidFill>
                    <a:schemeClr val="bg1"/>
                  </a:solidFill>
                  <a:ln w="254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wrap="square" lIns="108000" tIns="54000" rIns="108000" bIns="50400" rtlCol="0" anchor="ctr" anchorCtr="0">
                    <a:spAutoFit/>
                  </a:bodyPr>
                  <a:lstStyle/>
                  <a:p>
                    <a:pPr algn="ctr"/>
                    <a:r>
                      <a:rPr kumimoji="1" lang="en-US" altLang="zh-CN" sz="1200" b="1" dirty="0">
                        <a:solidFill>
                          <a:schemeClr val="accent4"/>
                        </a:solidFill>
                        <a:latin typeface="Arial" panose="020B0604020202090204" pitchFamily="34" charset="0"/>
                        <a:ea typeface="华文楷体" panose="02010600040101010101" pitchFamily="2" charset="-122"/>
                      </a:rPr>
                      <a:t>Text here</a:t>
                    </a:r>
                    <a:endParaRPr kumimoji="1" lang="en-US" altLang="zh-CN" sz="1200" b="1" dirty="0">
                      <a:solidFill>
                        <a:schemeClr val="accent4"/>
                      </a:solidFill>
                      <a:latin typeface="Arial" panose="020B0604020202090204" pitchFamily="34" charset="0"/>
                      <a:ea typeface="华文楷体" panose="02010600040101010101" pitchFamily="2" charset="-122"/>
                    </a:endParaRPr>
                  </a:p>
                </p:txBody>
              </p:sp>
            </p:grpSp>
          </p:grpSp>
          <p:grpSp>
            <p:nvGrpSpPr>
              <p:cNvPr id="8" name="组合 7"/>
              <p:cNvGrpSpPr/>
              <p:nvPr/>
            </p:nvGrpSpPr>
            <p:grpSpPr>
              <a:xfrm>
                <a:off x="3517900" y="3809116"/>
                <a:ext cx="2286000" cy="1578674"/>
                <a:chOff x="6256241" y="3809116"/>
                <a:chExt cx="2286000" cy="1578674"/>
              </a:xfrm>
            </p:grpSpPr>
            <p:cxnSp>
              <p:nvCxnSpPr>
                <p:cNvPr id="21" name="直接箭头连接符 20"/>
                <p:cNvCxnSpPr/>
                <p:nvPr/>
              </p:nvCxnSpPr>
              <p:spPr>
                <a:xfrm>
                  <a:off x="7399241" y="3809116"/>
                  <a:ext cx="0" cy="462475"/>
                </a:xfrm>
                <a:prstGeom prst="straightConnector1">
                  <a:avLst/>
                </a:prstGeom>
                <a:ln w="15875">
                  <a:solidFill>
                    <a:schemeClr val="tx1">
                      <a:lumMod val="50000"/>
                      <a:lumOff val="50000"/>
                      <a:alpha val="50000"/>
                    </a:schemeClr>
                  </a:solidFill>
                  <a:tailEnd type="none"/>
                </a:ln>
              </p:spPr>
              <p:style>
                <a:lnRef idx="1">
                  <a:schemeClr val="accent1"/>
                </a:lnRef>
                <a:fillRef idx="0">
                  <a:schemeClr val="accent1"/>
                </a:fillRef>
                <a:effectRef idx="0">
                  <a:schemeClr val="accent1"/>
                </a:effectRef>
                <a:fontRef idx="minor">
                  <a:schemeClr val="tx1"/>
                </a:fontRef>
              </p:style>
            </p:cxnSp>
            <p:grpSp>
              <p:nvGrpSpPr>
                <p:cNvPr id="22" name="组合 21"/>
                <p:cNvGrpSpPr/>
                <p:nvPr/>
              </p:nvGrpSpPr>
              <p:grpSpPr>
                <a:xfrm>
                  <a:off x="6256241" y="4287021"/>
                  <a:ext cx="2286000" cy="1100769"/>
                  <a:chOff x="5867372" y="3392764"/>
                  <a:chExt cx="2286000" cy="1100769"/>
                </a:xfrm>
              </p:grpSpPr>
              <p:sp>
                <p:nvSpPr>
                  <p:cNvPr id="23" name="矩形: 圆角 22"/>
                  <p:cNvSpPr/>
                  <p:nvPr/>
                </p:nvSpPr>
                <p:spPr>
                  <a:xfrm>
                    <a:off x="5867372" y="3549657"/>
                    <a:ext cx="2286000" cy="943876"/>
                  </a:xfrm>
                  <a:prstGeom prst="roundRect">
                    <a:avLst>
                      <a:gd name="adj" fmla="val 0"/>
                    </a:avLst>
                  </a:prstGeom>
                  <a:solidFill>
                    <a:schemeClr val="bg1"/>
                  </a:solidFill>
                  <a:ln w="25400" cap="flat">
                    <a:solidFill>
                      <a:schemeClr val="accent4"/>
                    </a:solidFill>
                    <a:prstDash val="solid"/>
                    <a:miter/>
                  </a:ln>
                </p:spPr>
                <p:txBody>
                  <a:bodyPr rtlCol="0" anchor="ctr"/>
                  <a:lstStyle/>
                  <a:p>
                    <a:pPr algn="ctr"/>
                    <a:endParaRPr lang="zh-CN" altLang="en-US">
                      <a:solidFill>
                        <a:schemeClr val="accent4"/>
                      </a:solidFill>
                    </a:endParaRPr>
                  </a:p>
                </p:txBody>
              </p:sp>
              <p:sp>
                <p:nvSpPr>
                  <p:cNvPr id="24" name="矩形: 圆角 23"/>
                  <p:cNvSpPr/>
                  <p:nvPr/>
                </p:nvSpPr>
                <p:spPr>
                  <a:xfrm>
                    <a:off x="6025049" y="3702387"/>
                    <a:ext cx="1970647" cy="633469"/>
                  </a:xfrm>
                  <a:prstGeom prst="roundRect">
                    <a:avLst>
                      <a:gd name="adj" fmla="val 10544"/>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t"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lnSpc>
                        <a:spcPct val="130000"/>
                      </a:lnSpc>
                    </a:pPr>
                    <a:r>
                      <a:rPr kumimoji="1" lang="en-US" altLang="zh-CN" sz="1000" dirty="0">
                        <a:solidFill>
                          <a:schemeClr val="tx1"/>
                        </a:solidFill>
                        <a:latin typeface="Arial" panose="020B0604020202090204" pitchFamily="34" charset="0"/>
                        <a:ea typeface="华文楷体" panose="02010600040101010101" pitchFamily="2" charset="-122"/>
                      </a:rPr>
                      <a:t>Theme color makes PPT more convenient to change.</a:t>
                    </a:r>
                    <a:endParaRPr kumimoji="1" lang="en-US" altLang="zh-CN" sz="1000" dirty="0">
                      <a:solidFill>
                        <a:schemeClr val="tx1"/>
                      </a:solidFill>
                      <a:latin typeface="Arial" panose="020B0604020202090204" pitchFamily="34" charset="0"/>
                      <a:ea typeface="华文楷体" panose="02010600040101010101" pitchFamily="2" charset="-122"/>
                    </a:endParaRPr>
                  </a:p>
                </p:txBody>
              </p:sp>
              <p:sp>
                <p:nvSpPr>
                  <p:cNvPr id="25" name="矩形: 圆角 24"/>
                  <p:cNvSpPr/>
                  <p:nvPr/>
                </p:nvSpPr>
                <p:spPr>
                  <a:xfrm>
                    <a:off x="6525767" y="3392764"/>
                    <a:ext cx="969211" cy="290085"/>
                  </a:xfrm>
                  <a:prstGeom prst="roundRect">
                    <a:avLst>
                      <a:gd name="adj" fmla="val 0"/>
                    </a:avLst>
                  </a:prstGeom>
                  <a:solidFill>
                    <a:schemeClr val="bg1"/>
                  </a:solidFill>
                  <a:ln w="254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wrap="square" lIns="108000" tIns="54000" rIns="108000" bIns="50400" rtlCol="0" anchor="ctr" anchorCtr="0">
                    <a:spAutoFit/>
                  </a:bodyPr>
                  <a:lstStyle/>
                  <a:p>
                    <a:pPr algn="ctr"/>
                    <a:r>
                      <a:rPr kumimoji="1" lang="en-US" altLang="zh-CN" sz="1200" b="1" dirty="0">
                        <a:solidFill>
                          <a:schemeClr val="accent4"/>
                        </a:solidFill>
                        <a:latin typeface="Arial" panose="020B0604020202090204" pitchFamily="34" charset="0"/>
                        <a:ea typeface="华文楷体" panose="02010600040101010101" pitchFamily="2" charset="-122"/>
                      </a:rPr>
                      <a:t>Text here</a:t>
                    </a:r>
                    <a:endParaRPr kumimoji="1" lang="en-US" altLang="zh-CN" sz="1200" b="1" dirty="0">
                      <a:solidFill>
                        <a:schemeClr val="accent4"/>
                      </a:solidFill>
                      <a:latin typeface="Arial" panose="020B0604020202090204" pitchFamily="34" charset="0"/>
                      <a:ea typeface="华文楷体" panose="02010600040101010101" pitchFamily="2" charset="-122"/>
                    </a:endParaRPr>
                  </a:p>
                </p:txBody>
              </p:sp>
            </p:grpSp>
          </p:grpSp>
          <p:grpSp>
            <p:nvGrpSpPr>
              <p:cNvPr id="9" name="组合 8"/>
              <p:cNvGrpSpPr/>
              <p:nvPr/>
            </p:nvGrpSpPr>
            <p:grpSpPr>
              <a:xfrm>
                <a:off x="6375400" y="3809116"/>
                <a:ext cx="2286000" cy="1578674"/>
                <a:chOff x="6256241" y="3809116"/>
                <a:chExt cx="2286000" cy="1578674"/>
              </a:xfrm>
            </p:grpSpPr>
            <p:cxnSp>
              <p:nvCxnSpPr>
                <p:cNvPr id="16" name="直接箭头连接符 15"/>
                <p:cNvCxnSpPr/>
                <p:nvPr/>
              </p:nvCxnSpPr>
              <p:spPr>
                <a:xfrm>
                  <a:off x="7399241" y="3809116"/>
                  <a:ext cx="0" cy="462475"/>
                </a:xfrm>
                <a:prstGeom prst="straightConnector1">
                  <a:avLst/>
                </a:prstGeom>
                <a:ln w="15875">
                  <a:solidFill>
                    <a:schemeClr val="tx1">
                      <a:lumMod val="50000"/>
                      <a:lumOff val="50000"/>
                      <a:alpha val="50000"/>
                    </a:schemeClr>
                  </a:solidFill>
                  <a:tailEnd type="none"/>
                </a:ln>
              </p:spPr>
              <p:style>
                <a:lnRef idx="1">
                  <a:schemeClr val="accent1"/>
                </a:lnRef>
                <a:fillRef idx="0">
                  <a:schemeClr val="accent1"/>
                </a:fillRef>
                <a:effectRef idx="0">
                  <a:schemeClr val="accent1"/>
                </a:effectRef>
                <a:fontRef idx="minor">
                  <a:schemeClr val="tx1"/>
                </a:fontRef>
              </p:style>
            </p:cxnSp>
            <p:grpSp>
              <p:nvGrpSpPr>
                <p:cNvPr id="17" name="组合 16"/>
                <p:cNvGrpSpPr/>
                <p:nvPr/>
              </p:nvGrpSpPr>
              <p:grpSpPr>
                <a:xfrm>
                  <a:off x="6256241" y="4287021"/>
                  <a:ext cx="2286000" cy="1100769"/>
                  <a:chOff x="5867372" y="3392764"/>
                  <a:chExt cx="2286000" cy="1100769"/>
                </a:xfrm>
              </p:grpSpPr>
              <p:sp>
                <p:nvSpPr>
                  <p:cNvPr id="18" name="矩形: 圆角 17"/>
                  <p:cNvSpPr/>
                  <p:nvPr/>
                </p:nvSpPr>
                <p:spPr>
                  <a:xfrm>
                    <a:off x="5867372" y="3549657"/>
                    <a:ext cx="2286000" cy="943876"/>
                  </a:xfrm>
                  <a:prstGeom prst="roundRect">
                    <a:avLst>
                      <a:gd name="adj" fmla="val 0"/>
                    </a:avLst>
                  </a:prstGeom>
                  <a:solidFill>
                    <a:schemeClr val="bg1"/>
                  </a:solidFill>
                  <a:ln w="25400" cap="flat">
                    <a:solidFill>
                      <a:schemeClr val="accent4"/>
                    </a:solidFill>
                    <a:prstDash val="solid"/>
                    <a:miter/>
                  </a:ln>
                </p:spPr>
                <p:txBody>
                  <a:bodyPr rtlCol="0" anchor="ctr"/>
                  <a:lstStyle/>
                  <a:p>
                    <a:pPr algn="ctr"/>
                    <a:endParaRPr lang="zh-CN" altLang="en-US">
                      <a:solidFill>
                        <a:schemeClr val="accent4"/>
                      </a:solidFill>
                    </a:endParaRPr>
                  </a:p>
                </p:txBody>
              </p:sp>
              <p:sp>
                <p:nvSpPr>
                  <p:cNvPr id="19" name="矩形: 圆角 18"/>
                  <p:cNvSpPr/>
                  <p:nvPr/>
                </p:nvSpPr>
                <p:spPr>
                  <a:xfrm>
                    <a:off x="6025049" y="3702387"/>
                    <a:ext cx="1970647" cy="633469"/>
                  </a:xfrm>
                  <a:prstGeom prst="roundRect">
                    <a:avLst>
                      <a:gd name="adj" fmla="val 10544"/>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t"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lnSpc>
                        <a:spcPct val="130000"/>
                      </a:lnSpc>
                    </a:pPr>
                    <a:r>
                      <a:rPr kumimoji="1" lang="en-US" altLang="zh-CN" sz="1000" dirty="0">
                        <a:solidFill>
                          <a:schemeClr val="tx1"/>
                        </a:solidFill>
                        <a:latin typeface="Arial" panose="020B0604020202090204" pitchFamily="34" charset="0"/>
                        <a:ea typeface="华文楷体" panose="02010600040101010101" pitchFamily="2" charset="-122"/>
                      </a:rPr>
                      <a:t>Theme color makes PPT more convenient to change.</a:t>
                    </a:r>
                    <a:endParaRPr kumimoji="1" lang="en-US" altLang="zh-CN" sz="1000" dirty="0">
                      <a:solidFill>
                        <a:schemeClr val="tx1"/>
                      </a:solidFill>
                      <a:latin typeface="Arial" panose="020B0604020202090204" pitchFamily="34" charset="0"/>
                      <a:ea typeface="华文楷体" panose="02010600040101010101" pitchFamily="2" charset="-122"/>
                    </a:endParaRPr>
                  </a:p>
                </p:txBody>
              </p:sp>
              <p:sp>
                <p:nvSpPr>
                  <p:cNvPr id="20" name="矩形: 圆角 19"/>
                  <p:cNvSpPr/>
                  <p:nvPr/>
                </p:nvSpPr>
                <p:spPr>
                  <a:xfrm>
                    <a:off x="6525767" y="3392764"/>
                    <a:ext cx="969211" cy="290085"/>
                  </a:xfrm>
                  <a:prstGeom prst="roundRect">
                    <a:avLst>
                      <a:gd name="adj" fmla="val 0"/>
                    </a:avLst>
                  </a:prstGeom>
                  <a:solidFill>
                    <a:schemeClr val="bg1"/>
                  </a:solidFill>
                  <a:ln w="254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wrap="square" lIns="108000" tIns="54000" rIns="108000" bIns="50400" rtlCol="0" anchor="ctr" anchorCtr="0">
                    <a:spAutoFit/>
                  </a:bodyPr>
                  <a:lstStyle/>
                  <a:p>
                    <a:pPr algn="ctr"/>
                    <a:r>
                      <a:rPr kumimoji="1" lang="en-US" altLang="zh-CN" sz="1200" b="1" dirty="0">
                        <a:solidFill>
                          <a:schemeClr val="accent4"/>
                        </a:solidFill>
                        <a:latin typeface="Arial" panose="020B0604020202090204" pitchFamily="34" charset="0"/>
                        <a:ea typeface="华文楷体" panose="02010600040101010101" pitchFamily="2" charset="-122"/>
                      </a:rPr>
                      <a:t>Text here</a:t>
                    </a:r>
                    <a:endParaRPr kumimoji="1" lang="en-US" altLang="zh-CN" sz="1200" b="1" dirty="0">
                      <a:solidFill>
                        <a:schemeClr val="accent4"/>
                      </a:solidFill>
                      <a:latin typeface="Arial" panose="020B0604020202090204" pitchFamily="34" charset="0"/>
                      <a:ea typeface="华文楷体" panose="02010600040101010101" pitchFamily="2" charset="-122"/>
                    </a:endParaRPr>
                  </a:p>
                </p:txBody>
              </p:sp>
            </p:grpSp>
          </p:grpSp>
          <p:grpSp>
            <p:nvGrpSpPr>
              <p:cNvPr id="10" name="组合 9"/>
              <p:cNvGrpSpPr/>
              <p:nvPr/>
            </p:nvGrpSpPr>
            <p:grpSpPr>
              <a:xfrm>
                <a:off x="9232900" y="3809116"/>
                <a:ext cx="2286000" cy="1578674"/>
                <a:chOff x="6256241" y="3809116"/>
                <a:chExt cx="2286000" cy="1578674"/>
              </a:xfrm>
            </p:grpSpPr>
            <p:cxnSp>
              <p:nvCxnSpPr>
                <p:cNvPr id="11" name="直接箭头连接符 10"/>
                <p:cNvCxnSpPr/>
                <p:nvPr/>
              </p:nvCxnSpPr>
              <p:spPr>
                <a:xfrm>
                  <a:off x="7399241" y="3809116"/>
                  <a:ext cx="0" cy="462475"/>
                </a:xfrm>
                <a:prstGeom prst="straightConnector1">
                  <a:avLst/>
                </a:prstGeom>
                <a:ln w="15875">
                  <a:solidFill>
                    <a:schemeClr val="tx1">
                      <a:lumMod val="50000"/>
                      <a:lumOff val="50000"/>
                      <a:alpha val="50000"/>
                    </a:schemeClr>
                  </a:solidFill>
                  <a:tailEnd type="none"/>
                </a:ln>
              </p:spPr>
              <p:style>
                <a:lnRef idx="1">
                  <a:schemeClr val="accent1"/>
                </a:lnRef>
                <a:fillRef idx="0">
                  <a:schemeClr val="accent1"/>
                </a:fillRef>
                <a:effectRef idx="0">
                  <a:schemeClr val="accent1"/>
                </a:effectRef>
                <a:fontRef idx="minor">
                  <a:schemeClr val="tx1"/>
                </a:fontRef>
              </p:style>
            </p:cxnSp>
            <p:grpSp>
              <p:nvGrpSpPr>
                <p:cNvPr id="12" name="组合 11"/>
                <p:cNvGrpSpPr/>
                <p:nvPr/>
              </p:nvGrpSpPr>
              <p:grpSpPr>
                <a:xfrm>
                  <a:off x="6256241" y="4287021"/>
                  <a:ext cx="2286000" cy="1100769"/>
                  <a:chOff x="5867372" y="3392764"/>
                  <a:chExt cx="2286000" cy="1100769"/>
                </a:xfrm>
              </p:grpSpPr>
              <p:sp>
                <p:nvSpPr>
                  <p:cNvPr id="13" name="矩形: 圆角 12"/>
                  <p:cNvSpPr/>
                  <p:nvPr/>
                </p:nvSpPr>
                <p:spPr>
                  <a:xfrm>
                    <a:off x="5867372" y="3549657"/>
                    <a:ext cx="2286000" cy="943876"/>
                  </a:xfrm>
                  <a:prstGeom prst="roundRect">
                    <a:avLst>
                      <a:gd name="adj" fmla="val 0"/>
                    </a:avLst>
                  </a:prstGeom>
                  <a:solidFill>
                    <a:schemeClr val="bg1"/>
                  </a:solidFill>
                  <a:ln w="25400" cap="flat">
                    <a:solidFill>
                      <a:schemeClr val="accent4"/>
                    </a:solidFill>
                    <a:prstDash val="solid"/>
                    <a:miter/>
                  </a:ln>
                </p:spPr>
                <p:txBody>
                  <a:bodyPr rtlCol="0" anchor="ctr"/>
                  <a:lstStyle/>
                  <a:p>
                    <a:pPr algn="ctr"/>
                    <a:endParaRPr lang="zh-CN" altLang="en-US">
                      <a:solidFill>
                        <a:schemeClr val="accent4"/>
                      </a:solidFill>
                    </a:endParaRPr>
                  </a:p>
                </p:txBody>
              </p:sp>
              <p:sp>
                <p:nvSpPr>
                  <p:cNvPr id="14" name="矩形: 圆角 13"/>
                  <p:cNvSpPr/>
                  <p:nvPr/>
                </p:nvSpPr>
                <p:spPr>
                  <a:xfrm>
                    <a:off x="6025049" y="3702387"/>
                    <a:ext cx="1970647" cy="633469"/>
                  </a:xfrm>
                  <a:prstGeom prst="roundRect">
                    <a:avLst>
                      <a:gd name="adj" fmla="val 10544"/>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t"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lnSpc>
                        <a:spcPct val="130000"/>
                      </a:lnSpc>
                    </a:pPr>
                    <a:r>
                      <a:rPr kumimoji="1" lang="en-US" altLang="zh-CN" sz="1000" dirty="0">
                        <a:solidFill>
                          <a:schemeClr val="tx1"/>
                        </a:solidFill>
                        <a:latin typeface="Arial" panose="020B0604020202090204" pitchFamily="34" charset="0"/>
                        <a:ea typeface="华文楷体" panose="02010600040101010101" pitchFamily="2" charset="-122"/>
                      </a:rPr>
                      <a:t>Theme color makes PPT more convenient to change.</a:t>
                    </a:r>
                    <a:endParaRPr kumimoji="1" lang="en-US" altLang="zh-CN" sz="1000" dirty="0">
                      <a:solidFill>
                        <a:schemeClr val="tx1"/>
                      </a:solidFill>
                      <a:latin typeface="Arial" panose="020B0604020202090204" pitchFamily="34" charset="0"/>
                      <a:ea typeface="华文楷体" panose="02010600040101010101" pitchFamily="2" charset="-122"/>
                    </a:endParaRPr>
                  </a:p>
                </p:txBody>
              </p:sp>
              <p:sp>
                <p:nvSpPr>
                  <p:cNvPr id="15" name="矩形: 圆角 14"/>
                  <p:cNvSpPr/>
                  <p:nvPr/>
                </p:nvSpPr>
                <p:spPr>
                  <a:xfrm>
                    <a:off x="6525767" y="3392764"/>
                    <a:ext cx="969211" cy="290085"/>
                  </a:xfrm>
                  <a:prstGeom prst="roundRect">
                    <a:avLst>
                      <a:gd name="adj" fmla="val 0"/>
                    </a:avLst>
                  </a:prstGeom>
                  <a:solidFill>
                    <a:schemeClr val="bg1"/>
                  </a:solidFill>
                  <a:ln w="254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wrap="square" lIns="108000" tIns="54000" rIns="108000" bIns="50400" rtlCol="0" anchor="ctr" anchorCtr="0">
                    <a:spAutoFit/>
                  </a:bodyPr>
                  <a:lstStyle/>
                  <a:p>
                    <a:pPr algn="ctr"/>
                    <a:r>
                      <a:rPr kumimoji="1" lang="en-US" altLang="zh-CN" sz="1200" b="1" dirty="0">
                        <a:solidFill>
                          <a:schemeClr val="accent4"/>
                        </a:solidFill>
                        <a:latin typeface="Arial" panose="020B0604020202090204" pitchFamily="34" charset="0"/>
                        <a:ea typeface="华文楷体" panose="02010600040101010101" pitchFamily="2" charset="-122"/>
                      </a:rPr>
                      <a:t>Text here</a:t>
                    </a:r>
                    <a:endParaRPr kumimoji="1" lang="en-US" altLang="zh-CN" sz="1200" b="1" dirty="0">
                      <a:solidFill>
                        <a:schemeClr val="accent4"/>
                      </a:solidFill>
                      <a:latin typeface="Arial" panose="020B0604020202090204" pitchFamily="34" charset="0"/>
                      <a:ea typeface="华文楷体" panose="02010600040101010101" pitchFamily="2" charset="-122"/>
                    </a:endParaRPr>
                  </a:p>
                </p:txBody>
              </p:sp>
            </p:grpSp>
          </p:grpSp>
        </p:grpSp>
      </p:grpSp>
    </p:spTree>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组合 2"/>
          <p:cNvGrpSpPr/>
          <p:nvPr/>
        </p:nvGrpSpPr>
        <p:grpSpPr>
          <a:xfrm>
            <a:off x="660400" y="1028700"/>
            <a:ext cx="10874375" cy="5105400"/>
            <a:chOff x="660400" y="1028700"/>
            <a:chExt cx="10874375" cy="5105400"/>
          </a:xfrm>
        </p:grpSpPr>
        <p:grpSp>
          <p:nvGrpSpPr>
            <p:cNvPr id="23" name="组合 22"/>
            <p:cNvGrpSpPr/>
            <p:nvPr/>
          </p:nvGrpSpPr>
          <p:grpSpPr>
            <a:xfrm>
              <a:off x="660400" y="2622920"/>
              <a:ext cx="10858500" cy="3511180"/>
              <a:chOff x="660400" y="1724848"/>
              <a:chExt cx="10858500" cy="3511180"/>
            </a:xfrm>
          </p:grpSpPr>
          <p:grpSp>
            <p:nvGrpSpPr>
              <p:cNvPr id="24" name="组合 23"/>
              <p:cNvGrpSpPr/>
              <p:nvPr/>
            </p:nvGrpSpPr>
            <p:grpSpPr>
              <a:xfrm>
                <a:off x="660400" y="3657354"/>
                <a:ext cx="2938705" cy="1578674"/>
                <a:chOff x="5465499" y="2177330"/>
                <a:chExt cx="2286000" cy="1578674"/>
              </a:xfrm>
            </p:grpSpPr>
            <p:grpSp>
              <p:nvGrpSpPr>
                <p:cNvPr id="43" name="组合 42"/>
                <p:cNvGrpSpPr/>
                <p:nvPr/>
              </p:nvGrpSpPr>
              <p:grpSpPr>
                <a:xfrm>
                  <a:off x="5465499" y="2639805"/>
                  <a:ext cx="2286000" cy="1116199"/>
                  <a:chOff x="5867372" y="3377334"/>
                  <a:chExt cx="2286000" cy="1116199"/>
                </a:xfrm>
              </p:grpSpPr>
              <p:sp>
                <p:nvSpPr>
                  <p:cNvPr id="45" name="矩形: 对角圆角 44"/>
                  <p:cNvSpPr/>
                  <p:nvPr/>
                </p:nvSpPr>
                <p:spPr>
                  <a:xfrm>
                    <a:off x="5867372" y="3549657"/>
                    <a:ext cx="2286000" cy="943876"/>
                  </a:xfrm>
                  <a:prstGeom prst="round2DiagRect">
                    <a:avLst/>
                  </a:prstGeom>
                  <a:solidFill>
                    <a:schemeClr val="accent1">
                      <a:alpha val="15000"/>
                    </a:schemeClr>
                  </a:solidFill>
                  <a:ln w="12700" cap="flat">
                    <a:solidFill>
                      <a:schemeClr val="accent1"/>
                    </a:solidFill>
                    <a:prstDash val="solid"/>
                    <a:miter/>
                  </a:ln>
                  <a:effectLst/>
                </p:spPr>
                <p:txBody>
                  <a:bodyPr rtlCol="0" anchor="ctr"/>
                  <a:lstStyle/>
                  <a:p>
                    <a:endParaRPr lang="zh-CN" altLang="en-US" sz="1200"/>
                  </a:p>
                </p:txBody>
              </p:sp>
              <p:sp>
                <p:nvSpPr>
                  <p:cNvPr id="46" name="矩形: 圆角 45"/>
                  <p:cNvSpPr/>
                  <p:nvPr/>
                </p:nvSpPr>
                <p:spPr>
                  <a:xfrm>
                    <a:off x="6025049" y="3702387"/>
                    <a:ext cx="1970647" cy="633469"/>
                  </a:xfrm>
                  <a:prstGeom prst="roundRect">
                    <a:avLst>
                      <a:gd name="adj" fmla="val 10544"/>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t"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lnSpc>
                        <a:spcPct val="130000"/>
                      </a:lnSpc>
                    </a:pPr>
                    <a:r>
                      <a:rPr kumimoji="1" lang="en-US" altLang="zh-CN" sz="1000" dirty="0">
                        <a:solidFill>
                          <a:schemeClr val="tx1"/>
                        </a:solidFill>
                        <a:latin typeface="Arial" panose="020B0604020202090204" pitchFamily="34" charset="0"/>
                        <a:ea typeface="华文楷体" panose="02010600040101010101" pitchFamily="2" charset="-122"/>
                      </a:rPr>
                      <a:t>Theme color makes PPT more convenient to change.</a:t>
                    </a:r>
                    <a:endParaRPr kumimoji="1" lang="en-US" altLang="zh-CN" sz="1000" dirty="0">
                      <a:solidFill>
                        <a:schemeClr val="tx1"/>
                      </a:solidFill>
                      <a:latin typeface="Arial" panose="020B0604020202090204" pitchFamily="34" charset="0"/>
                      <a:ea typeface="华文楷体" panose="02010600040101010101" pitchFamily="2" charset="-122"/>
                    </a:endParaRPr>
                  </a:p>
                </p:txBody>
              </p:sp>
              <p:sp>
                <p:nvSpPr>
                  <p:cNvPr id="47" name="矩形: 圆角 46"/>
                  <p:cNvSpPr/>
                  <p:nvPr/>
                </p:nvSpPr>
                <p:spPr>
                  <a:xfrm>
                    <a:off x="6654337" y="3377334"/>
                    <a:ext cx="712072" cy="320946"/>
                  </a:xfrm>
                  <a:prstGeom prst="roundRect">
                    <a:avLst/>
                  </a:prstGeom>
                  <a:gradFill>
                    <a:gsLst>
                      <a:gs pos="0">
                        <a:schemeClr val="accent1">
                          <a:lumMod val="60000"/>
                          <a:lumOff val="40000"/>
                        </a:schemeClr>
                      </a:gs>
                      <a:gs pos="50000">
                        <a:schemeClr val="accent1"/>
                      </a:gs>
                    </a:gsLst>
                    <a:lin ang="2700000" scaled="0"/>
                  </a:gradFill>
                </p:spPr>
                <p:txBody>
                  <a:bodyPr wrap="none" lIns="108000" tIns="108000" rIns="108000" bIns="108000" rtlCol="0" anchor="ctr" anchorCtr="0">
                    <a:noAutofit/>
                  </a:bodyPr>
                  <a:lstStyle/>
                  <a:p>
                    <a:pPr algn="ctr"/>
                    <a:r>
                      <a:rPr kumimoji="1" lang="en-US" altLang="zh-CN" sz="1200" b="1" dirty="0">
                        <a:solidFill>
                          <a:srgbClr val="FFFFFF"/>
                        </a:solidFill>
                        <a:latin typeface="Arial" panose="020B0604020202090204" pitchFamily="34" charset="0"/>
                        <a:ea typeface="华文楷体" panose="02010600040101010101" pitchFamily="2" charset="-122"/>
                      </a:rPr>
                      <a:t>Text here</a:t>
                    </a:r>
                    <a:endParaRPr kumimoji="1" lang="en-US" altLang="zh-CN" sz="1200" b="1" dirty="0">
                      <a:solidFill>
                        <a:srgbClr val="FFFFFF"/>
                      </a:solidFill>
                      <a:latin typeface="Arial" panose="020B0604020202090204" pitchFamily="34" charset="0"/>
                      <a:ea typeface="华文楷体" panose="02010600040101010101" pitchFamily="2" charset="-122"/>
                    </a:endParaRPr>
                  </a:p>
                </p:txBody>
              </p:sp>
            </p:grpSp>
            <p:cxnSp>
              <p:nvCxnSpPr>
                <p:cNvPr id="44" name="直接箭头连接符 43"/>
                <p:cNvCxnSpPr/>
                <p:nvPr/>
              </p:nvCxnSpPr>
              <p:spPr>
                <a:xfrm>
                  <a:off x="6608499" y="2177330"/>
                  <a:ext cx="0" cy="462475"/>
                </a:xfrm>
                <a:prstGeom prst="straightConnector1">
                  <a:avLst/>
                </a:prstGeom>
                <a:ln w="15875">
                  <a:solidFill>
                    <a:schemeClr val="tx1">
                      <a:lumMod val="50000"/>
                      <a:lumOff val="50000"/>
                      <a:alpha val="50000"/>
                    </a:schemeClr>
                  </a:solidFill>
                  <a:tailEnd type="none"/>
                </a:ln>
              </p:spPr>
              <p:style>
                <a:lnRef idx="1">
                  <a:schemeClr val="accent1"/>
                </a:lnRef>
                <a:fillRef idx="0">
                  <a:schemeClr val="accent1"/>
                </a:fillRef>
                <a:effectRef idx="0">
                  <a:schemeClr val="accent1"/>
                </a:effectRef>
                <a:fontRef idx="minor">
                  <a:schemeClr val="tx1"/>
                </a:fontRef>
              </p:style>
            </p:cxnSp>
          </p:grpSp>
          <p:cxnSp>
            <p:nvCxnSpPr>
              <p:cNvPr id="25" name="直接箭头连接符 24"/>
              <p:cNvCxnSpPr/>
              <p:nvPr/>
            </p:nvCxnSpPr>
            <p:spPr>
              <a:xfrm flipH="1">
                <a:off x="2128484" y="3657354"/>
                <a:ext cx="7921064" cy="0"/>
              </a:xfrm>
              <a:prstGeom prst="straightConnector1">
                <a:avLst/>
              </a:prstGeom>
              <a:ln w="15875">
                <a:solidFill>
                  <a:schemeClr val="tx1">
                    <a:lumMod val="50000"/>
                    <a:lumOff val="50000"/>
                    <a:alpha val="50000"/>
                  </a:schemeClr>
                </a:solidFill>
                <a:tailEnd type="none"/>
              </a:ln>
            </p:spPr>
            <p:style>
              <a:lnRef idx="1">
                <a:schemeClr val="accent1"/>
              </a:lnRef>
              <a:fillRef idx="0">
                <a:schemeClr val="accent1"/>
              </a:fillRef>
              <a:effectRef idx="0">
                <a:schemeClr val="accent1"/>
              </a:effectRef>
              <a:fontRef idx="minor">
                <a:schemeClr val="tx1"/>
              </a:fontRef>
            </p:style>
          </p:cxnSp>
          <p:grpSp>
            <p:nvGrpSpPr>
              <p:cNvPr id="26" name="组合 25"/>
              <p:cNvGrpSpPr/>
              <p:nvPr/>
            </p:nvGrpSpPr>
            <p:grpSpPr>
              <a:xfrm>
                <a:off x="4620297" y="3192825"/>
                <a:ext cx="2938705" cy="2043203"/>
                <a:chOff x="5465499" y="1712801"/>
                <a:chExt cx="2286000" cy="2043203"/>
              </a:xfrm>
            </p:grpSpPr>
            <p:grpSp>
              <p:nvGrpSpPr>
                <p:cNvPr id="38" name="组合 37"/>
                <p:cNvGrpSpPr/>
                <p:nvPr/>
              </p:nvGrpSpPr>
              <p:grpSpPr>
                <a:xfrm>
                  <a:off x="5465499" y="2639805"/>
                  <a:ext cx="2286000" cy="1116199"/>
                  <a:chOff x="5867372" y="3377334"/>
                  <a:chExt cx="2286000" cy="1116199"/>
                </a:xfrm>
              </p:grpSpPr>
              <p:sp>
                <p:nvSpPr>
                  <p:cNvPr id="40" name="矩形: 对角圆角 39"/>
                  <p:cNvSpPr/>
                  <p:nvPr/>
                </p:nvSpPr>
                <p:spPr>
                  <a:xfrm>
                    <a:off x="5867372" y="3549657"/>
                    <a:ext cx="2286000" cy="943876"/>
                  </a:xfrm>
                  <a:prstGeom prst="round2DiagRect">
                    <a:avLst/>
                  </a:prstGeom>
                  <a:solidFill>
                    <a:schemeClr val="accent2">
                      <a:alpha val="15000"/>
                    </a:schemeClr>
                  </a:solidFill>
                  <a:ln w="12700" cap="flat">
                    <a:solidFill>
                      <a:schemeClr val="accent2"/>
                    </a:solidFill>
                    <a:prstDash val="solid"/>
                    <a:miter/>
                  </a:ln>
                  <a:effectLst/>
                </p:spPr>
                <p:txBody>
                  <a:bodyPr rtlCol="0" anchor="ctr"/>
                  <a:lstStyle/>
                  <a:p>
                    <a:endParaRPr lang="zh-CN" altLang="en-US" sz="1200" dirty="0"/>
                  </a:p>
                </p:txBody>
              </p:sp>
              <p:sp>
                <p:nvSpPr>
                  <p:cNvPr id="41" name="矩形: 圆角 40"/>
                  <p:cNvSpPr/>
                  <p:nvPr/>
                </p:nvSpPr>
                <p:spPr>
                  <a:xfrm>
                    <a:off x="6025049" y="3702387"/>
                    <a:ext cx="1970647" cy="633469"/>
                  </a:xfrm>
                  <a:prstGeom prst="roundRect">
                    <a:avLst>
                      <a:gd name="adj" fmla="val 10544"/>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t"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lnSpc>
                        <a:spcPct val="130000"/>
                      </a:lnSpc>
                    </a:pPr>
                    <a:r>
                      <a:rPr kumimoji="1" lang="en-US" altLang="zh-CN" sz="1000" dirty="0">
                        <a:solidFill>
                          <a:schemeClr val="tx1"/>
                        </a:solidFill>
                        <a:latin typeface="Arial" panose="020B0604020202090204" pitchFamily="34" charset="0"/>
                        <a:ea typeface="华文楷体" panose="02010600040101010101" pitchFamily="2" charset="-122"/>
                      </a:rPr>
                      <a:t>Theme color makes PPT more convenient to change.</a:t>
                    </a:r>
                    <a:endParaRPr kumimoji="1" lang="en-US" altLang="zh-CN" sz="1000" dirty="0">
                      <a:solidFill>
                        <a:schemeClr val="tx1"/>
                      </a:solidFill>
                      <a:latin typeface="Arial" panose="020B0604020202090204" pitchFamily="34" charset="0"/>
                      <a:ea typeface="华文楷体" panose="02010600040101010101" pitchFamily="2" charset="-122"/>
                    </a:endParaRPr>
                  </a:p>
                </p:txBody>
              </p:sp>
              <p:sp>
                <p:nvSpPr>
                  <p:cNvPr id="42" name="矩形: 圆角 41"/>
                  <p:cNvSpPr/>
                  <p:nvPr/>
                </p:nvSpPr>
                <p:spPr>
                  <a:xfrm>
                    <a:off x="6654337" y="3377334"/>
                    <a:ext cx="712072" cy="320946"/>
                  </a:xfrm>
                  <a:prstGeom prst="roundRect">
                    <a:avLst/>
                  </a:prstGeom>
                  <a:gradFill>
                    <a:gsLst>
                      <a:gs pos="0">
                        <a:schemeClr val="accent2">
                          <a:lumMod val="60000"/>
                          <a:lumOff val="40000"/>
                        </a:schemeClr>
                      </a:gs>
                      <a:gs pos="50000">
                        <a:schemeClr val="accent2"/>
                      </a:gs>
                    </a:gsLst>
                    <a:lin ang="2700000" scaled="0"/>
                  </a:gradFill>
                </p:spPr>
                <p:txBody>
                  <a:bodyPr wrap="none" lIns="108000" tIns="108000" rIns="108000" bIns="108000" rtlCol="0" anchor="ctr" anchorCtr="0">
                    <a:noAutofit/>
                  </a:bodyPr>
                  <a:lstStyle/>
                  <a:p>
                    <a:pPr algn="ctr"/>
                    <a:r>
                      <a:rPr kumimoji="1" lang="en-US" altLang="zh-CN" sz="1200" b="1" dirty="0">
                        <a:solidFill>
                          <a:srgbClr val="FFFFFF"/>
                        </a:solidFill>
                        <a:latin typeface="Arial" panose="020B0604020202090204" pitchFamily="34" charset="0"/>
                        <a:ea typeface="华文楷体" panose="02010600040101010101" pitchFamily="2" charset="-122"/>
                      </a:rPr>
                      <a:t>Text here</a:t>
                    </a:r>
                    <a:endParaRPr kumimoji="1" lang="en-US" altLang="zh-CN" sz="1200" b="1" dirty="0">
                      <a:solidFill>
                        <a:srgbClr val="FFFFFF"/>
                      </a:solidFill>
                      <a:latin typeface="Arial" panose="020B0604020202090204" pitchFamily="34" charset="0"/>
                      <a:ea typeface="华文楷体" panose="02010600040101010101" pitchFamily="2" charset="-122"/>
                    </a:endParaRPr>
                  </a:p>
                </p:txBody>
              </p:sp>
            </p:grpSp>
            <p:cxnSp>
              <p:nvCxnSpPr>
                <p:cNvPr id="39" name="直接箭头连接符 38"/>
                <p:cNvCxnSpPr/>
                <p:nvPr/>
              </p:nvCxnSpPr>
              <p:spPr>
                <a:xfrm>
                  <a:off x="6608499" y="1712801"/>
                  <a:ext cx="0" cy="927004"/>
                </a:xfrm>
                <a:prstGeom prst="straightConnector1">
                  <a:avLst/>
                </a:prstGeom>
                <a:ln w="15875">
                  <a:solidFill>
                    <a:schemeClr val="tx1">
                      <a:lumMod val="50000"/>
                      <a:lumOff val="50000"/>
                      <a:alpha val="50000"/>
                    </a:schemeClr>
                  </a:solidFill>
                  <a:tailEnd type="none"/>
                </a:ln>
              </p:spPr>
              <p:style>
                <a:lnRef idx="1">
                  <a:schemeClr val="accent1"/>
                </a:lnRef>
                <a:fillRef idx="0">
                  <a:schemeClr val="accent1"/>
                </a:fillRef>
                <a:effectRef idx="0">
                  <a:schemeClr val="accent1"/>
                </a:effectRef>
                <a:fontRef idx="minor">
                  <a:schemeClr val="tx1"/>
                </a:fontRef>
              </p:style>
            </p:cxnSp>
          </p:grpSp>
          <p:grpSp>
            <p:nvGrpSpPr>
              <p:cNvPr id="27" name="组合 26"/>
              <p:cNvGrpSpPr/>
              <p:nvPr/>
            </p:nvGrpSpPr>
            <p:grpSpPr>
              <a:xfrm>
                <a:off x="8580195" y="3657354"/>
                <a:ext cx="2938705" cy="1578674"/>
                <a:chOff x="5465499" y="2177330"/>
                <a:chExt cx="2286000" cy="1578674"/>
              </a:xfrm>
            </p:grpSpPr>
            <p:grpSp>
              <p:nvGrpSpPr>
                <p:cNvPr id="33" name="组合 32"/>
                <p:cNvGrpSpPr/>
                <p:nvPr/>
              </p:nvGrpSpPr>
              <p:grpSpPr>
                <a:xfrm>
                  <a:off x="5465499" y="2639805"/>
                  <a:ext cx="2286000" cy="1116199"/>
                  <a:chOff x="5867372" y="3377334"/>
                  <a:chExt cx="2286000" cy="1116199"/>
                </a:xfrm>
              </p:grpSpPr>
              <p:sp>
                <p:nvSpPr>
                  <p:cNvPr id="35" name="矩形: 对角圆角 34"/>
                  <p:cNvSpPr/>
                  <p:nvPr/>
                </p:nvSpPr>
                <p:spPr>
                  <a:xfrm>
                    <a:off x="5867372" y="3549657"/>
                    <a:ext cx="2286000" cy="943876"/>
                  </a:xfrm>
                  <a:prstGeom prst="round2DiagRect">
                    <a:avLst/>
                  </a:prstGeom>
                  <a:solidFill>
                    <a:schemeClr val="accent3">
                      <a:alpha val="15000"/>
                    </a:schemeClr>
                  </a:solidFill>
                  <a:ln w="12700" cap="flat">
                    <a:solidFill>
                      <a:schemeClr val="accent3"/>
                    </a:solidFill>
                    <a:prstDash val="solid"/>
                    <a:miter/>
                  </a:ln>
                  <a:effectLst/>
                </p:spPr>
                <p:txBody>
                  <a:bodyPr rtlCol="0" anchor="ctr"/>
                  <a:lstStyle/>
                  <a:p>
                    <a:endParaRPr lang="zh-CN" altLang="en-US" sz="1200"/>
                  </a:p>
                </p:txBody>
              </p:sp>
              <p:sp>
                <p:nvSpPr>
                  <p:cNvPr id="36" name="矩形: 圆角 35"/>
                  <p:cNvSpPr/>
                  <p:nvPr/>
                </p:nvSpPr>
                <p:spPr>
                  <a:xfrm>
                    <a:off x="6025049" y="3702387"/>
                    <a:ext cx="1970647" cy="633469"/>
                  </a:xfrm>
                  <a:prstGeom prst="roundRect">
                    <a:avLst>
                      <a:gd name="adj" fmla="val 10544"/>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t"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lnSpc>
                        <a:spcPct val="130000"/>
                      </a:lnSpc>
                    </a:pPr>
                    <a:r>
                      <a:rPr kumimoji="1" lang="en-US" altLang="zh-CN" sz="1000" dirty="0">
                        <a:solidFill>
                          <a:schemeClr val="tx1"/>
                        </a:solidFill>
                        <a:latin typeface="Arial" panose="020B0604020202090204" pitchFamily="34" charset="0"/>
                        <a:ea typeface="华文楷体" panose="02010600040101010101" pitchFamily="2" charset="-122"/>
                      </a:rPr>
                      <a:t>Theme color makes PPT more convenient to change.</a:t>
                    </a:r>
                    <a:endParaRPr kumimoji="1" lang="en-US" altLang="zh-CN" sz="1000" dirty="0">
                      <a:solidFill>
                        <a:schemeClr val="tx1"/>
                      </a:solidFill>
                      <a:latin typeface="Arial" panose="020B0604020202090204" pitchFamily="34" charset="0"/>
                      <a:ea typeface="华文楷体" panose="02010600040101010101" pitchFamily="2" charset="-122"/>
                    </a:endParaRPr>
                  </a:p>
                </p:txBody>
              </p:sp>
              <p:sp>
                <p:nvSpPr>
                  <p:cNvPr id="37" name="矩形: 圆角 36"/>
                  <p:cNvSpPr/>
                  <p:nvPr/>
                </p:nvSpPr>
                <p:spPr>
                  <a:xfrm>
                    <a:off x="6657545" y="3377334"/>
                    <a:ext cx="705656" cy="320946"/>
                  </a:xfrm>
                  <a:prstGeom prst="roundRect">
                    <a:avLst/>
                  </a:prstGeom>
                  <a:gradFill>
                    <a:gsLst>
                      <a:gs pos="0">
                        <a:schemeClr val="accent3">
                          <a:lumMod val="60000"/>
                          <a:lumOff val="40000"/>
                        </a:schemeClr>
                      </a:gs>
                      <a:gs pos="50000">
                        <a:schemeClr val="accent3"/>
                      </a:gs>
                    </a:gsLst>
                    <a:lin ang="2700000" scaled="0"/>
                  </a:gradFill>
                </p:spPr>
                <p:txBody>
                  <a:bodyPr wrap="none" lIns="108000" tIns="108000" rIns="108000" bIns="108000" rtlCol="0" anchor="ctr" anchorCtr="0">
                    <a:noAutofit/>
                  </a:bodyPr>
                  <a:lstStyle/>
                  <a:p>
                    <a:pPr algn="ctr"/>
                    <a:r>
                      <a:rPr kumimoji="1" lang="en-US" altLang="zh-CN" sz="1200" b="1">
                        <a:solidFill>
                          <a:srgbClr val="FFFFFF"/>
                        </a:solidFill>
                        <a:latin typeface="Arial" panose="020B0604020202090204" pitchFamily="34" charset="0"/>
                        <a:ea typeface="华文楷体" panose="02010600040101010101" pitchFamily="2" charset="-122"/>
                      </a:rPr>
                      <a:t>Text he</a:t>
                    </a:r>
                    <a:r>
                      <a:rPr kumimoji="1" lang="en-US" altLang="zh-CN" sz="1200" b="1" dirty="0">
                        <a:solidFill>
                          <a:srgbClr val="FFFFFF"/>
                        </a:solidFill>
                        <a:latin typeface="Arial" panose="020B0604020202090204" pitchFamily="34" charset="0"/>
                        <a:ea typeface="华文楷体" panose="02010600040101010101" pitchFamily="2" charset="-122"/>
                      </a:rPr>
                      <a:t>re</a:t>
                    </a:r>
                    <a:endParaRPr kumimoji="1" lang="en-US" altLang="zh-CN" sz="1200" b="1" dirty="0">
                      <a:solidFill>
                        <a:srgbClr val="FFFFFF"/>
                      </a:solidFill>
                      <a:latin typeface="Arial" panose="020B0604020202090204" pitchFamily="34" charset="0"/>
                      <a:ea typeface="华文楷体" panose="02010600040101010101" pitchFamily="2" charset="-122"/>
                    </a:endParaRPr>
                  </a:p>
                </p:txBody>
              </p:sp>
            </p:grpSp>
            <p:cxnSp>
              <p:nvCxnSpPr>
                <p:cNvPr id="34" name="直接箭头连接符 33"/>
                <p:cNvCxnSpPr/>
                <p:nvPr/>
              </p:nvCxnSpPr>
              <p:spPr>
                <a:xfrm>
                  <a:off x="6608499" y="2177330"/>
                  <a:ext cx="0" cy="462475"/>
                </a:xfrm>
                <a:prstGeom prst="straightConnector1">
                  <a:avLst/>
                </a:prstGeom>
                <a:ln w="15875">
                  <a:solidFill>
                    <a:schemeClr val="tx1">
                      <a:lumMod val="50000"/>
                      <a:lumOff val="50000"/>
                      <a:alpha val="50000"/>
                    </a:schemeClr>
                  </a:solidFill>
                  <a:tailEnd type="none"/>
                </a:ln>
              </p:spPr>
              <p:style>
                <a:lnRef idx="1">
                  <a:schemeClr val="accent1"/>
                </a:lnRef>
                <a:fillRef idx="0">
                  <a:schemeClr val="accent1"/>
                </a:fillRef>
                <a:effectRef idx="0">
                  <a:schemeClr val="accent1"/>
                </a:effectRef>
                <a:fontRef idx="minor">
                  <a:schemeClr val="tx1"/>
                </a:fontRef>
              </p:style>
            </p:cxnSp>
          </p:grpSp>
          <p:grpSp>
            <p:nvGrpSpPr>
              <p:cNvPr id="28" name="组合 27"/>
              <p:cNvGrpSpPr/>
              <p:nvPr/>
            </p:nvGrpSpPr>
            <p:grpSpPr>
              <a:xfrm>
                <a:off x="3554460" y="1724848"/>
                <a:ext cx="5083081" cy="1467977"/>
                <a:chOff x="3554460" y="2177023"/>
                <a:chExt cx="5083081" cy="1467977"/>
              </a:xfrm>
            </p:grpSpPr>
            <p:sp>
              <p:nvSpPr>
                <p:cNvPr id="29" name="矩形: 对角圆角 28"/>
                <p:cNvSpPr/>
                <p:nvPr/>
              </p:nvSpPr>
              <p:spPr>
                <a:xfrm>
                  <a:off x="3554460" y="2338390"/>
                  <a:ext cx="5083081" cy="1306610"/>
                </a:xfrm>
                <a:prstGeom prst="round2DiagRect">
                  <a:avLst/>
                </a:prstGeom>
                <a:solidFill>
                  <a:schemeClr val="accent1">
                    <a:alpha val="15000"/>
                  </a:schemeClr>
                </a:solidFill>
                <a:ln w="12700" cap="flat">
                  <a:solidFill>
                    <a:schemeClr val="accent1"/>
                  </a:solidFill>
                  <a:prstDash val="solid"/>
                  <a:miter/>
                </a:ln>
                <a:effectLst/>
              </p:spPr>
              <p:txBody>
                <a:bodyPr rtlCol="0" anchor="ctr"/>
                <a:lstStyle/>
                <a:p>
                  <a:endParaRPr lang="zh-CN" altLang="en-US" sz="1200"/>
                </a:p>
              </p:txBody>
            </p:sp>
            <p:grpSp>
              <p:nvGrpSpPr>
                <p:cNvPr id="30" name="组合 29"/>
                <p:cNvGrpSpPr/>
                <p:nvPr/>
              </p:nvGrpSpPr>
              <p:grpSpPr>
                <a:xfrm>
                  <a:off x="3662460" y="2177023"/>
                  <a:ext cx="4867081" cy="1356119"/>
                  <a:chOff x="7062281" y="4320078"/>
                  <a:chExt cx="3059102" cy="1254997"/>
                </a:xfrm>
              </p:grpSpPr>
              <p:sp>
                <p:nvSpPr>
                  <p:cNvPr id="31" name="矩形 30"/>
                  <p:cNvSpPr/>
                  <p:nvPr/>
                </p:nvSpPr>
                <p:spPr>
                  <a:xfrm>
                    <a:off x="7062281" y="4650720"/>
                    <a:ext cx="3059102" cy="9243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t" anchorCtr="0">
                    <a:spAutoFit/>
                  </a:bodyPr>
                  <a:lstStyle/>
                  <a:p>
                    <a:pPr>
                      <a:lnSpc>
                        <a:spcPct val="130000"/>
                      </a:lnSpc>
                    </a:pPr>
                    <a:r>
                      <a:rPr kumimoji="1" lang="en-US" altLang="zh-CN" sz="1000" dirty="0">
                        <a:solidFill>
                          <a:schemeClr val="tx1"/>
                        </a:solidFill>
                        <a:latin typeface="Arial" panose="020B0604020202090204" pitchFamily="34" charset="0"/>
                        <a:ea typeface="华文楷体" panose="02010600040101010101" pitchFamily="2" charset="-122"/>
                      </a:rPr>
                      <a:t>Theme color makes PPT more convenient to change. Adjust the spacing to adapt to Chinese typesetting, use the reference line in PPT…… Theme color makes PPT more convenient to change. Adjust the spacing to adapt to Chinese typesetting, use the reference line in PPT……</a:t>
                    </a:r>
                    <a:endParaRPr kumimoji="1" lang="en-US" altLang="zh-CN" sz="1000" dirty="0">
                      <a:solidFill>
                        <a:schemeClr val="tx1"/>
                      </a:solidFill>
                      <a:latin typeface="Arial" panose="020B0604020202090204" pitchFamily="34" charset="0"/>
                      <a:ea typeface="华文楷体" panose="02010600040101010101" pitchFamily="2" charset="-122"/>
                    </a:endParaRPr>
                  </a:p>
                </p:txBody>
              </p:sp>
              <p:sp>
                <p:nvSpPr>
                  <p:cNvPr id="32" name="矩形: 圆角 31"/>
                  <p:cNvSpPr/>
                  <p:nvPr/>
                </p:nvSpPr>
                <p:spPr>
                  <a:xfrm>
                    <a:off x="8030771" y="4320078"/>
                    <a:ext cx="1122122" cy="300736"/>
                  </a:xfrm>
                  <a:prstGeom prst="roundRect">
                    <a:avLst/>
                  </a:prstGeom>
                  <a:gradFill>
                    <a:gsLst>
                      <a:gs pos="0">
                        <a:schemeClr val="accent1">
                          <a:lumMod val="60000"/>
                          <a:lumOff val="40000"/>
                        </a:schemeClr>
                      </a:gs>
                      <a:gs pos="50000">
                        <a:schemeClr val="accent1"/>
                      </a:gs>
                    </a:gsLst>
                    <a:lin ang="2700000" scaled="0"/>
                  </a:gradFill>
                </p:spPr>
                <p:txBody>
                  <a:bodyPr wrap="none" lIns="108000" tIns="108000" rIns="108000" bIns="108000" rtlCol="0" anchor="ctr" anchorCtr="0">
                    <a:noAutofit/>
                  </a:bodyPr>
                  <a:lstStyle/>
                  <a:p>
                    <a:pPr algn="ctr"/>
                    <a:r>
                      <a:rPr kumimoji="1" lang="en-US" altLang="zh-CN" sz="1200" b="1" dirty="0">
                        <a:solidFill>
                          <a:srgbClr val="FFFFFF"/>
                        </a:solidFill>
                        <a:latin typeface="Arial" panose="020B0604020202090204" pitchFamily="34" charset="0"/>
                        <a:ea typeface="华文楷体" panose="02010600040101010101" pitchFamily="2" charset="-122"/>
                      </a:rPr>
                      <a:t>Supporting text here.</a:t>
                    </a:r>
                    <a:endParaRPr kumimoji="1" lang="en-US" altLang="zh-CN" sz="1200" b="1" dirty="0">
                      <a:solidFill>
                        <a:srgbClr val="FFFFFF"/>
                      </a:solidFill>
                      <a:latin typeface="Arial" panose="020B0604020202090204" pitchFamily="34" charset="0"/>
                      <a:ea typeface="华文楷体" panose="02010600040101010101" pitchFamily="2" charset="-122"/>
                    </a:endParaRPr>
                  </a:p>
                </p:txBody>
              </p:sp>
            </p:grpSp>
          </p:grpSp>
        </p:grpSp>
        <p:sp>
          <p:nvSpPr>
            <p:cNvPr id="48" name="矩形 47"/>
            <p:cNvSpPr/>
            <p:nvPr/>
          </p:nvSpPr>
          <p:spPr>
            <a:xfrm>
              <a:off x="669925" y="1028700"/>
              <a:ext cx="10864850" cy="674389"/>
            </a:xfrm>
            <a:prstGeom prst="rect">
              <a:avLst/>
            </a:prstGeom>
          </p:spPr>
          <p:txBody>
            <a:bodyPr anchor="b" anchorCtr="0">
              <a:noAutofit/>
            </a:bodyPr>
            <a:lstStyle/>
            <a:p>
              <a:pPr algn="ctr">
                <a:buSzPct val="25000"/>
              </a:pPr>
              <a:r>
                <a:rPr lang="en-US" altLang="zh-CN" sz="3200" b="1" dirty="0">
                  <a:latin typeface="Arial" panose="020B0604020202090204" pitchFamily="34" charset="0"/>
                  <a:ea typeface="华文楷体" panose="02010600040101010101" pitchFamily="2" charset="-122"/>
                </a:rPr>
                <a:t>Unified fon</a:t>
              </a:r>
              <a:r>
                <a:rPr lang="en-US" altLang="zh-CN" sz="200" b="1" dirty="0">
                  <a:latin typeface="Arial" panose="020B0604020202090204" pitchFamily="34" charset="0"/>
                  <a:ea typeface="华文楷体" panose="02010600040101010101" pitchFamily="2" charset="-122"/>
                </a:rPr>
                <a:t> </a:t>
              </a:r>
              <a:r>
                <a:rPr lang="en-US" altLang="zh-CN" sz="3200" b="1" dirty="0">
                  <a:latin typeface="Arial" panose="020B0604020202090204" pitchFamily="34" charset="0"/>
                  <a:ea typeface="华文楷体" panose="02010600040101010101" pitchFamily="2" charset="-122"/>
                </a:rPr>
                <a:t>ts make Reading </a:t>
              </a:r>
              <a:r>
                <a:rPr lang="en-US" altLang="zh-CN" sz="3200" b="1" dirty="0">
                  <a:solidFill>
                    <a:schemeClr val="accent1"/>
                  </a:solidFill>
                  <a:latin typeface="Arial" panose="020B0604020202090204" pitchFamily="34" charset="0"/>
                  <a:ea typeface="华文楷体" panose="02010600040101010101" pitchFamily="2" charset="-122"/>
                </a:rPr>
                <a:t>more fluent.</a:t>
              </a:r>
              <a:endParaRPr lang="en-US" altLang="zh-CN" sz="3200" b="1" dirty="0">
                <a:solidFill>
                  <a:schemeClr val="accent1"/>
                </a:solidFill>
                <a:latin typeface="Arial" panose="020B0604020202090204" pitchFamily="34" charset="0"/>
                <a:ea typeface="华文楷体" panose="02010600040101010101" pitchFamily="2" charset="-122"/>
              </a:endParaRPr>
            </a:p>
          </p:txBody>
        </p:sp>
      </p:grpSp>
    </p:spTree>
    <p:custDataLst>
      <p:tags r:id="rId1"/>
    </p:custData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7" name="直接箭头连接符 56"/>
          <p:cNvCxnSpPr/>
          <p:nvPr/>
        </p:nvCxnSpPr>
        <p:spPr>
          <a:xfrm>
            <a:off x="5678145" y="1906171"/>
            <a:ext cx="0" cy="3816492"/>
          </a:xfrm>
          <a:prstGeom prst="straightConnector1">
            <a:avLst/>
          </a:prstGeom>
          <a:ln w="12700">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63" name="直接箭头连接符 62"/>
          <p:cNvCxnSpPr/>
          <p:nvPr/>
        </p:nvCxnSpPr>
        <p:spPr>
          <a:xfrm flipH="1">
            <a:off x="5678145" y="1906171"/>
            <a:ext cx="693626" cy="0"/>
          </a:xfrm>
          <a:prstGeom prst="straightConnector1">
            <a:avLst/>
          </a:prstGeom>
          <a:ln w="12700">
            <a:solidFill>
              <a:schemeClr val="accent1"/>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83" name="直接箭头连接符 82"/>
          <p:cNvCxnSpPr/>
          <p:nvPr/>
        </p:nvCxnSpPr>
        <p:spPr>
          <a:xfrm flipH="1">
            <a:off x="5678145" y="3096404"/>
            <a:ext cx="693626" cy="0"/>
          </a:xfrm>
          <a:prstGeom prst="straightConnector1">
            <a:avLst/>
          </a:prstGeom>
          <a:ln w="12700">
            <a:solidFill>
              <a:schemeClr val="accent1"/>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97" name="直接箭头连接符 96"/>
          <p:cNvCxnSpPr/>
          <p:nvPr/>
        </p:nvCxnSpPr>
        <p:spPr>
          <a:xfrm flipH="1">
            <a:off x="5678145" y="5722663"/>
            <a:ext cx="693626" cy="0"/>
          </a:xfrm>
          <a:prstGeom prst="straightConnector1">
            <a:avLst/>
          </a:prstGeom>
          <a:ln w="12700">
            <a:solidFill>
              <a:schemeClr val="accent1"/>
            </a:solidFill>
            <a:headEnd type="oval"/>
            <a:tailEnd type="none"/>
          </a:ln>
        </p:spPr>
        <p:style>
          <a:lnRef idx="1">
            <a:schemeClr val="accent1"/>
          </a:lnRef>
          <a:fillRef idx="0">
            <a:schemeClr val="accent1"/>
          </a:fillRef>
          <a:effectRef idx="0">
            <a:schemeClr val="accent1"/>
          </a:effectRef>
          <a:fontRef idx="minor">
            <a:schemeClr val="tx1"/>
          </a:fontRef>
        </p:style>
      </p:cxnSp>
      <p:sp>
        <p:nvSpPr>
          <p:cNvPr id="9" name="矩形: 圆角 8"/>
          <p:cNvSpPr/>
          <p:nvPr/>
        </p:nvSpPr>
        <p:spPr>
          <a:xfrm>
            <a:off x="6371771" y="1464125"/>
            <a:ext cx="5147129" cy="807402"/>
          </a:xfrm>
          <a:prstGeom prst="roundRect">
            <a:avLst>
              <a:gd name="adj" fmla="val 50000"/>
            </a:avLst>
          </a:prstGeom>
          <a:solidFill>
            <a:schemeClr val="tx2">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8" name="组合 7"/>
          <p:cNvGrpSpPr/>
          <p:nvPr/>
        </p:nvGrpSpPr>
        <p:grpSpPr>
          <a:xfrm>
            <a:off x="7582341" y="1575880"/>
            <a:ext cx="3485777" cy="633199"/>
            <a:chOff x="6512509" y="1498521"/>
            <a:chExt cx="3485777" cy="633199"/>
          </a:xfrm>
        </p:grpSpPr>
        <p:sp>
          <p:nvSpPr>
            <p:cNvPr id="70" name="矩形 69"/>
            <p:cNvSpPr/>
            <p:nvPr/>
          </p:nvSpPr>
          <p:spPr>
            <a:xfrm flipH="1">
              <a:off x="6512509" y="1498521"/>
              <a:ext cx="3485777"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spAutoFit/>
            </a:bodyPr>
            <a:lstStyle/>
            <a:p>
              <a:r>
                <a:rPr kumimoji="1" lang="en-US" altLang="zh-CN" sz="1600" b="1" dirty="0">
                  <a:solidFill>
                    <a:schemeClr val="tx1"/>
                  </a:solidFill>
                  <a:latin typeface="Arial" panose="020B0604020202090204" pitchFamily="34" charset="0"/>
                  <a:ea typeface="华文楷体" panose="02010600040101010101" pitchFamily="2" charset="-122"/>
                </a:rPr>
                <a:t>Supporting text here.</a:t>
              </a:r>
              <a:endParaRPr kumimoji="1" lang="en-US" altLang="zh-CN" sz="1600" b="1" dirty="0">
                <a:solidFill>
                  <a:schemeClr val="tx1"/>
                </a:solidFill>
                <a:latin typeface="Arial" panose="020B0604020202090204" pitchFamily="34" charset="0"/>
                <a:ea typeface="华文楷体" panose="02010600040101010101" pitchFamily="2" charset="-122"/>
              </a:endParaRPr>
            </a:p>
          </p:txBody>
        </p:sp>
        <p:sp>
          <p:nvSpPr>
            <p:cNvPr id="71" name="矩形 70"/>
            <p:cNvSpPr/>
            <p:nvPr/>
          </p:nvSpPr>
          <p:spPr>
            <a:xfrm flipH="1">
              <a:off x="6512509" y="1842217"/>
              <a:ext cx="3485777" cy="2895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p>
              <a:pPr>
                <a:lnSpc>
                  <a:spcPct val="130000"/>
                </a:lnSpc>
              </a:pPr>
              <a:r>
                <a:rPr kumimoji="1" lang="en-US" altLang="zh-CN" sz="1100" dirty="0">
                  <a:solidFill>
                    <a:schemeClr val="tx1"/>
                  </a:solidFill>
                  <a:latin typeface="Arial" panose="020B0604020202090204" pitchFamily="34" charset="0"/>
                  <a:ea typeface="华文楷体" panose="02010600040101010101" pitchFamily="2" charset="-122"/>
                </a:rPr>
                <a:t>Theme color makes PPT more convenient to change. </a:t>
              </a:r>
              <a:endParaRPr kumimoji="1" lang="en-US" altLang="zh-CN" sz="1100" dirty="0">
                <a:solidFill>
                  <a:schemeClr val="tx1"/>
                </a:solidFill>
                <a:latin typeface="Arial" panose="020B0604020202090204" pitchFamily="34" charset="0"/>
                <a:ea typeface="华文楷体" panose="02010600040101010101" pitchFamily="2" charset="-122"/>
              </a:endParaRPr>
            </a:p>
          </p:txBody>
        </p:sp>
      </p:grpSp>
      <p:grpSp>
        <p:nvGrpSpPr>
          <p:cNvPr id="13" name="组合 12"/>
          <p:cNvGrpSpPr/>
          <p:nvPr/>
        </p:nvGrpSpPr>
        <p:grpSpPr>
          <a:xfrm>
            <a:off x="6641771" y="1622479"/>
            <a:ext cx="540000" cy="540000"/>
            <a:chOff x="9395419" y="3723746"/>
            <a:chExt cx="540000" cy="540000"/>
          </a:xfrm>
        </p:grpSpPr>
        <p:sp>
          <p:nvSpPr>
            <p:cNvPr id="275" name="文本框 274"/>
            <p:cNvSpPr txBox="1"/>
            <p:nvPr/>
          </p:nvSpPr>
          <p:spPr>
            <a:xfrm>
              <a:off x="9395419" y="3723746"/>
              <a:ext cx="540000" cy="540000"/>
            </a:xfrm>
            <a:prstGeom prst="roundRect">
              <a:avLst>
                <a:gd name="adj" fmla="val 50000"/>
              </a:avLst>
            </a:prstGeom>
            <a:solidFill>
              <a:schemeClr val="accent1"/>
            </a:solidFill>
          </p:spPr>
          <p:txBody>
            <a:bodyPr wrap="none" lIns="108000" tIns="108000" rIns="108000" bIns="108000" rtlCol="0" anchor="ctr" anchorCtr="0">
              <a:noAutofit/>
            </a:bodyPr>
            <a:lstStyle>
              <a:defPPr>
                <a:defRPr lang="zh-CN"/>
              </a:defPPr>
              <a:lvl1pPr algn="ctr">
                <a:defRPr kumimoji="1" sz="2000" b="1">
                  <a:noFill/>
                </a:defRPr>
              </a:lvl1pPr>
            </a:lstStyle>
            <a:p>
              <a:endParaRPr lang="zh-CN" altLang="en-US" dirty="0"/>
            </a:p>
          </p:txBody>
        </p:sp>
        <p:sp>
          <p:nvSpPr>
            <p:cNvPr id="276" name="任意多边形: 形状 275"/>
            <p:cNvSpPr/>
            <p:nvPr/>
          </p:nvSpPr>
          <p:spPr>
            <a:xfrm>
              <a:off x="9527715" y="3868338"/>
              <a:ext cx="275408" cy="250816"/>
            </a:xfrm>
            <a:custGeom>
              <a:avLst/>
              <a:gdLst>
                <a:gd name="connsiteX0" fmla="*/ 125329 w 533400"/>
                <a:gd name="connsiteY0" fmla="*/ 229221 h 485775"/>
                <a:gd name="connsiteX1" fmla="*/ 125329 w 533400"/>
                <a:gd name="connsiteY1" fmla="*/ 276846 h 485775"/>
                <a:gd name="connsiteX2" fmla="*/ 144379 w 533400"/>
                <a:gd name="connsiteY2" fmla="*/ 276846 h 485775"/>
                <a:gd name="connsiteX3" fmla="*/ 144379 w 533400"/>
                <a:gd name="connsiteY3" fmla="*/ 229221 h 485775"/>
                <a:gd name="connsiteX4" fmla="*/ 392029 w 533400"/>
                <a:gd name="connsiteY4" fmla="*/ 229221 h 485775"/>
                <a:gd name="connsiteX5" fmla="*/ 392029 w 533400"/>
                <a:gd name="connsiteY5" fmla="*/ 276846 h 485775"/>
                <a:gd name="connsiteX6" fmla="*/ 411079 w 533400"/>
                <a:gd name="connsiteY6" fmla="*/ 276846 h 485775"/>
                <a:gd name="connsiteX7" fmla="*/ 411079 w 533400"/>
                <a:gd name="connsiteY7" fmla="*/ 229221 h 485775"/>
                <a:gd name="connsiteX8" fmla="*/ 534904 w 533400"/>
                <a:gd name="connsiteY8" fmla="*/ 229221 h 485775"/>
                <a:gd name="connsiteX9" fmla="*/ 534904 w 533400"/>
                <a:gd name="connsiteY9" fmla="*/ 457821 h 485775"/>
                <a:gd name="connsiteX10" fmla="*/ 506329 w 533400"/>
                <a:gd name="connsiteY10" fmla="*/ 486396 h 485775"/>
                <a:gd name="connsiteX11" fmla="*/ 30079 w 533400"/>
                <a:gd name="connsiteY11" fmla="*/ 486396 h 485775"/>
                <a:gd name="connsiteX12" fmla="*/ 1504 w 533400"/>
                <a:gd name="connsiteY12" fmla="*/ 457821 h 485775"/>
                <a:gd name="connsiteX13" fmla="*/ 1504 w 533400"/>
                <a:gd name="connsiteY13" fmla="*/ 229221 h 485775"/>
                <a:gd name="connsiteX14" fmla="*/ 125329 w 533400"/>
                <a:gd name="connsiteY14" fmla="*/ 229221 h 485775"/>
                <a:gd name="connsiteX15" fmla="*/ 372979 w 533400"/>
                <a:gd name="connsiteY15" fmla="*/ 621 h 485775"/>
                <a:gd name="connsiteX16" fmla="*/ 411079 w 533400"/>
                <a:gd name="connsiteY16" fmla="*/ 36816 h 485775"/>
                <a:gd name="connsiteX17" fmla="*/ 411079 w 533400"/>
                <a:gd name="connsiteY17" fmla="*/ 38721 h 485775"/>
                <a:gd name="connsiteX18" fmla="*/ 411079 w 533400"/>
                <a:gd name="connsiteY18" fmla="*/ 114921 h 485775"/>
                <a:gd name="connsiteX19" fmla="*/ 506329 w 533400"/>
                <a:gd name="connsiteY19" fmla="*/ 114921 h 485775"/>
                <a:gd name="connsiteX20" fmla="*/ 534904 w 533400"/>
                <a:gd name="connsiteY20" fmla="*/ 143496 h 485775"/>
                <a:gd name="connsiteX21" fmla="*/ 534904 w 533400"/>
                <a:gd name="connsiteY21" fmla="*/ 210171 h 485775"/>
                <a:gd name="connsiteX22" fmla="*/ 1504 w 533400"/>
                <a:gd name="connsiteY22" fmla="*/ 210171 h 485775"/>
                <a:gd name="connsiteX23" fmla="*/ 1504 w 533400"/>
                <a:gd name="connsiteY23" fmla="*/ 143496 h 485775"/>
                <a:gd name="connsiteX24" fmla="*/ 30079 w 533400"/>
                <a:gd name="connsiteY24" fmla="*/ 114921 h 485775"/>
                <a:gd name="connsiteX25" fmla="*/ 125329 w 533400"/>
                <a:gd name="connsiteY25" fmla="*/ 114921 h 485775"/>
                <a:gd name="connsiteX26" fmla="*/ 125329 w 533400"/>
                <a:gd name="connsiteY26" fmla="*/ 38721 h 485775"/>
                <a:gd name="connsiteX27" fmla="*/ 161524 w 533400"/>
                <a:gd name="connsiteY27" fmla="*/ 621 h 485775"/>
                <a:gd name="connsiteX28" fmla="*/ 163429 w 533400"/>
                <a:gd name="connsiteY28" fmla="*/ 621 h 485775"/>
                <a:gd name="connsiteX29" fmla="*/ 372979 w 533400"/>
                <a:gd name="connsiteY29" fmla="*/ 621 h 485775"/>
                <a:gd name="connsiteX30" fmla="*/ 372979 w 533400"/>
                <a:gd name="connsiteY30" fmla="*/ 19671 h 485775"/>
                <a:gd name="connsiteX31" fmla="*/ 163429 w 533400"/>
                <a:gd name="connsiteY31" fmla="*/ 19671 h 485775"/>
                <a:gd name="connsiteX32" fmla="*/ 144379 w 533400"/>
                <a:gd name="connsiteY32" fmla="*/ 37769 h 485775"/>
                <a:gd name="connsiteX33" fmla="*/ 144379 w 533400"/>
                <a:gd name="connsiteY33" fmla="*/ 38721 h 485775"/>
                <a:gd name="connsiteX34" fmla="*/ 144379 w 533400"/>
                <a:gd name="connsiteY34" fmla="*/ 114921 h 485775"/>
                <a:gd name="connsiteX35" fmla="*/ 392029 w 533400"/>
                <a:gd name="connsiteY35" fmla="*/ 114921 h 485775"/>
                <a:gd name="connsiteX36" fmla="*/ 392029 w 533400"/>
                <a:gd name="connsiteY36" fmla="*/ 38721 h 485775"/>
                <a:gd name="connsiteX37" fmla="*/ 375836 w 533400"/>
                <a:gd name="connsiteY37" fmla="*/ 19671 h 485775"/>
                <a:gd name="connsiteX38" fmla="*/ 373932 w 533400"/>
                <a:gd name="connsiteY38" fmla="*/ 19671 h 485775"/>
                <a:gd name="connsiteX39" fmla="*/ 372979 w 533400"/>
                <a:gd name="connsiteY39" fmla="*/ 19671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533400" h="485775">
                  <a:moveTo>
                    <a:pt x="125329" y="229221"/>
                  </a:moveTo>
                  <a:lnTo>
                    <a:pt x="125329" y="276846"/>
                  </a:lnTo>
                  <a:lnTo>
                    <a:pt x="144379" y="276846"/>
                  </a:lnTo>
                  <a:lnTo>
                    <a:pt x="144379" y="229221"/>
                  </a:lnTo>
                  <a:lnTo>
                    <a:pt x="392029" y="229221"/>
                  </a:lnTo>
                  <a:lnTo>
                    <a:pt x="392029" y="276846"/>
                  </a:lnTo>
                  <a:lnTo>
                    <a:pt x="411079" y="276846"/>
                  </a:lnTo>
                  <a:lnTo>
                    <a:pt x="411079" y="229221"/>
                  </a:lnTo>
                  <a:lnTo>
                    <a:pt x="534904" y="229221"/>
                  </a:lnTo>
                  <a:lnTo>
                    <a:pt x="534904" y="457821"/>
                  </a:lnTo>
                  <a:cubicBezTo>
                    <a:pt x="534904" y="474014"/>
                    <a:pt x="522522" y="486396"/>
                    <a:pt x="506329" y="486396"/>
                  </a:cubicBezTo>
                  <a:lnTo>
                    <a:pt x="30079" y="486396"/>
                  </a:lnTo>
                  <a:cubicBezTo>
                    <a:pt x="13886" y="486396"/>
                    <a:pt x="1504" y="474014"/>
                    <a:pt x="1504" y="457821"/>
                  </a:cubicBezTo>
                  <a:lnTo>
                    <a:pt x="1504" y="229221"/>
                  </a:lnTo>
                  <a:lnTo>
                    <a:pt x="125329" y="229221"/>
                  </a:lnTo>
                  <a:close/>
                  <a:moveTo>
                    <a:pt x="372979" y="621"/>
                  </a:moveTo>
                  <a:cubicBezTo>
                    <a:pt x="392982" y="621"/>
                    <a:pt x="410126" y="16814"/>
                    <a:pt x="411079" y="36816"/>
                  </a:cubicBezTo>
                  <a:lnTo>
                    <a:pt x="411079" y="38721"/>
                  </a:lnTo>
                  <a:lnTo>
                    <a:pt x="411079" y="114921"/>
                  </a:lnTo>
                  <a:lnTo>
                    <a:pt x="506329" y="114921"/>
                  </a:lnTo>
                  <a:cubicBezTo>
                    <a:pt x="522522" y="114921"/>
                    <a:pt x="534904" y="127304"/>
                    <a:pt x="534904" y="143496"/>
                  </a:cubicBezTo>
                  <a:lnTo>
                    <a:pt x="534904" y="210171"/>
                  </a:lnTo>
                  <a:lnTo>
                    <a:pt x="1504" y="210171"/>
                  </a:lnTo>
                  <a:lnTo>
                    <a:pt x="1504" y="143496"/>
                  </a:lnTo>
                  <a:cubicBezTo>
                    <a:pt x="1504" y="127304"/>
                    <a:pt x="13886" y="114921"/>
                    <a:pt x="30079" y="114921"/>
                  </a:cubicBezTo>
                  <a:lnTo>
                    <a:pt x="125329" y="114921"/>
                  </a:lnTo>
                  <a:lnTo>
                    <a:pt x="125329" y="38721"/>
                  </a:lnTo>
                  <a:cubicBezTo>
                    <a:pt x="125329" y="18719"/>
                    <a:pt x="141522" y="1574"/>
                    <a:pt x="161524" y="621"/>
                  </a:cubicBezTo>
                  <a:lnTo>
                    <a:pt x="163429" y="621"/>
                  </a:lnTo>
                  <a:lnTo>
                    <a:pt x="372979" y="621"/>
                  </a:lnTo>
                  <a:close/>
                  <a:moveTo>
                    <a:pt x="372979" y="19671"/>
                  </a:moveTo>
                  <a:lnTo>
                    <a:pt x="163429" y="19671"/>
                  </a:lnTo>
                  <a:cubicBezTo>
                    <a:pt x="152951" y="19671"/>
                    <a:pt x="145332" y="27291"/>
                    <a:pt x="144379" y="37769"/>
                  </a:cubicBezTo>
                  <a:lnTo>
                    <a:pt x="144379" y="38721"/>
                  </a:lnTo>
                  <a:lnTo>
                    <a:pt x="144379" y="114921"/>
                  </a:lnTo>
                  <a:lnTo>
                    <a:pt x="392029" y="114921"/>
                  </a:lnTo>
                  <a:lnTo>
                    <a:pt x="392029" y="38721"/>
                  </a:lnTo>
                  <a:cubicBezTo>
                    <a:pt x="392029" y="29196"/>
                    <a:pt x="385361" y="21576"/>
                    <a:pt x="375836" y="19671"/>
                  </a:cubicBezTo>
                  <a:lnTo>
                    <a:pt x="373932" y="19671"/>
                  </a:lnTo>
                  <a:lnTo>
                    <a:pt x="372979" y="19671"/>
                  </a:lnTo>
                  <a:close/>
                </a:path>
              </a:pathLst>
            </a:custGeom>
            <a:solidFill>
              <a:srgbClr val="FFFFFF"/>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grpSp>
      <p:grpSp>
        <p:nvGrpSpPr>
          <p:cNvPr id="2" name="组合 1"/>
          <p:cNvGrpSpPr/>
          <p:nvPr/>
        </p:nvGrpSpPr>
        <p:grpSpPr>
          <a:xfrm>
            <a:off x="6371771" y="2699052"/>
            <a:ext cx="5147129" cy="807402"/>
            <a:chOff x="6371771" y="3203846"/>
            <a:chExt cx="5147129" cy="807402"/>
          </a:xfrm>
        </p:grpSpPr>
        <p:sp>
          <p:nvSpPr>
            <p:cNvPr id="65" name="矩形: 圆角 64"/>
            <p:cNvSpPr/>
            <p:nvPr/>
          </p:nvSpPr>
          <p:spPr>
            <a:xfrm>
              <a:off x="6371771" y="3203846"/>
              <a:ext cx="5147129" cy="807402"/>
            </a:xfrm>
            <a:prstGeom prst="roundRect">
              <a:avLst>
                <a:gd name="adj" fmla="val 50000"/>
              </a:avLst>
            </a:prstGeom>
            <a:solidFill>
              <a:schemeClr val="tx2">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66" name="组合 65"/>
            <p:cNvGrpSpPr/>
            <p:nvPr/>
          </p:nvGrpSpPr>
          <p:grpSpPr>
            <a:xfrm>
              <a:off x="7582341" y="3315601"/>
              <a:ext cx="3485777" cy="633199"/>
              <a:chOff x="6512509" y="1498521"/>
              <a:chExt cx="3485777" cy="633199"/>
            </a:xfrm>
          </p:grpSpPr>
          <p:sp>
            <p:nvSpPr>
              <p:cNvPr id="75" name="矩形 74"/>
              <p:cNvSpPr/>
              <p:nvPr/>
            </p:nvSpPr>
            <p:spPr>
              <a:xfrm flipH="1">
                <a:off x="6512509" y="1498521"/>
                <a:ext cx="3485777"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spAutoFit/>
              </a:bodyPr>
              <a:lstStyle/>
              <a:p>
                <a:r>
                  <a:rPr kumimoji="1" lang="en-US" altLang="zh-CN" sz="1600" b="1" dirty="0">
                    <a:solidFill>
                      <a:schemeClr val="tx1"/>
                    </a:solidFill>
                    <a:latin typeface="Arial" panose="020B0604020202090204" pitchFamily="34" charset="0"/>
                    <a:ea typeface="华文楷体" panose="02010600040101010101" pitchFamily="2" charset="-122"/>
                  </a:rPr>
                  <a:t>Supporting text here.</a:t>
                </a:r>
                <a:endParaRPr kumimoji="1" lang="en-US" altLang="zh-CN" sz="1600" b="1" dirty="0">
                  <a:solidFill>
                    <a:schemeClr val="tx1"/>
                  </a:solidFill>
                  <a:latin typeface="Arial" panose="020B0604020202090204" pitchFamily="34" charset="0"/>
                  <a:ea typeface="华文楷体" panose="02010600040101010101" pitchFamily="2" charset="-122"/>
                </a:endParaRPr>
              </a:p>
            </p:txBody>
          </p:sp>
          <p:sp>
            <p:nvSpPr>
              <p:cNvPr id="76" name="矩形 75"/>
              <p:cNvSpPr/>
              <p:nvPr/>
            </p:nvSpPr>
            <p:spPr>
              <a:xfrm flipH="1">
                <a:off x="6512509" y="1842217"/>
                <a:ext cx="3485777" cy="2895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p>
                <a:pPr>
                  <a:lnSpc>
                    <a:spcPct val="130000"/>
                  </a:lnSpc>
                </a:pPr>
                <a:r>
                  <a:rPr kumimoji="1" lang="en-US" altLang="zh-CN" sz="1100" dirty="0">
                    <a:solidFill>
                      <a:schemeClr val="tx1"/>
                    </a:solidFill>
                    <a:latin typeface="Arial" panose="020B0604020202090204" pitchFamily="34" charset="0"/>
                    <a:ea typeface="华文楷体" panose="02010600040101010101" pitchFamily="2" charset="-122"/>
                  </a:rPr>
                  <a:t>Theme color makes PPT more convenient to change. </a:t>
                </a:r>
                <a:endParaRPr kumimoji="1" lang="en-US" altLang="zh-CN" sz="1100" dirty="0">
                  <a:solidFill>
                    <a:schemeClr val="tx1"/>
                  </a:solidFill>
                  <a:latin typeface="Arial" panose="020B0604020202090204" pitchFamily="34" charset="0"/>
                  <a:ea typeface="华文楷体" panose="02010600040101010101" pitchFamily="2" charset="-122"/>
                </a:endParaRPr>
              </a:p>
            </p:txBody>
          </p:sp>
        </p:grpSp>
        <p:grpSp>
          <p:nvGrpSpPr>
            <p:cNvPr id="90" name="组合 89"/>
            <p:cNvGrpSpPr/>
            <p:nvPr/>
          </p:nvGrpSpPr>
          <p:grpSpPr>
            <a:xfrm>
              <a:off x="6641771" y="3362200"/>
              <a:ext cx="540000" cy="540000"/>
              <a:chOff x="5826000" y="1417701"/>
              <a:chExt cx="540000" cy="540000"/>
            </a:xfrm>
          </p:grpSpPr>
          <p:sp>
            <p:nvSpPr>
              <p:cNvPr id="94" name="文本框 93"/>
              <p:cNvSpPr txBox="1"/>
              <p:nvPr/>
            </p:nvSpPr>
            <p:spPr>
              <a:xfrm>
                <a:off x="5826000" y="1417701"/>
                <a:ext cx="540000" cy="540000"/>
              </a:xfrm>
              <a:prstGeom prst="roundRect">
                <a:avLst>
                  <a:gd name="adj" fmla="val 50000"/>
                </a:avLst>
              </a:prstGeom>
              <a:solidFill>
                <a:schemeClr val="accent1"/>
              </a:solidFill>
            </p:spPr>
            <p:txBody>
              <a:bodyPr wrap="none" lIns="108000" tIns="108000" rIns="108000" bIns="108000" rtlCol="0" anchor="ctr" anchorCtr="0">
                <a:noAutofit/>
              </a:bodyPr>
              <a:lstStyle>
                <a:defPPr>
                  <a:defRPr lang="zh-CN"/>
                </a:defPPr>
                <a:lvl1pPr algn="ctr">
                  <a:defRPr kumimoji="1" sz="2000" b="1">
                    <a:noFill/>
                  </a:defRPr>
                </a:lvl1pPr>
              </a:lstStyle>
              <a:p>
                <a:endParaRPr lang="zh-CN" altLang="en-US" dirty="0"/>
              </a:p>
            </p:txBody>
          </p:sp>
          <p:sp>
            <p:nvSpPr>
              <p:cNvPr id="95" name="任意多边形: 形状 94"/>
              <p:cNvSpPr/>
              <p:nvPr/>
            </p:nvSpPr>
            <p:spPr>
              <a:xfrm>
                <a:off x="5982886" y="1549998"/>
                <a:ext cx="226228" cy="275406"/>
              </a:xfrm>
              <a:custGeom>
                <a:avLst/>
                <a:gdLst>
                  <a:gd name="connsiteX0" fmla="*/ 284197 w 438150"/>
                  <a:gd name="connsiteY0" fmla="*/ 621 h 533400"/>
                  <a:gd name="connsiteX1" fmla="*/ 286102 w 438150"/>
                  <a:gd name="connsiteY1" fmla="*/ 621 h 533400"/>
                  <a:gd name="connsiteX2" fmla="*/ 286102 w 438150"/>
                  <a:gd name="connsiteY2" fmla="*/ 124446 h 533400"/>
                  <a:gd name="connsiteX3" fmla="*/ 286102 w 438150"/>
                  <a:gd name="connsiteY3" fmla="*/ 126351 h 533400"/>
                  <a:gd name="connsiteX4" fmla="*/ 314677 w 438150"/>
                  <a:gd name="connsiteY4" fmla="*/ 153021 h 533400"/>
                  <a:gd name="connsiteX5" fmla="*/ 314677 w 438150"/>
                  <a:gd name="connsiteY5" fmla="*/ 153021 h 533400"/>
                  <a:gd name="connsiteX6" fmla="*/ 438502 w 438150"/>
                  <a:gd name="connsiteY6" fmla="*/ 153021 h 533400"/>
                  <a:gd name="connsiteX7" fmla="*/ 438502 w 438150"/>
                  <a:gd name="connsiteY7" fmla="*/ 154926 h 533400"/>
                  <a:gd name="connsiteX8" fmla="*/ 438502 w 438150"/>
                  <a:gd name="connsiteY8" fmla="*/ 505446 h 533400"/>
                  <a:gd name="connsiteX9" fmla="*/ 409927 w 438150"/>
                  <a:gd name="connsiteY9" fmla="*/ 534021 h 533400"/>
                  <a:gd name="connsiteX10" fmla="*/ 28927 w 438150"/>
                  <a:gd name="connsiteY10" fmla="*/ 534021 h 533400"/>
                  <a:gd name="connsiteX11" fmla="*/ 352 w 438150"/>
                  <a:gd name="connsiteY11" fmla="*/ 505446 h 533400"/>
                  <a:gd name="connsiteX12" fmla="*/ 352 w 438150"/>
                  <a:gd name="connsiteY12" fmla="*/ 29196 h 533400"/>
                  <a:gd name="connsiteX13" fmla="*/ 28927 w 438150"/>
                  <a:gd name="connsiteY13" fmla="*/ 621 h 533400"/>
                  <a:gd name="connsiteX14" fmla="*/ 284197 w 438150"/>
                  <a:gd name="connsiteY14" fmla="*/ 621 h 533400"/>
                  <a:gd name="connsiteX15" fmla="*/ 248002 w 438150"/>
                  <a:gd name="connsiteY15" fmla="*/ 200646 h 533400"/>
                  <a:gd name="connsiteX16" fmla="*/ 152752 w 438150"/>
                  <a:gd name="connsiteY16" fmla="*/ 200646 h 533400"/>
                  <a:gd name="connsiteX17" fmla="*/ 152752 w 438150"/>
                  <a:gd name="connsiteY17" fmla="*/ 410196 h 533400"/>
                  <a:gd name="connsiteX18" fmla="*/ 171802 w 438150"/>
                  <a:gd name="connsiteY18" fmla="*/ 410196 h 533400"/>
                  <a:gd name="connsiteX19" fmla="*/ 171802 w 438150"/>
                  <a:gd name="connsiteY19" fmla="*/ 314946 h 533400"/>
                  <a:gd name="connsiteX20" fmla="*/ 248002 w 438150"/>
                  <a:gd name="connsiteY20" fmla="*/ 314946 h 533400"/>
                  <a:gd name="connsiteX21" fmla="*/ 249907 w 438150"/>
                  <a:gd name="connsiteY21" fmla="*/ 314946 h 533400"/>
                  <a:gd name="connsiteX22" fmla="*/ 305152 w 438150"/>
                  <a:gd name="connsiteY22" fmla="*/ 257796 h 533400"/>
                  <a:gd name="connsiteX23" fmla="*/ 248002 w 438150"/>
                  <a:gd name="connsiteY23" fmla="*/ 200646 h 533400"/>
                  <a:gd name="connsiteX24" fmla="*/ 248002 w 438150"/>
                  <a:gd name="connsiteY24" fmla="*/ 200646 h 533400"/>
                  <a:gd name="connsiteX25" fmla="*/ 248002 w 438150"/>
                  <a:gd name="connsiteY25" fmla="*/ 219696 h 533400"/>
                  <a:gd name="connsiteX26" fmla="*/ 286102 w 438150"/>
                  <a:gd name="connsiteY26" fmla="*/ 257796 h 533400"/>
                  <a:gd name="connsiteX27" fmla="*/ 248002 w 438150"/>
                  <a:gd name="connsiteY27" fmla="*/ 295896 h 533400"/>
                  <a:gd name="connsiteX28" fmla="*/ 248002 w 438150"/>
                  <a:gd name="connsiteY28" fmla="*/ 295896 h 533400"/>
                  <a:gd name="connsiteX29" fmla="*/ 171802 w 438150"/>
                  <a:gd name="connsiteY29" fmla="*/ 295896 h 533400"/>
                  <a:gd name="connsiteX30" fmla="*/ 171802 w 438150"/>
                  <a:gd name="connsiteY30" fmla="*/ 219696 h 533400"/>
                  <a:gd name="connsiteX31" fmla="*/ 248002 w 438150"/>
                  <a:gd name="connsiteY31" fmla="*/ 219696 h 533400"/>
                  <a:gd name="connsiteX32" fmla="*/ 428977 w 438150"/>
                  <a:gd name="connsiteY32" fmla="*/ 133971 h 533400"/>
                  <a:gd name="connsiteX33" fmla="*/ 314677 w 438150"/>
                  <a:gd name="connsiteY33" fmla="*/ 133971 h 533400"/>
                  <a:gd name="connsiteX34" fmla="*/ 313724 w 438150"/>
                  <a:gd name="connsiteY34" fmla="*/ 133971 h 533400"/>
                  <a:gd name="connsiteX35" fmla="*/ 305152 w 438150"/>
                  <a:gd name="connsiteY35" fmla="*/ 124446 h 533400"/>
                  <a:gd name="connsiteX36" fmla="*/ 305152 w 438150"/>
                  <a:gd name="connsiteY36" fmla="*/ 124446 h 533400"/>
                  <a:gd name="connsiteX37" fmla="*/ 305152 w 438150"/>
                  <a:gd name="connsiteY37" fmla="*/ 10146 h 533400"/>
                  <a:gd name="connsiteX38" fmla="*/ 428977 w 438150"/>
                  <a:gd name="connsiteY38" fmla="*/ 133971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38150" h="533400">
                    <a:moveTo>
                      <a:pt x="284197" y="621"/>
                    </a:moveTo>
                    <a:cubicBezTo>
                      <a:pt x="285149" y="621"/>
                      <a:pt x="286102" y="621"/>
                      <a:pt x="286102" y="621"/>
                    </a:cubicBezTo>
                    <a:lnTo>
                      <a:pt x="286102" y="124446"/>
                    </a:lnTo>
                    <a:lnTo>
                      <a:pt x="286102" y="126351"/>
                    </a:lnTo>
                    <a:cubicBezTo>
                      <a:pt x="287055" y="141591"/>
                      <a:pt x="299437" y="153021"/>
                      <a:pt x="314677" y="153021"/>
                    </a:cubicBezTo>
                    <a:lnTo>
                      <a:pt x="314677" y="153021"/>
                    </a:lnTo>
                    <a:lnTo>
                      <a:pt x="438502" y="153021"/>
                    </a:lnTo>
                    <a:cubicBezTo>
                      <a:pt x="438502" y="153974"/>
                      <a:pt x="438502" y="154926"/>
                      <a:pt x="438502" y="154926"/>
                    </a:cubicBezTo>
                    <a:lnTo>
                      <a:pt x="438502" y="505446"/>
                    </a:lnTo>
                    <a:cubicBezTo>
                      <a:pt x="438502" y="521639"/>
                      <a:pt x="426120" y="534021"/>
                      <a:pt x="409927" y="534021"/>
                    </a:cubicBezTo>
                    <a:lnTo>
                      <a:pt x="28927" y="534021"/>
                    </a:lnTo>
                    <a:cubicBezTo>
                      <a:pt x="12734" y="534021"/>
                      <a:pt x="352" y="521639"/>
                      <a:pt x="352" y="505446"/>
                    </a:cubicBezTo>
                    <a:lnTo>
                      <a:pt x="352" y="29196"/>
                    </a:lnTo>
                    <a:cubicBezTo>
                      <a:pt x="352" y="13004"/>
                      <a:pt x="12734" y="621"/>
                      <a:pt x="28927" y="621"/>
                    </a:cubicBezTo>
                    <a:lnTo>
                      <a:pt x="284197" y="621"/>
                    </a:lnTo>
                    <a:close/>
                    <a:moveTo>
                      <a:pt x="248002" y="200646"/>
                    </a:moveTo>
                    <a:lnTo>
                      <a:pt x="152752" y="200646"/>
                    </a:lnTo>
                    <a:lnTo>
                      <a:pt x="152752" y="410196"/>
                    </a:lnTo>
                    <a:lnTo>
                      <a:pt x="171802" y="410196"/>
                    </a:lnTo>
                    <a:lnTo>
                      <a:pt x="171802" y="314946"/>
                    </a:lnTo>
                    <a:lnTo>
                      <a:pt x="248002" y="314946"/>
                    </a:lnTo>
                    <a:lnTo>
                      <a:pt x="249907" y="314946"/>
                    </a:lnTo>
                    <a:cubicBezTo>
                      <a:pt x="280387" y="313994"/>
                      <a:pt x="305152" y="288276"/>
                      <a:pt x="305152" y="257796"/>
                    </a:cubicBezTo>
                    <a:cubicBezTo>
                      <a:pt x="305152" y="226364"/>
                      <a:pt x="279434" y="200646"/>
                      <a:pt x="248002" y="200646"/>
                    </a:cubicBezTo>
                    <a:lnTo>
                      <a:pt x="248002" y="200646"/>
                    </a:lnTo>
                    <a:close/>
                    <a:moveTo>
                      <a:pt x="248002" y="219696"/>
                    </a:moveTo>
                    <a:cubicBezTo>
                      <a:pt x="268957" y="219696"/>
                      <a:pt x="286102" y="236841"/>
                      <a:pt x="286102" y="257796"/>
                    </a:cubicBezTo>
                    <a:cubicBezTo>
                      <a:pt x="286102" y="278751"/>
                      <a:pt x="268957" y="295896"/>
                      <a:pt x="248002" y="295896"/>
                    </a:cubicBezTo>
                    <a:lnTo>
                      <a:pt x="248002" y="295896"/>
                    </a:lnTo>
                    <a:lnTo>
                      <a:pt x="171802" y="295896"/>
                    </a:lnTo>
                    <a:lnTo>
                      <a:pt x="171802" y="219696"/>
                    </a:lnTo>
                    <a:lnTo>
                      <a:pt x="248002" y="219696"/>
                    </a:lnTo>
                    <a:close/>
                    <a:moveTo>
                      <a:pt x="428977" y="133971"/>
                    </a:moveTo>
                    <a:lnTo>
                      <a:pt x="314677" y="133971"/>
                    </a:lnTo>
                    <a:lnTo>
                      <a:pt x="313724" y="133971"/>
                    </a:lnTo>
                    <a:cubicBezTo>
                      <a:pt x="308962" y="133019"/>
                      <a:pt x="305152" y="129209"/>
                      <a:pt x="305152" y="124446"/>
                    </a:cubicBezTo>
                    <a:lnTo>
                      <a:pt x="305152" y="124446"/>
                    </a:lnTo>
                    <a:lnTo>
                      <a:pt x="305152" y="10146"/>
                    </a:lnTo>
                    <a:lnTo>
                      <a:pt x="428977" y="133971"/>
                    </a:lnTo>
                    <a:close/>
                  </a:path>
                </a:pathLst>
              </a:custGeom>
              <a:solidFill>
                <a:srgbClr val="FFFFFF"/>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grpSp>
      </p:grpSp>
      <p:grpSp>
        <p:nvGrpSpPr>
          <p:cNvPr id="3" name="组合 2"/>
          <p:cNvGrpSpPr/>
          <p:nvPr/>
        </p:nvGrpSpPr>
        <p:grpSpPr>
          <a:xfrm>
            <a:off x="6371771" y="3933979"/>
            <a:ext cx="5147129" cy="807402"/>
            <a:chOff x="6371771" y="4943567"/>
            <a:chExt cx="5147129" cy="807402"/>
          </a:xfrm>
        </p:grpSpPr>
        <p:sp>
          <p:nvSpPr>
            <p:cNvPr id="78" name="矩形: 圆角 77"/>
            <p:cNvSpPr/>
            <p:nvPr/>
          </p:nvSpPr>
          <p:spPr>
            <a:xfrm>
              <a:off x="6371771" y="4943567"/>
              <a:ext cx="5147129" cy="807402"/>
            </a:xfrm>
            <a:prstGeom prst="roundRect">
              <a:avLst>
                <a:gd name="adj" fmla="val 50000"/>
              </a:avLst>
            </a:prstGeom>
            <a:solidFill>
              <a:schemeClr val="tx2">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79" name="组合 78"/>
            <p:cNvGrpSpPr/>
            <p:nvPr/>
          </p:nvGrpSpPr>
          <p:grpSpPr>
            <a:xfrm>
              <a:off x="7582341" y="5055322"/>
              <a:ext cx="3485777" cy="633199"/>
              <a:chOff x="6512509" y="1498521"/>
              <a:chExt cx="3485777" cy="633199"/>
            </a:xfrm>
          </p:grpSpPr>
          <p:sp>
            <p:nvSpPr>
              <p:cNvPr id="85" name="矩形 84"/>
              <p:cNvSpPr/>
              <p:nvPr/>
            </p:nvSpPr>
            <p:spPr>
              <a:xfrm flipH="1">
                <a:off x="6512509" y="1498521"/>
                <a:ext cx="3485777"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spAutoFit/>
              </a:bodyPr>
              <a:lstStyle/>
              <a:p>
                <a:r>
                  <a:rPr kumimoji="1" lang="en-US" altLang="zh-CN" sz="1600" b="1" dirty="0">
                    <a:solidFill>
                      <a:schemeClr val="tx1"/>
                    </a:solidFill>
                    <a:latin typeface="Arial" panose="020B0604020202090204" pitchFamily="34" charset="0"/>
                    <a:ea typeface="华文楷体" panose="02010600040101010101" pitchFamily="2" charset="-122"/>
                  </a:rPr>
                  <a:t>Supporting text here.</a:t>
                </a:r>
                <a:endParaRPr kumimoji="1" lang="en-US" altLang="zh-CN" sz="1600" b="1" dirty="0">
                  <a:solidFill>
                    <a:schemeClr val="tx1"/>
                  </a:solidFill>
                  <a:latin typeface="Arial" panose="020B0604020202090204" pitchFamily="34" charset="0"/>
                  <a:ea typeface="华文楷体" panose="02010600040101010101" pitchFamily="2" charset="-122"/>
                </a:endParaRPr>
              </a:p>
            </p:txBody>
          </p:sp>
          <p:sp>
            <p:nvSpPr>
              <p:cNvPr id="86" name="矩形 85"/>
              <p:cNvSpPr/>
              <p:nvPr/>
            </p:nvSpPr>
            <p:spPr>
              <a:xfrm flipH="1">
                <a:off x="6512509" y="1842217"/>
                <a:ext cx="3485777" cy="2895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p>
                <a:pPr>
                  <a:lnSpc>
                    <a:spcPct val="130000"/>
                  </a:lnSpc>
                </a:pPr>
                <a:r>
                  <a:rPr kumimoji="1" lang="en-US" altLang="zh-CN" sz="1100" dirty="0">
                    <a:solidFill>
                      <a:schemeClr val="tx1"/>
                    </a:solidFill>
                    <a:latin typeface="Arial" panose="020B0604020202090204" pitchFamily="34" charset="0"/>
                    <a:ea typeface="华文楷体" panose="02010600040101010101" pitchFamily="2" charset="-122"/>
                  </a:rPr>
                  <a:t>Theme color makes PPT more convenient to change. </a:t>
                </a:r>
                <a:endParaRPr kumimoji="1" lang="en-US" altLang="zh-CN" sz="1100" dirty="0">
                  <a:solidFill>
                    <a:schemeClr val="tx1"/>
                  </a:solidFill>
                  <a:latin typeface="Arial" panose="020B0604020202090204" pitchFamily="34" charset="0"/>
                  <a:ea typeface="华文楷体" panose="02010600040101010101" pitchFamily="2" charset="-122"/>
                </a:endParaRPr>
              </a:p>
            </p:txBody>
          </p:sp>
        </p:grpSp>
        <p:grpSp>
          <p:nvGrpSpPr>
            <p:cNvPr id="6" name="组合 5"/>
            <p:cNvGrpSpPr/>
            <p:nvPr/>
          </p:nvGrpSpPr>
          <p:grpSpPr>
            <a:xfrm>
              <a:off x="6641771" y="5101921"/>
              <a:ext cx="540000" cy="540000"/>
              <a:chOff x="5668230" y="4107980"/>
              <a:chExt cx="540000" cy="540000"/>
            </a:xfrm>
          </p:grpSpPr>
          <p:sp>
            <p:nvSpPr>
              <p:cNvPr id="67" name="文本框 66"/>
              <p:cNvSpPr txBox="1"/>
              <p:nvPr/>
            </p:nvSpPr>
            <p:spPr>
              <a:xfrm>
                <a:off x="5668230" y="4107980"/>
                <a:ext cx="540000" cy="540000"/>
              </a:xfrm>
              <a:prstGeom prst="roundRect">
                <a:avLst>
                  <a:gd name="adj" fmla="val 50000"/>
                </a:avLst>
              </a:prstGeom>
              <a:solidFill>
                <a:schemeClr val="accent1"/>
              </a:solidFill>
            </p:spPr>
            <p:txBody>
              <a:bodyPr wrap="none" lIns="108000" tIns="108000" rIns="108000" bIns="108000" rtlCol="0" anchor="ctr" anchorCtr="0">
                <a:noAutofit/>
              </a:bodyPr>
              <a:lstStyle>
                <a:defPPr>
                  <a:defRPr lang="zh-CN"/>
                </a:defPPr>
                <a:lvl1pPr algn="ctr">
                  <a:defRPr kumimoji="1" sz="2000" b="1">
                    <a:noFill/>
                  </a:defRPr>
                </a:lvl1pPr>
              </a:lstStyle>
              <a:p>
                <a:endParaRPr lang="zh-CN" altLang="en-US" dirty="0"/>
              </a:p>
            </p:txBody>
          </p:sp>
          <p:sp>
            <p:nvSpPr>
              <p:cNvPr id="68" name="任意多边形: 形状 67"/>
              <p:cNvSpPr/>
              <p:nvPr/>
            </p:nvSpPr>
            <p:spPr>
              <a:xfrm>
                <a:off x="5839871" y="4245195"/>
                <a:ext cx="196718" cy="265570"/>
              </a:xfrm>
              <a:custGeom>
                <a:avLst/>
                <a:gdLst>
                  <a:gd name="connsiteX0" fmla="*/ 86973 w 381000"/>
                  <a:gd name="connsiteY0" fmla="*/ 38721 h 514350"/>
                  <a:gd name="connsiteX1" fmla="*/ 86973 w 381000"/>
                  <a:gd name="connsiteY1" fmla="*/ 57771 h 514350"/>
                  <a:gd name="connsiteX2" fmla="*/ 123168 w 381000"/>
                  <a:gd name="connsiteY2" fmla="*/ 95871 h 514350"/>
                  <a:gd name="connsiteX3" fmla="*/ 125073 w 381000"/>
                  <a:gd name="connsiteY3" fmla="*/ 95871 h 514350"/>
                  <a:gd name="connsiteX4" fmla="*/ 258423 w 381000"/>
                  <a:gd name="connsiteY4" fmla="*/ 95871 h 514350"/>
                  <a:gd name="connsiteX5" fmla="*/ 296523 w 381000"/>
                  <a:gd name="connsiteY5" fmla="*/ 59676 h 514350"/>
                  <a:gd name="connsiteX6" fmla="*/ 296523 w 381000"/>
                  <a:gd name="connsiteY6" fmla="*/ 57771 h 514350"/>
                  <a:gd name="connsiteX7" fmla="*/ 296523 w 381000"/>
                  <a:gd name="connsiteY7" fmla="*/ 38721 h 514350"/>
                  <a:gd name="connsiteX8" fmla="*/ 353673 w 381000"/>
                  <a:gd name="connsiteY8" fmla="*/ 38721 h 514350"/>
                  <a:gd name="connsiteX9" fmla="*/ 382248 w 381000"/>
                  <a:gd name="connsiteY9" fmla="*/ 67296 h 514350"/>
                  <a:gd name="connsiteX10" fmla="*/ 382248 w 381000"/>
                  <a:gd name="connsiteY10" fmla="*/ 486396 h 514350"/>
                  <a:gd name="connsiteX11" fmla="*/ 353673 w 381000"/>
                  <a:gd name="connsiteY11" fmla="*/ 514971 h 514350"/>
                  <a:gd name="connsiteX12" fmla="*/ 29823 w 381000"/>
                  <a:gd name="connsiteY12" fmla="*/ 514971 h 514350"/>
                  <a:gd name="connsiteX13" fmla="*/ 1248 w 381000"/>
                  <a:gd name="connsiteY13" fmla="*/ 486396 h 514350"/>
                  <a:gd name="connsiteX14" fmla="*/ 1248 w 381000"/>
                  <a:gd name="connsiteY14" fmla="*/ 67296 h 514350"/>
                  <a:gd name="connsiteX15" fmla="*/ 29823 w 381000"/>
                  <a:gd name="connsiteY15" fmla="*/ 38721 h 514350"/>
                  <a:gd name="connsiteX16" fmla="*/ 86973 w 381000"/>
                  <a:gd name="connsiteY16" fmla="*/ 38721 h 514350"/>
                  <a:gd name="connsiteX17" fmla="*/ 191748 w 381000"/>
                  <a:gd name="connsiteY17" fmla="*/ 333996 h 514350"/>
                  <a:gd name="connsiteX18" fmla="*/ 77448 w 381000"/>
                  <a:gd name="connsiteY18" fmla="*/ 333996 h 514350"/>
                  <a:gd name="connsiteX19" fmla="*/ 77448 w 381000"/>
                  <a:gd name="connsiteY19" fmla="*/ 353046 h 514350"/>
                  <a:gd name="connsiteX20" fmla="*/ 191748 w 381000"/>
                  <a:gd name="connsiteY20" fmla="*/ 353046 h 514350"/>
                  <a:gd name="connsiteX21" fmla="*/ 191748 w 381000"/>
                  <a:gd name="connsiteY21" fmla="*/ 333996 h 514350"/>
                  <a:gd name="connsiteX22" fmla="*/ 306048 w 381000"/>
                  <a:gd name="connsiteY22" fmla="*/ 257796 h 514350"/>
                  <a:gd name="connsiteX23" fmla="*/ 77448 w 381000"/>
                  <a:gd name="connsiteY23" fmla="*/ 257796 h 514350"/>
                  <a:gd name="connsiteX24" fmla="*/ 77448 w 381000"/>
                  <a:gd name="connsiteY24" fmla="*/ 276846 h 514350"/>
                  <a:gd name="connsiteX25" fmla="*/ 306048 w 381000"/>
                  <a:gd name="connsiteY25" fmla="*/ 276846 h 514350"/>
                  <a:gd name="connsiteX26" fmla="*/ 306048 w 381000"/>
                  <a:gd name="connsiteY26" fmla="*/ 257796 h 514350"/>
                  <a:gd name="connsiteX27" fmla="*/ 306048 w 381000"/>
                  <a:gd name="connsiteY27" fmla="*/ 181596 h 514350"/>
                  <a:gd name="connsiteX28" fmla="*/ 77448 w 381000"/>
                  <a:gd name="connsiteY28" fmla="*/ 181596 h 514350"/>
                  <a:gd name="connsiteX29" fmla="*/ 77448 w 381000"/>
                  <a:gd name="connsiteY29" fmla="*/ 200646 h 514350"/>
                  <a:gd name="connsiteX30" fmla="*/ 306048 w 381000"/>
                  <a:gd name="connsiteY30" fmla="*/ 200646 h 514350"/>
                  <a:gd name="connsiteX31" fmla="*/ 306048 w 381000"/>
                  <a:gd name="connsiteY31" fmla="*/ 181596 h 514350"/>
                  <a:gd name="connsiteX32" fmla="*/ 248898 w 381000"/>
                  <a:gd name="connsiteY32" fmla="*/ 621 h 514350"/>
                  <a:gd name="connsiteX33" fmla="*/ 277473 w 381000"/>
                  <a:gd name="connsiteY33" fmla="*/ 29196 h 514350"/>
                  <a:gd name="connsiteX34" fmla="*/ 277473 w 381000"/>
                  <a:gd name="connsiteY34" fmla="*/ 48246 h 514350"/>
                  <a:gd name="connsiteX35" fmla="*/ 248898 w 381000"/>
                  <a:gd name="connsiteY35" fmla="*/ 76821 h 514350"/>
                  <a:gd name="connsiteX36" fmla="*/ 134598 w 381000"/>
                  <a:gd name="connsiteY36" fmla="*/ 76821 h 514350"/>
                  <a:gd name="connsiteX37" fmla="*/ 106023 w 381000"/>
                  <a:gd name="connsiteY37" fmla="*/ 48246 h 514350"/>
                  <a:gd name="connsiteX38" fmla="*/ 106023 w 381000"/>
                  <a:gd name="connsiteY38" fmla="*/ 29196 h 514350"/>
                  <a:gd name="connsiteX39" fmla="*/ 134598 w 381000"/>
                  <a:gd name="connsiteY39" fmla="*/ 621 h 514350"/>
                  <a:gd name="connsiteX40" fmla="*/ 248898 w 381000"/>
                  <a:gd name="connsiteY40" fmla="*/ 621 h 514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81000" h="514350">
                    <a:moveTo>
                      <a:pt x="86973" y="38721"/>
                    </a:moveTo>
                    <a:lnTo>
                      <a:pt x="86973" y="57771"/>
                    </a:lnTo>
                    <a:cubicBezTo>
                      <a:pt x="86973" y="77774"/>
                      <a:pt x="103166" y="94919"/>
                      <a:pt x="123168" y="95871"/>
                    </a:cubicBezTo>
                    <a:lnTo>
                      <a:pt x="125073" y="95871"/>
                    </a:lnTo>
                    <a:lnTo>
                      <a:pt x="258423" y="95871"/>
                    </a:lnTo>
                    <a:cubicBezTo>
                      <a:pt x="278426" y="95871"/>
                      <a:pt x="295570" y="79679"/>
                      <a:pt x="296523" y="59676"/>
                    </a:cubicBezTo>
                    <a:lnTo>
                      <a:pt x="296523" y="57771"/>
                    </a:lnTo>
                    <a:lnTo>
                      <a:pt x="296523" y="38721"/>
                    </a:lnTo>
                    <a:lnTo>
                      <a:pt x="353673" y="38721"/>
                    </a:lnTo>
                    <a:cubicBezTo>
                      <a:pt x="369866" y="38721"/>
                      <a:pt x="382248" y="51104"/>
                      <a:pt x="382248" y="67296"/>
                    </a:cubicBezTo>
                    <a:lnTo>
                      <a:pt x="382248" y="486396"/>
                    </a:lnTo>
                    <a:cubicBezTo>
                      <a:pt x="382248" y="502589"/>
                      <a:pt x="369866" y="514971"/>
                      <a:pt x="353673" y="514971"/>
                    </a:cubicBezTo>
                    <a:lnTo>
                      <a:pt x="29823" y="514971"/>
                    </a:lnTo>
                    <a:cubicBezTo>
                      <a:pt x="13630" y="514971"/>
                      <a:pt x="1248" y="502589"/>
                      <a:pt x="1248" y="486396"/>
                    </a:cubicBezTo>
                    <a:lnTo>
                      <a:pt x="1248" y="67296"/>
                    </a:lnTo>
                    <a:cubicBezTo>
                      <a:pt x="1248" y="51104"/>
                      <a:pt x="13630" y="38721"/>
                      <a:pt x="29823" y="38721"/>
                    </a:cubicBezTo>
                    <a:lnTo>
                      <a:pt x="86973" y="38721"/>
                    </a:lnTo>
                    <a:close/>
                    <a:moveTo>
                      <a:pt x="191748" y="333996"/>
                    </a:moveTo>
                    <a:lnTo>
                      <a:pt x="77448" y="333996"/>
                    </a:lnTo>
                    <a:lnTo>
                      <a:pt x="77448" y="353046"/>
                    </a:lnTo>
                    <a:lnTo>
                      <a:pt x="191748" y="353046"/>
                    </a:lnTo>
                    <a:lnTo>
                      <a:pt x="191748" y="333996"/>
                    </a:lnTo>
                    <a:close/>
                    <a:moveTo>
                      <a:pt x="306048" y="257796"/>
                    </a:moveTo>
                    <a:lnTo>
                      <a:pt x="77448" y="257796"/>
                    </a:lnTo>
                    <a:lnTo>
                      <a:pt x="77448" y="276846"/>
                    </a:lnTo>
                    <a:lnTo>
                      <a:pt x="306048" y="276846"/>
                    </a:lnTo>
                    <a:lnTo>
                      <a:pt x="306048" y="257796"/>
                    </a:lnTo>
                    <a:close/>
                    <a:moveTo>
                      <a:pt x="306048" y="181596"/>
                    </a:moveTo>
                    <a:lnTo>
                      <a:pt x="77448" y="181596"/>
                    </a:lnTo>
                    <a:lnTo>
                      <a:pt x="77448" y="200646"/>
                    </a:lnTo>
                    <a:lnTo>
                      <a:pt x="306048" y="200646"/>
                    </a:lnTo>
                    <a:lnTo>
                      <a:pt x="306048" y="181596"/>
                    </a:lnTo>
                    <a:close/>
                    <a:moveTo>
                      <a:pt x="248898" y="621"/>
                    </a:moveTo>
                    <a:cubicBezTo>
                      <a:pt x="265091" y="621"/>
                      <a:pt x="277473" y="13004"/>
                      <a:pt x="277473" y="29196"/>
                    </a:cubicBezTo>
                    <a:lnTo>
                      <a:pt x="277473" y="48246"/>
                    </a:lnTo>
                    <a:cubicBezTo>
                      <a:pt x="277473" y="64439"/>
                      <a:pt x="265091" y="76821"/>
                      <a:pt x="248898" y="76821"/>
                    </a:cubicBezTo>
                    <a:lnTo>
                      <a:pt x="134598" y="76821"/>
                    </a:lnTo>
                    <a:cubicBezTo>
                      <a:pt x="118405" y="76821"/>
                      <a:pt x="106023" y="64439"/>
                      <a:pt x="106023" y="48246"/>
                    </a:cubicBezTo>
                    <a:lnTo>
                      <a:pt x="106023" y="29196"/>
                    </a:lnTo>
                    <a:cubicBezTo>
                      <a:pt x="106023" y="13004"/>
                      <a:pt x="118405" y="621"/>
                      <a:pt x="134598" y="621"/>
                    </a:cubicBezTo>
                    <a:lnTo>
                      <a:pt x="248898" y="621"/>
                    </a:lnTo>
                    <a:close/>
                  </a:path>
                </a:pathLst>
              </a:custGeom>
              <a:solidFill>
                <a:srgbClr val="FFFFFF"/>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grpSp>
      </p:grpSp>
      <p:grpSp>
        <p:nvGrpSpPr>
          <p:cNvPr id="33" name="组合 32"/>
          <p:cNvGrpSpPr/>
          <p:nvPr/>
        </p:nvGrpSpPr>
        <p:grpSpPr>
          <a:xfrm>
            <a:off x="1040087" y="1535387"/>
            <a:ext cx="4187276" cy="4187276"/>
            <a:chOff x="336550" y="806450"/>
            <a:chExt cx="5759450" cy="5759450"/>
          </a:xfrm>
        </p:grpSpPr>
        <p:sp>
          <p:nvSpPr>
            <p:cNvPr id="34" name="矩形: 圆角 33"/>
            <p:cNvSpPr/>
            <p:nvPr/>
          </p:nvSpPr>
          <p:spPr>
            <a:xfrm>
              <a:off x="1289050" y="1758950"/>
              <a:ext cx="3854450" cy="3854450"/>
            </a:xfrm>
            <a:prstGeom prst="roundRect">
              <a:avLst>
                <a:gd name="adj" fmla="val 50000"/>
              </a:avLst>
            </a:prstGeom>
            <a:pattFill prst="pct5">
              <a:fgClr>
                <a:srgbClr val="E4E6EA"/>
              </a:fgClr>
              <a:bgClr>
                <a:srgbClr val="ADB5BF"/>
              </a:bgClr>
            </a:pattFill>
            <a:ln w="38100">
              <a:noFill/>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noAutofit/>
            </a:bodyPr>
            <a:lstStyle/>
            <a:p>
              <a:pPr algn="ctr"/>
              <a:endParaRPr lang="zh-CN" altLang="en-US"/>
            </a:p>
          </p:txBody>
        </p:sp>
        <p:sp>
          <p:nvSpPr>
            <p:cNvPr id="35" name="任意多边形: 形状 34"/>
            <p:cNvSpPr/>
            <p:nvPr/>
          </p:nvSpPr>
          <p:spPr>
            <a:xfrm>
              <a:off x="336550" y="806450"/>
              <a:ext cx="5759450" cy="5759450"/>
            </a:xfrm>
            <a:custGeom>
              <a:avLst/>
              <a:gdLst>
                <a:gd name="connsiteX0" fmla="*/ 2479675 w 4959350"/>
                <a:gd name="connsiteY0" fmla="*/ 552450 h 4959350"/>
                <a:gd name="connsiteX1" fmla="*/ 552450 w 4959350"/>
                <a:gd name="connsiteY1" fmla="*/ 2479675 h 4959350"/>
                <a:gd name="connsiteX2" fmla="*/ 2479675 w 4959350"/>
                <a:gd name="connsiteY2" fmla="*/ 4406900 h 4959350"/>
                <a:gd name="connsiteX3" fmla="*/ 4406900 w 4959350"/>
                <a:gd name="connsiteY3" fmla="*/ 2479675 h 4959350"/>
                <a:gd name="connsiteX4" fmla="*/ 2479675 w 4959350"/>
                <a:gd name="connsiteY4" fmla="*/ 552450 h 4959350"/>
                <a:gd name="connsiteX5" fmla="*/ 2479675 w 4959350"/>
                <a:gd name="connsiteY5" fmla="*/ 0 h 4959350"/>
                <a:gd name="connsiteX6" fmla="*/ 4959350 w 4959350"/>
                <a:gd name="connsiteY6" fmla="*/ 2479675 h 4959350"/>
                <a:gd name="connsiteX7" fmla="*/ 2479675 w 4959350"/>
                <a:gd name="connsiteY7" fmla="*/ 4959350 h 4959350"/>
                <a:gd name="connsiteX8" fmla="*/ 0 w 4959350"/>
                <a:gd name="connsiteY8" fmla="*/ 2479675 h 4959350"/>
                <a:gd name="connsiteX9" fmla="*/ 2479675 w 4959350"/>
                <a:gd name="connsiteY9" fmla="*/ 0 h 4959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959350" h="4959350">
                  <a:moveTo>
                    <a:pt x="2479675" y="552450"/>
                  </a:moveTo>
                  <a:cubicBezTo>
                    <a:pt x="1415298" y="552450"/>
                    <a:pt x="552450" y="1415298"/>
                    <a:pt x="552450" y="2479675"/>
                  </a:cubicBezTo>
                  <a:cubicBezTo>
                    <a:pt x="552450" y="3544052"/>
                    <a:pt x="1415298" y="4406900"/>
                    <a:pt x="2479675" y="4406900"/>
                  </a:cubicBezTo>
                  <a:cubicBezTo>
                    <a:pt x="3544052" y="4406900"/>
                    <a:pt x="4406900" y="3544052"/>
                    <a:pt x="4406900" y="2479675"/>
                  </a:cubicBezTo>
                  <a:cubicBezTo>
                    <a:pt x="4406900" y="1415298"/>
                    <a:pt x="3544052" y="552450"/>
                    <a:pt x="2479675" y="552450"/>
                  </a:cubicBezTo>
                  <a:close/>
                  <a:moveTo>
                    <a:pt x="2479675" y="0"/>
                  </a:moveTo>
                  <a:cubicBezTo>
                    <a:pt x="3849162" y="0"/>
                    <a:pt x="4959350" y="1110188"/>
                    <a:pt x="4959350" y="2479675"/>
                  </a:cubicBezTo>
                  <a:cubicBezTo>
                    <a:pt x="4959350" y="3849162"/>
                    <a:pt x="3849162" y="4959350"/>
                    <a:pt x="2479675" y="4959350"/>
                  </a:cubicBezTo>
                  <a:cubicBezTo>
                    <a:pt x="1110188" y="4959350"/>
                    <a:pt x="0" y="3849162"/>
                    <a:pt x="0" y="2479675"/>
                  </a:cubicBezTo>
                  <a:cubicBezTo>
                    <a:pt x="0" y="1110188"/>
                    <a:pt x="1110188" y="0"/>
                    <a:pt x="2479675" y="0"/>
                  </a:cubicBezTo>
                  <a:close/>
                </a:path>
              </a:pathLst>
            </a:custGeom>
            <a:solidFill>
              <a:schemeClr val="accent1"/>
            </a:solidFill>
            <a:ln w="38100">
              <a:noFill/>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noAutofit/>
            </a:bodyPr>
            <a:lstStyle/>
            <a:p>
              <a:pPr algn="ctr"/>
              <a:endParaRPr lang="zh-CN" altLang="en-US"/>
            </a:p>
          </p:txBody>
        </p:sp>
      </p:grpSp>
      <p:grpSp>
        <p:nvGrpSpPr>
          <p:cNvPr id="36" name="组合 35"/>
          <p:cNvGrpSpPr/>
          <p:nvPr/>
        </p:nvGrpSpPr>
        <p:grpSpPr>
          <a:xfrm>
            <a:off x="6371771" y="5168907"/>
            <a:ext cx="5147129" cy="807402"/>
            <a:chOff x="6371771" y="4943567"/>
            <a:chExt cx="5147129" cy="807402"/>
          </a:xfrm>
        </p:grpSpPr>
        <p:sp>
          <p:nvSpPr>
            <p:cNvPr id="37" name="矩形: 圆角 36"/>
            <p:cNvSpPr/>
            <p:nvPr/>
          </p:nvSpPr>
          <p:spPr>
            <a:xfrm>
              <a:off x="6371771" y="4943567"/>
              <a:ext cx="5147129" cy="807402"/>
            </a:xfrm>
            <a:prstGeom prst="roundRect">
              <a:avLst>
                <a:gd name="adj" fmla="val 50000"/>
              </a:avLst>
            </a:prstGeom>
            <a:solidFill>
              <a:schemeClr val="tx2">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38" name="组合 37"/>
            <p:cNvGrpSpPr/>
            <p:nvPr/>
          </p:nvGrpSpPr>
          <p:grpSpPr>
            <a:xfrm>
              <a:off x="7582341" y="5055322"/>
              <a:ext cx="3485777" cy="633199"/>
              <a:chOff x="6512509" y="1498521"/>
              <a:chExt cx="3485777" cy="633199"/>
            </a:xfrm>
          </p:grpSpPr>
          <p:sp>
            <p:nvSpPr>
              <p:cNvPr id="42" name="矩形 41"/>
              <p:cNvSpPr/>
              <p:nvPr/>
            </p:nvSpPr>
            <p:spPr>
              <a:xfrm flipH="1">
                <a:off x="6512509" y="1498521"/>
                <a:ext cx="3485777"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spAutoFit/>
              </a:bodyPr>
              <a:lstStyle/>
              <a:p>
                <a:r>
                  <a:rPr kumimoji="1" lang="en-US" altLang="zh-CN" sz="1600" b="1" dirty="0">
                    <a:solidFill>
                      <a:schemeClr val="tx1"/>
                    </a:solidFill>
                    <a:latin typeface="Arial" panose="020B0604020202090204" pitchFamily="34" charset="0"/>
                    <a:ea typeface="华文楷体" panose="02010600040101010101" pitchFamily="2" charset="-122"/>
                  </a:rPr>
                  <a:t>Supporting text here.</a:t>
                </a:r>
                <a:endParaRPr kumimoji="1" lang="en-US" altLang="zh-CN" sz="1600" b="1" dirty="0">
                  <a:solidFill>
                    <a:schemeClr val="tx1"/>
                  </a:solidFill>
                  <a:latin typeface="Arial" panose="020B0604020202090204" pitchFamily="34" charset="0"/>
                  <a:ea typeface="华文楷体" panose="02010600040101010101" pitchFamily="2" charset="-122"/>
                </a:endParaRPr>
              </a:p>
            </p:txBody>
          </p:sp>
          <p:sp>
            <p:nvSpPr>
              <p:cNvPr id="43" name="矩形 42"/>
              <p:cNvSpPr/>
              <p:nvPr/>
            </p:nvSpPr>
            <p:spPr>
              <a:xfrm flipH="1">
                <a:off x="6512509" y="1842217"/>
                <a:ext cx="3485777" cy="2895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p>
                <a:pPr>
                  <a:lnSpc>
                    <a:spcPct val="130000"/>
                  </a:lnSpc>
                </a:pPr>
                <a:r>
                  <a:rPr kumimoji="1" lang="en-US" altLang="zh-CN" sz="1100" dirty="0">
                    <a:solidFill>
                      <a:schemeClr val="tx1"/>
                    </a:solidFill>
                    <a:latin typeface="Arial" panose="020B0604020202090204" pitchFamily="34" charset="0"/>
                    <a:ea typeface="华文楷体" panose="02010600040101010101" pitchFamily="2" charset="-122"/>
                  </a:rPr>
                  <a:t>Theme color makes PPT more convenient to change. </a:t>
                </a:r>
                <a:endParaRPr kumimoji="1" lang="en-US" altLang="zh-CN" sz="1100" dirty="0">
                  <a:solidFill>
                    <a:schemeClr val="tx1"/>
                  </a:solidFill>
                  <a:latin typeface="Arial" panose="020B0604020202090204" pitchFamily="34" charset="0"/>
                  <a:ea typeface="华文楷体" panose="02010600040101010101" pitchFamily="2" charset="-122"/>
                </a:endParaRPr>
              </a:p>
            </p:txBody>
          </p:sp>
        </p:grpSp>
        <p:grpSp>
          <p:nvGrpSpPr>
            <p:cNvPr id="39" name="组合 38"/>
            <p:cNvGrpSpPr/>
            <p:nvPr/>
          </p:nvGrpSpPr>
          <p:grpSpPr>
            <a:xfrm>
              <a:off x="6641771" y="5101921"/>
              <a:ext cx="540000" cy="540000"/>
              <a:chOff x="5668230" y="4107980"/>
              <a:chExt cx="540000" cy="540000"/>
            </a:xfrm>
          </p:grpSpPr>
          <p:sp>
            <p:nvSpPr>
              <p:cNvPr id="40" name="文本框 39"/>
              <p:cNvSpPr txBox="1"/>
              <p:nvPr/>
            </p:nvSpPr>
            <p:spPr>
              <a:xfrm>
                <a:off x="5668230" y="4107980"/>
                <a:ext cx="540000" cy="540000"/>
              </a:xfrm>
              <a:prstGeom prst="roundRect">
                <a:avLst>
                  <a:gd name="adj" fmla="val 50000"/>
                </a:avLst>
              </a:prstGeom>
              <a:solidFill>
                <a:schemeClr val="accent1"/>
              </a:solidFill>
            </p:spPr>
            <p:txBody>
              <a:bodyPr wrap="none" lIns="108000" tIns="108000" rIns="108000" bIns="108000" rtlCol="0" anchor="ctr" anchorCtr="0">
                <a:noAutofit/>
              </a:bodyPr>
              <a:lstStyle>
                <a:defPPr>
                  <a:defRPr lang="zh-CN"/>
                </a:defPPr>
                <a:lvl1pPr algn="ctr">
                  <a:defRPr kumimoji="1" sz="2000" b="1">
                    <a:noFill/>
                  </a:defRPr>
                </a:lvl1pPr>
              </a:lstStyle>
              <a:p>
                <a:endParaRPr lang="zh-CN" altLang="en-US" dirty="0"/>
              </a:p>
            </p:txBody>
          </p:sp>
          <p:sp>
            <p:nvSpPr>
              <p:cNvPr id="41" name="任意多边形: 形状 40"/>
              <p:cNvSpPr/>
              <p:nvPr/>
            </p:nvSpPr>
            <p:spPr>
              <a:xfrm>
                <a:off x="5839871" y="4245195"/>
                <a:ext cx="196718" cy="265570"/>
              </a:xfrm>
              <a:custGeom>
                <a:avLst/>
                <a:gdLst>
                  <a:gd name="connsiteX0" fmla="*/ 86973 w 381000"/>
                  <a:gd name="connsiteY0" fmla="*/ 38721 h 514350"/>
                  <a:gd name="connsiteX1" fmla="*/ 86973 w 381000"/>
                  <a:gd name="connsiteY1" fmla="*/ 57771 h 514350"/>
                  <a:gd name="connsiteX2" fmla="*/ 123168 w 381000"/>
                  <a:gd name="connsiteY2" fmla="*/ 95871 h 514350"/>
                  <a:gd name="connsiteX3" fmla="*/ 125073 w 381000"/>
                  <a:gd name="connsiteY3" fmla="*/ 95871 h 514350"/>
                  <a:gd name="connsiteX4" fmla="*/ 258423 w 381000"/>
                  <a:gd name="connsiteY4" fmla="*/ 95871 h 514350"/>
                  <a:gd name="connsiteX5" fmla="*/ 296523 w 381000"/>
                  <a:gd name="connsiteY5" fmla="*/ 59676 h 514350"/>
                  <a:gd name="connsiteX6" fmla="*/ 296523 w 381000"/>
                  <a:gd name="connsiteY6" fmla="*/ 57771 h 514350"/>
                  <a:gd name="connsiteX7" fmla="*/ 296523 w 381000"/>
                  <a:gd name="connsiteY7" fmla="*/ 38721 h 514350"/>
                  <a:gd name="connsiteX8" fmla="*/ 353673 w 381000"/>
                  <a:gd name="connsiteY8" fmla="*/ 38721 h 514350"/>
                  <a:gd name="connsiteX9" fmla="*/ 382248 w 381000"/>
                  <a:gd name="connsiteY9" fmla="*/ 67296 h 514350"/>
                  <a:gd name="connsiteX10" fmla="*/ 382248 w 381000"/>
                  <a:gd name="connsiteY10" fmla="*/ 486396 h 514350"/>
                  <a:gd name="connsiteX11" fmla="*/ 353673 w 381000"/>
                  <a:gd name="connsiteY11" fmla="*/ 514971 h 514350"/>
                  <a:gd name="connsiteX12" fmla="*/ 29823 w 381000"/>
                  <a:gd name="connsiteY12" fmla="*/ 514971 h 514350"/>
                  <a:gd name="connsiteX13" fmla="*/ 1248 w 381000"/>
                  <a:gd name="connsiteY13" fmla="*/ 486396 h 514350"/>
                  <a:gd name="connsiteX14" fmla="*/ 1248 w 381000"/>
                  <a:gd name="connsiteY14" fmla="*/ 67296 h 514350"/>
                  <a:gd name="connsiteX15" fmla="*/ 29823 w 381000"/>
                  <a:gd name="connsiteY15" fmla="*/ 38721 h 514350"/>
                  <a:gd name="connsiteX16" fmla="*/ 86973 w 381000"/>
                  <a:gd name="connsiteY16" fmla="*/ 38721 h 514350"/>
                  <a:gd name="connsiteX17" fmla="*/ 191748 w 381000"/>
                  <a:gd name="connsiteY17" fmla="*/ 333996 h 514350"/>
                  <a:gd name="connsiteX18" fmla="*/ 77448 w 381000"/>
                  <a:gd name="connsiteY18" fmla="*/ 333996 h 514350"/>
                  <a:gd name="connsiteX19" fmla="*/ 77448 w 381000"/>
                  <a:gd name="connsiteY19" fmla="*/ 353046 h 514350"/>
                  <a:gd name="connsiteX20" fmla="*/ 191748 w 381000"/>
                  <a:gd name="connsiteY20" fmla="*/ 353046 h 514350"/>
                  <a:gd name="connsiteX21" fmla="*/ 191748 w 381000"/>
                  <a:gd name="connsiteY21" fmla="*/ 333996 h 514350"/>
                  <a:gd name="connsiteX22" fmla="*/ 306048 w 381000"/>
                  <a:gd name="connsiteY22" fmla="*/ 257796 h 514350"/>
                  <a:gd name="connsiteX23" fmla="*/ 77448 w 381000"/>
                  <a:gd name="connsiteY23" fmla="*/ 257796 h 514350"/>
                  <a:gd name="connsiteX24" fmla="*/ 77448 w 381000"/>
                  <a:gd name="connsiteY24" fmla="*/ 276846 h 514350"/>
                  <a:gd name="connsiteX25" fmla="*/ 306048 w 381000"/>
                  <a:gd name="connsiteY25" fmla="*/ 276846 h 514350"/>
                  <a:gd name="connsiteX26" fmla="*/ 306048 w 381000"/>
                  <a:gd name="connsiteY26" fmla="*/ 257796 h 514350"/>
                  <a:gd name="connsiteX27" fmla="*/ 306048 w 381000"/>
                  <a:gd name="connsiteY27" fmla="*/ 181596 h 514350"/>
                  <a:gd name="connsiteX28" fmla="*/ 77448 w 381000"/>
                  <a:gd name="connsiteY28" fmla="*/ 181596 h 514350"/>
                  <a:gd name="connsiteX29" fmla="*/ 77448 w 381000"/>
                  <a:gd name="connsiteY29" fmla="*/ 200646 h 514350"/>
                  <a:gd name="connsiteX30" fmla="*/ 306048 w 381000"/>
                  <a:gd name="connsiteY30" fmla="*/ 200646 h 514350"/>
                  <a:gd name="connsiteX31" fmla="*/ 306048 w 381000"/>
                  <a:gd name="connsiteY31" fmla="*/ 181596 h 514350"/>
                  <a:gd name="connsiteX32" fmla="*/ 248898 w 381000"/>
                  <a:gd name="connsiteY32" fmla="*/ 621 h 514350"/>
                  <a:gd name="connsiteX33" fmla="*/ 277473 w 381000"/>
                  <a:gd name="connsiteY33" fmla="*/ 29196 h 514350"/>
                  <a:gd name="connsiteX34" fmla="*/ 277473 w 381000"/>
                  <a:gd name="connsiteY34" fmla="*/ 48246 h 514350"/>
                  <a:gd name="connsiteX35" fmla="*/ 248898 w 381000"/>
                  <a:gd name="connsiteY35" fmla="*/ 76821 h 514350"/>
                  <a:gd name="connsiteX36" fmla="*/ 134598 w 381000"/>
                  <a:gd name="connsiteY36" fmla="*/ 76821 h 514350"/>
                  <a:gd name="connsiteX37" fmla="*/ 106023 w 381000"/>
                  <a:gd name="connsiteY37" fmla="*/ 48246 h 514350"/>
                  <a:gd name="connsiteX38" fmla="*/ 106023 w 381000"/>
                  <a:gd name="connsiteY38" fmla="*/ 29196 h 514350"/>
                  <a:gd name="connsiteX39" fmla="*/ 134598 w 381000"/>
                  <a:gd name="connsiteY39" fmla="*/ 621 h 514350"/>
                  <a:gd name="connsiteX40" fmla="*/ 248898 w 381000"/>
                  <a:gd name="connsiteY40" fmla="*/ 621 h 514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81000" h="514350">
                    <a:moveTo>
                      <a:pt x="86973" y="38721"/>
                    </a:moveTo>
                    <a:lnTo>
                      <a:pt x="86973" y="57771"/>
                    </a:lnTo>
                    <a:cubicBezTo>
                      <a:pt x="86973" y="77774"/>
                      <a:pt x="103166" y="94919"/>
                      <a:pt x="123168" y="95871"/>
                    </a:cubicBezTo>
                    <a:lnTo>
                      <a:pt x="125073" y="95871"/>
                    </a:lnTo>
                    <a:lnTo>
                      <a:pt x="258423" y="95871"/>
                    </a:lnTo>
                    <a:cubicBezTo>
                      <a:pt x="278426" y="95871"/>
                      <a:pt x="295570" y="79679"/>
                      <a:pt x="296523" y="59676"/>
                    </a:cubicBezTo>
                    <a:lnTo>
                      <a:pt x="296523" y="57771"/>
                    </a:lnTo>
                    <a:lnTo>
                      <a:pt x="296523" y="38721"/>
                    </a:lnTo>
                    <a:lnTo>
                      <a:pt x="353673" y="38721"/>
                    </a:lnTo>
                    <a:cubicBezTo>
                      <a:pt x="369866" y="38721"/>
                      <a:pt x="382248" y="51104"/>
                      <a:pt x="382248" y="67296"/>
                    </a:cubicBezTo>
                    <a:lnTo>
                      <a:pt x="382248" y="486396"/>
                    </a:lnTo>
                    <a:cubicBezTo>
                      <a:pt x="382248" y="502589"/>
                      <a:pt x="369866" y="514971"/>
                      <a:pt x="353673" y="514971"/>
                    </a:cubicBezTo>
                    <a:lnTo>
                      <a:pt x="29823" y="514971"/>
                    </a:lnTo>
                    <a:cubicBezTo>
                      <a:pt x="13630" y="514971"/>
                      <a:pt x="1248" y="502589"/>
                      <a:pt x="1248" y="486396"/>
                    </a:cubicBezTo>
                    <a:lnTo>
                      <a:pt x="1248" y="67296"/>
                    </a:lnTo>
                    <a:cubicBezTo>
                      <a:pt x="1248" y="51104"/>
                      <a:pt x="13630" y="38721"/>
                      <a:pt x="29823" y="38721"/>
                    </a:cubicBezTo>
                    <a:lnTo>
                      <a:pt x="86973" y="38721"/>
                    </a:lnTo>
                    <a:close/>
                    <a:moveTo>
                      <a:pt x="191748" y="333996"/>
                    </a:moveTo>
                    <a:lnTo>
                      <a:pt x="77448" y="333996"/>
                    </a:lnTo>
                    <a:lnTo>
                      <a:pt x="77448" y="353046"/>
                    </a:lnTo>
                    <a:lnTo>
                      <a:pt x="191748" y="353046"/>
                    </a:lnTo>
                    <a:lnTo>
                      <a:pt x="191748" y="333996"/>
                    </a:lnTo>
                    <a:close/>
                    <a:moveTo>
                      <a:pt x="306048" y="257796"/>
                    </a:moveTo>
                    <a:lnTo>
                      <a:pt x="77448" y="257796"/>
                    </a:lnTo>
                    <a:lnTo>
                      <a:pt x="77448" y="276846"/>
                    </a:lnTo>
                    <a:lnTo>
                      <a:pt x="306048" y="276846"/>
                    </a:lnTo>
                    <a:lnTo>
                      <a:pt x="306048" y="257796"/>
                    </a:lnTo>
                    <a:close/>
                    <a:moveTo>
                      <a:pt x="306048" y="181596"/>
                    </a:moveTo>
                    <a:lnTo>
                      <a:pt x="77448" y="181596"/>
                    </a:lnTo>
                    <a:lnTo>
                      <a:pt x="77448" y="200646"/>
                    </a:lnTo>
                    <a:lnTo>
                      <a:pt x="306048" y="200646"/>
                    </a:lnTo>
                    <a:lnTo>
                      <a:pt x="306048" y="181596"/>
                    </a:lnTo>
                    <a:close/>
                    <a:moveTo>
                      <a:pt x="248898" y="621"/>
                    </a:moveTo>
                    <a:cubicBezTo>
                      <a:pt x="265091" y="621"/>
                      <a:pt x="277473" y="13004"/>
                      <a:pt x="277473" y="29196"/>
                    </a:cubicBezTo>
                    <a:lnTo>
                      <a:pt x="277473" y="48246"/>
                    </a:lnTo>
                    <a:cubicBezTo>
                      <a:pt x="277473" y="64439"/>
                      <a:pt x="265091" y="76821"/>
                      <a:pt x="248898" y="76821"/>
                    </a:cubicBezTo>
                    <a:lnTo>
                      <a:pt x="134598" y="76821"/>
                    </a:lnTo>
                    <a:cubicBezTo>
                      <a:pt x="118405" y="76821"/>
                      <a:pt x="106023" y="64439"/>
                      <a:pt x="106023" y="48246"/>
                    </a:cubicBezTo>
                    <a:lnTo>
                      <a:pt x="106023" y="29196"/>
                    </a:lnTo>
                    <a:cubicBezTo>
                      <a:pt x="106023" y="13004"/>
                      <a:pt x="118405" y="621"/>
                      <a:pt x="134598" y="621"/>
                    </a:cubicBezTo>
                    <a:lnTo>
                      <a:pt x="248898" y="621"/>
                    </a:lnTo>
                    <a:close/>
                  </a:path>
                </a:pathLst>
              </a:custGeom>
              <a:solidFill>
                <a:srgbClr val="FFFFFF"/>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grpSp>
      </p:grpSp>
      <p:cxnSp>
        <p:nvCxnSpPr>
          <p:cNvPr id="44" name="直接箭头连接符 43"/>
          <p:cNvCxnSpPr/>
          <p:nvPr/>
        </p:nvCxnSpPr>
        <p:spPr>
          <a:xfrm flipH="1">
            <a:off x="5678145" y="4337680"/>
            <a:ext cx="693626" cy="0"/>
          </a:xfrm>
          <a:prstGeom prst="straightConnector1">
            <a:avLst/>
          </a:prstGeom>
          <a:ln w="12700">
            <a:solidFill>
              <a:schemeClr val="accent1"/>
            </a:solidFill>
            <a:headEnd type="oval"/>
            <a:tailEnd type="none"/>
          </a:ln>
        </p:spPr>
        <p:style>
          <a:lnRef idx="1">
            <a:schemeClr val="accent1"/>
          </a:lnRef>
          <a:fillRef idx="0">
            <a:schemeClr val="accent1"/>
          </a:fillRef>
          <a:effectRef idx="0">
            <a:schemeClr val="accent1"/>
          </a:effectRef>
          <a:fontRef idx="minor">
            <a:schemeClr val="tx1"/>
          </a:fontRef>
        </p:style>
      </p:cxnSp>
    </p:spTree>
    <p:custDataLst>
      <p:tags r:id="rId1"/>
    </p:custData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660400" y="2013489"/>
            <a:ext cx="10858500" cy="3716272"/>
            <a:chOff x="660400" y="2013489"/>
            <a:chExt cx="10858500" cy="3716272"/>
          </a:xfrm>
        </p:grpSpPr>
        <p:sp>
          <p:nvSpPr>
            <p:cNvPr id="5" name="左大括号 4"/>
            <p:cNvSpPr/>
            <p:nvPr/>
          </p:nvSpPr>
          <p:spPr>
            <a:xfrm flipH="1">
              <a:off x="3573503" y="2269323"/>
              <a:ext cx="868922" cy="2725754"/>
            </a:xfrm>
            <a:prstGeom prst="leftBrace">
              <a:avLst>
                <a:gd name="adj1" fmla="val 216688"/>
                <a:gd name="adj2" fmla="val 50000"/>
              </a:avLst>
            </a:prstGeom>
            <a:ln>
              <a:solidFill>
                <a:schemeClr val="tx1">
                  <a:alpha val="35000"/>
                </a:schemeClr>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6" name="左大括号 5"/>
            <p:cNvSpPr/>
            <p:nvPr/>
          </p:nvSpPr>
          <p:spPr>
            <a:xfrm>
              <a:off x="7736875" y="2269323"/>
              <a:ext cx="868922" cy="2725754"/>
            </a:xfrm>
            <a:prstGeom prst="leftBrace">
              <a:avLst>
                <a:gd name="adj1" fmla="val 216688"/>
                <a:gd name="adj2" fmla="val 50000"/>
              </a:avLst>
            </a:prstGeom>
            <a:ln>
              <a:solidFill>
                <a:schemeClr val="tx1">
                  <a:alpha val="35000"/>
                </a:schemeClr>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7" name="文本框 6"/>
            <p:cNvSpPr txBox="1"/>
            <p:nvPr/>
          </p:nvSpPr>
          <p:spPr>
            <a:xfrm>
              <a:off x="660400" y="2013489"/>
              <a:ext cx="2930564" cy="862806"/>
            </a:xfrm>
            <a:prstGeom prst="snip2DiagRect">
              <a:avLst/>
            </a:prstGeom>
            <a:gradFill>
              <a:gsLst>
                <a:gs pos="0">
                  <a:schemeClr val="accent1">
                    <a:lumMod val="60000"/>
                    <a:lumOff val="40000"/>
                  </a:schemeClr>
                </a:gs>
                <a:gs pos="50000">
                  <a:schemeClr val="accent1"/>
                </a:gs>
              </a:gsLst>
              <a:lin ang="2700000" scaled="0"/>
            </a:gradFill>
          </p:spPr>
          <p:txBody>
            <a:bodyPr wrap="none" lIns="108000" tIns="108000" rIns="108000" bIns="108000" rtlCol="0" anchor="ctr" anchorCtr="0">
              <a:noAutofit/>
            </a:bodyPr>
            <a:lstStyle>
              <a:defPPr>
                <a:defRPr lang="zh-CN"/>
              </a:defPPr>
              <a:lvl1pPr algn="ctr">
                <a:defRPr kumimoji="1" b="1">
                  <a:solidFill>
                    <a:srgbClr val="FFFFFF"/>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altLang="zh-CN" dirty="0">
                  <a:latin typeface="Arial" panose="020B0604020202090204" pitchFamily="34" charset="0"/>
                  <a:ea typeface="华文楷体" panose="02010600040101010101" pitchFamily="2" charset="-122"/>
                </a:rPr>
                <a:t>Supporting text here.</a:t>
              </a:r>
              <a:endParaRPr lang="en-US" altLang="zh-CN" dirty="0">
                <a:latin typeface="Arial" panose="020B0604020202090204" pitchFamily="34" charset="0"/>
                <a:ea typeface="华文楷体" panose="02010600040101010101" pitchFamily="2" charset="-122"/>
              </a:endParaRPr>
            </a:p>
          </p:txBody>
        </p:sp>
        <p:sp>
          <p:nvSpPr>
            <p:cNvPr id="8" name="文本框 7"/>
            <p:cNvSpPr txBox="1"/>
            <p:nvPr/>
          </p:nvSpPr>
          <p:spPr>
            <a:xfrm>
              <a:off x="660400" y="4866955"/>
              <a:ext cx="2930564" cy="862806"/>
            </a:xfrm>
            <a:prstGeom prst="snip2DiagRect">
              <a:avLst/>
            </a:prstGeom>
            <a:gradFill>
              <a:gsLst>
                <a:gs pos="0">
                  <a:schemeClr val="accent3">
                    <a:lumMod val="60000"/>
                    <a:lumOff val="40000"/>
                  </a:schemeClr>
                </a:gs>
                <a:gs pos="50000">
                  <a:schemeClr val="accent3"/>
                </a:gs>
              </a:gsLst>
              <a:lin ang="2700000" scaled="0"/>
            </a:gradFill>
          </p:spPr>
          <p:txBody>
            <a:bodyPr wrap="none" lIns="108000" tIns="108000" rIns="108000" bIns="108000" rtlCol="0" anchor="ctr" anchorCtr="0">
              <a:noAutofit/>
            </a:bodyPr>
            <a:lstStyle>
              <a:defPPr>
                <a:defRPr lang="zh-CN"/>
              </a:defPPr>
              <a:lvl1pPr algn="ctr">
                <a:defRPr kumimoji="1" b="1">
                  <a:solidFill>
                    <a:srgbClr val="FFFFFF"/>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altLang="zh-CN" dirty="0">
                  <a:latin typeface="Arial" panose="020B0604020202090204" pitchFamily="34" charset="0"/>
                  <a:ea typeface="华文楷体" panose="02010600040101010101" pitchFamily="2" charset="-122"/>
                </a:rPr>
                <a:t>Supporting text here.</a:t>
              </a:r>
              <a:endParaRPr lang="en-US" altLang="zh-CN" dirty="0">
                <a:latin typeface="Arial" panose="020B0604020202090204" pitchFamily="34" charset="0"/>
                <a:ea typeface="华文楷体" panose="02010600040101010101" pitchFamily="2" charset="-122"/>
              </a:endParaRPr>
            </a:p>
          </p:txBody>
        </p:sp>
        <p:sp>
          <p:nvSpPr>
            <p:cNvPr id="9" name="文本框 8"/>
            <p:cNvSpPr txBox="1"/>
            <p:nvPr/>
          </p:nvSpPr>
          <p:spPr>
            <a:xfrm>
              <a:off x="8588336" y="4866955"/>
              <a:ext cx="2930564" cy="862806"/>
            </a:xfrm>
            <a:prstGeom prst="snip2DiagRect">
              <a:avLst/>
            </a:prstGeom>
            <a:gradFill>
              <a:gsLst>
                <a:gs pos="0">
                  <a:schemeClr val="accent6">
                    <a:lumMod val="60000"/>
                    <a:lumOff val="40000"/>
                  </a:schemeClr>
                </a:gs>
                <a:gs pos="50000">
                  <a:schemeClr val="accent6"/>
                </a:gs>
              </a:gsLst>
              <a:lin ang="2700000" scaled="0"/>
            </a:gradFill>
          </p:spPr>
          <p:txBody>
            <a:bodyPr wrap="none" lIns="108000" tIns="108000" rIns="108000" bIns="108000" rtlCol="0" anchor="ctr" anchorCtr="0">
              <a:noAutofit/>
            </a:bodyPr>
            <a:lstStyle>
              <a:defPPr>
                <a:defRPr lang="zh-CN"/>
              </a:defPPr>
              <a:lvl1pPr algn="ctr">
                <a:defRPr kumimoji="1" b="1">
                  <a:solidFill>
                    <a:srgbClr val="FFFFFF"/>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altLang="zh-CN" dirty="0">
                  <a:latin typeface="Arial" panose="020B0604020202090204" pitchFamily="34" charset="0"/>
                  <a:ea typeface="华文楷体" panose="02010600040101010101" pitchFamily="2" charset="-122"/>
                </a:rPr>
                <a:t>Supporting text here.</a:t>
              </a:r>
              <a:endParaRPr lang="en-US" altLang="zh-CN" dirty="0">
                <a:latin typeface="Arial" panose="020B0604020202090204" pitchFamily="34" charset="0"/>
                <a:ea typeface="华文楷体" panose="02010600040101010101" pitchFamily="2" charset="-122"/>
              </a:endParaRPr>
            </a:p>
          </p:txBody>
        </p:sp>
        <p:sp>
          <p:nvSpPr>
            <p:cNvPr id="10" name="文本框 9"/>
            <p:cNvSpPr txBox="1"/>
            <p:nvPr/>
          </p:nvSpPr>
          <p:spPr>
            <a:xfrm>
              <a:off x="8588336" y="2013489"/>
              <a:ext cx="2930564" cy="862806"/>
            </a:xfrm>
            <a:prstGeom prst="snip2DiagRect">
              <a:avLst/>
            </a:prstGeom>
            <a:gradFill>
              <a:gsLst>
                <a:gs pos="0">
                  <a:schemeClr val="accent4">
                    <a:lumMod val="60000"/>
                    <a:lumOff val="40000"/>
                  </a:schemeClr>
                </a:gs>
                <a:gs pos="50000">
                  <a:schemeClr val="accent4"/>
                </a:gs>
              </a:gsLst>
              <a:lin ang="2700000" scaled="0"/>
            </a:gradFill>
          </p:spPr>
          <p:txBody>
            <a:bodyPr wrap="none" lIns="108000" tIns="108000" rIns="108000" bIns="108000" rtlCol="0" anchor="ctr" anchorCtr="0">
              <a:noAutofit/>
            </a:bodyPr>
            <a:lstStyle>
              <a:defPPr>
                <a:defRPr lang="zh-CN"/>
              </a:defPPr>
              <a:lvl1pPr algn="ctr">
                <a:defRPr kumimoji="1" b="1">
                  <a:solidFill>
                    <a:srgbClr val="FFFFFF"/>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altLang="zh-CN" dirty="0">
                  <a:latin typeface="Arial" panose="020B0604020202090204" pitchFamily="34" charset="0"/>
                  <a:ea typeface="华文楷体" panose="02010600040101010101" pitchFamily="2" charset="-122"/>
                </a:rPr>
                <a:t>Supporting text here.</a:t>
              </a:r>
              <a:endParaRPr lang="en-US" altLang="zh-CN" dirty="0">
                <a:latin typeface="Arial" panose="020B0604020202090204" pitchFamily="34" charset="0"/>
                <a:ea typeface="华文楷体" panose="02010600040101010101" pitchFamily="2" charset="-122"/>
              </a:endParaRPr>
            </a:p>
          </p:txBody>
        </p:sp>
        <p:sp>
          <p:nvSpPr>
            <p:cNvPr id="12" name="文本框 11"/>
            <p:cNvSpPr txBox="1"/>
            <p:nvPr/>
          </p:nvSpPr>
          <p:spPr>
            <a:xfrm>
              <a:off x="660400" y="3440222"/>
              <a:ext cx="2930564" cy="862806"/>
            </a:xfrm>
            <a:prstGeom prst="snip2DiagRect">
              <a:avLst/>
            </a:prstGeom>
            <a:gradFill>
              <a:gsLst>
                <a:gs pos="0">
                  <a:schemeClr val="accent2">
                    <a:lumMod val="60000"/>
                    <a:lumOff val="40000"/>
                  </a:schemeClr>
                </a:gs>
                <a:gs pos="50000">
                  <a:schemeClr val="accent2"/>
                </a:gs>
              </a:gsLst>
              <a:lin ang="2700000" scaled="0"/>
            </a:gradFill>
          </p:spPr>
          <p:txBody>
            <a:bodyPr wrap="none" lIns="108000" tIns="108000" rIns="108000" bIns="108000" rtlCol="0" anchor="ctr" anchorCtr="0">
              <a:noAutofit/>
            </a:bodyPr>
            <a:lstStyle>
              <a:defPPr>
                <a:defRPr lang="zh-CN"/>
              </a:defPPr>
              <a:lvl1pPr algn="ctr">
                <a:defRPr kumimoji="1" b="1">
                  <a:solidFill>
                    <a:srgbClr val="FFFFFF"/>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altLang="zh-CN" dirty="0">
                  <a:latin typeface="Arial" panose="020B0604020202090204" pitchFamily="34" charset="0"/>
                  <a:ea typeface="华文楷体" panose="02010600040101010101" pitchFamily="2" charset="-122"/>
                </a:rPr>
                <a:t>Supporting text here.</a:t>
              </a:r>
              <a:endParaRPr lang="en-US" altLang="zh-CN" dirty="0">
                <a:latin typeface="Arial" panose="020B0604020202090204" pitchFamily="34" charset="0"/>
                <a:ea typeface="华文楷体" panose="02010600040101010101" pitchFamily="2" charset="-122"/>
              </a:endParaRPr>
            </a:p>
          </p:txBody>
        </p:sp>
        <p:sp>
          <p:nvSpPr>
            <p:cNvPr id="13" name="文本框 12"/>
            <p:cNvSpPr txBox="1"/>
            <p:nvPr/>
          </p:nvSpPr>
          <p:spPr>
            <a:xfrm>
              <a:off x="8567901" y="3440222"/>
              <a:ext cx="2930564" cy="862806"/>
            </a:xfrm>
            <a:prstGeom prst="snip2DiagRect">
              <a:avLst/>
            </a:prstGeom>
            <a:gradFill>
              <a:gsLst>
                <a:gs pos="0">
                  <a:schemeClr val="accent5">
                    <a:lumMod val="60000"/>
                    <a:lumOff val="40000"/>
                  </a:schemeClr>
                </a:gs>
                <a:gs pos="50000">
                  <a:schemeClr val="accent5"/>
                </a:gs>
              </a:gsLst>
              <a:lin ang="2700000" scaled="0"/>
            </a:gradFill>
          </p:spPr>
          <p:txBody>
            <a:bodyPr wrap="none" lIns="108000" tIns="108000" rIns="108000" bIns="108000" rtlCol="0" anchor="ctr" anchorCtr="0">
              <a:noAutofit/>
            </a:bodyPr>
            <a:lstStyle>
              <a:defPPr>
                <a:defRPr lang="zh-CN"/>
              </a:defPPr>
              <a:lvl1pPr algn="ctr">
                <a:defRPr kumimoji="1" b="1">
                  <a:solidFill>
                    <a:srgbClr val="FFFFFF"/>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altLang="zh-CN" dirty="0">
                  <a:latin typeface="Arial" panose="020B0604020202090204" pitchFamily="34" charset="0"/>
                  <a:ea typeface="华文楷体" panose="02010600040101010101" pitchFamily="2" charset="-122"/>
                </a:rPr>
                <a:t>Supporting text here.</a:t>
              </a:r>
              <a:endParaRPr lang="en-US" altLang="zh-CN" dirty="0">
                <a:latin typeface="Arial" panose="020B0604020202090204" pitchFamily="34" charset="0"/>
                <a:ea typeface="华文楷体" panose="02010600040101010101" pitchFamily="2" charset="-122"/>
              </a:endParaRPr>
            </a:p>
          </p:txBody>
        </p:sp>
        <p:grpSp>
          <p:nvGrpSpPr>
            <p:cNvPr id="67" name="组合 66"/>
            <p:cNvGrpSpPr/>
            <p:nvPr/>
          </p:nvGrpSpPr>
          <p:grpSpPr>
            <a:xfrm>
              <a:off x="4148726" y="2444892"/>
              <a:ext cx="3894548" cy="2285702"/>
              <a:chOff x="4672649" y="2492038"/>
              <a:chExt cx="2846703" cy="1670724"/>
            </a:xfrm>
          </p:grpSpPr>
          <p:sp>
            <p:nvSpPr>
              <p:cNvPr id="68" name="矩形 67"/>
              <p:cNvSpPr/>
              <p:nvPr/>
            </p:nvSpPr>
            <p:spPr bwMode="auto">
              <a:xfrm>
                <a:off x="4673600" y="2492038"/>
                <a:ext cx="2844800" cy="16707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69" name="任意多边形: 形状 68"/>
              <p:cNvSpPr/>
              <p:nvPr/>
            </p:nvSpPr>
            <p:spPr bwMode="auto">
              <a:xfrm>
                <a:off x="5066544" y="2704209"/>
                <a:ext cx="2021806" cy="1458553"/>
              </a:xfrm>
              <a:custGeom>
                <a:avLst/>
                <a:gdLst>
                  <a:gd name="T0" fmla="*/ 77 w 1791"/>
                  <a:gd name="T1" fmla="*/ 178 h 1291"/>
                  <a:gd name="T2" fmla="*/ 546 w 1791"/>
                  <a:gd name="T3" fmla="*/ 178 h 1291"/>
                  <a:gd name="T4" fmla="*/ 584 w 1791"/>
                  <a:gd name="T5" fmla="*/ 201 h 1291"/>
                  <a:gd name="T6" fmla="*/ 582 w 1791"/>
                  <a:gd name="T7" fmla="*/ 266 h 1291"/>
                  <a:gd name="T8" fmla="*/ 544 w 1791"/>
                  <a:gd name="T9" fmla="*/ 288 h 1291"/>
                  <a:gd name="T10" fmla="*/ 241 w 1791"/>
                  <a:gd name="T11" fmla="*/ 288 h 1291"/>
                  <a:gd name="T12" fmla="*/ 168 w 1791"/>
                  <a:gd name="T13" fmla="*/ 372 h 1291"/>
                  <a:gd name="T14" fmla="*/ 168 w 1791"/>
                  <a:gd name="T15" fmla="*/ 382 h 1291"/>
                  <a:gd name="T16" fmla="*/ 241 w 1791"/>
                  <a:gd name="T17" fmla="*/ 466 h 1291"/>
                  <a:gd name="T18" fmla="*/ 452 w 1791"/>
                  <a:gd name="T19" fmla="*/ 466 h 1291"/>
                  <a:gd name="T20" fmla="*/ 486 w 1791"/>
                  <a:gd name="T21" fmla="*/ 478 h 1291"/>
                  <a:gd name="T22" fmla="*/ 488 w 1791"/>
                  <a:gd name="T23" fmla="*/ 480 h 1291"/>
                  <a:gd name="T24" fmla="*/ 493 w 1791"/>
                  <a:gd name="T25" fmla="*/ 551 h 1291"/>
                  <a:gd name="T26" fmla="*/ 452 w 1791"/>
                  <a:gd name="T27" fmla="*/ 570 h 1291"/>
                  <a:gd name="T28" fmla="*/ 338 w 1791"/>
                  <a:gd name="T29" fmla="*/ 570 h 1291"/>
                  <a:gd name="T30" fmla="*/ 239 w 1791"/>
                  <a:gd name="T31" fmla="*/ 684 h 1291"/>
                  <a:gd name="T32" fmla="*/ 239 w 1791"/>
                  <a:gd name="T33" fmla="*/ 805 h 1291"/>
                  <a:gd name="T34" fmla="*/ 274 w 1791"/>
                  <a:gd name="T35" fmla="*/ 1203 h 1291"/>
                  <a:gd name="T36" fmla="*/ 350 w 1791"/>
                  <a:gd name="T37" fmla="*/ 1291 h 1291"/>
                  <a:gd name="T38" fmla="*/ 1714 w 1791"/>
                  <a:gd name="T39" fmla="*/ 1291 h 1291"/>
                  <a:gd name="T40" fmla="*/ 1791 w 1791"/>
                  <a:gd name="T41" fmla="*/ 1203 h 1291"/>
                  <a:gd name="T42" fmla="*/ 1791 w 1791"/>
                  <a:gd name="T43" fmla="*/ 1201 h 1291"/>
                  <a:gd name="T44" fmla="*/ 1714 w 1791"/>
                  <a:gd name="T45" fmla="*/ 1113 h 1291"/>
                  <a:gd name="T46" fmla="*/ 1499 w 1791"/>
                  <a:gd name="T47" fmla="*/ 1113 h 1291"/>
                  <a:gd name="T48" fmla="*/ 1469 w 1791"/>
                  <a:gd name="T49" fmla="*/ 1101 h 1291"/>
                  <a:gd name="T50" fmla="*/ 1449 w 1791"/>
                  <a:gd name="T51" fmla="*/ 1008 h 1291"/>
                  <a:gd name="T52" fmla="*/ 1492 w 1791"/>
                  <a:gd name="T53" fmla="*/ 975 h 1291"/>
                  <a:gd name="T54" fmla="*/ 1564 w 1791"/>
                  <a:gd name="T55" fmla="*/ 974 h 1291"/>
                  <a:gd name="T56" fmla="*/ 1611 w 1791"/>
                  <a:gd name="T57" fmla="*/ 915 h 1291"/>
                  <a:gd name="T58" fmla="*/ 1563 w 1791"/>
                  <a:gd name="T59" fmla="*/ 865 h 1291"/>
                  <a:gd name="T60" fmla="*/ 1538 w 1791"/>
                  <a:gd name="T61" fmla="*/ 829 h 1291"/>
                  <a:gd name="T62" fmla="*/ 1540 w 1791"/>
                  <a:gd name="T63" fmla="*/ 805 h 1291"/>
                  <a:gd name="T64" fmla="*/ 1540 w 1791"/>
                  <a:gd name="T65" fmla="*/ 684 h 1291"/>
                  <a:gd name="T66" fmla="*/ 1539 w 1791"/>
                  <a:gd name="T67" fmla="*/ 665 h 1291"/>
                  <a:gd name="T68" fmla="*/ 1540 w 1791"/>
                  <a:gd name="T69" fmla="*/ 382 h 1291"/>
                  <a:gd name="T70" fmla="*/ 1540 w 1791"/>
                  <a:gd name="T71" fmla="*/ 89 h 1291"/>
                  <a:gd name="T72" fmla="*/ 1463 w 1791"/>
                  <a:gd name="T73" fmla="*/ 0 h 1291"/>
                  <a:gd name="T74" fmla="*/ 77 w 1791"/>
                  <a:gd name="T75" fmla="*/ 0 h 1291"/>
                  <a:gd name="T76" fmla="*/ 0 w 1791"/>
                  <a:gd name="T77" fmla="*/ 89 h 1291"/>
                  <a:gd name="T78" fmla="*/ 77 w 1791"/>
                  <a:gd name="T79" fmla="*/ 178 h 1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791" h="1291">
                    <a:moveTo>
                      <a:pt x="77" y="178"/>
                    </a:moveTo>
                    <a:cubicBezTo>
                      <a:pt x="546" y="178"/>
                      <a:pt x="546" y="178"/>
                      <a:pt x="546" y="178"/>
                    </a:cubicBezTo>
                    <a:cubicBezTo>
                      <a:pt x="561" y="178"/>
                      <a:pt x="576" y="186"/>
                      <a:pt x="584" y="201"/>
                    </a:cubicBezTo>
                    <a:cubicBezTo>
                      <a:pt x="594" y="216"/>
                      <a:pt x="599" y="238"/>
                      <a:pt x="582" y="266"/>
                    </a:cubicBezTo>
                    <a:cubicBezTo>
                      <a:pt x="573" y="280"/>
                      <a:pt x="559" y="288"/>
                      <a:pt x="544" y="288"/>
                    </a:cubicBezTo>
                    <a:cubicBezTo>
                      <a:pt x="489" y="288"/>
                      <a:pt x="334" y="288"/>
                      <a:pt x="241" y="288"/>
                    </a:cubicBezTo>
                    <a:cubicBezTo>
                      <a:pt x="201" y="288"/>
                      <a:pt x="168" y="326"/>
                      <a:pt x="168" y="372"/>
                    </a:cubicBezTo>
                    <a:cubicBezTo>
                      <a:pt x="168" y="382"/>
                      <a:pt x="168" y="382"/>
                      <a:pt x="168" y="382"/>
                    </a:cubicBezTo>
                    <a:cubicBezTo>
                      <a:pt x="168" y="428"/>
                      <a:pt x="201" y="466"/>
                      <a:pt x="241" y="466"/>
                    </a:cubicBezTo>
                    <a:cubicBezTo>
                      <a:pt x="452" y="466"/>
                      <a:pt x="452" y="466"/>
                      <a:pt x="452" y="466"/>
                    </a:cubicBezTo>
                    <a:cubicBezTo>
                      <a:pt x="464" y="466"/>
                      <a:pt x="476" y="470"/>
                      <a:pt x="486" y="478"/>
                    </a:cubicBezTo>
                    <a:cubicBezTo>
                      <a:pt x="488" y="480"/>
                      <a:pt x="488" y="480"/>
                      <a:pt x="488" y="480"/>
                    </a:cubicBezTo>
                    <a:cubicBezTo>
                      <a:pt x="509" y="496"/>
                      <a:pt x="512" y="531"/>
                      <a:pt x="493" y="551"/>
                    </a:cubicBezTo>
                    <a:cubicBezTo>
                      <a:pt x="482" y="563"/>
                      <a:pt x="467" y="570"/>
                      <a:pt x="452" y="570"/>
                    </a:cubicBezTo>
                    <a:cubicBezTo>
                      <a:pt x="338" y="570"/>
                      <a:pt x="338" y="570"/>
                      <a:pt x="338" y="570"/>
                    </a:cubicBezTo>
                    <a:cubicBezTo>
                      <a:pt x="284" y="570"/>
                      <a:pt x="239" y="621"/>
                      <a:pt x="239" y="684"/>
                    </a:cubicBezTo>
                    <a:cubicBezTo>
                      <a:pt x="239" y="805"/>
                      <a:pt x="239" y="805"/>
                      <a:pt x="239" y="805"/>
                    </a:cubicBezTo>
                    <a:cubicBezTo>
                      <a:pt x="239" y="821"/>
                      <a:pt x="274" y="1203"/>
                      <a:pt x="274" y="1203"/>
                    </a:cubicBezTo>
                    <a:cubicBezTo>
                      <a:pt x="274" y="1252"/>
                      <a:pt x="308" y="1291"/>
                      <a:pt x="350" y="1291"/>
                    </a:cubicBezTo>
                    <a:cubicBezTo>
                      <a:pt x="1714" y="1291"/>
                      <a:pt x="1714" y="1291"/>
                      <a:pt x="1714" y="1291"/>
                    </a:cubicBezTo>
                    <a:cubicBezTo>
                      <a:pt x="1756" y="1291"/>
                      <a:pt x="1791" y="1252"/>
                      <a:pt x="1791" y="1203"/>
                    </a:cubicBezTo>
                    <a:cubicBezTo>
                      <a:pt x="1791" y="1201"/>
                      <a:pt x="1791" y="1201"/>
                      <a:pt x="1791" y="1201"/>
                    </a:cubicBezTo>
                    <a:cubicBezTo>
                      <a:pt x="1791" y="1153"/>
                      <a:pt x="1756" y="1113"/>
                      <a:pt x="1714" y="1113"/>
                    </a:cubicBezTo>
                    <a:cubicBezTo>
                      <a:pt x="1499" y="1113"/>
                      <a:pt x="1499" y="1113"/>
                      <a:pt x="1499" y="1113"/>
                    </a:cubicBezTo>
                    <a:cubicBezTo>
                      <a:pt x="1488" y="1113"/>
                      <a:pt x="1478" y="1109"/>
                      <a:pt x="1469" y="1101"/>
                    </a:cubicBezTo>
                    <a:cubicBezTo>
                      <a:pt x="1445" y="1077"/>
                      <a:pt x="1438" y="1039"/>
                      <a:pt x="1449" y="1008"/>
                    </a:cubicBezTo>
                    <a:cubicBezTo>
                      <a:pt x="1456" y="988"/>
                      <a:pt x="1473" y="975"/>
                      <a:pt x="1492" y="975"/>
                    </a:cubicBezTo>
                    <a:cubicBezTo>
                      <a:pt x="1564" y="974"/>
                      <a:pt x="1564" y="974"/>
                      <a:pt x="1564" y="974"/>
                    </a:cubicBezTo>
                    <a:cubicBezTo>
                      <a:pt x="1591" y="974"/>
                      <a:pt x="1613" y="947"/>
                      <a:pt x="1611" y="915"/>
                    </a:cubicBezTo>
                    <a:cubicBezTo>
                      <a:pt x="1609" y="886"/>
                      <a:pt x="1587" y="865"/>
                      <a:pt x="1563" y="865"/>
                    </a:cubicBezTo>
                    <a:cubicBezTo>
                      <a:pt x="1546" y="865"/>
                      <a:pt x="1534" y="848"/>
                      <a:pt x="1538" y="829"/>
                    </a:cubicBezTo>
                    <a:cubicBezTo>
                      <a:pt x="1539" y="822"/>
                      <a:pt x="1540" y="813"/>
                      <a:pt x="1540" y="805"/>
                    </a:cubicBezTo>
                    <a:cubicBezTo>
                      <a:pt x="1540" y="684"/>
                      <a:pt x="1540" y="684"/>
                      <a:pt x="1540" y="684"/>
                    </a:cubicBezTo>
                    <a:cubicBezTo>
                      <a:pt x="1540" y="678"/>
                      <a:pt x="1540" y="671"/>
                      <a:pt x="1539" y="665"/>
                    </a:cubicBezTo>
                    <a:cubicBezTo>
                      <a:pt x="1539" y="665"/>
                      <a:pt x="1540" y="401"/>
                      <a:pt x="1540" y="382"/>
                    </a:cubicBezTo>
                    <a:cubicBezTo>
                      <a:pt x="1540" y="382"/>
                      <a:pt x="1540" y="127"/>
                      <a:pt x="1540" y="89"/>
                    </a:cubicBezTo>
                    <a:cubicBezTo>
                      <a:pt x="1540" y="39"/>
                      <a:pt x="1506" y="0"/>
                      <a:pt x="1463" y="0"/>
                    </a:cubicBezTo>
                    <a:cubicBezTo>
                      <a:pt x="77" y="0"/>
                      <a:pt x="77" y="0"/>
                      <a:pt x="77" y="0"/>
                    </a:cubicBezTo>
                    <a:cubicBezTo>
                      <a:pt x="34" y="0"/>
                      <a:pt x="0" y="39"/>
                      <a:pt x="0" y="89"/>
                    </a:cubicBezTo>
                    <a:cubicBezTo>
                      <a:pt x="0" y="138"/>
                      <a:pt x="34" y="178"/>
                      <a:pt x="77" y="178"/>
                    </a:cubicBezTo>
                  </a:path>
                </a:pathLst>
              </a:custGeom>
              <a:solidFill>
                <a:srgbClr val="E6EAF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0" name="任意多边形: 形状 69"/>
              <p:cNvSpPr/>
              <p:nvPr/>
            </p:nvSpPr>
            <p:spPr bwMode="auto">
              <a:xfrm>
                <a:off x="5757288" y="2704209"/>
                <a:ext cx="1175026" cy="191239"/>
              </a:xfrm>
              <a:custGeom>
                <a:avLst/>
                <a:gdLst>
                  <a:gd name="T0" fmla="*/ 956 w 1041"/>
                  <a:gd name="T1" fmla="*/ 169 h 169"/>
                  <a:gd name="T2" fmla="*/ 85 w 1041"/>
                  <a:gd name="T3" fmla="*/ 169 h 169"/>
                  <a:gd name="T4" fmla="*/ 0 w 1041"/>
                  <a:gd name="T5" fmla="*/ 84 h 169"/>
                  <a:gd name="T6" fmla="*/ 85 w 1041"/>
                  <a:gd name="T7" fmla="*/ 0 h 169"/>
                  <a:gd name="T8" fmla="*/ 956 w 1041"/>
                  <a:gd name="T9" fmla="*/ 0 h 169"/>
                  <a:gd name="T10" fmla="*/ 1041 w 1041"/>
                  <a:gd name="T11" fmla="*/ 84 h 169"/>
                  <a:gd name="T12" fmla="*/ 956 w 1041"/>
                  <a:gd name="T13" fmla="*/ 169 h 169"/>
                </a:gdLst>
                <a:ahLst/>
                <a:cxnLst>
                  <a:cxn ang="0">
                    <a:pos x="T0" y="T1"/>
                  </a:cxn>
                  <a:cxn ang="0">
                    <a:pos x="T2" y="T3"/>
                  </a:cxn>
                  <a:cxn ang="0">
                    <a:pos x="T4" y="T5"/>
                  </a:cxn>
                  <a:cxn ang="0">
                    <a:pos x="T6" y="T7"/>
                  </a:cxn>
                  <a:cxn ang="0">
                    <a:pos x="T8" y="T9"/>
                  </a:cxn>
                  <a:cxn ang="0">
                    <a:pos x="T10" y="T11"/>
                  </a:cxn>
                  <a:cxn ang="0">
                    <a:pos x="T12" y="T13"/>
                  </a:cxn>
                </a:cxnLst>
                <a:rect l="0" t="0" r="r" b="b"/>
                <a:pathLst>
                  <a:path w="1041" h="169">
                    <a:moveTo>
                      <a:pt x="956" y="169"/>
                    </a:moveTo>
                    <a:cubicBezTo>
                      <a:pt x="85" y="169"/>
                      <a:pt x="85" y="169"/>
                      <a:pt x="85" y="169"/>
                    </a:cubicBezTo>
                    <a:cubicBezTo>
                      <a:pt x="38" y="169"/>
                      <a:pt x="0" y="131"/>
                      <a:pt x="0" y="84"/>
                    </a:cubicBezTo>
                    <a:cubicBezTo>
                      <a:pt x="0" y="38"/>
                      <a:pt x="38" y="0"/>
                      <a:pt x="85" y="0"/>
                    </a:cubicBezTo>
                    <a:cubicBezTo>
                      <a:pt x="956" y="0"/>
                      <a:pt x="956" y="0"/>
                      <a:pt x="956" y="0"/>
                    </a:cubicBezTo>
                    <a:cubicBezTo>
                      <a:pt x="1003" y="0"/>
                      <a:pt x="1041" y="38"/>
                      <a:pt x="1041" y="84"/>
                    </a:cubicBezTo>
                    <a:cubicBezTo>
                      <a:pt x="1041" y="131"/>
                      <a:pt x="1003" y="169"/>
                      <a:pt x="956" y="169"/>
                    </a:cubicBezTo>
                    <a:close/>
                  </a:path>
                </a:pathLst>
              </a:custGeom>
              <a:solidFill>
                <a:srgbClr val="E6EAF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1" name="任意多边形: 形状 70"/>
              <p:cNvSpPr/>
              <p:nvPr/>
            </p:nvSpPr>
            <p:spPr bwMode="auto">
              <a:xfrm>
                <a:off x="5204027" y="2535804"/>
                <a:ext cx="1150289" cy="191239"/>
              </a:xfrm>
              <a:custGeom>
                <a:avLst/>
                <a:gdLst>
                  <a:gd name="T0" fmla="*/ 934 w 1019"/>
                  <a:gd name="T1" fmla="*/ 169 h 169"/>
                  <a:gd name="T2" fmla="*/ 84 w 1019"/>
                  <a:gd name="T3" fmla="*/ 169 h 169"/>
                  <a:gd name="T4" fmla="*/ 0 w 1019"/>
                  <a:gd name="T5" fmla="*/ 85 h 169"/>
                  <a:gd name="T6" fmla="*/ 84 w 1019"/>
                  <a:gd name="T7" fmla="*/ 0 h 169"/>
                  <a:gd name="T8" fmla="*/ 934 w 1019"/>
                  <a:gd name="T9" fmla="*/ 0 h 169"/>
                  <a:gd name="T10" fmla="*/ 1019 w 1019"/>
                  <a:gd name="T11" fmla="*/ 85 h 169"/>
                  <a:gd name="T12" fmla="*/ 934 w 1019"/>
                  <a:gd name="T13" fmla="*/ 169 h 169"/>
                </a:gdLst>
                <a:ahLst/>
                <a:cxnLst>
                  <a:cxn ang="0">
                    <a:pos x="T0" y="T1"/>
                  </a:cxn>
                  <a:cxn ang="0">
                    <a:pos x="T2" y="T3"/>
                  </a:cxn>
                  <a:cxn ang="0">
                    <a:pos x="T4" y="T5"/>
                  </a:cxn>
                  <a:cxn ang="0">
                    <a:pos x="T6" y="T7"/>
                  </a:cxn>
                  <a:cxn ang="0">
                    <a:pos x="T8" y="T9"/>
                  </a:cxn>
                  <a:cxn ang="0">
                    <a:pos x="T10" y="T11"/>
                  </a:cxn>
                  <a:cxn ang="0">
                    <a:pos x="T12" y="T13"/>
                  </a:cxn>
                </a:cxnLst>
                <a:rect l="0" t="0" r="r" b="b"/>
                <a:pathLst>
                  <a:path w="1019" h="169">
                    <a:moveTo>
                      <a:pt x="934" y="169"/>
                    </a:moveTo>
                    <a:cubicBezTo>
                      <a:pt x="84" y="169"/>
                      <a:pt x="84" y="169"/>
                      <a:pt x="84" y="169"/>
                    </a:cubicBezTo>
                    <a:cubicBezTo>
                      <a:pt x="38" y="169"/>
                      <a:pt x="0" y="132"/>
                      <a:pt x="0" y="85"/>
                    </a:cubicBezTo>
                    <a:cubicBezTo>
                      <a:pt x="0" y="38"/>
                      <a:pt x="38" y="0"/>
                      <a:pt x="84" y="0"/>
                    </a:cubicBezTo>
                    <a:cubicBezTo>
                      <a:pt x="934" y="0"/>
                      <a:pt x="934" y="0"/>
                      <a:pt x="934" y="0"/>
                    </a:cubicBezTo>
                    <a:cubicBezTo>
                      <a:pt x="981" y="0"/>
                      <a:pt x="1019" y="38"/>
                      <a:pt x="1019" y="85"/>
                    </a:cubicBezTo>
                    <a:cubicBezTo>
                      <a:pt x="1019" y="132"/>
                      <a:pt x="981" y="169"/>
                      <a:pt x="934" y="169"/>
                    </a:cubicBezTo>
                    <a:close/>
                  </a:path>
                </a:pathLst>
              </a:custGeom>
              <a:solidFill>
                <a:srgbClr val="E6EAF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2" name="任意多边形: 形状 71"/>
              <p:cNvSpPr/>
              <p:nvPr/>
            </p:nvSpPr>
            <p:spPr bwMode="auto">
              <a:xfrm>
                <a:off x="5892868" y="3880185"/>
                <a:ext cx="587989" cy="257840"/>
              </a:xfrm>
              <a:custGeom>
                <a:avLst/>
                <a:gdLst>
                  <a:gd name="T0" fmla="*/ 354 w 521"/>
                  <a:gd name="T1" fmla="*/ 117 h 228"/>
                  <a:gd name="T2" fmla="*/ 354 w 521"/>
                  <a:gd name="T3" fmla="*/ 0 h 228"/>
                  <a:gd name="T4" fmla="*/ 158 w 521"/>
                  <a:gd name="T5" fmla="*/ 0 h 228"/>
                  <a:gd name="T6" fmla="*/ 158 w 521"/>
                  <a:gd name="T7" fmla="*/ 118 h 228"/>
                  <a:gd name="T8" fmla="*/ 142 w 521"/>
                  <a:gd name="T9" fmla="*/ 144 h 228"/>
                  <a:gd name="T10" fmla="*/ 0 w 521"/>
                  <a:gd name="T11" fmla="*/ 228 h 228"/>
                  <a:gd name="T12" fmla="*/ 521 w 521"/>
                  <a:gd name="T13" fmla="*/ 228 h 228"/>
                  <a:gd name="T14" fmla="*/ 370 w 521"/>
                  <a:gd name="T15" fmla="*/ 144 h 228"/>
                  <a:gd name="T16" fmla="*/ 354 w 521"/>
                  <a:gd name="T17" fmla="*/ 117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1" h="228">
                    <a:moveTo>
                      <a:pt x="354" y="117"/>
                    </a:moveTo>
                    <a:cubicBezTo>
                      <a:pt x="354" y="0"/>
                      <a:pt x="354" y="0"/>
                      <a:pt x="354" y="0"/>
                    </a:cubicBezTo>
                    <a:cubicBezTo>
                      <a:pt x="158" y="0"/>
                      <a:pt x="158" y="0"/>
                      <a:pt x="158" y="0"/>
                    </a:cubicBezTo>
                    <a:cubicBezTo>
                      <a:pt x="158" y="118"/>
                      <a:pt x="158" y="118"/>
                      <a:pt x="158" y="118"/>
                    </a:cubicBezTo>
                    <a:cubicBezTo>
                      <a:pt x="158" y="129"/>
                      <a:pt x="152" y="139"/>
                      <a:pt x="142" y="144"/>
                    </a:cubicBezTo>
                    <a:cubicBezTo>
                      <a:pt x="0" y="228"/>
                      <a:pt x="0" y="228"/>
                      <a:pt x="0" y="228"/>
                    </a:cubicBezTo>
                    <a:cubicBezTo>
                      <a:pt x="521" y="228"/>
                      <a:pt x="521" y="228"/>
                      <a:pt x="521" y="228"/>
                    </a:cubicBezTo>
                    <a:cubicBezTo>
                      <a:pt x="370" y="144"/>
                      <a:pt x="370" y="144"/>
                      <a:pt x="370" y="144"/>
                    </a:cubicBezTo>
                    <a:cubicBezTo>
                      <a:pt x="360" y="139"/>
                      <a:pt x="354" y="128"/>
                      <a:pt x="354" y="117"/>
                    </a:cubicBezTo>
                    <a:close/>
                  </a:path>
                </a:pathLst>
              </a:custGeom>
              <a:solidFill>
                <a:srgbClr val="F3FB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3" name="任意多边形: 形状 72"/>
              <p:cNvSpPr/>
              <p:nvPr/>
            </p:nvSpPr>
            <p:spPr bwMode="auto">
              <a:xfrm>
                <a:off x="5878121" y="3875904"/>
                <a:ext cx="618435" cy="266402"/>
              </a:xfrm>
              <a:custGeom>
                <a:avLst/>
                <a:gdLst>
                  <a:gd name="T0" fmla="*/ 367 w 548"/>
                  <a:gd name="T1" fmla="*/ 121 h 236"/>
                  <a:gd name="T2" fmla="*/ 371 w 548"/>
                  <a:gd name="T3" fmla="*/ 121 h 236"/>
                  <a:gd name="T4" fmla="*/ 371 w 548"/>
                  <a:gd name="T5" fmla="*/ 0 h 236"/>
                  <a:gd name="T6" fmla="*/ 167 w 548"/>
                  <a:gd name="T7" fmla="*/ 0 h 236"/>
                  <a:gd name="T8" fmla="*/ 167 w 548"/>
                  <a:gd name="T9" fmla="*/ 122 h 236"/>
                  <a:gd name="T10" fmla="*/ 154 w 548"/>
                  <a:gd name="T11" fmla="*/ 145 h 236"/>
                  <a:gd name="T12" fmla="*/ 0 w 548"/>
                  <a:gd name="T13" fmla="*/ 236 h 236"/>
                  <a:gd name="T14" fmla="*/ 548 w 548"/>
                  <a:gd name="T15" fmla="*/ 236 h 236"/>
                  <a:gd name="T16" fmla="*/ 385 w 548"/>
                  <a:gd name="T17" fmla="*/ 145 h 236"/>
                  <a:gd name="T18" fmla="*/ 371 w 548"/>
                  <a:gd name="T19" fmla="*/ 121 h 236"/>
                  <a:gd name="T20" fmla="*/ 367 w 548"/>
                  <a:gd name="T21" fmla="*/ 121 h 236"/>
                  <a:gd name="T22" fmla="*/ 363 w 548"/>
                  <a:gd name="T23" fmla="*/ 121 h 236"/>
                  <a:gd name="T24" fmla="*/ 381 w 548"/>
                  <a:gd name="T25" fmla="*/ 151 h 236"/>
                  <a:gd name="T26" fmla="*/ 521 w 548"/>
                  <a:gd name="T27" fmla="*/ 229 h 236"/>
                  <a:gd name="T28" fmla="*/ 26 w 548"/>
                  <a:gd name="T29" fmla="*/ 229 h 236"/>
                  <a:gd name="T30" fmla="*/ 157 w 548"/>
                  <a:gd name="T31" fmla="*/ 151 h 236"/>
                  <a:gd name="T32" fmla="*/ 174 w 548"/>
                  <a:gd name="T33" fmla="*/ 122 h 236"/>
                  <a:gd name="T34" fmla="*/ 174 w 548"/>
                  <a:gd name="T35" fmla="*/ 8 h 236"/>
                  <a:gd name="T36" fmla="*/ 363 w 548"/>
                  <a:gd name="T37" fmla="*/ 8 h 236"/>
                  <a:gd name="T38" fmla="*/ 363 w 548"/>
                  <a:gd name="T39" fmla="*/ 121 h 236"/>
                  <a:gd name="T40" fmla="*/ 367 w 548"/>
                  <a:gd name="T41" fmla="*/ 121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8" h="236">
                    <a:moveTo>
                      <a:pt x="367" y="121"/>
                    </a:moveTo>
                    <a:cubicBezTo>
                      <a:pt x="371" y="121"/>
                      <a:pt x="371" y="121"/>
                      <a:pt x="371" y="121"/>
                    </a:cubicBezTo>
                    <a:cubicBezTo>
                      <a:pt x="371" y="0"/>
                      <a:pt x="371" y="0"/>
                      <a:pt x="371" y="0"/>
                    </a:cubicBezTo>
                    <a:cubicBezTo>
                      <a:pt x="167" y="0"/>
                      <a:pt x="167" y="0"/>
                      <a:pt x="167" y="0"/>
                    </a:cubicBezTo>
                    <a:cubicBezTo>
                      <a:pt x="167" y="122"/>
                      <a:pt x="167" y="122"/>
                      <a:pt x="167" y="122"/>
                    </a:cubicBezTo>
                    <a:cubicBezTo>
                      <a:pt x="167" y="131"/>
                      <a:pt x="162" y="140"/>
                      <a:pt x="154" y="145"/>
                    </a:cubicBezTo>
                    <a:cubicBezTo>
                      <a:pt x="0" y="236"/>
                      <a:pt x="0" y="236"/>
                      <a:pt x="0" y="236"/>
                    </a:cubicBezTo>
                    <a:cubicBezTo>
                      <a:pt x="548" y="236"/>
                      <a:pt x="548" y="236"/>
                      <a:pt x="548" y="236"/>
                    </a:cubicBezTo>
                    <a:cubicBezTo>
                      <a:pt x="385" y="145"/>
                      <a:pt x="385" y="145"/>
                      <a:pt x="385" y="145"/>
                    </a:cubicBezTo>
                    <a:cubicBezTo>
                      <a:pt x="376" y="140"/>
                      <a:pt x="371" y="131"/>
                      <a:pt x="371" y="121"/>
                    </a:cubicBezTo>
                    <a:cubicBezTo>
                      <a:pt x="367" y="121"/>
                      <a:pt x="367" y="121"/>
                      <a:pt x="367" y="121"/>
                    </a:cubicBezTo>
                    <a:cubicBezTo>
                      <a:pt x="363" y="121"/>
                      <a:pt x="363" y="121"/>
                      <a:pt x="363" y="121"/>
                    </a:cubicBezTo>
                    <a:cubicBezTo>
                      <a:pt x="363" y="134"/>
                      <a:pt x="370" y="145"/>
                      <a:pt x="381" y="151"/>
                    </a:cubicBezTo>
                    <a:cubicBezTo>
                      <a:pt x="521" y="229"/>
                      <a:pt x="521" y="229"/>
                      <a:pt x="521" y="229"/>
                    </a:cubicBezTo>
                    <a:cubicBezTo>
                      <a:pt x="26" y="229"/>
                      <a:pt x="26" y="229"/>
                      <a:pt x="26" y="229"/>
                    </a:cubicBezTo>
                    <a:cubicBezTo>
                      <a:pt x="157" y="151"/>
                      <a:pt x="157" y="151"/>
                      <a:pt x="157" y="151"/>
                    </a:cubicBezTo>
                    <a:cubicBezTo>
                      <a:pt x="168" y="145"/>
                      <a:pt x="174" y="134"/>
                      <a:pt x="174" y="122"/>
                    </a:cubicBezTo>
                    <a:cubicBezTo>
                      <a:pt x="174" y="8"/>
                      <a:pt x="174" y="8"/>
                      <a:pt x="174" y="8"/>
                    </a:cubicBezTo>
                    <a:cubicBezTo>
                      <a:pt x="363" y="8"/>
                      <a:pt x="363" y="8"/>
                      <a:pt x="363" y="8"/>
                    </a:cubicBezTo>
                    <a:cubicBezTo>
                      <a:pt x="363" y="121"/>
                      <a:pt x="363" y="121"/>
                      <a:pt x="363" y="121"/>
                    </a:cubicBezTo>
                    <a:lnTo>
                      <a:pt x="367" y="121"/>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4" name="任意多边形: 形状 73"/>
              <p:cNvSpPr/>
              <p:nvPr/>
            </p:nvSpPr>
            <p:spPr bwMode="auto">
              <a:xfrm>
                <a:off x="5478517" y="3857826"/>
                <a:ext cx="1405274" cy="90387"/>
              </a:xfrm>
              <a:custGeom>
                <a:avLst/>
                <a:gdLst>
                  <a:gd name="T0" fmla="*/ 1203 w 1245"/>
                  <a:gd name="T1" fmla="*/ 80 h 80"/>
                  <a:gd name="T2" fmla="*/ 42 w 1245"/>
                  <a:gd name="T3" fmla="*/ 80 h 80"/>
                  <a:gd name="T4" fmla="*/ 0 w 1245"/>
                  <a:gd name="T5" fmla="*/ 38 h 80"/>
                  <a:gd name="T6" fmla="*/ 0 w 1245"/>
                  <a:gd name="T7" fmla="*/ 0 h 80"/>
                  <a:gd name="T8" fmla="*/ 1245 w 1245"/>
                  <a:gd name="T9" fmla="*/ 0 h 80"/>
                  <a:gd name="T10" fmla="*/ 1245 w 1245"/>
                  <a:gd name="T11" fmla="*/ 38 h 80"/>
                  <a:gd name="T12" fmla="*/ 1203 w 1245"/>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1245" h="80">
                    <a:moveTo>
                      <a:pt x="1203" y="80"/>
                    </a:moveTo>
                    <a:cubicBezTo>
                      <a:pt x="42" y="80"/>
                      <a:pt x="42" y="80"/>
                      <a:pt x="42" y="80"/>
                    </a:cubicBezTo>
                    <a:cubicBezTo>
                      <a:pt x="19" y="80"/>
                      <a:pt x="0" y="61"/>
                      <a:pt x="0" y="38"/>
                    </a:cubicBezTo>
                    <a:cubicBezTo>
                      <a:pt x="0" y="0"/>
                      <a:pt x="0" y="0"/>
                      <a:pt x="0" y="0"/>
                    </a:cubicBezTo>
                    <a:cubicBezTo>
                      <a:pt x="1245" y="0"/>
                      <a:pt x="1245" y="0"/>
                      <a:pt x="1245" y="0"/>
                    </a:cubicBezTo>
                    <a:cubicBezTo>
                      <a:pt x="1245" y="38"/>
                      <a:pt x="1245" y="38"/>
                      <a:pt x="1245" y="38"/>
                    </a:cubicBezTo>
                    <a:cubicBezTo>
                      <a:pt x="1245" y="61"/>
                      <a:pt x="1226" y="80"/>
                      <a:pt x="1203" y="80"/>
                    </a:cubicBezTo>
                  </a:path>
                </a:pathLst>
              </a:custGeom>
              <a:solidFill>
                <a:srgbClr val="F3FB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5" name="任意多边形: 形状 74"/>
              <p:cNvSpPr/>
              <p:nvPr/>
            </p:nvSpPr>
            <p:spPr bwMode="auto">
              <a:xfrm>
                <a:off x="5475187" y="3853069"/>
                <a:ext cx="1413361" cy="99425"/>
              </a:xfrm>
              <a:custGeom>
                <a:avLst/>
                <a:gdLst>
                  <a:gd name="T0" fmla="*/ 1206 w 1252"/>
                  <a:gd name="T1" fmla="*/ 84 h 88"/>
                  <a:gd name="T2" fmla="*/ 1206 w 1252"/>
                  <a:gd name="T3" fmla="*/ 80 h 88"/>
                  <a:gd name="T4" fmla="*/ 45 w 1252"/>
                  <a:gd name="T5" fmla="*/ 80 h 88"/>
                  <a:gd name="T6" fmla="*/ 18 w 1252"/>
                  <a:gd name="T7" fmla="*/ 69 h 88"/>
                  <a:gd name="T8" fmla="*/ 7 w 1252"/>
                  <a:gd name="T9" fmla="*/ 42 h 88"/>
                  <a:gd name="T10" fmla="*/ 7 w 1252"/>
                  <a:gd name="T11" fmla="*/ 7 h 88"/>
                  <a:gd name="T12" fmla="*/ 1245 w 1252"/>
                  <a:gd name="T13" fmla="*/ 7 h 88"/>
                  <a:gd name="T14" fmla="*/ 1245 w 1252"/>
                  <a:gd name="T15" fmla="*/ 42 h 88"/>
                  <a:gd name="T16" fmla="*/ 1233 w 1252"/>
                  <a:gd name="T17" fmla="*/ 69 h 88"/>
                  <a:gd name="T18" fmla="*/ 1206 w 1252"/>
                  <a:gd name="T19" fmla="*/ 80 h 88"/>
                  <a:gd name="T20" fmla="*/ 1206 w 1252"/>
                  <a:gd name="T21" fmla="*/ 84 h 88"/>
                  <a:gd name="T22" fmla="*/ 1206 w 1252"/>
                  <a:gd name="T23" fmla="*/ 88 h 88"/>
                  <a:gd name="T24" fmla="*/ 1252 w 1252"/>
                  <a:gd name="T25" fmla="*/ 42 h 88"/>
                  <a:gd name="T26" fmla="*/ 1252 w 1252"/>
                  <a:gd name="T27" fmla="*/ 0 h 88"/>
                  <a:gd name="T28" fmla="*/ 0 w 1252"/>
                  <a:gd name="T29" fmla="*/ 0 h 88"/>
                  <a:gd name="T30" fmla="*/ 0 w 1252"/>
                  <a:gd name="T31" fmla="*/ 42 h 88"/>
                  <a:gd name="T32" fmla="*/ 45 w 1252"/>
                  <a:gd name="T33" fmla="*/ 88 h 88"/>
                  <a:gd name="T34" fmla="*/ 1206 w 1252"/>
                  <a:gd name="T35" fmla="*/ 88 h 88"/>
                  <a:gd name="T36" fmla="*/ 1206 w 1252"/>
                  <a:gd name="T37" fmla="*/ 84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52" h="88">
                    <a:moveTo>
                      <a:pt x="1206" y="84"/>
                    </a:moveTo>
                    <a:cubicBezTo>
                      <a:pt x="1206" y="80"/>
                      <a:pt x="1206" y="80"/>
                      <a:pt x="1206" y="80"/>
                    </a:cubicBezTo>
                    <a:cubicBezTo>
                      <a:pt x="45" y="80"/>
                      <a:pt x="45" y="80"/>
                      <a:pt x="45" y="80"/>
                    </a:cubicBezTo>
                    <a:cubicBezTo>
                      <a:pt x="35" y="80"/>
                      <a:pt x="25" y="76"/>
                      <a:pt x="18" y="69"/>
                    </a:cubicBezTo>
                    <a:cubicBezTo>
                      <a:pt x="11" y="62"/>
                      <a:pt x="7" y="53"/>
                      <a:pt x="7" y="42"/>
                    </a:cubicBezTo>
                    <a:cubicBezTo>
                      <a:pt x="7" y="7"/>
                      <a:pt x="7" y="7"/>
                      <a:pt x="7" y="7"/>
                    </a:cubicBezTo>
                    <a:cubicBezTo>
                      <a:pt x="1245" y="7"/>
                      <a:pt x="1245" y="7"/>
                      <a:pt x="1245" y="7"/>
                    </a:cubicBezTo>
                    <a:cubicBezTo>
                      <a:pt x="1245" y="42"/>
                      <a:pt x="1245" y="42"/>
                      <a:pt x="1245" y="42"/>
                    </a:cubicBezTo>
                    <a:cubicBezTo>
                      <a:pt x="1245" y="53"/>
                      <a:pt x="1240" y="62"/>
                      <a:pt x="1233" y="69"/>
                    </a:cubicBezTo>
                    <a:cubicBezTo>
                      <a:pt x="1226" y="76"/>
                      <a:pt x="1217" y="80"/>
                      <a:pt x="1206" y="80"/>
                    </a:cubicBezTo>
                    <a:cubicBezTo>
                      <a:pt x="1206" y="84"/>
                      <a:pt x="1206" y="84"/>
                      <a:pt x="1206" y="84"/>
                    </a:cubicBezTo>
                    <a:cubicBezTo>
                      <a:pt x="1206" y="88"/>
                      <a:pt x="1206" y="88"/>
                      <a:pt x="1206" y="88"/>
                    </a:cubicBezTo>
                    <a:cubicBezTo>
                      <a:pt x="1231" y="88"/>
                      <a:pt x="1252" y="67"/>
                      <a:pt x="1252" y="42"/>
                    </a:cubicBezTo>
                    <a:cubicBezTo>
                      <a:pt x="1252" y="0"/>
                      <a:pt x="1252" y="0"/>
                      <a:pt x="1252" y="0"/>
                    </a:cubicBezTo>
                    <a:cubicBezTo>
                      <a:pt x="0" y="0"/>
                      <a:pt x="0" y="0"/>
                      <a:pt x="0" y="0"/>
                    </a:cubicBezTo>
                    <a:cubicBezTo>
                      <a:pt x="0" y="42"/>
                      <a:pt x="0" y="42"/>
                      <a:pt x="0" y="42"/>
                    </a:cubicBezTo>
                    <a:cubicBezTo>
                      <a:pt x="0" y="67"/>
                      <a:pt x="20" y="88"/>
                      <a:pt x="45" y="88"/>
                    </a:cubicBezTo>
                    <a:cubicBezTo>
                      <a:pt x="1206" y="88"/>
                      <a:pt x="1206" y="88"/>
                      <a:pt x="1206" y="88"/>
                    </a:cubicBezTo>
                    <a:cubicBezTo>
                      <a:pt x="1206" y="84"/>
                      <a:pt x="1206" y="84"/>
                      <a:pt x="1206" y="84"/>
                    </a:cubicBezTo>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6" name="任意多边形: 形状 75"/>
              <p:cNvSpPr/>
              <p:nvPr/>
            </p:nvSpPr>
            <p:spPr bwMode="auto">
              <a:xfrm>
                <a:off x="5478517" y="2963951"/>
                <a:ext cx="1405274" cy="918613"/>
              </a:xfrm>
              <a:custGeom>
                <a:avLst/>
                <a:gdLst>
                  <a:gd name="T0" fmla="*/ 1245 w 1245"/>
                  <a:gd name="T1" fmla="*/ 813 h 813"/>
                  <a:gd name="T2" fmla="*/ 0 w 1245"/>
                  <a:gd name="T3" fmla="*/ 813 h 813"/>
                  <a:gd name="T4" fmla="*/ 0 w 1245"/>
                  <a:gd name="T5" fmla="*/ 32 h 813"/>
                  <a:gd name="T6" fmla="*/ 33 w 1245"/>
                  <a:gd name="T7" fmla="*/ 0 h 813"/>
                  <a:gd name="T8" fmla="*/ 1213 w 1245"/>
                  <a:gd name="T9" fmla="*/ 0 h 813"/>
                  <a:gd name="T10" fmla="*/ 1245 w 1245"/>
                  <a:gd name="T11" fmla="*/ 32 h 813"/>
                  <a:gd name="T12" fmla="*/ 1245 w 1245"/>
                  <a:gd name="T13" fmla="*/ 813 h 813"/>
                </a:gdLst>
                <a:ahLst/>
                <a:cxnLst>
                  <a:cxn ang="0">
                    <a:pos x="T0" y="T1"/>
                  </a:cxn>
                  <a:cxn ang="0">
                    <a:pos x="T2" y="T3"/>
                  </a:cxn>
                  <a:cxn ang="0">
                    <a:pos x="T4" y="T5"/>
                  </a:cxn>
                  <a:cxn ang="0">
                    <a:pos x="T6" y="T7"/>
                  </a:cxn>
                  <a:cxn ang="0">
                    <a:pos x="T8" y="T9"/>
                  </a:cxn>
                  <a:cxn ang="0">
                    <a:pos x="T10" y="T11"/>
                  </a:cxn>
                  <a:cxn ang="0">
                    <a:pos x="T12" y="T13"/>
                  </a:cxn>
                </a:cxnLst>
                <a:rect l="0" t="0" r="r" b="b"/>
                <a:pathLst>
                  <a:path w="1245" h="813">
                    <a:moveTo>
                      <a:pt x="1245" y="813"/>
                    </a:moveTo>
                    <a:cubicBezTo>
                      <a:pt x="0" y="813"/>
                      <a:pt x="0" y="813"/>
                      <a:pt x="0" y="813"/>
                    </a:cubicBezTo>
                    <a:cubicBezTo>
                      <a:pt x="0" y="32"/>
                      <a:pt x="0" y="32"/>
                      <a:pt x="0" y="32"/>
                    </a:cubicBezTo>
                    <a:cubicBezTo>
                      <a:pt x="0" y="14"/>
                      <a:pt x="15" y="0"/>
                      <a:pt x="33" y="0"/>
                    </a:cubicBezTo>
                    <a:cubicBezTo>
                      <a:pt x="1213" y="0"/>
                      <a:pt x="1213" y="0"/>
                      <a:pt x="1213" y="0"/>
                    </a:cubicBezTo>
                    <a:cubicBezTo>
                      <a:pt x="1231" y="0"/>
                      <a:pt x="1245" y="14"/>
                      <a:pt x="1245" y="32"/>
                    </a:cubicBezTo>
                    <a:cubicBezTo>
                      <a:pt x="1245" y="813"/>
                      <a:pt x="1245" y="813"/>
                      <a:pt x="1245" y="813"/>
                    </a:cubicBezTo>
                  </a:path>
                </a:pathLst>
              </a:custGeom>
              <a:solidFill>
                <a:srgbClr val="9DD7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7" name="任意多边形: 形状 76"/>
              <p:cNvSpPr/>
              <p:nvPr/>
            </p:nvSpPr>
            <p:spPr bwMode="auto">
              <a:xfrm>
                <a:off x="5475187" y="2959669"/>
                <a:ext cx="1413361" cy="926224"/>
              </a:xfrm>
              <a:custGeom>
                <a:avLst/>
                <a:gdLst>
                  <a:gd name="T0" fmla="*/ 1248 w 1252"/>
                  <a:gd name="T1" fmla="*/ 817 h 820"/>
                  <a:gd name="T2" fmla="*/ 1248 w 1252"/>
                  <a:gd name="T3" fmla="*/ 813 h 820"/>
                  <a:gd name="T4" fmla="*/ 7 w 1252"/>
                  <a:gd name="T5" fmla="*/ 813 h 820"/>
                  <a:gd name="T6" fmla="*/ 7 w 1252"/>
                  <a:gd name="T7" fmla="*/ 36 h 820"/>
                  <a:gd name="T8" fmla="*/ 15 w 1252"/>
                  <a:gd name="T9" fmla="*/ 15 h 820"/>
                  <a:gd name="T10" fmla="*/ 36 w 1252"/>
                  <a:gd name="T11" fmla="*/ 7 h 820"/>
                  <a:gd name="T12" fmla="*/ 1216 w 1252"/>
                  <a:gd name="T13" fmla="*/ 7 h 820"/>
                  <a:gd name="T14" fmla="*/ 1236 w 1252"/>
                  <a:gd name="T15" fmla="*/ 15 h 820"/>
                  <a:gd name="T16" fmla="*/ 1245 w 1252"/>
                  <a:gd name="T17" fmla="*/ 36 h 820"/>
                  <a:gd name="T18" fmla="*/ 1245 w 1252"/>
                  <a:gd name="T19" fmla="*/ 817 h 820"/>
                  <a:gd name="T20" fmla="*/ 1248 w 1252"/>
                  <a:gd name="T21" fmla="*/ 817 h 820"/>
                  <a:gd name="T22" fmla="*/ 1248 w 1252"/>
                  <a:gd name="T23" fmla="*/ 813 h 820"/>
                  <a:gd name="T24" fmla="*/ 1248 w 1252"/>
                  <a:gd name="T25" fmla="*/ 817 h 820"/>
                  <a:gd name="T26" fmla="*/ 1252 w 1252"/>
                  <a:gd name="T27" fmla="*/ 817 h 820"/>
                  <a:gd name="T28" fmla="*/ 1252 w 1252"/>
                  <a:gd name="T29" fmla="*/ 36 h 820"/>
                  <a:gd name="T30" fmla="*/ 1216 w 1252"/>
                  <a:gd name="T31" fmla="*/ 0 h 820"/>
                  <a:gd name="T32" fmla="*/ 36 w 1252"/>
                  <a:gd name="T33" fmla="*/ 0 h 820"/>
                  <a:gd name="T34" fmla="*/ 0 w 1252"/>
                  <a:gd name="T35" fmla="*/ 36 h 820"/>
                  <a:gd name="T36" fmla="*/ 0 w 1252"/>
                  <a:gd name="T37" fmla="*/ 820 h 820"/>
                  <a:gd name="T38" fmla="*/ 1252 w 1252"/>
                  <a:gd name="T39" fmla="*/ 820 h 820"/>
                  <a:gd name="T40" fmla="*/ 1252 w 1252"/>
                  <a:gd name="T41" fmla="*/ 817 h 820"/>
                  <a:gd name="T42" fmla="*/ 1248 w 1252"/>
                  <a:gd name="T43" fmla="*/ 817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52" h="820">
                    <a:moveTo>
                      <a:pt x="1248" y="817"/>
                    </a:moveTo>
                    <a:cubicBezTo>
                      <a:pt x="1248" y="813"/>
                      <a:pt x="1248" y="813"/>
                      <a:pt x="1248" y="813"/>
                    </a:cubicBezTo>
                    <a:cubicBezTo>
                      <a:pt x="7" y="813"/>
                      <a:pt x="7" y="813"/>
                      <a:pt x="7" y="813"/>
                    </a:cubicBezTo>
                    <a:cubicBezTo>
                      <a:pt x="7" y="36"/>
                      <a:pt x="7" y="36"/>
                      <a:pt x="7" y="36"/>
                    </a:cubicBezTo>
                    <a:cubicBezTo>
                      <a:pt x="7" y="28"/>
                      <a:pt x="10" y="21"/>
                      <a:pt x="15" y="15"/>
                    </a:cubicBezTo>
                    <a:cubicBezTo>
                      <a:pt x="21" y="10"/>
                      <a:pt x="28" y="7"/>
                      <a:pt x="36" y="7"/>
                    </a:cubicBezTo>
                    <a:cubicBezTo>
                      <a:pt x="1216" y="7"/>
                      <a:pt x="1216" y="7"/>
                      <a:pt x="1216" y="7"/>
                    </a:cubicBezTo>
                    <a:cubicBezTo>
                      <a:pt x="1224" y="7"/>
                      <a:pt x="1231" y="10"/>
                      <a:pt x="1236" y="15"/>
                    </a:cubicBezTo>
                    <a:cubicBezTo>
                      <a:pt x="1241" y="21"/>
                      <a:pt x="1245" y="28"/>
                      <a:pt x="1245" y="36"/>
                    </a:cubicBezTo>
                    <a:cubicBezTo>
                      <a:pt x="1245" y="817"/>
                      <a:pt x="1245" y="817"/>
                      <a:pt x="1245" y="817"/>
                    </a:cubicBezTo>
                    <a:cubicBezTo>
                      <a:pt x="1248" y="817"/>
                      <a:pt x="1248" y="817"/>
                      <a:pt x="1248" y="817"/>
                    </a:cubicBezTo>
                    <a:cubicBezTo>
                      <a:pt x="1248" y="813"/>
                      <a:pt x="1248" y="813"/>
                      <a:pt x="1248" y="813"/>
                    </a:cubicBezTo>
                    <a:cubicBezTo>
                      <a:pt x="1248" y="817"/>
                      <a:pt x="1248" y="817"/>
                      <a:pt x="1248" y="817"/>
                    </a:cubicBezTo>
                    <a:cubicBezTo>
                      <a:pt x="1252" y="817"/>
                      <a:pt x="1252" y="817"/>
                      <a:pt x="1252" y="817"/>
                    </a:cubicBezTo>
                    <a:cubicBezTo>
                      <a:pt x="1252" y="36"/>
                      <a:pt x="1252" y="36"/>
                      <a:pt x="1252" y="36"/>
                    </a:cubicBezTo>
                    <a:cubicBezTo>
                      <a:pt x="1252" y="16"/>
                      <a:pt x="1236" y="0"/>
                      <a:pt x="1216" y="0"/>
                    </a:cubicBezTo>
                    <a:cubicBezTo>
                      <a:pt x="36" y="0"/>
                      <a:pt x="36" y="0"/>
                      <a:pt x="36" y="0"/>
                    </a:cubicBezTo>
                    <a:cubicBezTo>
                      <a:pt x="16" y="0"/>
                      <a:pt x="0" y="16"/>
                      <a:pt x="0" y="36"/>
                    </a:cubicBezTo>
                    <a:cubicBezTo>
                      <a:pt x="0" y="820"/>
                      <a:pt x="0" y="820"/>
                      <a:pt x="0" y="820"/>
                    </a:cubicBezTo>
                    <a:cubicBezTo>
                      <a:pt x="1252" y="820"/>
                      <a:pt x="1252" y="820"/>
                      <a:pt x="1252" y="820"/>
                    </a:cubicBezTo>
                    <a:cubicBezTo>
                      <a:pt x="1252" y="817"/>
                      <a:pt x="1252" y="817"/>
                      <a:pt x="1252" y="817"/>
                    </a:cubicBezTo>
                    <a:cubicBezTo>
                      <a:pt x="1248" y="817"/>
                      <a:pt x="1248" y="817"/>
                      <a:pt x="1248" y="817"/>
                    </a:cubicBezTo>
                  </a:path>
                </a:pathLst>
              </a:custGeom>
              <a:solidFill>
                <a:srgbClr val="0A0A0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8" name="任意多边形: 形状 77"/>
              <p:cNvSpPr/>
              <p:nvPr/>
            </p:nvSpPr>
            <p:spPr bwMode="auto">
              <a:xfrm>
                <a:off x="5531321" y="3019610"/>
                <a:ext cx="1299664" cy="830129"/>
              </a:xfrm>
              <a:custGeom>
                <a:avLst/>
                <a:gdLst>
                  <a:gd name="T0" fmla="*/ 1124 w 1151"/>
                  <a:gd name="T1" fmla="*/ 735 h 735"/>
                  <a:gd name="T2" fmla="*/ 27 w 1151"/>
                  <a:gd name="T3" fmla="*/ 735 h 735"/>
                  <a:gd name="T4" fmla="*/ 0 w 1151"/>
                  <a:gd name="T5" fmla="*/ 708 h 735"/>
                  <a:gd name="T6" fmla="*/ 0 w 1151"/>
                  <a:gd name="T7" fmla="*/ 26 h 735"/>
                  <a:gd name="T8" fmla="*/ 27 w 1151"/>
                  <a:gd name="T9" fmla="*/ 0 h 735"/>
                  <a:gd name="T10" fmla="*/ 1124 w 1151"/>
                  <a:gd name="T11" fmla="*/ 0 h 735"/>
                  <a:gd name="T12" fmla="*/ 1151 w 1151"/>
                  <a:gd name="T13" fmla="*/ 26 h 735"/>
                  <a:gd name="T14" fmla="*/ 1151 w 1151"/>
                  <a:gd name="T15" fmla="*/ 708 h 735"/>
                  <a:gd name="T16" fmla="*/ 1124 w 1151"/>
                  <a:gd name="T17" fmla="*/ 735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1" h="735">
                    <a:moveTo>
                      <a:pt x="1124" y="735"/>
                    </a:moveTo>
                    <a:cubicBezTo>
                      <a:pt x="27" y="735"/>
                      <a:pt x="27" y="735"/>
                      <a:pt x="27" y="735"/>
                    </a:cubicBezTo>
                    <a:cubicBezTo>
                      <a:pt x="12" y="735"/>
                      <a:pt x="0" y="723"/>
                      <a:pt x="0" y="708"/>
                    </a:cubicBezTo>
                    <a:cubicBezTo>
                      <a:pt x="0" y="26"/>
                      <a:pt x="0" y="26"/>
                      <a:pt x="0" y="26"/>
                    </a:cubicBezTo>
                    <a:cubicBezTo>
                      <a:pt x="0" y="12"/>
                      <a:pt x="12" y="0"/>
                      <a:pt x="27" y="0"/>
                    </a:cubicBezTo>
                    <a:cubicBezTo>
                      <a:pt x="1124" y="0"/>
                      <a:pt x="1124" y="0"/>
                      <a:pt x="1124" y="0"/>
                    </a:cubicBezTo>
                    <a:cubicBezTo>
                      <a:pt x="1139" y="0"/>
                      <a:pt x="1151" y="12"/>
                      <a:pt x="1151" y="26"/>
                    </a:cubicBezTo>
                    <a:cubicBezTo>
                      <a:pt x="1151" y="708"/>
                      <a:pt x="1151" y="708"/>
                      <a:pt x="1151" y="708"/>
                    </a:cubicBezTo>
                    <a:cubicBezTo>
                      <a:pt x="1151" y="723"/>
                      <a:pt x="1139" y="735"/>
                      <a:pt x="1124" y="735"/>
                    </a:cubicBezTo>
                  </a:path>
                </a:pathLst>
              </a:custGeom>
              <a:solidFill>
                <a:srgbClr val="DCF4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9" name="任意多边形: 形状 78"/>
              <p:cNvSpPr/>
              <p:nvPr/>
            </p:nvSpPr>
            <p:spPr bwMode="auto">
              <a:xfrm>
                <a:off x="6277725" y="3158520"/>
                <a:ext cx="180773" cy="552309"/>
              </a:xfrm>
              <a:custGeom>
                <a:avLst/>
                <a:gdLst>
                  <a:gd name="T0" fmla="*/ 33 w 160"/>
                  <a:gd name="T1" fmla="*/ 404 h 489"/>
                  <a:gd name="T2" fmla="*/ 0 w 160"/>
                  <a:gd name="T3" fmla="*/ 404 h 489"/>
                  <a:gd name="T4" fmla="*/ 0 w 160"/>
                  <a:gd name="T5" fmla="*/ 478 h 489"/>
                  <a:gd name="T6" fmla="*/ 11 w 160"/>
                  <a:gd name="T7" fmla="*/ 489 h 489"/>
                  <a:gd name="T8" fmla="*/ 160 w 160"/>
                  <a:gd name="T9" fmla="*/ 489 h 489"/>
                  <a:gd name="T10" fmla="*/ 160 w 160"/>
                  <a:gd name="T11" fmla="*/ 489 h 489"/>
                  <a:gd name="T12" fmla="*/ 43 w 160"/>
                  <a:gd name="T13" fmla="*/ 489 h 489"/>
                  <a:gd name="T14" fmla="*/ 33 w 160"/>
                  <a:gd name="T15" fmla="*/ 478 h 489"/>
                  <a:gd name="T16" fmla="*/ 33 w 160"/>
                  <a:gd name="T17" fmla="*/ 404 h 489"/>
                  <a:gd name="T18" fmla="*/ 43 w 160"/>
                  <a:gd name="T19" fmla="*/ 0 h 489"/>
                  <a:gd name="T20" fmla="*/ 11 w 160"/>
                  <a:gd name="T21" fmla="*/ 0 h 489"/>
                  <a:gd name="T22" fmla="*/ 0 w 160"/>
                  <a:gd name="T23" fmla="*/ 10 h 489"/>
                  <a:gd name="T24" fmla="*/ 0 w 160"/>
                  <a:gd name="T25" fmla="*/ 100 h 489"/>
                  <a:gd name="T26" fmla="*/ 33 w 160"/>
                  <a:gd name="T27" fmla="*/ 100 h 489"/>
                  <a:gd name="T28" fmla="*/ 33 w 160"/>
                  <a:gd name="T29" fmla="*/ 10 h 489"/>
                  <a:gd name="T30" fmla="*/ 43 w 160"/>
                  <a:gd name="T31" fmla="*/ 0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0" h="489">
                    <a:moveTo>
                      <a:pt x="33" y="404"/>
                    </a:moveTo>
                    <a:cubicBezTo>
                      <a:pt x="0" y="404"/>
                      <a:pt x="0" y="404"/>
                      <a:pt x="0" y="404"/>
                    </a:cubicBezTo>
                    <a:cubicBezTo>
                      <a:pt x="0" y="478"/>
                      <a:pt x="0" y="478"/>
                      <a:pt x="0" y="478"/>
                    </a:cubicBezTo>
                    <a:cubicBezTo>
                      <a:pt x="0" y="484"/>
                      <a:pt x="5" y="489"/>
                      <a:pt x="11" y="489"/>
                    </a:cubicBezTo>
                    <a:cubicBezTo>
                      <a:pt x="160" y="489"/>
                      <a:pt x="160" y="489"/>
                      <a:pt x="160" y="489"/>
                    </a:cubicBezTo>
                    <a:cubicBezTo>
                      <a:pt x="160" y="489"/>
                      <a:pt x="160" y="489"/>
                      <a:pt x="160" y="489"/>
                    </a:cubicBezTo>
                    <a:cubicBezTo>
                      <a:pt x="43" y="489"/>
                      <a:pt x="43" y="489"/>
                      <a:pt x="43" y="489"/>
                    </a:cubicBezTo>
                    <a:cubicBezTo>
                      <a:pt x="37" y="489"/>
                      <a:pt x="33" y="484"/>
                      <a:pt x="33" y="478"/>
                    </a:cubicBezTo>
                    <a:cubicBezTo>
                      <a:pt x="33" y="404"/>
                      <a:pt x="33" y="404"/>
                      <a:pt x="33" y="404"/>
                    </a:cubicBezTo>
                    <a:moveTo>
                      <a:pt x="43" y="0"/>
                    </a:moveTo>
                    <a:cubicBezTo>
                      <a:pt x="11" y="0"/>
                      <a:pt x="11" y="0"/>
                      <a:pt x="11" y="0"/>
                    </a:cubicBezTo>
                    <a:cubicBezTo>
                      <a:pt x="5" y="0"/>
                      <a:pt x="0" y="5"/>
                      <a:pt x="0" y="10"/>
                    </a:cubicBezTo>
                    <a:cubicBezTo>
                      <a:pt x="0" y="100"/>
                      <a:pt x="0" y="100"/>
                      <a:pt x="0" y="100"/>
                    </a:cubicBezTo>
                    <a:cubicBezTo>
                      <a:pt x="33" y="100"/>
                      <a:pt x="33" y="100"/>
                      <a:pt x="33" y="100"/>
                    </a:cubicBezTo>
                    <a:cubicBezTo>
                      <a:pt x="33" y="10"/>
                      <a:pt x="33" y="10"/>
                      <a:pt x="33" y="10"/>
                    </a:cubicBezTo>
                    <a:cubicBezTo>
                      <a:pt x="33" y="5"/>
                      <a:pt x="37" y="0"/>
                      <a:pt x="43" y="0"/>
                    </a:cubicBezTo>
                  </a:path>
                </a:pathLst>
              </a:custGeom>
              <a:solidFill>
                <a:srgbClr val="BDE0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80" name="矩形 79"/>
              <p:cNvSpPr/>
              <p:nvPr/>
            </p:nvSpPr>
            <p:spPr bwMode="auto">
              <a:xfrm>
                <a:off x="7098340" y="2859293"/>
                <a:ext cx="216928" cy="9039"/>
              </a:xfrm>
              <a:prstGeom prst="rect">
                <a:avLst/>
              </a:prstGeom>
              <a:solidFill>
                <a:srgbClr val="0A0A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81" name="任意多边形: 形状 80"/>
              <p:cNvSpPr/>
              <p:nvPr/>
            </p:nvSpPr>
            <p:spPr bwMode="auto">
              <a:xfrm>
                <a:off x="7098340" y="2859293"/>
                <a:ext cx="216928" cy="9039"/>
              </a:xfrm>
              <a:custGeom>
                <a:avLst/>
                <a:gdLst>
                  <a:gd name="T0" fmla="*/ 0 w 456"/>
                  <a:gd name="T1" fmla="*/ 19 h 19"/>
                  <a:gd name="T2" fmla="*/ 456 w 456"/>
                  <a:gd name="T3" fmla="*/ 19 h 19"/>
                  <a:gd name="T4" fmla="*/ 456 w 456"/>
                  <a:gd name="T5" fmla="*/ 0 h 19"/>
                  <a:gd name="T6" fmla="*/ 0 w 456"/>
                  <a:gd name="T7" fmla="*/ 0 h 19"/>
                </a:gdLst>
                <a:ahLst/>
                <a:cxnLst>
                  <a:cxn ang="0">
                    <a:pos x="T0" y="T1"/>
                  </a:cxn>
                  <a:cxn ang="0">
                    <a:pos x="T2" y="T3"/>
                  </a:cxn>
                  <a:cxn ang="0">
                    <a:pos x="T4" y="T5"/>
                  </a:cxn>
                  <a:cxn ang="0">
                    <a:pos x="T6" y="T7"/>
                  </a:cxn>
                </a:cxnLst>
                <a:rect l="0" t="0" r="r" b="b"/>
                <a:pathLst>
                  <a:path w="456" h="19">
                    <a:moveTo>
                      <a:pt x="0" y="19"/>
                    </a:moveTo>
                    <a:lnTo>
                      <a:pt x="456" y="19"/>
                    </a:lnTo>
                    <a:lnTo>
                      <a:pt x="456"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82" name="任意多边形: 形状 81"/>
              <p:cNvSpPr/>
              <p:nvPr/>
            </p:nvSpPr>
            <p:spPr bwMode="auto">
              <a:xfrm>
                <a:off x="7000342" y="2863574"/>
                <a:ext cx="210744" cy="412448"/>
              </a:xfrm>
              <a:custGeom>
                <a:avLst/>
                <a:gdLst>
                  <a:gd name="T0" fmla="*/ 76 w 443"/>
                  <a:gd name="T1" fmla="*/ 848 h 867"/>
                  <a:gd name="T2" fmla="*/ 0 w 443"/>
                  <a:gd name="T3" fmla="*/ 848 h 867"/>
                  <a:gd name="T4" fmla="*/ 0 w 443"/>
                  <a:gd name="T5" fmla="*/ 867 h 867"/>
                  <a:gd name="T6" fmla="*/ 76 w 443"/>
                  <a:gd name="T7" fmla="*/ 867 h 867"/>
                  <a:gd name="T8" fmla="*/ 76 w 443"/>
                  <a:gd name="T9" fmla="*/ 848 h 867"/>
                  <a:gd name="T10" fmla="*/ 227 w 443"/>
                  <a:gd name="T11" fmla="*/ 848 h 867"/>
                  <a:gd name="T12" fmla="*/ 152 w 443"/>
                  <a:gd name="T13" fmla="*/ 848 h 867"/>
                  <a:gd name="T14" fmla="*/ 152 w 443"/>
                  <a:gd name="T15" fmla="*/ 867 h 867"/>
                  <a:gd name="T16" fmla="*/ 227 w 443"/>
                  <a:gd name="T17" fmla="*/ 867 h 867"/>
                  <a:gd name="T18" fmla="*/ 227 w 443"/>
                  <a:gd name="T19" fmla="*/ 848 h 867"/>
                  <a:gd name="T20" fmla="*/ 379 w 443"/>
                  <a:gd name="T21" fmla="*/ 848 h 867"/>
                  <a:gd name="T22" fmla="*/ 303 w 443"/>
                  <a:gd name="T23" fmla="*/ 848 h 867"/>
                  <a:gd name="T24" fmla="*/ 303 w 443"/>
                  <a:gd name="T25" fmla="*/ 867 h 867"/>
                  <a:gd name="T26" fmla="*/ 379 w 443"/>
                  <a:gd name="T27" fmla="*/ 867 h 867"/>
                  <a:gd name="T28" fmla="*/ 379 w 443"/>
                  <a:gd name="T29" fmla="*/ 848 h 867"/>
                  <a:gd name="T30" fmla="*/ 424 w 443"/>
                  <a:gd name="T31" fmla="*/ 760 h 867"/>
                  <a:gd name="T32" fmla="*/ 424 w 443"/>
                  <a:gd name="T33" fmla="*/ 836 h 867"/>
                  <a:gd name="T34" fmla="*/ 443 w 443"/>
                  <a:gd name="T35" fmla="*/ 836 h 867"/>
                  <a:gd name="T36" fmla="*/ 443 w 443"/>
                  <a:gd name="T37" fmla="*/ 760 h 867"/>
                  <a:gd name="T38" fmla="*/ 424 w 443"/>
                  <a:gd name="T39" fmla="*/ 760 h 867"/>
                  <a:gd name="T40" fmla="*/ 424 w 443"/>
                  <a:gd name="T41" fmla="*/ 608 h 867"/>
                  <a:gd name="T42" fmla="*/ 424 w 443"/>
                  <a:gd name="T43" fmla="*/ 684 h 867"/>
                  <a:gd name="T44" fmla="*/ 443 w 443"/>
                  <a:gd name="T45" fmla="*/ 684 h 867"/>
                  <a:gd name="T46" fmla="*/ 443 w 443"/>
                  <a:gd name="T47" fmla="*/ 608 h 867"/>
                  <a:gd name="T48" fmla="*/ 424 w 443"/>
                  <a:gd name="T49" fmla="*/ 608 h 867"/>
                  <a:gd name="T50" fmla="*/ 424 w 443"/>
                  <a:gd name="T51" fmla="*/ 456 h 867"/>
                  <a:gd name="T52" fmla="*/ 424 w 443"/>
                  <a:gd name="T53" fmla="*/ 532 h 867"/>
                  <a:gd name="T54" fmla="*/ 443 w 443"/>
                  <a:gd name="T55" fmla="*/ 532 h 867"/>
                  <a:gd name="T56" fmla="*/ 443 w 443"/>
                  <a:gd name="T57" fmla="*/ 456 h 867"/>
                  <a:gd name="T58" fmla="*/ 424 w 443"/>
                  <a:gd name="T59" fmla="*/ 456 h 867"/>
                  <a:gd name="T60" fmla="*/ 424 w 443"/>
                  <a:gd name="T61" fmla="*/ 304 h 867"/>
                  <a:gd name="T62" fmla="*/ 424 w 443"/>
                  <a:gd name="T63" fmla="*/ 380 h 867"/>
                  <a:gd name="T64" fmla="*/ 443 w 443"/>
                  <a:gd name="T65" fmla="*/ 380 h 867"/>
                  <a:gd name="T66" fmla="*/ 443 w 443"/>
                  <a:gd name="T67" fmla="*/ 304 h 867"/>
                  <a:gd name="T68" fmla="*/ 424 w 443"/>
                  <a:gd name="T69" fmla="*/ 304 h 867"/>
                  <a:gd name="T70" fmla="*/ 424 w 443"/>
                  <a:gd name="T71" fmla="*/ 152 h 867"/>
                  <a:gd name="T72" fmla="*/ 424 w 443"/>
                  <a:gd name="T73" fmla="*/ 228 h 867"/>
                  <a:gd name="T74" fmla="*/ 443 w 443"/>
                  <a:gd name="T75" fmla="*/ 228 h 867"/>
                  <a:gd name="T76" fmla="*/ 443 w 443"/>
                  <a:gd name="T77" fmla="*/ 152 h 867"/>
                  <a:gd name="T78" fmla="*/ 424 w 443"/>
                  <a:gd name="T79" fmla="*/ 152 h 867"/>
                  <a:gd name="T80" fmla="*/ 424 w 443"/>
                  <a:gd name="T81" fmla="*/ 0 h 867"/>
                  <a:gd name="T82" fmla="*/ 424 w 443"/>
                  <a:gd name="T83" fmla="*/ 76 h 867"/>
                  <a:gd name="T84" fmla="*/ 443 w 443"/>
                  <a:gd name="T85" fmla="*/ 76 h 867"/>
                  <a:gd name="T86" fmla="*/ 443 w 443"/>
                  <a:gd name="T87" fmla="*/ 0 h 867"/>
                  <a:gd name="T88" fmla="*/ 424 w 443"/>
                  <a:gd name="T89" fmla="*/ 0 h 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43" h="867">
                    <a:moveTo>
                      <a:pt x="76" y="848"/>
                    </a:moveTo>
                    <a:lnTo>
                      <a:pt x="0" y="848"/>
                    </a:lnTo>
                    <a:lnTo>
                      <a:pt x="0" y="867"/>
                    </a:lnTo>
                    <a:lnTo>
                      <a:pt x="76" y="867"/>
                    </a:lnTo>
                    <a:lnTo>
                      <a:pt x="76" y="848"/>
                    </a:lnTo>
                    <a:close/>
                    <a:moveTo>
                      <a:pt x="227" y="848"/>
                    </a:moveTo>
                    <a:lnTo>
                      <a:pt x="152" y="848"/>
                    </a:lnTo>
                    <a:lnTo>
                      <a:pt x="152" y="867"/>
                    </a:lnTo>
                    <a:lnTo>
                      <a:pt x="227" y="867"/>
                    </a:lnTo>
                    <a:lnTo>
                      <a:pt x="227" y="848"/>
                    </a:lnTo>
                    <a:close/>
                    <a:moveTo>
                      <a:pt x="379" y="848"/>
                    </a:moveTo>
                    <a:lnTo>
                      <a:pt x="303" y="848"/>
                    </a:lnTo>
                    <a:lnTo>
                      <a:pt x="303" y="867"/>
                    </a:lnTo>
                    <a:lnTo>
                      <a:pt x="379" y="867"/>
                    </a:lnTo>
                    <a:lnTo>
                      <a:pt x="379" y="848"/>
                    </a:lnTo>
                    <a:close/>
                    <a:moveTo>
                      <a:pt x="424" y="760"/>
                    </a:moveTo>
                    <a:lnTo>
                      <a:pt x="424" y="836"/>
                    </a:lnTo>
                    <a:lnTo>
                      <a:pt x="443" y="836"/>
                    </a:lnTo>
                    <a:lnTo>
                      <a:pt x="443" y="760"/>
                    </a:lnTo>
                    <a:lnTo>
                      <a:pt x="424" y="760"/>
                    </a:lnTo>
                    <a:close/>
                    <a:moveTo>
                      <a:pt x="424" y="608"/>
                    </a:moveTo>
                    <a:lnTo>
                      <a:pt x="424" y="684"/>
                    </a:lnTo>
                    <a:lnTo>
                      <a:pt x="443" y="684"/>
                    </a:lnTo>
                    <a:lnTo>
                      <a:pt x="443" y="608"/>
                    </a:lnTo>
                    <a:lnTo>
                      <a:pt x="424" y="608"/>
                    </a:lnTo>
                    <a:close/>
                    <a:moveTo>
                      <a:pt x="424" y="456"/>
                    </a:moveTo>
                    <a:lnTo>
                      <a:pt x="424" y="532"/>
                    </a:lnTo>
                    <a:lnTo>
                      <a:pt x="443" y="532"/>
                    </a:lnTo>
                    <a:lnTo>
                      <a:pt x="443" y="456"/>
                    </a:lnTo>
                    <a:lnTo>
                      <a:pt x="424" y="456"/>
                    </a:lnTo>
                    <a:close/>
                    <a:moveTo>
                      <a:pt x="424" y="304"/>
                    </a:moveTo>
                    <a:lnTo>
                      <a:pt x="424" y="380"/>
                    </a:lnTo>
                    <a:lnTo>
                      <a:pt x="443" y="380"/>
                    </a:lnTo>
                    <a:lnTo>
                      <a:pt x="443" y="304"/>
                    </a:lnTo>
                    <a:lnTo>
                      <a:pt x="424" y="304"/>
                    </a:lnTo>
                    <a:close/>
                    <a:moveTo>
                      <a:pt x="424" y="152"/>
                    </a:moveTo>
                    <a:lnTo>
                      <a:pt x="424" y="228"/>
                    </a:lnTo>
                    <a:lnTo>
                      <a:pt x="443" y="228"/>
                    </a:lnTo>
                    <a:lnTo>
                      <a:pt x="443" y="152"/>
                    </a:lnTo>
                    <a:lnTo>
                      <a:pt x="424" y="152"/>
                    </a:lnTo>
                    <a:close/>
                    <a:moveTo>
                      <a:pt x="424" y="0"/>
                    </a:moveTo>
                    <a:lnTo>
                      <a:pt x="424" y="76"/>
                    </a:lnTo>
                    <a:lnTo>
                      <a:pt x="443" y="76"/>
                    </a:lnTo>
                    <a:lnTo>
                      <a:pt x="443" y="0"/>
                    </a:lnTo>
                    <a:lnTo>
                      <a:pt x="424" y="0"/>
                    </a:lnTo>
                    <a:close/>
                  </a:path>
                </a:pathLst>
              </a:custGeom>
              <a:solidFill>
                <a:srgbClr val="0A0A0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83" name="任意多边形: 形状 82"/>
              <p:cNvSpPr/>
              <p:nvPr/>
            </p:nvSpPr>
            <p:spPr bwMode="auto">
              <a:xfrm>
                <a:off x="7021749" y="2494417"/>
                <a:ext cx="494272" cy="281150"/>
              </a:xfrm>
              <a:custGeom>
                <a:avLst/>
                <a:gdLst>
                  <a:gd name="T0" fmla="*/ 371 w 438"/>
                  <a:gd name="T1" fmla="*/ 114 h 249"/>
                  <a:gd name="T2" fmla="*/ 351 w 438"/>
                  <a:gd name="T3" fmla="*/ 114 h 249"/>
                  <a:gd name="T4" fmla="*/ 227 w 438"/>
                  <a:gd name="T5" fmla="*/ 0 h 249"/>
                  <a:gd name="T6" fmla="*/ 103 w 438"/>
                  <a:gd name="T7" fmla="*/ 114 h 249"/>
                  <a:gd name="T8" fmla="*/ 68 w 438"/>
                  <a:gd name="T9" fmla="*/ 114 h 249"/>
                  <a:gd name="T10" fmla="*/ 68 w 438"/>
                  <a:gd name="T11" fmla="*/ 114 h 249"/>
                  <a:gd name="T12" fmla="*/ 68 w 438"/>
                  <a:gd name="T13" fmla="*/ 114 h 249"/>
                  <a:gd name="T14" fmla="*/ 0 w 438"/>
                  <a:gd name="T15" fmla="*/ 182 h 249"/>
                  <a:gd name="T16" fmla="*/ 68 w 438"/>
                  <a:gd name="T17" fmla="*/ 249 h 249"/>
                  <a:gd name="T18" fmla="*/ 68 w 438"/>
                  <a:gd name="T19" fmla="*/ 249 h 249"/>
                  <a:gd name="T20" fmla="*/ 68 w 438"/>
                  <a:gd name="T21" fmla="*/ 249 h 249"/>
                  <a:gd name="T22" fmla="*/ 371 w 438"/>
                  <a:gd name="T23" fmla="*/ 249 h 249"/>
                  <a:gd name="T24" fmla="*/ 438 w 438"/>
                  <a:gd name="T25" fmla="*/ 182 h 249"/>
                  <a:gd name="T26" fmla="*/ 371 w 438"/>
                  <a:gd name="T27" fmla="*/ 114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8" h="249">
                    <a:moveTo>
                      <a:pt x="371" y="114"/>
                    </a:moveTo>
                    <a:cubicBezTo>
                      <a:pt x="351" y="114"/>
                      <a:pt x="351" y="114"/>
                      <a:pt x="351" y="114"/>
                    </a:cubicBezTo>
                    <a:cubicBezTo>
                      <a:pt x="346" y="50"/>
                      <a:pt x="292" y="0"/>
                      <a:pt x="227" y="0"/>
                    </a:cubicBezTo>
                    <a:cubicBezTo>
                      <a:pt x="162" y="0"/>
                      <a:pt x="108" y="50"/>
                      <a:pt x="103" y="114"/>
                    </a:cubicBezTo>
                    <a:cubicBezTo>
                      <a:pt x="68" y="114"/>
                      <a:pt x="68" y="114"/>
                      <a:pt x="68" y="114"/>
                    </a:cubicBezTo>
                    <a:cubicBezTo>
                      <a:pt x="68" y="114"/>
                      <a:pt x="68" y="114"/>
                      <a:pt x="68" y="114"/>
                    </a:cubicBezTo>
                    <a:cubicBezTo>
                      <a:pt x="68" y="114"/>
                      <a:pt x="68" y="114"/>
                      <a:pt x="68" y="114"/>
                    </a:cubicBezTo>
                    <a:cubicBezTo>
                      <a:pt x="31" y="114"/>
                      <a:pt x="0" y="144"/>
                      <a:pt x="0" y="182"/>
                    </a:cubicBezTo>
                    <a:cubicBezTo>
                      <a:pt x="0" y="219"/>
                      <a:pt x="31" y="249"/>
                      <a:pt x="68" y="249"/>
                    </a:cubicBezTo>
                    <a:cubicBezTo>
                      <a:pt x="68" y="249"/>
                      <a:pt x="68" y="249"/>
                      <a:pt x="68" y="249"/>
                    </a:cubicBezTo>
                    <a:cubicBezTo>
                      <a:pt x="68" y="249"/>
                      <a:pt x="68" y="249"/>
                      <a:pt x="68" y="249"/>
                    </a:cubicBezTo>
                    <a:cubicBezTo>
                      <a:pt x="371" y="249"/>
                      <a:pt x="371" y="249"/>
                      <a:pt x="371" y="249"/>
                    </a:cubicBezTo>
                    <a:cubicBezTo>
                      <a:pt x="408" y="249"/>
                      <a:pt x="438" y="219"/>
                      <a:pt x="438" y="182"/>
                    </a:cubicBezTo>
                    <a:cubicBezTo>
                      <a:pt x="438" y="144"/>
                      <a:pt x="408" y="114"/>
                      <a:pt x="371" y="11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84" name="任意多边形: 形状 83"/>
              <p:cNvSpPr/>
              <p:nvPr/>
            </p:nvSpPr>
            <p:spPr bwMode="auto">
              <a:xfrm>
                <a:off x="7019371" y="2492038"/>
                <a:ext cx="499981" cy="286858"/>
              </a:xfrm>
              <a:custGeom>
                <a:avLst/>
                <a:gdLst>
                  <a:gd name="T0" fmla="*/ 373 w 443"/>
                  <a:gd name="T1" fmla="*/ 116 h 254"/>
                  <a:gd name="T2" fmla="*/ 373 w 443"/>
                  <a:gd name="T3" fmla="*/ 114 h 254"/>
                  <a:gd name="T4" fmla="*/ 353 w 443"/>
                  <a:gd name="T5" fmla="*/ 114 h 254"/>
                  <a:gd name="T6" fmla="*/ 353 w 443"/>
                  <a:gd name="T7" fmla="*/ 116 h 254"/>
                  <a:gd name="T8" fmla="*/ 356 w 443"/>
                  <a:gd name="T9" fmla="*/ 116 h 254"/>
                  <a:gd name="T10" fmla="*/ 229 w 443"/>
                  <a:gd name="T11" fmla="*/ 0 h 254"/>
                  <a:gd name="T12" fmla="*/ 102 w 443"/>
                  <a:gd name="T13" fmla="*/ 116 h 254"/>
                  <a:gd name="T14" fmla="*/ 105 w 443"/>
                  <a:gd name="T15" fmla="*/ 116 h 254"/>
                  <a:gd name="T16" fmla="*/ 105 w 443"/>
                  <a:gd name="T17" fmla="*/ 114 h 254"/>
                  <a:gd name="T18" fmla="*/ 70 w 443"/>
                  <a:gd name="T19" fmla="*/ 114 h 254"/>
                  <a:gd name="T20" fmla="*/ 70 w 443"/>
                  <a:gd name="T21" fmla="*/ 114 h 254"/>
                  <a:gd name="T22" fmla="*/ 70 w 443"/>
                  <a:gd name="T23" fmla="*/ 116 h 254"/>
                  <a:gd name="T24" fmla="*/ 70 w 443"/>
                  <a:gd name="T25" fmla="*/ 114 h 254"/>
                  <a:gd name="T26" fmla="*/ 70 w 443"/>
                  <a:gd name="T27" fmla="*/ 114 h 254"/>
                  <a:gd name="T28" fmla="*/ 70 w 443"/>
                  <a:gd name="T29" fmla="*/ 114 h 254"/>
                  <a:gd name="T30" fmla="*/ 70 w 443"/>
                  <a:gd name="T31" fmla="*/ 114 h 254"/>
                  <a:gd name="T32" fmla="*/ 0 w 443"/>
                  <a:gd name="T33" fmla="*/ 184 h 254"/>
                  <a:gd name="T34" fmla="*/ 70 w 443"/>
                  <a:gd name="T35" fmla="*/ 254 h 254"/>
                  <a:gd name="T36" fmla="*/ 70 w 443"/>
                  <a:gd name="T37" fmla="*/ 254 h 254"/>
                  <a:gd name="T38" fmla="*/ 70 w 443"/>
                  <a:gd name="T39" fmla="*/ 254 h 254"/>
                  <a:gd name="T40" fmla="*/ 70 w 443"/>
                  <a:gd name="T41" fmla="*/ 251 h 254"/>
                  <a:gd name="T42" fmla="*/ 70 w 443"/>
                  <a:gd name="T43" fmla="*/ 254 h 254"/>
                  <a:gd name="T44" fmla="*/ 70 w 443"/>
                  <a:gd name="T45" fmla="*/ 254 h 254"/>
                  <a:gd name="T46" fmla="*/ 70 w 443"/>
                  <a:gd name="T47" fmla="*/ 254 h 254"/>
                  <a:gd name="T48" fmla="*/ 373 w 443"/>
                  <a:gd name="T49" fmla="*/ 254 h 254"/>
                  <a:gd name="T50" fmla="*/ 443 w 443"/>
                  <a:gd name="T51" fmla="*/ 184 h 254"/>
                  <a:gd name="T52" fmla="*/ 373 w 443"/>
                  <a:gd name="T53" fmla="*/ 114 h 254"/>
                  <a:gd name="T54" fmla="*/ 373 w 443"/>
                  <a:gd name="T55" fmla="*/ 116 h 254"/>
                  <a:gd name="T56" fmla="*/ 373 w 443"/>
                  <a:gd name="T57" fmla="*/ 119 h 254"/>
                  <a:gd name="T58" fmla="*/ 418 w 443"/>
                  <a:gd name="T59" fmla="*/ 138 h 254"/>
                  <a:gd name="T60" fmla="*/ 437 w 443"/>
                  <a:gd name="T61" fmla="*/ 184 h 254"/>
                  <a:gd name="T62" fmla="*/ 418 w 443"/>
                  <a:gd name="T63" fmla="*/ 230 h 254"/>
                  <a:gd name="T64" fmla="*/ 373 w 443"/>
                  <a:gd name="T65" fmla="*/ 249 h 254"/>
                  <a:gd name="T66" fmla="*/ 70 w 443"/>
                  <a:gd name="T67" fmla="*/ 249 h 254"/>
                  <a:gd name="T68" fmla="*/ 70 w 443"/>
                  <a:gd name="T69" fmla="*/ 251 h 254"/>
                  <a:gd name="T70" fmla="*/ 70 w 443"/>
                  <a:gd name="T71" fmla="*/ 249 h 254"/>
                  <a:gd name="T72" fmla="*/ 70 w 443"/>
                  <a:gd name="T73" fmla="*/ 249 h 254"/>
                  <a:gd name="T74" fmla="*/ 70 w 443"/>
                  <a:gd name="T75" fmla="*/ 249 h 254"/>
                  <a:gd name="T76" fmla="*/ 70 w 443"/>
                  <a:gd name="T77" fmla="*/ 249 h 254"/>
                  <a:gd name="T78" fmla="*/ 70 w 443"/>
                  <a:gd name="T79" fmla="*/ 251 h 254"/>
                  <a:gd name="T80" fmla="*/ 70 w 443"/>
                  <a:gd name="T81" fmla="*/ 249 h 254"/>
                  <a:gd name="T82" fmla="*/ 24 w 443"/>
                  <a:gd name="T83" fmla="*/ 230 h 254"/>
                  <a:gd name="T84" fmla="*/ 5 w 443"/>
                  <a:gd name="T85" fmla="*/ 184 h 254"/>
                  <a:gd name="T86" fmla="*/ 24 w 443"/>
                  <a:gd name="T87" fmla="*/ 138 h 254"/>
                  <a:gd name="T88" fmla="*/ 70 w 443"/>
                  <a:gd name="T89" fmla="*/ 119 h 254"/>
                  <a:gd name="T90" fmla="*/ 70 w 443"/>
                  <a:gd name="T91" fmla="*/ 116 h 254"/>
                  <a:gd name="T92" fmla="*/ 70 w 443"/>
                  <a:gd name="T93" fmla="*/ 119 h 254"/>
                  <a:gd name="T94" fmla="*/ 70 w 443"/>
                  <a:gd name="T95" fmla="*/ 119 h 254"/>
                  <a:gd name="T96" fmla="*/ 70 w 443"/>
                  <a:gd name="T97" fmla="*/ 119 h 254"/>
                  <a:gd name="T98" fmla="*/ 70 w 443"/>
                  <a:gd name="T99" fmla="*/ 119 h 254"/>
                  <a:gd name="T100" fmla="*/ 107 w 443"/>
                  <a:gd name="T101" fmla="*/ 119 h 254"/>
                  <a:gd name="T102" fmla="*/ 108 w 443"/>
                  <a:gd name="T103" fmla="*/ 116 h 254"/>
                  <a:gd name="T104" fmla="*/ 229 w 443"/>
                  <a:gd name="T105" fmla="*/ 5 h 254"/>
                  <a:gd name="T106" fmla="*/ 350 w 443"/>
                  <a:gd name="T107" fmla="*/ 116 h 254"/>
                  <a:gd name="T108" fmla="*/ 351 w 443"/>
                  <a:gd name="T109" fmla="*/ 119 h 254"/>
                  <a:gd name="T110" fmla="*/ 373 w 443"/>
                  <a:gd name="T111" fmla="*/ 119 h 254"/>
                  <a:gd name="T112" fmla="*/ 373 w 443"/>
                  <a:gd name="T113" fmla="*/ 116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43" h="254">
                    <a:moveTo>
                      <a:pt x="373" y="116"/>
                    </a:moveTo>
                    <a:cubicBezTo>
                      <a:pt x="373" y="114"/>
                      <a:pt x="373" y="114"/>
                      <a:pt x="373" y="114"/>
                    </a:cubicBezTo>
                    <a:cubicBezTo>
                      <a:pt x="353" y="114"/>
                      <a:pt x="353" y="114"/>
                      <a:pt x="353" y="114"/>
                    </a:cubicBezTo>
                    <a:cubicBezTo>
                      <a:pt x="353" y="116"/>
                      <a:pt x="353" y="116"/>
                      <a:pt x="353" y="116"/>
                    </a:cubicBezTo>
                    <a:cubicBezTo>
                      <a:pt x="356" y="116"/>
                      <a:pt x="356" y="116"/>
                      <a:pt x="356" y="116"/>
                    </a:cubicBezTo>
                    <a:cubicBezTo>
                      <a:pt x="350" y="51"/>
                      <a:pt x="296" y="0"/>
                      <a:pt x="229" y="0"/>
                    </a:cubicBezTo>
                    <a:cubicBezTo>
                      <a:pt x="162" y="0"/>
                      <a:pt x="108" y="51"/>
                      <a:pt x="102" y="116"/>
                    </a:cubicBezTo>
                    <a:cubicBezTo>
                      <a:pt x="105" y="116"/>
                      <a:pt x="105" y="116"/>
                      <a:pt x="105" y="116"/>
                    </a:cubicBezTo>
                    <a:cubicBezTo>
                      <a:pt x="105" y="114"/>
                      <a:pt x="105" y="114"/>
                      <a:pt x="105" y="114"/>
                    </a:cubicBezTo>
                    <a:cubicBezTo>
                      <a:pt x="70" y="114"/>
                      <a:pt x="70" y="114"/>
                      <a:pt x="70" y="114"/>
                    </a:cubicBezTo>
                    <a:cubicBezTo>
                      <a:pt x="70" y="114"/>
                      <a:pt x="70" y="114"/>
                      <a:pt x="70" y="114"/>
                    </a:cubicBezTo>
                    <a:cubicBezTo>
                      <a:pt x="70" y="116"/>
                      <a:pt x="70" y="116"/>
                      <a:pt x="70" y="116"/>
                    </a:cubicBezTo>
                    <a:cubicBezTo>
                      <a:pt x="70" y="114"/>
                      <a:pt x="70" y="114"/>
                      <a:pt x="70" y="114"/>
                    </a:cubicBezTo>
                    <a:cubicBezTo>
                      <a:pt x="70" y="114"/>
                      <a:pt x="70" y="114"/>
                      <a:pt x="70" y="114"/>
                    </a:cubicBezTo>
                    <a:cubicBezTo>
                      <a:pt x="70" y="114"/>
                      <a:pt x="70" y="114"/>
                      <a:pt x="70" y="114"/>
                    </a:cubicBezTo>
                    <a:cubicBezTo>
                      <a:pt x="70" y="114"/>
                      <a:pt x="70" y="114"/>
                      <a:pt x="70" y="114"/>
                    </a:cubicBezTo>
                    <a:cubicBezTo>
                      <a:pt x="31" y="114"/>
                      <a:pt x="0" y="145"/>
                      <a:pt x="0" y="184"/>
                    </a:cubicBezTo>
                    <a:cubicBezTo>
                      <a:pt x="0" y="222"/>
                      <a:pt x="31" y="254"/>
                      <a:pt x="70" y="254"/>
                    </a:cubicBezTo>
                    <a:cubicBezTo>
                      <a:pt x="70" y="254"/>
                      <a:pt x="70" y="254"/>
                      <a:pt x="70" y="254"/>
                    </a:cubicBezTo>
                    <a:cubicBezTo>
                      <a:pt x="70" y="254"/>
                      <a:pt x="70" y="254"/>
                      <a:pt x="70" y="254"/>
                    </a:cubicBezTo>
                    <a:cubicBezTo>
                      <a:pt x="70" y="251"/>
                      <a:pt x="70" y="251"/>
                      <a:pt x="70" y="251"/>
                    </a:cubicBezTo>
                    <a:cubicBezTo>
                      <a:pt x="70" y="254"/>
                      <a:pt x="70" y="254"/>
                      <a:pt x="70" y="254"/>
                    </a:cubicBezTo>
                    <a:cubicBezTo>
                      <a:pt x="70" y="254"/>
                      <a:pt x="70" y="254"/>
                      <a:pt x="70" y="254"/>
                    </a:cubicBezTo>
                    <a:cubicBezTo>
                      <a:pt x="70" y="254"/>
                      <a:pt x="70" y="254"/>
                      <a:pt x="70" y="254"/>
                    </a:cubicBezTo>
                    <a:cubicBezTo>
                      <a:pt x="373" y="254"/>
                      <a:pt x="373" y="254"/>
                      <a:pt x="373" y="254"/>
                    </a:cubicBezTo>
                    <a:cubicBezTo>
                      <a:pt x="411" y="254"/>
                      <a:pt x="443" y="222"/>
                      <a:pt x="443" y="184"/>
                    </a:cubicBezTo>
                    <a:cubicBezTo>
                      <a:pt x="443" y="145"/>
                      <a:pt x="411" y="114"/>
                      <a:pt x="373" y="114"/>
                    </a:cubicBezTo>
                    <a:cubicBezTo>
                      <a:pt x="373" y="116"/>
                      <a:pt x="373" y="116"/>
                      <a:pt x="373" y="116"/>
                    </a:cubicBezTo>
                    <a:cubicBezTo>
                      <a:pt x="373" y="119"/>
                      <a:pt x="373" y="119"/>
                      <a:pt x="373" y="119"/>
                    </a:cubicBezTo>
                    <a:cubicBezTo>
                      <a:pt x="391" y="119"/>
                      <a:pt x="407" y="126"/>
                      <a:pt x="418" y="138"/>
                    </a:cubicBezTo>
                    <a:cubicBezTo>
                      <a:pt x="430" y="150"/>
                      <a:pt x="437" y="166"/>
                      <a:pt x="437" y="184"/>
                    </a:cubicBezTo>
                    <a:cubicBezTo>
                      <a:pt x="437" y="202"/>
                      <a:pt x="430" y="218"/>
                      <a:pt x="418" y="230"/>
                    </a:cubicBezTo>
                    <a:cubicBezTo>
                      <a:pt x="407" y="241"/>
                      <a:pt x="391" y="249"/>
                      <a:pt x="373" y="249"/>
                    </a:cubicBezTo>
                    <a:cubicBezTo>
                      <a:pt x="70" y="249"/>
                      <a:pt x="70" y="249"/>
                      <a:pt x="70" y="249"/>
                    </a:cubicBezTo>
                    <a:cubicBezTo>
                      <a:pt x="70" y="251"/>
                      <a:pt x="70" y="251"/>
                      <a:pt x="70" y="251"/>
                    </a:cubicBezTo>
                    <a:cubicBezTo>
                      <a:pt x="70" y="249"/>
                      <a:pt x="70" y="249"/>
                      <a:pt x="70" y="249"/>
                    </a:cubicBezTo>
                    <a:cubicBezTo>
                      <a:pt x="70" y="249"/>
                      <a:pt x="70" y="249"/>
                      <a:pt x="70" y="249"/>
                    </a:cubicBezTo>
                    <a:cubicBezTo>
                      <a:pt x="70" y="249"/>
                      <a:pt x="70" y="249"/>
                      <a:pt x="70" y="249"/>
                    </a:cubicBezTo>
                    <a:cubicBezTo>
                      <a:pt x="70" y="249"/>
                      <a:pt x="70" y="249"/>
                      <a:pt x="70" y="249"/>
                    </a:cubicBezTo>
                    <a:cubicBezTo>
                      <a:pt x="70" y="251"/>
                      <a:pt x="70" y="251"/>
                      <a:pt x="70" y="251"/>
                    </a:cubicBezTo>
                    <a:cubicBezTo>
                      <a:pt x="70" y="249"/>
                      <a:pt x="70" y="249"/>
                      <a:pt x="70" y="249"/>
                    </a:cubicBezTo>
                    <a:cubicBezTo>
                      <a:pt x="52" y="249"/>
                      <a:pt x="36" y="241"/>
                      <a:pt x="24" y="230"/>
                    </a:cubicBezTo>
                    <a:cubicBezTo>
                      <a:pt x="12" y="218"/>
                      <a:pt x="5" y="202"/>
                      <a:pt x="5" y="184"/>
                    </a:cubicBezTo>
                    <a:cubicBezTo>
                      <a:pt x="5" y="166"/>
                      <a:pt x="12" y="150"/>
                      <a:pt x="24" y="138"/>
                    </a:cubicBezTo>
                    <a:cubicBezTo>
                      <a:pt x="36" y="126"/>
                      <a:pt x="52" y="119"/>
                      <a:pt x="70" y="119"/>
                    </a:cubicBezTo>
                    <a:cubicBezTo>
                      <a:pt x="70" y="116"/>
                      <a:pt x="70" y="116"/>
                      <a:pt x="70" y="116"/>
                    </a:cubicBezTo>
                    <a:cubicBezTo>
                      <a:pt x="70" y="119"/>
                      <a:pt x="70" y="119"/>
                      <a:pt x="70" y="119"/>
                    </a:cubicBezTo>
                    <a:cubicBezTo>
                      <a:pt x="70" y="119"/>
                      <a:pt x="70" y="119"/>
                      <a:pt x="70" y="119"/>
                    </a:cubicBezTo>
                    <a:cubicBezTo>
                      <a:pt x="70" y="119"/>
                      <a:pt x="70" y="119"/>
                      <a:pt x="70" y="119"/>
                    </a:cubicBezTo>
                    <a:cubicBezTo>
                      <a:pt x="70" y="119"/>
                      <a:pt x="70" y="119"/>
                      <a:pt x="70" y="119"/>
                    </a:cubicBezTo>
                    <a:cubicBezTo>
                      <a:pt x="107" y="119"/>
                      <a:pt x="107" y="119"/>
                      <a:pt x="107" y="119"/>
                    </a:cubicBezTo>
                    <a:cubicBezTo>
                      <a:pt x="108" y="116"/>
                      <a:pt x="108" y="116"/>
                      <a:pt x="108" y="116"/>
                    </a:cubicBezTo>
                    <a:cubicBezTo>
                      <a:pt x="113" y="54"/>
                      <a:pt x="165" y="5"/>
                      <a:pt x="229" y="5"/>
                    </a:cubicBezTo>
                    <a:cubicBezTo>
                      <a:pt x="293" y="5"/>
                      <a:pt x="345" y="54"/>
                      <a:pt x="350" y="116"/>
                    </a:cubicBezTo>
                    <a:cubicBezTo>
                      <a:pt x="351" y="119"/>
                      <a:pt x="351" y="119"/>
                      <a:pt x="351" y="119"/>
                    </a:cubicBezTo>
                    <a:cubicBezTo>
                      <a:pt x="373" y="119"/>
                      <a:pt x="373" y="119"/>
                      <a:pt x="373" y="119"/>
                    </a:cubicBezTo>
                    <a:lnTo>
                      <a:pt x="373" y="116"/>
                    </a:lnTo>
                    <a:close/>
                  </a:path>
                </a:pathLst>
              </a:custGeom>
              <a:solidFill>
                <a:srgbClr val="0A0A0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85" name="任意多边形: 形状 84"/>
              <p:cNvSpPr/>
              <p:nvPr/>
            </p:nvSpPr>
            <p:spPr bwMode="auto">
              <a:xfrm>
                <a:off x="7066943" y="2528193"/>
                <a:ext cx="431001" cy="244995"/>
              </a:xfrm>
              <a:custGeom>
                <a:avLst/>
                <a:gdLst>
                  <a:gd name="T0" fmla="*/ 323 w 382"/>
                  <a:gd name="T1" fmla="*/ 99 h 217"/>
                  <a:gd name="T2" fmla="*/ 306 w 382"/>
                  <a:gd name="T3" fmla="*/ 99 h 217"/>
                  <a:gd name="T4" fmla="*/ 198 w 382"/>
                  <a:gd name="T5" fmla="*/ 0 h 217"/>
                  <a:gd name="T6" fmla="*/ 90 w 382"/>
                  <a:gd name="T7" fmla="*/ 99 h 217"/>
                  <a:gd name="T8" fmla="*/ 59 w 382"/>
                  <a:gd name="T9" fmla="*/ 99 h 217"/>
                  <a:gd name="T10" fmla="*/ 59 w 382"/>
                  <a:gd name="T11" fmla="*/ 99 h 217"/>
                  <a:gd name="T12" fmla="*/ 59 w 382"/>
                  <a:gd name="T13" fmla="*/ 99 h 217"/>
                  <a:gd name="T14" fmla="*/ 0 w 382"/>
                  <a:gd name="T15" fmla="*/ 158 h 217"/>
                  <a:gd name="T16" fmla="*/ 59 w 382"/>
                  <a:gd name="T17" fmla="*/ 217 h 217"/>
                  <a:gd name="T18" fmla="*/ 59 w 382"/>
                  <a:gd name="T19" fmla="*/ 217 h 217"/>
                  <a:gd name="T20" fmla="*/ 59 w 382"/>
                  <a:gd name="T21" fmla="*/ 217 h 217"/>
                  <a:gd name="T22" fmla="*/ 323 w 382"/>
                  <a:gd name="T23" fmla="*/ 217 h 217"/>
                  <a:gd name="T24" fmla="*/ 382 w 382"/>
                  <a:gd name="T25" fmla="*/ 158 h 217"/>
                  <a:gd name="T26" fmla="*/ 323 w 382"/>
                  <a:gd name="T27" fmla="*/ 99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82" h="217">
                    <a:moveTo>
                      <a:pt x="323" y="99"/>
                    </a:moveTo>
                    <a:cubicBezTo>
                      <a:pt x="306" y="99"/>
                      <a:pt x="306" y="99"/>
                      <a:pt x="306" y="99"/>
                    </a:cubicBezTo>
                    <a:cubicBezTo>
                      <a:pt x="301" y="43"/>
                      <a:pt x="255" y="0"/>
                      <a:pt x="198" y="0"/>
                    </a:cubicBezTo>
                    <a:cubicBezTo>
                      <a:pt x="141" y="0"/>
                      <a:pt x="94" y="43"/>
                      <a:pt x="90" y="99"/>
                    </a:cubicBezTo>
                    <a:cubicBezTo>
                      <a:pt x="59" y="99"/>
                      <a:pt x="59" y="99"/>
                      <a:pt x="59" y="99"/>
                    </a:cubicBezTo>
                    <a:cubicBezTo>
                      <a:pt x="59" y="99"/>
                      <a:pt x="59" y="99"/>
                      <a:pt x="59" y="99"/>
                    </a:cubicBezTo>
                    <a:cubicBezTo>
                      <a:pt x="59" y="99"/>
                      <a:pt x="59" y="99"/>
                      <a:pt x="59" y="99"/>
                    </a:cubicBezTo>
                    <a:cubicBezTo>
                      <a:pt x="27" y="99"/>
                      <a:pt x="0" y="125"/>
                      <a:pt x="0" y="158"/>
                    </a:cubicBezTo>
                    <a:cubicBezTo>
                      <a:pt x="0" y="190"/>
                      <a:pt x="27" y="217"/>
                      <a:pt x="59" y="217"/>
                    </a:cubicBezTo>
                    <a:cubicBezTo>
                      <a:pt x="59" y="217"/>
                      <a:pt x="59" y="217"/>
                      <a:pt x="59" y="217"/>
                    </a:cubicBezTo>
                    <a:cubicBezTo>
                      <a:pt x="59" y="217"/>
                      <a:pt x="59" y="217"/>
                      <a:pt x="59" y="217"/>
                    </a:cubicBezTo>
                    <a:cubicBezTo>
                      <a:pt x="323" y="217"/>
                      <a:pt x="323" y="217"/>
                      <a:pt x="323" y="217"/>
                    </a:cubicBezTo>
                    <a:cubicBezTo>
                      <a:pt x="355" y="217"/>
                      <a:pt x="382" y="190"/>
                      <a:pt x="382" y="158"/>
                    </a:cubicBezTo>
                    <a:cubicBezTo>
                      <a:pt x="382" y="125"/>
                      <a:pt x="355" y="99"/>
                      <a:pt x="323" y="99"/>
                    </a:cubicBezTo>
                    <a:close/>
                  </a:path>
                </a:pathLst>
              </a:custGeom>
              <a:solidFill>
                <a:srgbClr val="C7C5E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86" name="矩形 85"/>
              <p:cNvSpPr/>
              <p:nvPr/>
            </p:nvSpPr>
            <p:spPr bwMode="auto">
              <a:xfrm>
                <a:off x="7149242" y="2740363"/>
                <a:ext cx="115124" cy="57562"/>
              </a:xfrm>
              <a:prstGeom prst="rect">
                <a:avLst/>
              </a:prstGeom>
              <a:solidFill>
                <a:srgbClr val="C7C5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87" name="任意多边形: 形状 86"/>
              <p:cNvSpPr/>
              <p:nvPr/>
            </p:nvSpPr>
            <p:spPr bwMode="auto">
              <a:xfrm>
                <a:off x="7149242" y="2740363"/>
                <a:ext cx="115124" cy="57562"/>
              </a:xfrm>
              <a:custGeom>
                <a:avLst/>
                <a:gdLst>
                  <a:gd name="T0" fmla="*/ 242 w 242"/>
                  <a:gd name="T1" fmla="*/ 0 h 121"/>
                  <a:gd name="T2" fmla="*/ 242 w 242"/>
                  <a:gd name="T3" fmla="*/ 121 h 121"/>
                  <a:gd name="T4" fmla="*/ 0 w 242"/>
                  <a:gd name="T5" fmla="*/ 121 h 121"/>
                  <a:gd name="T6" fmla="*/ 0 w 242"/>
                  <a:gd name="T7" fmla="*/ 0 h 121"/>
                </a:gdLst>
                <a:ahLst/>
                <a:cxnLst>
                  <a:cxn ang="0">
                    <a:pos x="T0" y="T1"/>
                  </a:cxn>
                  <a:cxn ang="0">
                    <a:pos x="T2" y="T3"/>
                  </a:cxn>
                  <a:cxn ang="0">
                    <a:pos x="T4" y="T5"/>
                  </a:cxn>
                  <a:cxn ang="0">
                    <a:pos x="T6" y="T7"/>
                  </a:cxn>
                </a:cxnLst>
                <a:rect l="0" t="0" r="r" b="b"/>
                <a:pathLst>
                  <a:path w="242" h="121">
                    <a:moveTo>
                      <a:pt x="242" y="0"/>
                    </a:moveTo>
                    <a:lnTo>
                      <a:pt x="242" y="121"/>
                    </a:lnTo>
                    <a:lnTo>
                      <a:pt x="0" y="12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88" name="任意多边形: 形状 87"/>
              <p:cNvSpPr/>
              <p:nvPr/>
            </p:nvSpPr>
            <p:spPr bwMode="auto">
              <a:xfrm>
                <a:off x="7146863" y="2740363"/>
                <a:ext cx="119881" cy="59941"/>
              </a:xfrm>
              <a:custGeom>
                <a:avLst/>
                <a:gdLst>
                  <a:gd name="T0" fmla="*/ 240 w 252"/>
                  <a:gd name="T1" fmla="*/ 0 h 126"/>
                  <a:gd name="T2" fmla="*/ 240 w 252"/>
                  <a:gd name="T3" fmla="*/ 114 h 126"/>
                  <a:gd name="T4" fmla="*/ 12 w 252"/>
                  <a:gd name="T5" fmla="*/ 114 h 126"/>
                  <a:gd name="T6" fmla="*/ 12 w 252"/>
                  <a:gd name="T7" fmla="*/ 0 h 126"/>
                  <a:gd name="T8" fmla="*/ 0 w 252"/>
                  <a:gd name="T9" fmla="*/ 0 h 126"/>
                  <a:gd name="T10" fmla="*/ 0 w 252"/>
                  <a:gd name="T11" fmla="*/ 126 h 126"/>
                  <a:gd name="T12" fmla="*/ 252 w 252"/>
                  <a:gd name="T13" fmla="*/ 126 h 126"/>
                  <a:gd name="T14" fmla="*/ 252 w 252"/>
                  <a:gd name="T15" fmla="*/ 0 h 126"/>
                  <a:gd name="T16" fmla="*/ 240 w 252"/>
                  <a:gd name="T17" fmla="*/ 0 h 126"/>
                  <a:gd name="T18" fmla="*/ 240 w 252"/>
                  <a:gd name="T19"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2" h="126">
                    <a:moveTo>
                      <a:pt x="240" y="0"/>
                    </a:moveTo>
                    <a:lnTo>
                      <a:pt x="240" y="114"/>
                    </a:lnTo>
                    <a:lnTo>
                      <a:pt x="12" y="114"/>
                    </a:lnTo>
                    <a:lnTo>
                      <a:pt x="12" y="0"/>
                    </a:lnTo>
                    <a:lnTo>
                      <a:pt x="0" y="0"/>
                    </a:lnTo>
                    <a:lnTo>
                      <a:pt x="0" y="126"/>
                    </a:lnTo>
                    <a:lnTo>
                      <a:pt x="252" y="126"/>
                    </a:lnTo>
                    <a:lnTo>
                      <a:pt x="252" y="0"/>
                    </a:lnTo>
                    <a:lnTo>
                      <a:pt x="240" y="0"/>
                    </a:lnTo>
                    <a:lnTo>
                      <a:pt x="240" y="0"/>
                    </a:lnTo>
                    <a:close/>
                  </a:path>
                </a:pathLst>
              </a:custGeom>
              <a:solidFill>
                <a:srgbClr val="0A0A0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89" name="矩形 88"/>
              <p:cNvSpPr/>
              <p:nvPr/>
            </p:nvSpPr>
            <p:spPr bwMode="auto">
              <a:xfrm>
                <a:off x="4960459" y="4134695"/>
                <a:ext cx="2247297" cy="7611"/>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90" name="任意多边形: 形状 89"/>
              <p:cNvSpPr/>
              <p:nvPr/>
            </p:nvSpPr>
            <p:spPr bwMode="auto">
              <a:xfrm>
                <a:off x="4960459" y="4134695"/>
                <a:ext cx="2247297" cy="7611"/>
              </a:xfrm>
              <a:custGeom>
                <a:avLst/>
                <a:gdLst>
                  <a:gd name="T0" fmla="*/ 0 w 4724"/>
                  <a:gd name="T1" fmla="*/ 16 h 16"/>
                  <a:gd name="T2" fmla="*/ 4724 w 4724"/>
                  <a:gd name="T3" fmla="*/ 16 h 16"/>
                  <a:gd name="T4" fmla="*/ 4724 w 4724"/>
                  <a:gd name="T5" fmla="*/ 0 h 16"/>
                  <a:gd name="T6" fmla="*/ 0 w 4724"/>
                  <a:gd name="T7" fmla="*/ 0 h 16"/>
                </a:gdLst>
                <a:ahLst/>
                <a:cxnLst>
                  <a:cxn ang="0">
                    <a:pos x="T0" y="T1"/>
                  </a:cxn>
                  <a:cxn ang="0">
                    <a:pos x="T2" y="T3"/>
                  </a:cxn>
                  <a:cxn ang="0">
                    <a:pos x="T4" y="T5"/>
                  </a:cxn>
                  <a:cxn ang="0">
                    <a:pos x="T6" y="T7"/>
                  </a:cxn>
                </a:cxnLst>
                <a:rect l="0" t="0" r="r" b="b"/>
                <a:pathLst>
                  <a:path w="4724" h="16">
                    <a:moveTo>
                      <a:pt x="0" y="16"/>
                    </a:moveTo>
                    <a:lnTo>
                      <a:pt x="4724" y="16"/>
                    </a:lnTo>
                    <a:lnTo>
                      <a:pt x="472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91" name="矩形 90"/>
              <p:cNvSpPr/>
              <p:nvPr/>
            </p:nvSpPr>
            <p:spPr bwMode="auto">
              <a:xfrm>
                <a:off x="4837247" y="4134695"/>
                <a:ext cx="100377" cy="7611"/>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92" name="任意多边形: 形状 91"/>
              <p:cNvSpPr/>
              <p:nvPr/>
            </p:nvSpPr>
            <p:spPr bwMode="auto">
              <a:xfrm>
                <a:off x="4837247" y="4134695"/>
                <a:ext cx="100377" cy="7611"/>
              </a:xfrm>
              <a:custGeom>
                <a:avLst/>
                <a:gdLst>
                  <a:gd name="T0" fmla="*/ 0 w 211"/>
                  <a:gd name="T1" fmla="*/ 16 h 16"/>
                  <a:gd name="T2" fmla="*/ 211 w 211"/>
                  <a:gd name="T3" fmla="*/ 16 h 16"/>
                  <a:gd name="T4" fmla="*/ 211 w 211"/>
                  <a:gd name="T5" fmla="*/ 0 h 16"/>
                  <a:gd name="T6" fmla="*/ 0 w 211"/>
                  <a:gd name="T7" fmla="*/ 0 h 16"/>
                </a:gdLst>
                <a:ahLst/>
                <a:cxnLst>
                  <a:cxn ang="0">
                    <a:pos x="T0" y="T1"/>
                  </a:cxn>
                  <a:cxn ang="0">
                    <a:pos x="T2" y="T3"/>
                  </a:cxn>
                  <a:cxn ang="0">
                    <a:pos x="T4" y="T5"/>
                  </a:cxn>
                  <a:cxn ang="0">
                    <a:pos x="T6" y="T7"/>
                  </a:cxn>
                </a:cxnLst>
                <a:rect l="0" t="0" r="r" b="b"/>
                <a:pathLst>
                  <a:path w="211" h="16">
                    <a:moveTo>
                      <a:pt x="0" y="16"/>
                    </a:moveTo>
                    <a:lnTo>
                      <a:pt x="211" y="16"/>
                    </a:lnTo>
                    <a:lnTo>
                      <a:pt x="211"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93" name="矩形 92"/>
              <p:cNvSpPr/>
              <p:nvPr/>
            </p:nvSpPr>
            <p:spPr bwMode="auto">
              <a:xfrm>
                <a:off x="7261036" y="4134695"/>
                <a:ext cx="153657" cy="7611"/>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94" name="任意多边形: 形状 93"/>
              <p:cNvSpPr/>
              <p:nvPr/>
            </p:nvSpPr>
            <p:spPr bwMode="auto">
              <a:xfrm>
                <a:off x="7261036" y="4134695"/>
                <a:ext cx="153657" cy="7611"/>
              </a:xfrm>
              <a:custGeom>
                <a:avLst/>
                <a:gdLst>
                  <a:gd name="T0" fmla="*/ 0 w 323"/>
                  <a:gd name="T1" fmla="*/ 16 h 16"/>
                  <a:gd name="T2" fmla="*/ 323 w 323"/>
                  <a:gd name="T3" fmla="*/ 16 h 16"/>
                  <a:gd name="T4" fmla="*/ 323 w 323"/>
                  <a:gd name="T5" fmla="*/ 0 h 16"/>
                  <a:gd name="T6" fmla="*/ 0 w 323"/>
                  <a:gd name="T7" fmla="*/ 0 h 16"/>
                </a:gdLst>
                <a:ahLst/>
                <a:cxnLst>
                  <a:cxn ang="0">
                    <a:pos x="T0" y="T1"/>
                  </a:cxn>
                  <a:cxn ang="0">
                    <a:pos x="T2" y="T3"/>
                  </a:cxn>
                  <a:cxn ang="0">
                    <a:pos x="T4" y="T5"/>
                  </a:cxn>
                  <a:cxn ang="0">
                    <a:pos x="T6" y="T7"/>
                  </a:cxn>
                </a:cxnLst>
                <a:rect l="0" t="0" r="r" b="b"/>
                <a:pathLst>
                  <a:path w="323" h="16">
                    <a:moveTo>
                      <a:pt x="0" y="16"/>
                    </a:moveTo>
                    <a:lnTo>
                      <a:pt x="323" y="16"/>
                    </a:lnTo>
                    <a:lnTo>
                      <a:pt x="323"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95" name="任意多边形: 形状 94"/>
              <p:cNvSpPr/>
              <p:nvPr/>
            </p:nvSpPr>
            <p:spPr bwMode="auto">
              <a:xfrm>
                <a:off x="6314831" y="3158520"/>
                <a:ext cx="192191" cy="552309"/>
              </a:xfrm>
              <a:custGeom>
                <a:avLst/>
                <a:gdLst>
                  <a:gd name="T0" fmla="*/ 160 w 170"/>
                  <a:gd name="T1" fmla="*/ 489 h 489"/>
                  <a:gd name="T2" fmla="*/ 10 w 170"/>
                  <a:gd name="T3" fmla="*/ 489 h 489"/>
                  <a:gd name="T4" fmla="*/ 0 w 170"/>
                  <a:gd name="T5" fmla="*/ 478 h 489"/>
                  <a:gd name="T6" fmla="*/ 0 w 170"/>
                  <a:gd name="T7" fmla="*/ 10 h 489"/>
                  <a:gd name="T8" fmla="*/ 10 w 170"/>
                  <a:gd name="T9" fmla="*/ 0 h 489"/>
                  <a:gd name="T10" fmla="*/ 160 w 170"/>
                  <a:gd name="T11" fmla="*/ 0 h 489"/>
                  <a:gd name="T12" fmla="*/ 170 w 170"/>
                  <a:gd name="T13" fmla="*/ 10 h 489"/>
                  <a:gd name="T14" fmla="*/ 170 w 170"/>
                  <a:gd name="T15" fmla="*/ 478 h 489"/>
                  <a:gd name="T16" fmla="*/ 160 w 170"/>
                  <a:gd name="T17" fmla="*/ 489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0" h="489">
                    <a:moveTo>
                      <a:pt x="160" y="489"/>
                    </a:moveTo>
                    <a:cubicBezTo>
                      <a:pt x="10" y="489"/>
                      <a:pt x="10" y="489"/>
                      <a:pt x="10" y="489"/>
                    </a:cubicBezTo>
                    <a:cubicBezTo>
                      <a:pt x="4" y="489"/>
                      <a:pt x="0" y="484"/>
                      <a:pt x="0" y="478"/>
                    </a:cubicBezTo>
                    <a:cubicBezTo>
                      <a:pt x="0" y="10"/>
                      <a:pt x="0" y="10"/>
                      <a:pt x="0" y="10"/>
                    </a:cubicBezTo>
                    <a:cubicBezTo>
                      <a:pt x="0" y="5"/>
                      <a:pt x="4" y="0"/>
                      <a:pt x="10" y="0"/>
                    </a:cubicBezTo>
                    <a:cubicBezTo>
                      <a:pt x="160" y="0"/>
                      <a:pt x="160" y="0"/>
                      <a:pt x="160" y="0"/>
                    </a:cubicBezTo>
                    <a:cubicBezTo>
                      <a:pt x="166" y="0"/>
                      <a:pt x="170" y="5"/>
                      <a:pt x="170" y="10"/>
                    </a:cubicBezTo>
                    <a:cubicBezTo>
                      <a:pt x="170" y="478"/>
                      <a:pt x="170" y="478"/>
                      <a:pt x="170" y="478"/>
                    </a:cubicBezTo>
                    <a:cubicBezTo>
                      <a:pt x="170" y="484"/>
                      <a:pt x="166" y="489"/>
                      <a:pt x="160" y="489"/>
                    </a:cubicBezTo>
                  </a:path>
                </a:pathLst>
              </a:custGeom>
              <a:solidFill>
                <a:srgbClr val="E9F8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96" name="任意多边形: 形状 95"/>
              <p:cNvSpPr/>
              <p:nvPr/>
            </p:nvSpPr>
            <p:spPr bwMode="auto">
              <a:xfrm>
                <a:off x="6310549" y="3153763"/>
                <a:ext cx="200753" cy="560397"/>
              </a:xfrm>
              <a:custGeom>
                <a:avLst/>
                <a:gdLst>
                  <a:gd name="T0" fmla="*/ 164 w 178"/>
                  <a:gd name="T1" fmla="*/ 493 h 496"/>
                  <a:gd name="T2" fmla="*/ 164 w 178"/>
                  <a:gd name="T3" fmla="*/ 489 h 496"/>
                  <a:gd name="T4" fmla="*/ 14 w 178"/>
                  <a:gd name="T5" fmla="*/ 489 h 496"/>
                  <a:gd name="T6" fmla="*/ 7 w 178"/>
                  <a:gd name="T7" fmla="*/ 482 h 496"/>
                  <a:gd name="T8" fmla="*/ 7 w 178"/>
                  <a:gd name="T9" fmla="*/ 14 h 496"/>
                  <a:gd name="T10" fmla="*/ 14 w 178"/>
                  <a:gd name="T11" fmla="*/ 7 h 496"/>
                  <a:gd name="T12" fmla="*/ 164 w 178"/>
                  <a:gd name="T13" fmla="*/ 7 h 496"/>
                  <a:gd name="T14" fmla="*/ 171 w 178"/>
                  <a:gd name="T15" fmla="*/ 14 h 496"/>
                  <a:gd name="T16" fmla="*/ 171 w 178"/>
                  <a:gd name="T17" fmla="*/ 482 h 496"/>
                  <a:gd name="T18" fmla="*/ 164 w 178"/>
                  <a:gd name="T19" fmla="*/ 489 h 496"/>
                  <a:gd name="T20" fmla="*/ 164 w 178"/>
                  <a:gd name="T21" fmla="*/ 493 h 496"/>
                  <a:gd name="T22" fmla="*/ 164 w 178"/>
                  <a:gd name="T23" fmla="*/ 496 h 496"/>
                  <a:gd name="T24" fmla="*/ 178 w 178"/>
                  <a:gd name="T25" fmla="*/ 482 h 496"/>
                  <a:gd name="T26" fmla="*/ 178 w 178"/>
                  <a:gd name="T27" fmla="*/ 14 h 496"/>
                  <a:gd name="T28" fmla="*/ 164 w 178"/>
                  <a:gd name="T29" fmla="*/ 0 h 496"/>
                  <a:gd name="T30" fmla="*/ 14 w 178"/>
                  <a:gd name="T31" fmla="*/ 0 h 496"/>
                  <a:gd name="T32" fmla="*/ 0 w 178"/>
                  <a:gd name="T33" fmla="*/ 14 h 496"/>
                  <a:gd name="T34" fmla="*/ 0 w 178"/>
                  <a:gd name="T35" fmla="*/ 482 h 496"/>
                  <a:gd name="T36" fmla="*/ 14 w 178"/>
                  <a:gd name="T37" fmla="*/ 496 h 496"/>
                  <a:gd name="T38" fmla="*/ 164 w 178"/>
                  <a:gd name="T39" fmla="*/ 496 h 496"/>
                  <a:gd name="T40" fmla="*/ 164 w 178"/>
                  <a:gd name="T41" fmla="*/ 493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8" h="496">
                    <a:moveTo>
                      <a:pt x="164" y="493"/>
                    </a:moveTo>
                    <a:cubicBezTo>
                      <a:pt x="164" y="489"/>
                      <a:pt x="164" y="489"/>
                      <a:pt x="164" y="489"/>
                    </a:cubicBezTo>
                    <a:cubicBezTo>
                      <a:pt x="14" y="489"/>
                      <a:pt x="14" y="489"/>
                      <a:pt x="14" y="489"/>
                    </a:cubicBezTo>
                    <a:cubicBezTo>
                      <a:pt x="10" y="489"/>
                      <a:pt x="7" y="486"/>
                      <a:pt x="7" y="482"/>
                    </a:cubicBezTo>
                    <a:cubicBezTo>
                      <a:pt x="7" y="14"/>
                      <a:pt x="7" y="14"/>
                      <a:pt x="7" y="14"/>
                    </a:cubicBezTo>
                    <a:cubicBezTo>
                      <a:pt x="7" y="10"/>
                      <a:pt x="10" y="7"/>
                      <a:pt x="14" y="7"/>
                    </a:cubicBezTo>
                    <a:cubicBezTo>
                      <a:pt x="164" y="7"/>
                      <a:pt x="164" y="7"/>
                      <a:pt x="164" y="7"/>
                    </a:cubicBezTo>
                    <a:cubicBezTo>
                      <a:pt x="168" y="7"/>
                      <a:pt x="171" y="10"/>
                      <a:pt x="171" y="14"/>
                    </a:cubicBezTo>
                    <a:cubicBezTo>
                      <a:pt x="171" y="482"/>
                      <a:pt x="171" y="482"/>
                      <a:pt x="171" y="482"/>
                    </a:cubicBezTo>
                    <a:cubicBezTo>
                      <a:pt x="171" y="486"/>
                      <a:pt x="168" y="489"/>
                      <a:pt x="164" y="489"/>
                    </a:cubicBezTo>
                    <a:cubicBezTo>
                      <a:pt x="164" y="493"/>
                      <a:pt x="164" y="493"/>
                      <a:pt x="164" y="493"/>
                    </a:cubicBezTo>
                    <a:cubicBezTo>
                      <a:pt x="164" y="496"/>
                      <a:pt x="164" y="496"/>
                      <a:pt x="164" y="496"/>
                    </a:cubicBezTo>
                    <a:cubicBezTo>
                      <a:pt x="172" y="496"/>
                      <a:pt x="178" y="490"/>
                      <a:pt x="178" y="482"/>
                    </a:cubicBezTo>
                    <a:cubicBezTo>
                      <a:pt x="178" y="14"/>
                      <a:pt x="178" y="14"/>
                      <a:pt x="178" y="14"/>
                    </a:cubicBezTo>
                    <a:cubicBezTo>
                      <a:pt x="178" y="7"/>
                      <a:pt x="172" y="0"/>
                      <a:pt x="164" y="0"/>
                    </a:cubicBezTo>
                    <a:cubicBezTo>
                      <a:pt x="14" y="0"/>
                      <a:pt x="14" y="0"/>
                      <a:pt x="14" y="0"/>
                    </a:cubicBezTo>
                    <a:cubicBezTo>
                      <a:pt x="7" y="0"/>
                      <a:pt x="0" y="7"/>
                      <a:pt x="0" y="14"/>
                    </a:cubicBezTo>
                    <a:cubicBezTo>
                      <a:pt x="0" y="482"/>
                      <a:pt x="0" y="482"/>
                      <a:pt x="0" y="482"/>
                    </a:cubicBezTo>
                    <a:cubicBezTo>
                      <a:pt x="0" y="490"/>
                      <a:pt x="7" y="496"/>
                      <a:pt x="14" y="496"/>
                    </a:cubicBezTo>
                    <a:cubicBezTo>
                      <a:pt x="164" y="496"/>
                      <a:pt x="164" y="496"/>
                      <a:pt x="164" y="496"/>
                    </a:cubicBezTo>
                    <a:lnTo>
                      <a:pt x="164" y="493"/>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97" name="任意多边形: 形状 96"/>
              <p:cNvSpPr/>
              <p:nvPr/>
            </p:nvSpPr>
            <p:spPr bwMode="auto">
              <a:xfrm>
                <a:off x="6354315" y="3245576"/>
                <a:ext cx="54232" cy="383905"/>
              </a:xfrm>
              <a:custGeom>
                <a:avLst/>
                <a:gdLst>
                  <a:gd name="T0" fmla="*/ 48 w 48"/>
                  <a:gd name="T1" fmla="*/ 340 h 340"/>
                  <a:gd name="T2" fmla="*/ 29 w 48"/>
                  <a:gd name="T3" fmla="*/ 340 h 340"/>
                  <a:gd name="T4" fmla="*/ 0 w 48"/>
                  <a:gd name="T5" fmla="*/ 311 h 340"/>
                  <a:gd name="T6" fmla="*/ 0 w 48"/>
                  <a:gd name="T7" fmla="*/ 30 h 340"/>
                  <a:gd name="T8" fmla="*/ 29 w 48"/>
                  <a:gd name="T9" fmla="*/ 0 h 340"/>
                  <a:gd name="T10" fmla="*/ 48 w 48"/>
                  <a:gd name="T11" fmla="*/ 0 h 340"/>
                  <a:gd name="T12" fmla="*/ 48 w 48"/>
                  <a:gd name="T13" fmla="*/ 340 h 340"/>
                </a:gdLst>
                <a:ahLst/>
                <a:cxnLst>
                  <a:cxn ang="0">
                    <a:pos x="T0" y="T1"/>
                  </a:cxn>
                  <a:cxn ang="0">
                    <a:pos x="T2" y="T3"/>
                  </a:cxn>
                  <a:cxn ang="0">
                    <a:pos x="T4" y="T5"/>
                  </a:cxn>
                  <a:cxn ang="0">
                    <a:pos x="T6" y="T7"/>
                  </a:cxn>
                  <a:cxn ang="0">
                    <a:pos x="T8" y="T9"/>
                  </a:cxn>
                  <a:cxn ang="0">
                    <a:pos x="T10" y="T11"/>
                  </a:cxn>
                  <a:cxn ang="0">
                    <a:pos x="T12" y="T13"/>
                  </a:cxn>
                </a:cxnLst>
                <a:rect l="0" t="0" r="r" b="b"/>
                <a:pathLst>
                  <a:path w="48" h="340">
                    <a:moveTo>
                      <a:pt x="48" y="340"/>
                    </a:moveTo>
                    <a:cubicBezTo>
                      <a:pt x="29" y="340"/>
                      <a:pt x="29" y="340"/>
                      <a:pt x="29" y="340"/>
                    </a:cubicBezTo>
                    <a:cubicBezTo>
                      <a:pt x="13" y="340"/>
                      <a:pt x="0" y="327"/>
                      <a:pt x="0" y="311"/>
                    </a:cubicBezTo>
                    <a:cubicBezTo>
                      <a:pt x="0" y="30"/>
                      <a:pt x="0" y="30"/>
                      <a:pt x="0" y="30"/>
                    </a:cubicBezTo>
                    <a:cubicBezTo>
                      <a:pt x="0" y="13"/>
                      <a:pt x="13" y="0"/>
                      <a:pt x="29" y="0"/>
                    </a:cubicBezTo>
                    <a:cubicBezTo>
                      <a:pt x="48" y="0"/>
                      <a:pt x="48" y="0"/>
                      <a:pt x="48" y="0"/>
                    </a:cubicBezTo>
                    <a:cubicBezTo>
                      <a:pt x="48" y="340"/>
                      <a:pt x="48" y="340"/>
                      <a:pt x="48" y="340"/>
                    </a:cubicBezTo>
                  </a:path>
                </a:pathLst>
              </a:custGeom>
              <a:solidFill>
                <a:srgbClr val="4BA6D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98" name="任意多边形: 形状 97"/>
              <p:cNvSpPr/>
              <p:nvPr/>
            </p:nvSpPr>
            <p:spPr bwMode="auto">
              <a:xfrm>
                <a:off x="5914275" y="3271265"/>
                <a:ext cx="494272" cy="343469"/>
              </a:xfrm>
              <a:custGeom>
                <a:avLst/>
                <a:gdLst>
                  <a:gd name="T0" fmla="*/ 438 w 438"/>
                  <a:gd name="T1" fmla="*/ 304 h 304"/>
                  <a:gd name="T2" fmla="*/ 33 w 438"/>
                  <a:gd name="T3" fmla="*/ 304 h 304"/>
                  <a:gd name="T4" fmla="*/ 0 w 438"/>
                  <a:gd name="T5" fmla="*/ 271 h 304"/>
                  <a:gd name="T6" fmla="*/ 0 w 438"/>
                  <a:gd name="T7" fmla="*/ 33 h 304"/>
                  <a:gd name="T8" fmla="*/ 33 w 438"/>
                  <a:gd name="T9" fmla="*/ 0 h 304"/>
                  <a:gd name="T10" fmla="*/ 438 w 438"/>
                  <a:gd name="T11" fmla="*/ 0 h 304"/>
                  <a:gd name="T12" fmla="*/ 438 w 438"/>
                  <a:gd name="T13" fmla="*/ 304 h 304"/>
                </a:gdLst>
                <a:ahLst/>
                <a:cxnLst>
                  <a:cxn ang="0">
                    <a:pos x="T0" y="T1"/>
                  </a:cxn>
                  <a:cxn ang="0">
                    <a:pos x="T2" y="T3"/>
                  </a:cxn>
                  <a:cxn ang="0">
                    <a:pos x="T4" y="T5"/>
                  </a:cxn>
                  <a:cxn ang="0">
                    <a:pos x="T6" y="T7"/>
                  </a:cxn>
                  <a:cxn ang="0">
                    <a:pos x="T8" y="T9"/>
                  </a:cxn>
                  <a:cxn ang="0">
                    <a:pos x="T10" y="T11"/>
                  </a:cxn>
                  <a:cxn ang="0">
                    <a:pos x="T12" y="T13"/>
                  </a:cxn>
                </a:cxnLst>
                <a:rect l="0" t="0" r="r" b="b"/>
                <a:pathLst>
                  <a:path w="438" h="304">
                    <a:moveTo>
                      <a:pt x="438" y="304"/>
                    </a:moveTo>
                    <a:cubicBezTo>
                      <a:pt x="33" y="304"/>
                      <a:pt x="33" y="304"/>
                      <a:pt x="33" y="304"/>
                    </a:cubicBezTo>
                    <a:cubicBezTo>
                      <a:pt x="15" y="304"/>
                      <a:pt x="0" y="289"/>
                      <a:pt x="0" y="271"/>
                    </a:cubicBezTo>
                    <a:cubicBezTo>
                      <a:pt x="0" y="33"/>
                      <a:pt x="0" y="33"/>
                      <a:pt x="0" y="33"/>
                    </a:cubicBezTo>
                    <a:cubicBezTo>
                      <a:pt x="0" y="15"/>
                      <a:pt x="15" y="0"/>
                      <a:pt x="33" y="0"/>
                    </a:cubicBezTo>
                    <a:cubicBezTo>
                      <a:pt x="438" y="0"/>
                      <a:pt x="438" y="0"/>
                      <a:pt x="438" y="0"/>
                    </a:cubicBezTo>
                    <a:cubicBezTo>
                      <a:pt x="438" y="304"/>
                      <a:pt x="438" y="304"/>
                      <a:pt x="438" y="304"/>
                    </a:cubicBezTo>
                  </a:path>
                </a:pathLst>
              </a:custGeom>
              <a:solidFill>
                <a:srgbClr val="D0E5F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99" name="任意多边形: 形状 98"/>
              <p:cNvSpPr/>
              <p:nvPr/>
            </p:nvSpPr>
            <p:spPr bwMode="auto">
              <a:xfrm>
                <a:off x="5910945" y="3266984"/>
                <a:ext cx="497602" cy="351080"/>
              </a:xfrm>
              <a:custGeom>
                <a:avLst/>
                <a:gdLst>
                  <a:gd name="T0" fmla="*/ 441 w 441"/>
                  <a:gd name="T1" fmla="*/ 304 h 311"/>
                  <a:gd name="T2" fmla="*/ 36 w 441"/>
                  <a:gd name="T3" fmla="*/ 304 h 311"/>
                  <a:gd name="T4" fmla="*/ 15 w 441"/>
                  <a:gd name="T5" fmla="*/ 296 h 311"/>
                  <a:gd name="T6" fmla="*/ 7 w 441"/>
                  <a:gd name="T7" fmla="*/ 275 h 311"/>
                  <a:gd name="T8" fmla="*/ 7 w 441"/>
                  <a:gd name="T9" fmla="*/ 37 h 311"/>
                  <a:gd name="T10" fmla="*/ 15 w 441"/>
                  <a:gd name="T11" fmla="*/ 16 h 311"/>
                  <a:gd name="T12" fmla="*/ 36 w 441"/>
                  <a:gd name="T13" fmla="*/ 7 h 311"/>
                  <a:gd name="T14" fmla="*/ 441 w 441"/>
                  <a:gd name="T15" fmla="*/ 7 h 311"/>
                  <a:gd name="T16" fmla="*/ 441 w 441"/>
                  <a:gd name="T17" fmla="*/ 0 h 311"/>
                  <a:gd name="T18" fmla="*/ 36 w 441"/>
                  <a:gd name="T19" fmla="*/ 0 h 311"/>
                  <a:gd name="T20" fmla="*/ 0 w 441"/>
                  <a:gd name="T21" fmla="*/ 37 h 311"/>
                  <a:gd name="T22" fmla="*/ 0 w 441"/>
                  <a:gd name="T23" fmla="*/ 275 h 311"/>
                  <a:gd name="T24" fmla="*/ 36 w 441"/>
                  <a:gd name="T25" fmla="*/ 311 h 311"/>
                  <a:gd name="T26" fmla="*/ 441 w 441"/>
                  <a:gd name="T27" fmla="*/ 311 h 311"/>
                  <a:gd name="T28" fmla="*/ 441 w 441"/>
                  <a:gd name="T29" fmla="*/ 304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41" h="311">
                    <a:moveTo>
                      <a:pt x="441" y="304"/>
                    </a:moveTo>
                    <a:cubicBezTo>
                      <a:pt x="36" y="304"/>
                      <a:pt x="36" y="304"/>
                      <a:pt x="36" y="304"/>
                    </a:cubicBezTo>
                    <a:cubicBezTo>
                      <a:pt x="28" y="304"/>
                      <a:pt x="21" y="301"/>
                      <a:pt x="15" y="296"/>
                    </a:cubicBezTo>
                    <a:cubicBezTo>
                      <a:pt x="10" y="290"/>
                      <a:pt x="7" y="283"/>
                      <a:pt x="7" y="275"/>
                    </a:cubicBezTo>
                    <a:cubicBezTo>
                      <a:pt x="7" y="37"/>
                      <a:pt x="7" y="37"/>
                      <a:pt x="7" y="37"/>
                    </a:cubicBezTo>
                    <a:cubicBezTo>
                      <a:pt x="7" y="29"/>
                      <a:pt x="10" y="21"/>
                      <a:pt x="15" y="16"/>
                    </a:cubicBezTo>
                    <a:cubicBezTo>
                      <a:pt x="21" y="11"/>
                      <a:pt x="28" y="7"/>
                      <a:pt x="36" y="7"/>
                    </a:cubicBezTo>
                    <a:cubicBezTo>
                      <a:pt x="441" y="7"/>
                      <a:pt x="441" y="7"/>
                      <a:pt x="441" y="7"/>
                    </a:cubicBezTo>
                    <a:cubicBezTo>
                      <a:pt x="441" y="0"/>
                      <a:pt x="441" y="0"/>
                      <a:pt x="441" y="0"/>
                    </a:cubicBezTo>
                    <a:cubicBezTo>
                      <a:pt x="36" y="0"/>
                      <a:pt x="36" y="0"/>
                      <a:pt x="36" y="0"/>
                    </a:cubicBezTo>
                    <a:cubicBezTo>
                      <a:pt x="16" y="0"/>
                      <a:pt x="0" y="17"/>
                      <a:pt x="0" y="37"/>
                    </a:cubicBezTo>
                    <a:cubicBezTo>
                      <a:pt x="0" y="275"/>
                      <a:pt x="0" y="275"/>
                      <a:pt x="0" y="275"/>
                    </a:cubicBezTo>
                    <a:cubicBezTo>
                      <a:pt x="0" y="295"/>
                      <a:pt x="16" y="311"/>
                      <a:pt x="36" y="311"/>
                    </a:cubicBezTo>
                    <a:cubicBezTo>
                      <a:pt x="441" y="311"/>
                      <a:pt x="441" y="311"/>
                      <a:pt x="441" y="311"/>
                    </a:cubicBezTo>
                    <a:cubicBezTo>
                      <a:pt x="441" y="304"/>
                      <a:pt x="441" y="304"/>
                      <a:pt x="441" y="304"/>
                    </a:cubicBez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0" name="矩形 99"/>
              <p:cNvSpPr/>
              <p:nvPr/>
            </p:nvSpPr>
            <p:spPr bwMode="auto">
              <a:xfrm>
                <a:off x="5917605" y="3475824"/>
                <a:ext cx="490942" cy="58989"/>
              </a:xfrm>
              <a:prstGeom prst="rect">
                <a:avLst/>
              </a:prstGeom>
              <a:solidFill>
                <a:srgbClr val="FFCA4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01" name="矩形 100"/>
              <p:cNvSpPr/>
              <p:nvPr/>
            </p:nvSpPr>
            <p:spPr bwMode="auto">
              <a:xfrm>
                <a:off x="5949003" y="3364030"/>
                <a:ext cx="207889" cy="9039"/>
              </a:xfrm>
              <a:prstGeom prst="rect">
                <a:avLst/>
              </a:prstGeom>
              <a:solidFill>
                <a:srgbClr val="F3FB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02" name="矩形 101"/>
              <p:cNvSpPr/>
              <p:nvPr/>
            </p:nvSpPr>
            <p:spPr bwMode="auto">
              <a:xfrm>
                <a:off x="5917605" y="3559551"/>
                <a:ext cx="88959" cy="9039"/>
              </a:xfrm>
              <a:prstGeom prst="rect">
                <a:avLst/>
              </a:prstGeom>
              <a:solidFill>
                <a:srgbClr val="F3FB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03" name="矩形 102"/>
              <p:cNvSpPr/>
              <p:nvPr/>
            </p:nvSpPr>
            <p:spPr bwMode="auto">
              <a:xfrm>
                <a:off x="6174969" y="3559551"/>
                <a:ext cx="62319" cy="9039"/>
              </a:xfrm>
              <a:prstGeom prst="rect">
                <a:avLst/>
              </a:prstGeom>
              <a:solidFill>
                <a:srgbClr val="F3FB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04" name="矩形 103"/>
              <p:cNvSpPr/>
              <p:nvPr/>
            </p:nvSpPr>
            <p:spPr bwMode="auto">
              <a:xfrm>
                <a:off x="6257269" y="3559551"/>
                <a:ext cx="137959" cy="9039"/>
              </a:xfrm>
              <a:prstGeom prst="rect">
                <a:avLst/>
              </a:prstGeom>
              <a:solidFill>
                <a:srgbClr val="F3FB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05" name="矩形 104"/>
              <p:cNvSpPr/>
              <p:nvPr/>
            </p:nvSpPr>
            <p:spPr bwMode="auto">
              <a:xfrm>
                <a:off x="6017982" y="3559551"/>
                <a:ext cx="134628" cy="9039"/>
              </a:xfrm>
              <a:prstGeom prst="rect">
                <a:avLst/>
              </a:prstGeom>
              <a:solidFill>
                <a:srgbClr val="F3FB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06" name="矩形 105"/>
              <p:cNvSpPr/>
              <p:nvPr/>
            </p:nvSpPr>
            <p:spPr bwMode="auto">
              <a:xfrm>
                <a:off x="5949003" y="3331206"/>
                <a:ext cx="127968" cy="9039"/>
              </a:xfrm>
              <a:prstGeom prst="rect">
                <a:avLst/>
              </a:prstGeom>
              <a:solidFill>
                <a:srgbClr val="F3FB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07" name="矩形 106"/>
              <p:cNvSpPr/>
              <p:nvPr/>
            </p:nvSpPr>
            <p:spPr bwMode="auto">
              <a:xfrm>
                <a:off x="6249657" y="3331206"/>
                <a:ext cx="55183" cy="9039"/>
              </a:xfrm>
              <a:prstGeom prst="rect">
                <a:avLst/>
              </a:prstGeom>
              <a:solidFill>
                <a:srgbClr val="F3FB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08" name="矩形 107"/>
              <p:cNvSpPr/>
              <p:nvPr/>
            </p:nvSpPr>
            <p:spPr bwMode="auto">
              <a:xfrm>
                <a:off x="5949003" y="3299808"/>
                <a:ext cx="96095" cy="9039"/>
              </a:xfrm>
              <a:prstGeom prst="rect">
                <a:avLst/>
              </a:prstGeom>
              <a:solidFill>
                <a:srgbClr val="F3FB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09" name="矩形 108"/>
              <p:cNvSpPr/>
              <p:nvPr/>
            </p:nvSpPr>
            <p:spPr bwMode="auto">
              <a:xfrm>
                <a:off x="6108369" y="3299808"/>
                <a:ext cx="73261" cy="9039"/>
              </a:xfrm>
              <a:prstGeom prst="rect">
                <a:avLst/>
              </a:prstGeom>
              <a:solidFill>
                <a:srgbClr val="F3FB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10" name="矩形 109"/>
              <p:cNvSpPr/>
              <p:nvPr/>
            </p:nvSpPr>
            <p:spPr bwMode="auto">
              <a:xfrm>
                <a:off x="6193047" y="3299808"/>
                <a:ext cx="111794" cy="9039"/>
              </a:xfrm>
              <a:prstGeom prst="rect">
                <a:avLst/>
              </a:prstGeom>
              <a:solidFill>
                <a:srgbClr val="F3FB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11" name="矩形 110"/>
              <p:cNvSpPr/>
              <p:nvPr/>
            </p:nvSpPr>
            <p:spPr bwMode="auto">
              <a:xfrm>
                <a:off x="6057467" y="3299808"/>
                <a:ext cx="39485" cy="9039"/>
              </a:xfrm>
              <a:prstGeom prst="rect">
                <a:avLst/>
              </a:prstGeom>
              <a:solidFill>
                <a:srgbClr val="F3FB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12" name="任意多边形: 形状 111"/>
              <p:cNvSpPr/>
              <p:nvPr/>
            </p:nvSpPr>
            <p:spPr bwMode="auto">
              <a:xfrm>
                <a:off x="6350985" y="3313128"/>
                <a:ext cx="57562" cy="68979"/>
              </a:xfrm>
              <a:custGeom>
                <a:avLst/>
                <a:gdLst>
                  <a:gd name="T0" fmla="*/ 51 w 51"/>
                  <a:gd name="T1" fmla="*/ 61 h 61"/>
                  <a:gd name="T2" fmla="*/ 10 w 51"/>
                  <a:gd name="T3" fmla="*/ 61 h 61"/>
                  <a:gd name="T4" fmla="*/ 0 w 51"/>
                  <a:gd name="T5" fmla="*/ 51 h 61"/>
                  <a:gd name="T6" fmla="*/ 0 w 51"/>
                  <a:gd name="T7" fmla="*/ 10 h 61"/>
                  <a:gd name="T8" fmla="*/ 10 w 51"/>
                  <a:gd name="T9" fmla="*/ 0 h 61"/>
                  <a:gd name="T10" fmla="*/ 51 w 51"/>
                  <a:gd name="T11" fmla="*/ 0 h 61"/>
                  <a:gd name="T12" fmla="*/ 51 w 51"/>
                  <a:gd name="T13" fmla="*/ 61 h 61"/>
                </a:gdLst>
                <a:ahLst/>
                <a:cxnLst>
                  <a:cxn ang="0">
                    <a:pos x="T0" y="T1"/>
                  </a:cxn>
                  <a:cxn ang="0">
                    <a:pos x="T2" y="T3"/>
                  </a:cxn>
                  <a:cxn ang="0">
                    <a:pos x="T4" y="T5"/>
                  </a:cxn>
                  <a:cxn ang="0">
                    <a:pos x="T6" y="T7"/>
                  </a:cxn>
                  <a:cxn ang="0">
                    <a:pos x="T8" y="T9"/>
                  </a:cxn>
                  <a:cxn ang="0">
                    <a:pos x="T10" y="T11"/>
                  </a:cxn>
                  <a:cxn ang="0">
                    <a:pos x="T12" y="T13"/>
                  </a:cxn>
                </a:cxnLst>
                <a:rect l="0" t="0" r="r" b="b"/>
                <a:pathLst>
                  <a:path w="51" h="61">
                    <a:moveTo>
                      <a:pt x="51" y="61"/>
                    </a:moveTo>
                    <a:cubicBezTo>
                      <a:pt x="10" y="61"/>
                      <a:pt x="10" y="61"/>
                      <a:pt x="10" y="61"/>
                    </a:cubicBezTo>
                    <a:cubicBezTo>
                      <a:pt x="5" y="61"/>
                      <a:pt x="0" y="57"/>
                      <a:pt x="0" y="51"/>
                    </a:cubicBezTo>
                    <a:cubicBezTo>
                      <a:pt x="0" y="10"/>
                      <a:pt x="0" y="10"/>
                      <a:pt x="0" y="10"/>
                    </a:cubicBezTo>
                    <a:cubicBezTo>
                      <a:pt x="0" y="4"/>
                      <a:pt x="5" y="0"/>
                      <a:pt x="10" y="0"/>
                    </a:cubicBezTo>
                    <a:cubicBezTo>
                      <a:pt x="51" y="0"/>
                      <a:pt x="51" y="0"/>
                      <a:pt x="51" y="0"/>
                    </a:cubicBezTo>
                    <a:cubicBezTo>
                      <a:pt x="51" y="61"/>
                      <a:pt x="51" y="61"/>
                      <a:pt x="51" y="61"/>
                    </a:cubicBezTo>
                  </a:path>
                </a:pathLst>
              </a:custGeom>
              <a:solidFill>
                <a:srgbClr val="F3FB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13" name="任意多边形: 形状 112"/>
              <p:cNvSpPr/>
              <p:nvPr/>
            </p:nvSpPr>
            <p:spPr bwMode="auto">
              <a:xfrm>
                <a:off x="6355743" y="3318837"/>
                <a:ext cx="52805" cy="57562"/>
              </a:xfrm>
              <a:custGeom>
                <a:avLst/>
                <a:gdLst>
                  <a:gd name="T0" fmla="*/ 47 w 47"/>
                  <a:gd name="T1" fmla="*/ 0 h 51"/>
                  <a:gd name="T2" fmla="*/ 6 w 47"/>
                  <a:gd name="T3" fmla="*/ 0 h 51"/>
                  <a:gd name="T4" fmla="*/ 0 w 47"/>
                  <a:gd name="T5" fmla="*/ 5 h 51"/>
                  <a:gd name="T6" fmla="*/ 0 w 47"/>
                  <a:gd name="T7" fmla="*/ 46 h 51"/>
                  <a:gd name="T8" fmla="*/ 6 w 47"/>
                  <a:gd name="T9" fmla="*/ 51 h 51"/>
                  <a:gd name="T10" fmla="*/ 47 w 47"/>
                  <a:gd name="T11" fmla="*/ 51 h 51"/>
                  <a:gd name="T12" fmla="*/ 47 w 47"/>
                  <a:gd name="T13" fmla="*/ 0 h 51"/>
                </a:gdLst>
                <a:ahLst/>
                <a:cxnLst>
                  <a:cxn ang="0">
                    <a:pos x="T0" y="T1"/>
                  </a:cxn>
                  <a:cxn ang="0">
                    <a:pos x="T2" y="T3"/>
                  </a:cxn>
                  <a:cxn ang="0">
                    <a:pos x="T4" y="T5"/>
                  </a:cxn>
                  <a:cxn ang="0">
                    <a:pos x="T6" y="T7"/>
                  </a:cxn>
                  <a:cxn ang="0">
                    <a:pos x="T8" y="T9"/>
                  </a:cxn>
                  <a:cxn ang="0">
                    <a:pos x="T10" y="T11"/>
                  </a:cxn>
                  <a:cxn ang="0">
                    <a:pos x="T12" y="T13"/>
                  </a:cxn>
                </a:cxnLst>
                <a:rect l="0" t="0" r="r" b="b"/>
                <a:pathLst>
                  <a:path w="47" h="51">
                    <a:moveTo>
                      <a:pt x="47" y="0"/>
                    </a:moveTo>
                    <a:cubicBezTo>
                      <a:pt x="6" y="0"/>
                      <a:pt x="6" y="0"/>
                      <a:pt x="6" y="0"/>
                    </a:cubicBezTo>
                    <a:cubicBezTo>
                      <a:pt x="3" y="0"/>
                      <a:pt x="0" y="2"/>
                      <a:pt x="0" y="5"/>
                    </a:cubicBezTo>
                    <a:cubicBezTo>
                      <a:pt x="0" y="46"/>
                      <a:pt x="0" y="46"/>
                      <a:pt x="0" y="46"/>
                    </a:cubicBezTo>
                    <a:cubicBezTo>
                      <a:pt x="0" y="49"/>
                      <a:pt x="3" y="51"/>
                      <a:pt x="6" y="51"/>
                    </a:cubicBezTo>
                    <a:cubicBezTo>
                      <a:pt x="47" y="51"/>
                      <a:pt x="47" y="51"/>
                      <a:pt x="47" y="51"/>
                    </a:cubicBezTo>
                    <a:cubicBezTo>
                      <a:pt x="47" y="0"/>
                      <a:pt x="47" y="0"/>
                      <a:pt x="47" y="0"/>
                    </a:cubicBezTo>
                  </a:path>
                </a:pathLst>
              </a:custGeom>
              <a:solidFill>
                <a:srgbClr val="EEF4F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14" name="任意多边形: 形状 113"/>
              <p:cNvSpPr/>
              <p:nvPr/>
            </p:nvSpPr>
            <p:spPr bwMode="auto">
              <a:xfrm>
                <a:off x="5052748" y="3436340"/>
                <a:ext cx="559921" cy="694549"/>
              </a:xfrm>
              <a:custGeom>
                <a:avLst/>
                <a:gdLst>
                  <a:gd name="T0" fmla="*/ 439 w 496"/>
                  <a:gd name="T1" fmla="*/ 615 h 615"/>
                  <a:gd name="T2" fmla="*/ 57 w 496"/>
                  <a:gd name="T3" fmla="*/ 615 h 615"/>
                  <a:gd name="T4" fmla="*/ 0 w 496"/>
                  <a:gd name="T5" fmla="*/ 558 h 615"/>
                  <a:gd name="T6" fmla="*/ 0 w 496"/>
                  <a:gd name="T7" fmla="*/ 57 h 615"/>
                  <a:gd name="T8" fmla="*/ 57 w 496"/>
                  <a:gd name="T9" fmla="*/ 0 h 615"/>
                  <a:gd name="T10" fmla="*/ 439 w 496"/>
                  <a:gd name="T11" fmla="*/ 0 h 615"/>
                  <a:gd name="T12" fmla="*/ 496 w 496"/>
                  <a:gd name="T13" fmla="*/ 57 h 615"/>
                  <a:gd name="T14" fmla="*/ 496 w 496"/>
                  <a:gd name="T15" fmla="*/ 558 h 615"/>
                  <a:gd name="T16" fmla="*/ 439 w 496"/>
                  <a:gd name="T17" fmla="*/ 615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6" h="615">
                    <a:moveTo>
                      <a:pt x="439" y="615"/>
                    </a:moveTo>
                    <a:cubicBezTo>
                      <a:pt x="57" y="615"/>
                      <a:pt x="57" y="615"/>
                      <a:pt x="57" y="615"/>
                    </a:cubicBezTo>
                    <a:cubicBezTo>
                      <a:pt x="26" y="615"/>
                      <a:pt x="0" y="590"/>
                      <a:pt x="0" y="558"/>
                    </a:cubicBezTo>
                    <a:cubicBezTo>
                      <a:pt x="0" y="57"/>
                      <a:pt x="0" y="57"/>
                      <a:pt x="0" y="57"/>
                    </a:cubicBezTo>
                    <a:cubicBezTo>
                      <a:pt x="0" y="25"/>
                      <a:pt x="26" y="0"/>
                      <a:pt x="57" y="0"/>
                    </a:cubicBezTo>
                    <a:cubicBezTo>
                      <a:pt x="439" y="0"/>
                      <a:pt x="439" y="0"/>
                      <a:pt x="439" y="0"/>
                    </a:cubicBezTo>
                    <a:cubicBezTo>
                      <a:pt x="470" y="0"/>
                      <a:pt x="496" y="25"/>
                      <a:pt x="496" y="57"/>
                    </a:cubicBezTo>
                    <a:cubicBezTo>
                      <a:pt x="496" y="558"/>
                      <a:pt x="496" y="558"/>
                      <a:pt x="496" y="558"/>
                    </a:cubicBezTo>
                    <a:cubicBezTo>
                      <a:pt x="496" y="590"/>
                      <a:pt x="470" y="615"/>
                      <a:pt x="439" y="615"/>
                    </a:cubicBezTo>
                  </a:path>
                </a:pathLst>
              </a:custGeom>
              <a:solidFill>
                <a:srgbClr val="A7B0C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15" name="任意多边形: 形状 114"/>
              <p:cNvSpPr/>
              <p:nvPr/>
            </p:nvSpPr>
            <p:spPr bwMode="auto">
              <a:xfrm>
                <a:off x="5340558" y="3527678"/>
                <a:ext cx="386284" cy="511873"/>
              </a:xfrm>
              <a:custGeom>
                <a:avLst/>
                <a:gdLst>
                  <a:gd name="T0" fmla="*/ 296 w 342"/>
                  <a:gd name="T1" fmla="*/ 453 h 453"/>
                  <a:gd name="T2" fmla="*/ 0 w 342"/>
                  <a:gd name="T3" fmla="*/ 453 h 453"/>
                  <a:gd name="T4" fmla="*/ 0 w 342"/>
                  <a:gd name="T5" fmla="*/ 0 h 453"/>
                  <a:gd name="T6" fmla="*/ 296 w 342"/>
                  <a:gd name="T7" fmla="*/ 0 h 453"/>
                  <a:gd name="T8" fmla="*/ 342 w 342"/>
                  <a:gd name="T9" fmla="*/ 46 h 453"/>
                  <a:gd name="T10" fmla="*/ 342 w 342"/>
                  <a:gd name="T11" fmla="*/ 407 h 453"/>
                  <a:gd name="T12" fmla="*/ 296 w 342"/>
                  <a:gd name="T13" fmla="*/ 453 h 453"/>
                </a:gdLst>
                <a:ahLst/>
                <a:cxnLst>
                  <a:cxn ang="0">
                    <a:pos x="T0" y="T1"/>
                  </a:cxn>
                  <a:cxn ang="0">
                    <a:pos x="T2" y="T3"/>
                  </a:cxn>
                  <a:cxn ang="0">
                    <a:pos x="T4" y="T5"/>
                  </a:cxn>
                  <a:cxn ang="0">
                    <a:pos x="T6" y="T7"/>
                  </a:cxn>
                  <a:cxn ang="0">
                    <a:pos x="T8" y="T9"/>
                  </a:cxn>
                  <a:cxn ang="0">
                    <a:pos x="T10" y="T11"/>
                  </a:cxn>
                  <a:cxn ang="0">
                    <a:pos x="T12" y="T13"/>
                  </a:cxn>
                </a:cxnLst>
                <a:rect l="0" t="0" r="r" b="b"/>
                <a:pathLst>
                  <a:path w="342" h="453">
                    <a:moveTo>
                      <a:pt x="296" y="453"/>
                    </a:moveTo>
                    <a:cubicBezTo>
                      <a:pt x="0" y="453"/>
                      <a:pt x="0" y="453"/>
                      <a:pt x="0" y="453"/>
                    </a:cubicBezTo>
                    <a:cubicBezTo>
                      <a:pt x="0" y="0"/>
                      <a:pt x="0" y="0"/>
                      <a:pt x="0" y="0"/>
                    </a:cubicBezTo>
                    <a:cubicBezTo>
                      <a:pt x="296" y="0"/>
                      <a:pt x="296" y="0"/>
                      <a:pt x="296" y="0"/>
                    </a:cubicBezTo>
                    <a:cubicBezTo>
                      <a:pt x="321" y="0"/>
                      <a:pt x="342" y="20"/>
                      <a:pt x="342" y="46"/>
                    </a:cubicBezTo>
                    <a:cubicBezTo>
                      <a:pt x="342" y="407"/>
                      <a:pt x="342" y="407"/>
                      <a:pt x="342" y="407"/>
                    </a:cubicBezTo>
                    <a:cubicBezTo>
                      <a:pt x="342" y="433"/>
                      <a:pt x="321" y="453"/>
                      <a:pt x="296" y="453"/>
                    </a:cubicBezTo>
                  </a:path>
                </a:pathLst>
              </a:custGeom>
              <a:solidFill>
                <a:srgbClr val="D0E5F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16" name="任意多边形: 形状 115"/>
              <p:cNvSpPr/>
              <p:nvPr/>
            </p:nvSpPr>
            <p:spPr bwMode="auto">
              <a:xfrm>
                <a:off x="5337228" y="3523396"/>
                <a:ext cx="392944" cy="520912"/>
              </a:xfrm>
              <a:custGeom>
                <a:avLst/>
                <a:gdLst>
                  <a:gd name="T0" fmla="*/ 299 w 348"/>
                  <a:gd name="T1" fmla="*/ 457 h 461"/>
                  <a:gd name="T2" fmla="*/ 299 w 348"/>
                  <a:gd name="T3" fmla="*/ 454 h 461"/>
                  <a:gd name="T4" fmla="*/ 7 w 348"/>
                  <a:gd name="T5" fmla="*/ 454 h 461"/>
                  <a:gd name="T6" fmla="*/ 7 w 348"/>
                  <a:gd name="T7" fmla="*/ 7 h 461"/>
                  <a:gd name="T8" fmla="*/ 299 w 348"/>
                  <a:gd name="T9" fmla="*/ 7 h 461"/>
                  <a:gd name="T10" fmla="*/ 329 w 348"/>
                  <a:gd name="T11" fmla="*/ 20 h 461"/>
                  <a:gd name="T12" fmla="*/ 341 w 348"/>
                  <a:gd name="T13" fmla="*/ 50 h 461"/>
                  <a:gd name="T14" fmla="*/ 341 w 348"/>
                  <a:gd name="T15" fmla="*/ 411 h 461"/>
                  <a:gd name="T16" fmla="*/ 329 w 348"/>
                  <a:gd name="T17" fmla="*/ 441 h 461"/>
                  <a:gd name="T18" fmla="*/ 299 w 348"/>
                  <a:gd name="T19" fmla="*/ 454 h 461"/>
                  <a:gd name="T20" fmla="*/ 299 w 348"/>
                  <a:gd name="T21" fmla="*/ 457 h 461"/>
                  <a:gd name="T22" fmla="*/ 299 w 348"/>
                  <a:gd name="T23" fmla="*/ 461 h 461"/>
                  <a:gd name="T24" fmla="*/ 348 w 348"/>
                  <a:gd name="T25" fmla="*/ 411 h 461"/>
                  <a:gd name="T26" fmla="*/ 348 w 348"/>
                  <a:gd name="T27" fmla="*/ 50 h 461"/>
                  <a:gd name="T28" fmla="*/ 299 w 348"/>
                  <a:gd name="T29" fmla="*/ 0 h 461"/>
                  <a:gd name="T30" fmla="*/ 0 w 348"/>
                  <a:gd name="T31" fmla="*/ 0 h 461"/>
                  <a:gd name="T32" fmla="*/ 0 w 348"/>
                  <a:gd name="T33" fmla="*/ 461 h 461"/>
                  <a:gd name="T34" fmla="*/ 299 w 348"/>
                  <a:gd name="T35" fmla="*/ 461 h 461"/>
                  <a:gd name="T36" fmla="*/ 299 w 348"/>
                  <a:gd name="T37" fmla="*/ 457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8" h="461">
                    <a:moveTo>
                      <a:pt x="299" y="457"/>
                    </a:moveTo>
                    <a:cubicBezTo>
                      <a:pt x="299" y="454"/>
                      <a:pt x="299" y="454"/>
                      <a:pt x="299" y="454"/>
                    </a:cubicBezTo>
                    <a:cubicBezTo>
                      <a:pt x="7" y="454"/>
                      <a:pt x="7" y="454"/>
                      <a:pt x="7" y="454"/>
                    </a:cubicBezTo>
                    <a:cubicBezTo>
                      <a:pt x="7" y="7"/>
                      <a:pt x="7" y="7"/>
                      <a:pt x="7" y="7"/>
                    </a:cubicBezTo>
                    <a:cubicBezTo>
                      <a:pt x="299" y="7"/>
                      <a:pt x="299" y="7"/>
                      <a:pt x="299" y="7"/>
                    </a:cubicBezTo>
                    <a:cubicBezTo>
                      <a:pt x="310" y="7"/>
                      <a:pt x="321" y="12"/>
                      <a:pt x="329" y="20"/>
                    </a:cubicBezTo>
                    <a:cubicBezTo>
                      <a:pt x="336" y="27"/>
                      <a:pt x="341" y="38"/>
                      <a:pt x="341" y="50"/>
                    </a:cubicBezTo>
                    <a:cubicBezTo>
                      <a:pt x="341" y="411"/>
                      <a:pt x="341" y="411"/>
                      <a:pt x="341" y="411"/>
                    </a:cubicBezTo>
                    <a:cubicBezTo>
                      <a:pt x="341" y="423"/>
                      <a:pt x="336" y="434"/>
                      <a:pt x="329" y="441"/>
                    </a:cubicBezTo>
                    <a:cubicBezTo>
                      <a:pt x="321" y="449"/>
                      <a:pt x="310" y="454"/>
                      <a:pt x="299" y="454"/>
                    </a:cubicBezTo>
                    <a:cubicBezTo>
                      <a:pt x="299" y="457"/>
                      <a:pt x="299" y="457"/>
                      <a:pt x="299" y="457"/>
                    </a:cubicBezTo>
                    <a:cubicBezTo>
                      <a:pt x="299" y="461"/>
                      <a:pt x="299" y="461"/>
                      <a:pt x="299" y="461"/>
                    </a:cubicBezTo>
                    <a:cubicBezTo>
                      <a:pt x="326" y="461"/>
                      <a:pt x="348" y="439"/>
                      <a:pt x="348" y="411"/>
                    </a:cubicBezTo>
                    <a:cubicBezTo>
                      <a:pt x="348" y="50"/>
                      <a:pt x="348" y="50"/>
                      <a:pt x="348" y="50"/>
                    </a:cubicBezTo>
                    <a:cubicBezTo>
                      <a:pt x="348" y="22"/>
                      <a:pt x="326" y="0"/>
                      <a:pt x="299" y="0"/>
                    </a:cubicBezTo>
                    <a:cubicBezTo>
                      <a:pt x="0" y="0"/>
                      <a:pt x="0" y="0"/>
                      <a:pt x="0" y="0"/>
                    </a:cubicBezTo>
                    <a:cubicBezTo>
                      <a:pt x="0" y="461"/>
                      <a:pt x="0" y="461"/>
                      <a:pt x="0" y="461"/>
                    </a:cubicBezTo>
                    <a:cubicBezTo>
                      <a:pt x="299" y="461"/>
                      <a:pt x="299" y="461"/>
                      <a:pt x="299" y="461"/>
                    </a:cubicBezTo>
                    <a:cubicBezTo>
                      <a:pt x="299" y="457"/>
                      <a:pt x="299" y="457"/>
                      <a:pt x="299" y="457"/>
                    </a:cubicBezTo>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17" name="任意多边形: 形状 116"/>
              <p:cNvSpPr/>
              <p:nvPr/>
            </p:nvSpPr>
            <p:spPr bwMode="auto">
              <a:xfrm>
                <a:off x="5531321" y="3531483"/>
                <a:ext cx="56611" cy="504738"/>
              </a:xfrm>
              <a:custGeom>
                <a:avLst/>
                <a:gdLst>
                  <a:gd name="T0" fmla="*/ 50 w 50"/>
                  <a:gd name="T1" fmla="*/ 0 h 447"/>
                  <a:gd name="T2" fmla="*/ 27 w 50"/>
                  <a:gd name="T3" fmla="*/ 0 h 447"/>
                  <a:gd name="T4" fmla="*/ 27 w 50"/>
                  <a:gd name="T5" fmla="*/ 222 h 447"/>
                  <a:gd name="T6" fmla="*/ 0 w 50"/>
                  <a:gd name="T7" fmla="*/ 262 h 447"/>
                  <a:gd name="T8" fmla="*/ 0 w 50"/>
                  <a:gd name="T9" fmla="*/ 447 h 447"/>
                  <a:gd name="T10" fmla="*/ 50 w 50"/>
                  <a:gd name="T11" fmla="*/ 447 h 447"/>
                  <a:gd name="T12" fmla="*/ 50 w 50"/>
                  <a:gd name="T13" fmla="*/ 0 h 447"/>
                </a:gdLst>
                <a:ahLst/>
                <a:cxnLst>
                  <a:cxn ang="0">
                    <a:pos x="T0" y="T1"/>
                  </a:cxn>
                  <a:cxn ang="0">
                    <a:pos x="T2" y="T3"/>
                  </a:cxn>
                  <a:cxn ang="0">
                    <a:pos x="T4" y="T5"/>
                  </a:cxn>
                  <a:cxn ang="0">
                    <a:pos x="T6" y="T7"/>
                  </a:cxn>
                  <a:cxn ang="0">
                    <a:pos x="T8" y="T9"/>
                  </a:cxn>
                  <a:cxn ang="0">
                    <a:pos x="T10" y="T11"/>
                  </a:cxn>
                  <a:cxn ang="0">
                    <a:pos x="T12" y="T13"/>
                  </a:cxn>
                </a:cxnLst>
                <a:rect l="0" t="0" r="r" b="b"/>
                <a:pathLst>
                  <a:path w="50" h="447">
                    <a:moveTo>
                      <a:pt x="50" y="0"/>
                    </a:moveTo>
                    <a:cubicBezTo>
                      <a:pt x="27" y="0"/>
                      <a:pt x="27" y="0"/>
                      <a:pt x="27" y="0"/>
                    </a:cubicBezTo>
                    <a:cubicBezTo>
                      <a:pt x="27" y="222"/>
                      <a:pt x="27" y="222"/>
                      <a:pt x="27" y="222"/>
                    </a:cubicBezTo>
                    <a:cubicBezTo>
                      <a:pt x="27" y="240"/>
                      <a:pt x="16" y="256"/>
                      <a:pt x="0" y="262"/>
                    </a:cubicBezTo>
                    <a:cubicBezTo>
                      <a:pt x="0" y="447"/>
                      <a:pt x="0" y="447"/>
                      <a:pt x="0" y="447"/>
                    </a:cubicBezTo>
                    <a:cubicBezTo>
                      <a:pt x="50" y="447"/>
                      <a:pt x="50" y="447"/>
                      <a:pt x="50" y="447"/>
                    </a:cubicBezTo>
                    <a:cubicBezTo>
                      <a:pt x="50" y="0"/>
                      <a:pt x="50" y="0"/>
                      <a:pt x="50" y="0"/>
                    </a:cubicBezTo>
                  </a:path>
                </a:pathLst>
              </a:custGeom>
              <a:solidFill>
                <a:srgbClr val="F6606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18" name="任意多边形: 形状 117"/>
              <p:cNvSpPr/>
              <p:nvPr/>
            </p:nvSpPr>
            <p:spPr bwMode="auto">
              <a:xfrm>
                <a:off x="5531321" y="3530056"/>
                <a:ext cx="56611" cy="506165"/>
              </a:xfrm>
              <a:custGeom>
                <a:avLst/>
                <a:gdLst>
                  <a:gd name="T0" fmla="*/ 119 w 119"/>
                  <a:gd name="T1" fmla="*/ 1064 h 1064"/>
                  <a:gd name="T2" fmla="*/ 0 w 119"/>
                  <a:gd name="T3" fmla="*/ 1064 h 1064"/>
                  <a:gd name="T4" fmla="*/ 0 w 119"/>
                  <a:gd name="T5" fmla="*/ 1064 h 1064"/>
                  <a:gd name="T6" fmla="*/ 119 w 119"/>
                  <a:gd name="T7" fmla="*/ 1064 h 1064"/>
                  <a:gd name="T8" fmla="*/ 119 w 119"/>
                  <a:gd name="T9" fmla="*/ 1064 h 1064"/>
                  <a:gd name="T10" fmla="*/ 119 w 119"/>
                  <a:gd name="T11" fmla="*/ 0 h 1064"/>
                  <a:gd name="T12" fmla="*/ 64 w 119"/>
                  <a:gd name="T13" fmla="*/ 0 h 1064"/>
                  <a:gd name="T14" fmla="*/ 64 w 119"/>
                  <a:gd name="T15" fmla="*/ 3 h 1064"/>
                  <a:gd name="T16" fmla="*/ 119 w 119"/>
                  <a:gd name="T17" fmla="*/ 3 h 1064"/>
                  <a:gd name="T18" fmla="*/ 119 w 119"/>
                  <a:gd name="T19" fmla="*/ 0 h 10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9" h="1064">
                    <a:moveTo>
                      <a:pt x="119" y="1064"/>
                    </a:moveTo>
                    <a:lnTo>
                      <a:pt x="0" y="1064"/>
                    </a:lnTo>
                    <a:lnTo>
                      <a:pt x="0" y="1064"/>
                    </a:lnTo>
                    <a:lnTo>
                      <a:pt x="119" y="1064"/>
                    </a:lnTo>
                    <a:lnTo>
                      <a:pt x="119" y="1064"/>
                    </a:lnTo>
                    <a:close/>
                    <a:moveTo>
                      <a:pt x="119" y="0"/>
                    </a:moveTo>
                    <a:lnTo>
                      <a:pt x="64" y="0"/>
                    </a:lnTo>
                    <a:lnTo>
                      <a:pt x="64" y="3"/>
                    </a:lnTo>
                    <a:lnTo>
                      <a:pt x="119" y="3"/>
                    </a:lnTo>
                    <a:lnTo>
                      <a:pt x="119" y="0"/>
                    </a:lnTo>
                    <a:close/>
                  </a:path>
                </a:pathLst>
              </a:custGeom>
              <a:solidFill>
                <a:srgbClr val="DC454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19" name="任意多边形: 形状 118"/>
              <p:cNvSpPr/>
              <p:nvPr/>
            </p:nvSpPr>
            <p:spPr bwMode="auto">
              <a:xfrm>
                <a:off x="5531321" y="3530056"/>
                <a:ext cx="56611" cy="506165"/>
              </a:xfrm>
              <a:custGeom>
                <a:avLst/>
                <a:gdLst>
                  <a:gd name="T0" fmla="*/ 119 w 119"/>
                  <a:gd name="T1" fmla="*/ 1064 h 1064"/>
                  <a:gd name="T2" fmla="*/ 0 w 119"/>
                  <a:gd name="T3" fmla="*/ 1064 h 1064"/>
                  <a:gd name="T4" fmla="*/ 0 w 119"/>
                  <a:gd name="T5" fmla="*/ 1064 h 1064"/>
                  <a:gd name="T6" fmla="*/ 119 w 119"/>
                  <a:gd name="T7" fmla="*/ 1064 h 1064"/>
                  <a:gd name="T8" fmla="*/ 119 w 119"/>
                  <a:gd name="T9" fmla="*/ 1064 h 1064"/>
                  <a:gd name="T10" fmla="*/ 119 w 119"/>
                  <a:gd name="T11" fmla="*/ 0 h 1064"/>
                  <a:gd name="T12" fmla="*/ 64 w 119"/>
                  <a:gd name="T13" fmla="*/ 0 h 1064"/>
                  <a:gd name="T14" fmla="*/ 64 w 119"/>
                  <a:gd name="T15" fmla="*/ 3 h 1064"/>
                  <a:gd name="T16" fmla="*/ 119 w 119"/>
                  <a:gd name="T17" fmla="*/ 3 h 1064"/>
                  <a:gd name="T18" fmla="*/ 119 w 119"/>
                  <a:gd name="T19" fmla="*/ 0 h 10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9" h="1064">
                    <a:moveTo>
                      <a:pt x="119" y="1064"/>
                    </a:moveTo>
                    <a:lnTo>
                      <a:pt x="0" y="1064"/>
                    </a:lnTo>
                    <a:lnTo>
                      <a:pt x="0" y="1064"/>
                    </a:lnTo>
                    <a:lnTo>
                      <a:pt x="119" y="1064"/>
                    </a:lnTo>
                    <a:lnTo>
                      <a:pt x="119" y="1064"/>
                    </a:lnTo>
                    <a:moveTo>
                      <a:pt x="119" y="0"/>
                    </a:moveTo>
                    <a:lnTo>
                      <a:pt x="64" y="0"/>
                    </a:lnTo>
                    <a:lnTo>
                      <a:pt x="64" y="3"/>
                    </a:lnTo>
                    <a:lnTo>
                      <a:pt x="119" y="3"/>
                    </a:lnTo>
                    <a:lnTo>
                      <a:pt x="11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20" name="矩形 119"/>
              <p:cNvSpPr/>
              <p:nvPr/>
            </p:nvSpPr>
            <p:spPr bwMode="auto">
              <a:xfrm>
                <a:off x="5615999" y="3552891"/>
                <a:ext cx="25213" cy="298276"/>
              </a:xfrm>
              <a:prstGeom prst="rect">
                <a:avLst/>
              </a:prstGeom>
              <a:solidFill>
                <a:srgbClr val="F3FB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21" name="任意多边形: 形状 120"/>
              <p:cNvSpPr/>
              <p:nvPr/>
            </p:nvSpPr>
            <p:spPr bwMode="auto">
              <a:xfrm>
                <a:off x="5615999" y="3910631"/>
                <a:ext cx="86105" cy="95144"/>
              </a:xfrm>
              <a:custGeom>
                <a:avLst/>
                <a:gdLst>
                  <a:gd name="T0" fmla="*/ 72 w 76"/>
                  <a:gd name="T1" fmla="*/ 84 h 84"/>
                  <a:gd name="T2" fmla="*/ 5 w 76"/>
                  <a:gd name="T3" fmla="*/ 84 h 84"/>
                  <a:gd name="T4" fmla="*/ 0 w 76"/>
                  <a:gd name="T5" fmla="*/ 79 h 84"/>
                  <a:gd name="T6" fmla="*/ 0 w 76"/>
                  <a:gd name="T7" fmla="*/ 5 h 84"/>
                  <a:gd name="T8" fmla="*/ 5 w 76"/>
                  <a:gd name="T9" fmla="*/ 0 h 84"/>
                  <a:gd name="T10" fmla="*/ 72 w 76"/>
                  <a:gd name="T11" fmla="*/ 0 h 84"/>
                  <a:gd name="T12" fmla="*/ 76 w 76"/>
                  <a:gd name="T13" fmla="*/ 5 h 84"/>
                  <a:gd name="T14" fmla="*/ 76 w 76"/>
                  <a:gd name="T15" fmla="*/ 79 h 84"/>
                  <a:gd name="T16" fmla="*/ 72 w 76"/>
                  <a:gd name="T17"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84">
                    <a:moveTo>
                      <a:pt x="72" y="84"/>
                    </a:moveTo>
                    <a:cubicBezTo>
                      <a:pt x="5" y="84"/>
                      <a:pt x="5" y="84"/>
                      <a:pt x="5" y="84"/>
                    </a:cubicBezTo>
                    <a:cubicBezTo>
                      <a:pt x="2" y="84"/>
                      <a:pt x="0" y="82"/>
                      <a:pt x="0" y="79"/>
                    </a:cubicBezTo>
                    <a:cubicBezTo>
                      <a:pt x="0" y="5"/>
                      <a:pt x="0" y="5"/>
                      <a:pt x="0" y="5"/>
                    </a:cubicBezTo>
                    <a:cubicBezTo>
                      <a:pt x="0" y="2"/>
                      <a:pt x="2" y="0"/>
                      <a:pt x="5" y="0"/>
                    </a:cubicBezTo>
                    <a:cubicBezTo>
                      <a:pt x="72" y="0"/>
                      <a:pt x="72" y="0"/>
                      <a:pt x="72" y="0"/>
                    </a:cubicBezTo>
                    <a:cubicBezTo>
                      <a:pt x="74" y="0"/>
                      <a:pt x="76" y="2"/>
                      <a:pt x="76" y="5"/>
                    </a:cubicBezTo>
                    <a:cubicBezTo>
                      <a:pt x="76" y="79"/>
                      <a:pt x="76" y="79"/>
                      <a:pt x="76" y="79"/>
                    </a:cubicBezTo>
                    <a:cubicBezTo>
                      <a:pt x="76" y="82"/>
                      <a:pt x="74" y="84"/>
                      <a:pt x="72" y="84"/>
                    </a:cubicBezTo>
                    <a:close/>
                  </a:path>
                </a:pathLst>
              </a:custGeom>
              <a:solidFill>
                <a:srgbClr val="F3FB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22" name="矩形 121"/>
              <p:cNvSpPr/>
              <p:nvPr/>
            </p:nvSpPr>
            <p:spPr bwMode="auto">
              <a:xfrm>
                <a:off x="5653581" y="3552891"/>
                <a:ext cx="24737" cy="180773"/>
              </a:xfrm>
              <a:prstGeom prst="rect">
                <a:avLst/>
              </a:prstGeom>
              <a:solidFill>
                <a:srgbClr val="F3FB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23" name="任意多边形: 形状 122"/>
              <p:cNvSpPr/>
              <p:nvPr/>
            </p:nvSpPr>
            <p:spPr bwMode="auto">
              <a:xfrm>
                <a:off x="5052748" y="3297430"/>
                <a:ext cx="509019" cy="833459"/>
              </a:xfrm>
              <a:custGeom>
                <a:avLst/>
                <a:gdLst>
                  <a:gd name="T0" fmla="*/ 407 w 451"/>
                  <a:gd name="T1" fmla="*/ 0 h 738"/>
                  <a:gd name="T2" fmla="*/ 45 w 451"/>
                  <a:gd name="T3" fmla="*/ 0 h 738"/>
                  <a:gd name="T4" fmla="*/ 0 w 451"/>
                  <a:gd name="T5" fmla="*/ 44 h 738"/>
                  <a:gd name="T6" fmla="*/ 0 w 451"/>
                  <a:gd name="T7" fmla="*/ 429 h 738"/>
                  <a:gd name="T8" fmla="*/ 28 w 451"/>
                  <a:gd name="T9" fmla="*/ 469 h 738"/>
                  <a:gd name="T10" fmla="*/ 28 w 451"/>
                  <a:gd name="T11" fmla="*/ 711 h 738"/>
                  <a:gd name="T12" fmla="*/ 55 w 451"/>
                  <a:gd name="T13" fmla="*/ 738 h 738"/>
                  <a:gd name="T14" fmla="*/ 397 w 451"/>
                  <a:gd name="T15" fmla="*/ 738 h 738"/>
                  <a:gd name="T16" fmla="*/ 424 w 451"/>
                  <a:gd name="T17" fmla="*/ 711 h 738"/>
                  <a:gd name="T18" fmla="*/ 424 w 451"/>
                  <a:gd name="T19" fmla="*/ 469 h 738"/>
                  <a:gd name="T20" fmla="*/ 451 w 451"/>
                  <a:gd name="T21" fmla="*/ 429 h 738"/>
                  <a:gd name="T22" fmla="*/ 451 w 451"/>
                  <a:gd name="T23" fmla="*/ 44 h 738"/>
                  <a:gd name="T24" fmla="*/ 407 w 451"/>
                  <a:gd name="T25" fmla="*/ 0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1" h="738">
                    <a:moveTo>
                      <a:pt x="407" y="0"/>
                    </a:moveTo>
                    <a:cubicBezTo>
                      <a:pt x="45" y="0"/>
                      <a:pt x="45" y="0"/>
                      <a:pt x="45" y="0"/>
                    </a:cubicBezTo>
                    <a:cubicBezTo>
                      <a:pt x="20" y="0"/>
                      <a:pt x="0" y="20"/>
                      <a:pt x="0" y="44"/>
                    </a:cubicBezTo>
                    <a:cubicBezTo>
                      <a:pt x="0" y="429"/>
                      <a:pt x="0" y="429"/>
                      <a:pt x="0" y="429"/>
                    </a:cubicBezTo>
                    <a:cubicBezTo>
                      <a:pt x="0" y="447"/>
                      <a:pt x="12" y="463"/>
                      <a:pt x="28" y="469"/>
                    </a:cubicBezTo>
                    <a:cubicBezTo>
                      <a:pt x="28" y="711"/>
                      <a:pt x="28" y="711"/>
                      <a:pt x="28" y="711"/>
                    </a:cubicBezTo>
                    <a:cubicBezTo>
                      <a:pt x="28" y="726"/>
                      <a:pt x="40" y="738"/>
                      <a:pt x="55" y="738"/>
                    </a:cubicBezTo>
                    <a:cubicBezTo>
                      <a:pt x="397" y="738"/>
                      <a:pt x="397" y="738"/>
                      <a:pt x="397" y="738"/>
                    </a:cubicBezTo>
                    <a:cubicBezTo>
                      <a:pt x="412" y="738"/>
                      <a:pt x="424" y="726"/>
                      <a:pt x="424" y="711"/>
                    </a:cubicBezTo>
                    <a:cubicBezTo>
                      <a:pt x="424" y="469"/>
                      <a:pt x="424" y="469"/>
                      <a:pt x="424" y="469"/>
                    </a:cubicBezTo>
                    <a:cubicBezTo>
                      <a:pt x="440" y="463"/>
                      <a:pt x="451" y="447"/>
                      <a:pt x="451" y="429"/>
                    </a:cubicBezTo>
                    <a:cubicBezTo>
                      <a:pt x="451" y="44"/>
                      <a:pt x="451" y="44"/>
                      <a:pt x="451" y="44"/>
                    </a:cubicBezTo>
                    <a:cubicBezTo>
                      <a:pt x="451" y="20"/>
                      <a:pt x="431" y="0"/>
                      <a:pt x="407" y="0"/>
                    </a:cubicBezTo>
                  </a:path>
                </a:pathLst>
              </a:custGeom>
              <a:solidFill>
                <a:srgbClr val="FFCA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24" name="任意多边形: 形状 123"/>
              <p:cNvSpPr/>
              <p:nvPr/>
            </p:nvSpPr>
            <p:spPr bwMode="auto">
              <a:xfrm>
                <a:off x="5048467" y="3292673"/>
                <a:ext cx="518058" cy="842973"/>
              </a:xfrm>
              <a:custGeom>
                <a:avLst/>
                <a:gdLst>
                  <a:gd name="T0" fmla="*/ 411 w 459"/>
                  <a:gd name="T1" fmla="*/ 4 h 746"/>
                  <a:gd name="T2" fmla="*/ 411 w 459"/>
                  <a:gd name="T3" fmla="*/ 0 h 746"/>
                  <a:gd name="T4" fmla="*/ 49 w 459"/>
                  <a:gd name="T5" fmla="*/ 0 h 746"/>
                  <a:gd name="T6" fmla="*/ 0 w 459"/>
                  <a:gd name="T7" fmla="*/ 48 h 746"/>
                  <a:gd name="T8" fmla="*/ 0 w 459"/>
                  <a:gd name="T9" fmla="*/ 433 h 746"/>
                  <a:gd name="T10" fmla="*/ 31 w 459"/>
                  <a:gd name="T11" fmla="*/ 477 h 746"/>
                  <a:gd name="T12" fmla="*/ 32 w 459"/>
                  <a:gd name="T13" fmla="*/ 473 h 746"/>
                  <a:gd name="T14" fmla="*/ 28 w 459"/>
                  <a:gd name="T15" fmla="*/ 473 h 746"/>
                  <a:gd name="T16" fmla="*/ 28 w 459"/>
                  <a:gd name="T17" fmla="*/ 715 h 746"/>
                  <a:gd name="T18" fmla="*/ 59 w 459"/>
                  <a:gd name="T19" fmla="*/ 746 h 746"/>
                  <a:gd name="T20" fmla="*/ 401 w 459"/>
                  <a:gd name="T21" fmla="*/ 746 h 746"/>
                  <a:gd name="T22" fmla="*/ 432 w 459"/>
                  <a:gd name="T23" fmla="*/ 715 h 746"/>
                  <a:gd name="T24" fmla="*/ 432 w 459"/>
                  <a:gd name="T25" fmla="*/ 473 h 746"/>
                  <a:gd name="T26" fmla="*/ 428 w 459"/>
                  <a:gd name="T27" fmla="*/ 473 h 746"/>
                  <a:gd name="T28" fmla="*/ 429 w 459"/>
                  <a:gd name="T29" fmla="*/ 477 h 746"/>
                  <a:gd name="T30" fmla="*/ 459 w 459"/>
                  <a:gd name="T31" fmla="*/ 433 h 746"/>
                  <a:gd name="T32" fmla="*/ 459 w 459"/>
                  <a:gd name="T33" fmla="*/ 48 h 746"/>
                  <a:gd name="T34" fmla="*/ 411 w 459"/>
                  <a:gd name="T35" fmla="*/ 0 h 746"/>
                  <a:gd name="T36" fmla="*/ 411 w 459"/>
                  <a:gd name="T37" fmla="*/ 4 h 746"/>
                  <a:gd name="T38" fmla="*/ 411 w 459"/>
                  <a:gd name="T39" fmla="*/ 8 h 746"/>
                  <a:gd name="T40" fmla="*/ 439 w 459"/>
                  <a:gd name="T41" fmla="*/ 20 h 746"/>
                  <a:gd name="T42" fmla="*/ 451 w 459"/>
                  <a:gd name="T43" fmla="*/ 48 h 746"/>
                  <a:gd name="T44" fmla="*/ 451 w 459"/>
                  <a:gd name="T45" fmla="*/ 433 h 746"/>
                  <a:gd name="T46" fmla="*/ 426 w 459"/>
                  <a:gd name="T47" fmla="*/ 470 h 746"/>
                  <a:gd name="T48" fmla="*/ 424 w 459"/>
                  <a:gd name="T49" fmla="*/ 471 h 746"/>
                  <a:gd name="T50" fmla="*/ 424 w 459"/>
                  <a:gd name="T51" fmla="*/ 715 h 746"/>
                  <a:gd name="T52" fmla="*/ 417 w 459"/>
                  <a:gd name="T53" fmla="*/ 732 h 746"/>
                  <a:gd name="T54" fmla="*/ 401 w 459"/>
                  <a:gd name="T55" fmla="*/ 738 h 746"/>
                  <a:gd name="T56" fmla="*/ 59 w 459"/>
                  <a:gd name="T57" fmla="*/ 738 h 746"/>
                  <a:gd name="T58" fmla="*/ 43 w 459"/>
                  <a:gd name="T59" fmla="*/ 732 h 746"/>
                  <a:gd name="T60" fmla="*/ 36 w 459"/>
                  <a:gd name="T61" fmla="*/ 715 h 746"/>
                  <a:gd name="T62" fmla="*/ 36 w 459"/>
                  <a:gd name="T63" fmla="*/ 471 h 746"/>
                  <a:gd name="T64" fmla="*/ 34 w 459"/>
                  <a:gd name="T65" fmla="*/ 470 h 746"/>
                  <a:gd name="T66" fmla="*/ 8 w 459"/>
                  <a:gd name="T67" fmla="*/ 433 h 746"/>
                  <a:gd name="T68" fmla="*/ 8 w 459"/>
                  <a:gd name="T69" fmla="*/ 48 h 746"/>
                  <a:gd name="T70" fmla="*/ 20 w 459"/>
                  <a:gd name="T71" fmla="*/ 20 h 746"/>
                  <a:gd name="T72" fmla="*/ 49 w 459"/>
                  <a:gd name="T73" fmla="*/ 8 h 746"/>
                  <a:gd name="T74" fmla="*/ 411 w 459"/>
                  <a:gd name="T75" fmla="*/ 8 h 746"/>
                  <a:gd name="T76" fmla="*/ 411 w 459"/>
                  <a:gd name="T77" fmla="*/ 4 h 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9" h="746">
                    <a:moveTo>
                      <a:pt x="411" y="4"/>
                    </a:moveTo>
                    <a:cubicBezTo>
                      <a:pt x="411" y="0"/>
                      <a:pt x="411" y="0"/>
                      <a:pt x="411" y="0"/>
                    </a:cubicBezTo>
                    <a:cubicBezTo>
                      <a:pt x="49" y="0"/>
                      <a:pt x="49" y="0"/>
                      <a:pt x="49" y="0"/>
                    </a:cubicBezTo>
                    <a:cubicBezTo>
                      <a:pt x="22" y="0"/>
                      <a:pt x="0" y="21"/>
                      <a:pt x="0" y="48"/>
                    </a:cubicBezTo>
                    <a:cubicBezTo>
                      <a:pt x="0" y="433"/>
                      <a:pt x="0" y="433"/>
                      <a:pt x="0" y="433"/>
                    </a:cubicBezTo>
                    <a:cubicBezTo>
                      <a:pt x="1" y="453"/>
                      <a:pt x="13" y="470"/>
                      <a:pt x="31" y="477"/>
                    </a:cubicBezTo>
                    <a:cubicBezTo>
                      <a:pt x="32" y="473"/>
                      <a:pt x="32" y="473"/>
                      <a:pt x="32" y="473"/>
                    </a:cubicBezTo>
                    <a:cubicBezTo>
                      <a:pt x="28" y="473"/>
                      <a:pt x="28" y="473"/>
                      <a:pt x="28" y="473"/>
                    </a:cubicBezTo>
                    <a:cubicBezTo>
                      <a:pt x="28" y="715"/>
                      <a:pt x="28" y="715"/>
                      <a:pt x="28" y="715"/>
                    </a:cubicBezTo>
                    <a:cubicBezTo>
                      <a:pt x="28" y="732"/>
                      <a:pt x="42" y="746"/>
                      <a:pt x="59" y="746"/>
                    </a:cubicBezTo>
                    <a:cubicBezTo>
                      <a:pt x="401" y="746"/>
                      <a:pt x="401" y="746"/>
                      <a:pt x="401" y="746"/>
                    </a:cubicBezTo>
                    <a:cubicBezTo>
                      <a:pt x="418" y="746"/>
                      <a:pt x="432" y="732"/>
                      <a:pt x="432" y="715"/>
                    </a:cubicBezTo>
                    <a:cubicBezTo>
                      <a:pt x="432" y="473"/>
                      <a:pt x="432" y="473"/>
                      <a:pt x="432" y="473"/>
                    </a:cubicBezTo>
                    <a:cubicBezTo>
                      <a:pt x="428" y="473"/>
                      <a:pt x="428" y="473"/>
                      <a:pt x="428" y="473"/>
                    </a:cubicBezTo>
                    <a:cubicBezTo>
                      <a:pt x="429" y="477"/>
                      <a:pt x="429" y="477"/>
                      <a:pt x="429" y="477"/>
                    </a:cubicBezTo>
                    <a:cubicBezTo>
                      <a:pt x="447" y="470"/>
                      <a:pt x="459" y="453"/>
                      <a:pt x="459" y="433"/>
                    </a:cubicBezTo>
                    <a:cubicBezTo>
                      <a:pt x="459" y="48"/>
                      <a:pt x="459" y="48"/>
                      <a:pt x="459" y="48"/>
                    </a:cubicBezTo>
                    <a:cubicBezTo>
                      <a:pt x="459" y="21"/>
                      <a:pt x="438" y="0"/>
                      <a:pt x="411" y="0"/>
                    </a:cubicBezTo>
                    <a:cubicBezTo>
                      <a:pt x="411" y="4"/>
                      <a:pt x="411" y="4"/>
                      <a:pt x="411" y="4"/>
                    </a:cubicBezTo>
                    <a:cubicBezTo>
                      <a:pt x="411" y="8"/>
                      <a:pt x="411" y="8"/>
                      <a:pt x="411" y="8"/>
                    </a:cubicBezTo>
                    <a:cubicBezTo>
                      <a:pt x="422" y="8"/>
                      <a:pt x="432" y="12"/>
                      <a:pt x="439" y="20"/>
                    </a:cubicBezTo>
                    <a:cubicBezTo>
                      <a:pt x="447" y="27"/>
                      <a:pt x="451" y="37"/>
                      <a:pt x="451" y="48"/>
                    </a:cubicBezTo>
                    <a:cubicBezTo>
                      <a:pt x="451" y="433"/>
                      <a:pt x="451" y="433"/>
                      <a:pt x="451" y="433"/>
                    </a:cubicBezTo>
                    <a:cubicBezTo>
                      <a:pt x="451" y="449"/>
                      <a:pt x="441" y="464"/>
                      <a:pt x="426" y="470"/>
                    </a:cubicBezTo>
                    <a:cubicBezTo>
                      <a:pt x="424" y="471"/>
                      <a:pt x="424" y="471"/>
                      <a:pt x="424" y="471"/>
                    </a:cubicBezTo>
                    <a:cubicBezTo>
                      <a:pt x="424" y="715"/>
                      <a:pt x="424" y="715"/>
                      <a:pt x="424" y="715"/>
                    </a:cubicBezTo>
                    <a:cubicBezTo>
                      <a:pt x="424" y="722"/>
                      <a:pt x="421" y="727"/>
                      <a:pt x="417" y="732"/>
                    </a:cubicBezTo>
                    <a:cubicBezTo>
                      <a:pt x="413" y="736"/>
                      <a:pt x="407" y="738"/>
                      <a:pt x="401" y="738"/>
                    </a:cubicBezTo>
                    <a:cubicBezTo>
                      <a:pt x="59" y="738"/>
                      <a:pt x="59" y="738"/>
                      <a:pt x="59" y="738"/>
                    </a:cubicBezTo>
                    <a:cubicBezTo>
                      <a:pt x="53" y="738"/>
                      <a:pt x="47" y="736"/>
                      <a:pt x="43" y="732"/>
                    </a:cubicBezTo>
                    <a:cubicBezTo>
                      <a:pt x="39" y="727"/>
                      <a:pt x="36" y="722"/>
                      <a:pt x="36" y="715"/>
                    </a:cubicBezTo>
                    <a:cubicBezTo>
                      <a:pt x="36" y="471"/>
                      <a:pt x="36" y="471"/>
                      <a:pt x="36" y="471"/>
                    </a:cubicBezTo>
                    <a:cubicBezTo>
                      <a:pt x="34" y="470"/>
                      <a:pt x="34" y="470"/>
                      <a:pt x="34" y="470"/>
                    </a:cubicBezTo>
                    <a:cubicBezTo>
                      <a:pt x="19" y="464"/>
                      <a:pt x="8" y="449"/>
                      <a:pt x="8" y="433"/>
                    </a:cubicBezTo>
                    <a:cubicBezTo>
                      <a:pt x="8" y="48"/>
                      <a:pt x="8" y="48"/>
                      <a:pt x="8" y="48"/>
                    </a:cubicBezTo>
                    <a:cubicBezTo>
                      <a:pt x="8" y="37"/>
                      <a:pt x="13" y="27"/>
                      <a:pt x="20" y="20"/>
                    </a:cubicBezTo>
                    <a:cubicBezTo>
                      <a:pt x="28" y="12"/>
                      <a:pt x="38" y="8"/>
                      <a:pt x="49" y="8"/>
                    </a:cubicBezTo>
                    <a:cubicBezTo>
                      <a:pt x="411" y="8"/>
                      <a:pt x="411" y="8"/>
                      <a:pt x="411" y="8"/>
                    </a:cubicBezTo>
                    <a:lnTo>
                      <a:pt x="411" y="4"/>
                    </a:lnTo>
                    <a:close/>
                  </a:path>
                </a:pathLst>
              </a:custGeom>
              <a:solidFill>
                <a:srgbClr val="0A0A0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25" name="矩形 124"/>
              <p:cNvSpPr/>
              <p:nvPr/>
            </p:nvSpPr>
            <p:spPr bwMode="auto">
              <a:xfrm>
                <a:off x="5133145" y="3386865"/>
                <a:ext cx="348702" cy="28543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26" name="任意多边形: 形状 125"/>
              <p:cNvSpPr/>
              <p:nvPr/>
            </p:nvSpPr>
            <p:spPr bwMode="auto">
              <a:xfrm>
                <a:off x="5130766" y="3683713"/>
                <a:ext cx="352032" cy="100377"/>
              </a:xfrm>
              <a:custGeom>
                <a:avLst/>
                <a:gdLst>
                  <a:gd name="T0" fmla="*/ 305 w 312"/>
                  <a:gd name="T1" fmla="*/ 0 h 89"/>
                  <a:gd name="T2" fmla="*/ 6 w 312"/>
                  <a:gd name="T3" fmla="*/ 0 h 89"/>
                  <a:gd name="T4" fmla="*/ 0 w 312"/>
                  <a:gd name="T5" fmla="*/ 6 h 89"/>
                  <a:gd name="T6" fmla="*/ 0 w 312"/>
                  <a:gd name="T7" fmla="*/ 82 h 89"/>
                  <a:gd name="T8" fmla="*/ 6 w 312"/>
                  <a:gd name="T9" fmla="*/ 89 h 89"/>
                  <a:gd name="T10" fmla="*/ 305 w 312"/>
                  <a:gd name="T11" fmla="*/ 89 h 89"/>
                  <a:gd name="T12" fmla="*/ 312 w 312"/>
                  <a:gd name="T13" fmla="*/ 82 h 89"/>
                  <a:gd name="T14" fmla="*/ 312 w 312"/>
                  <a:gd name="T15" fmla="*/ 6 h 89"/>
                  <a:gd name="T16" fmla="*/ 305 w 312"/>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2" h="89">
                    <a:moveTo>
                      <a:pt x="305" y="0"/>
                    </a:moveTo>
                    <a:cubicBezTo>
                      <a:pt x="6" y="0"/>
                      <a:pt x="6" y="0"/>
                      <a:pt x="6" y="0"/>
                    </a:cubicBezTo>
                    <a:cubicBezTo>
                      <a:pt x="3" y="0"/>
                      <a:pt x="0" y="3"/>
                      <a:pt x="0" y="6"/>
                    </a:cubicBezTo>
                    <a:cubicBezTo>
                      <a:pt x="0" y="82"/>
                      <a:pt x="0" y="82"/>
                      <a:pt x="0" y="82"/>
                    </a:cubicBezTo>
                    <a:cubicBezTo>
                      <a:pt x="0" y="86"/>
                      <a:pt x="3" y="89"/>
                      <a:pt x="6" y="89"/>
                    </a:cubicBezTo>
                    <a:cubicBezTo>
                      <a:pt x="305" y="89"/>
                      <a:pt x="305" y="89"/>
                      <a:pt x="305" y="89"/>
                    </a:cubicBezTo>
                    <a:cubicBezTo>
                      <a:pt x="309" y="89"/>
                      <a:pt x="312" y="86"/>
                      <a:pt x="312" y="82"/>
                    </a:cubicBezTo>
                    <a:cubicBezTo>
                      <a:pt x="312" y="6"/>
                      <a:pt x="312" y="6"/>
                      <a:pt x="312" y="6"/>
                    </a:cubicBezTo>
                    <a:cubicBezTo>
                      <a:pt x="312" y="3"/>
                      <a:pt x="309" y="0"/>
                      <a:pt x="305" y="0"/>
                    </a:cubicBezTo>
                  </a:path>
                </a:pathLst>
              </a:custGeom>
              <a:solidFill>
                <a:srgbClr val="F4AD4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27" name="矩形 126"/>
              <p:cNvSpPr/>
              <p:nvPr/>
            </p:nvSpPr>
            <p:spPr bwMode="auto">
              <a:xfrm>
                <a:off x="5147892" y="3715586"/>
                <a:ext cx="77542" cy="3710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28" name="矩形 127"/>
              <p:cNvSpPr/>
              <p:nvPr/>
            </p:nvSpPr>
            <p:spPr bwMode="auto">
              <a:xfrm>
                <a:off x="5268249" y="3715586"/>
                <a:ext cx="77066" cy="3710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29" name="矩形 128"/>
              <p:cNvSpPr/>
              <p:nvPr/>
            </p:nvSpPr>
            <p:spPr bwMode="auto">
              <a:xfrm>
                <a:off x="5388130" y="3715586"/>
                <a:ext cx="76591" cy="3710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30" name="任意多边形: 形状 129"/>
              <p:cNvSpPr/>
              <p:nvPr/>
            </p:nvSpPr>
            <p:spPr bwMode="auto">
              <a:xfrm>
                <a:off x="5147892" y="3833089"/>
                <a:ext cx="77542" cy="37106"/>
              </a:xfrm>
              <a:custGeom>
                <a:avLst/>
                <a:gdLst>
                  <a:gd name="T0" fmla="*/ 66 w 69"/>
                  <a:gd name="T1" fmla="*/ 33 h 33"/>
                  <a:gd name="T2" fmla="*/ 3 w 69"/>
                  <a:gd name="T3" fmla="*/ 33 h 33"/>
                  <a:gd name="T4" fmla="*/ 0 w 69"/>
                  <a:gd name="T5" fmla="*/ 31 h 33"/>
                  <a:gd name="T6" fmla="*/ 0 w 69"/>
                  <a:gd name="T7" fmla="*/ 2 h 33"/>
                  <a:gd name="T8" fmla="*/ 3 w 69"/>
                  <a:gd name="T9" fmla="*/ 0 h 33"/>
                  <a:gd name="T10" fmla="*/ 66 w 69"/>
                  <a:gd name="T11" fmla="*/ 0 h 33"/>
                  <a:gd name="T12" fmla="*/ 69 w 69"/>
                  <a:gd name="T13" fmla="*/ 2 h 33"/>
                  <a:gd name="T14" fmla="*/ 69 w 69"/>
                  <a:gd name="T15" fmla="*/ 31 h 33"/>
                  <a:gd name="T16" fmla="*/ 66 w 69"/>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33">
                    <a:moveTo>
                      <a:pt x="66" y="33"/>
                    </a:moveTo>
                    <a:cubicBezTo>
                      <a:pt x="3" y="33"/>
                      <a:pt x="3" y="33"/>
                      <a:pt x="3" y="33"/>
                    </a:cubicBezTo>
                    <a:cubicBezTo>
                      <a:pt x="1" y="33"/>
                      <a:pt x="0" y="32"/>
                      <a:pt x="0" y="31"/>
                    </a:cubicBezTo>
                    <a:cubicBezTo>
                      <a:pt x="0" y="2"/>
                      <a:pt x="0" y="2"/>
                      <a:pt x="0" y="2"/>
                    </a:cubicBezTo>
                    <a:cubicBezTo>
                      <a:pt x="0" y="1"/>
                      <a:pt x="1" y="0"/>
                      <a:pt x="3" y="0"/>
                    </a:cubicBezTo>
                    <a:cubicBezTo>
                      <a:pt x="66" y="0"/>
                      <a:pt x="66" y="0"/>
                      <a:pt x="66" y="0"/>
                    </a:cubicBezTo>
                    <a:cubicBezTo>
                      <a:pt x="68" y="0"/>
                      <a:pt x="69" y="1"/>
                      <a:pt x="69" y="2"/>
                    </a:cubicBezTo>
                    <a:cubicBezTo>
                      <a:pt x="69" y="31"/>
                      <a:pt x="69" y="31"/>
                      <a:pt x="69" y="31"/>
                    </a:cubicBezTo>
                    <a:cubicBezTo>
                      <a:pt x="69" y="32"/>
                      <a:pt x="68" y="33"/>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31" name="任意多边形: 形状 130"/>
              <p:cNvSpPr/>
              <p:nvPr/>
            </p:nvSpPr>
            <p:spPr bwMode="auto">
              <a:xfrm>
                <a:off x="5268249" y="3833089"/>
                <a:ext cx="77066" cy="37106"/>
              </a:xfrm>
              <a:custGeom>
                <a:avLst/>
                <a:gdLst>
                  <a:gd name="T0" fmla="*/ 65 w 68"/>
                  <a:gd name="T1" fmla="*/ 33 h 33"/>
                  <a:gd name="T2" fmla="*/ 2 w 68"/>
                  <a:gd name="T3" fmla="*/ 33 h 33"/>
                  <a:gd name="T4" fmla="*/ 0 w 68"/>
                  <a:gd name="T5" fmla="*/ 31 h 33"/>
                  <a:gd name="T6" fmla="*/ 0 w 68"/>
                  <a:gd name="T7" fmla="*/ 2 h 33"/>
                  <a:gd name="T8" fmla="*/ 2 w 68"/>
                  <a:gd name="T9" fmla="*/ 0 h 33"/>
                  <a:gd name="T10" fmla="*/ 65 w 68"/>
                  <a:gd name="T11" fmla="*/ 0 h 33"/>
                  <a:gd name="T12" fmla="*/ 68 w 68"/>
                  <a:gd name="T13" fmla="*/ 2 h 33"/>
                  <a:gd name="T14" fmla="*/ 68 w 68"/>
                  <a:gd name="T15" fmla="*/ 31 h 33"/>
                  <a:gd name="T16" fmla="*/ 65 w 68"/>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33">
                    <a:moveTo>
                      <a:pt x="65" y="33"/>
                    </a:moveTo>
                    <a:cubicBezTo>
                      <a:pt x="2" y="33"/>
                      <a:pt x="2" y="33"/>
                      <a:pt x="2" y="33"/>
                    </a:cubicBezTo>
                    <a:cubicBezTo>
                      <a:pt x="1" y="33"/>
                      <a:pt x="0" y="32"/>
                      <a:pt x="0" y="31"/>
                    </a:cubicBezTo>
                    <a:cubicBezTo>
                      <a:pt x="0" y="2"/>
                      <a:pt x="0" y="2"/>
                      <a:pt x="0" y="2"/>
                    </a:cubicBezTo>
                    <a:cubicBezTo>
                      <a:pt x="0" y="1"/>
                      <a:pt x="1" y="0"/>
                      <a:pt x="2" y="0"/>
                    </a:cubicBezTo>
                    <a:cubicBezTo>
                      <a:pt x="65" y="0"/>
                      <a:pt x="65" y="0"/>
                      <a:pt x="65" y="0"/>
                    </a:cubicBezTo>
                    <a:cubicBezTo>
                      <a:pt x="67" y="0"/>
                      <a:pt x="68" y="1"/>
                      <a:pt x="68" y="2"/>
                    </a:cubicBezTo>
                    <a:cubicBezTo>
                      <a:pt x="68" y="31"/>
                      <a:pt x="68" y="31"/>
                      <a:pt x="68" y="31"/>
                    </a:cubicBezTo>
                    <a:cubicBezTo>
                      <a:pt x="68" y="32"/>
                      <a:pt x="67" y="33"/>
                      <a:pt x="65" y="33"/>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32" name="任意多边形: 形状 131"/>
              <p:cNvSpPr/>
              <p:nvPr/>
            </p:nvSpPr>
            <p:spPr bwMode="auto">
              <a:xfrm>
                <a:off x="5388130" y="3833089"/>
                <a:ext cx="76591" cy="37106"/>
              </a:xfrm>
              <a:custGeom>
                <a:avLst/>
                <a:gdLst>
                  <a:gd name="T0" fmla="*/ 66 w 68"/>
                  <a:gd name="T1" fmla="*/ 33 h 33"/>
                  <a:gd name="T2" fmla="*/ 2 w 68"/>
                  <a:gd name="T3" fmla="*/ 33 h 33"/>
                  <a:gd name="T4" fmla="*/ 0 w 68"/>
                  <a:gd name="T5" fmla="*/ 31 h 33"/>
                  <a:gd name="T6" fmla="*/ 0 w 68"/>
                  <a:gd name="T7" fmla="*/ 2 h 33"/>
                  <a:gd name="T8" fmla="*/ 2 w 68"/>
                  <a:gd name="T9" fmla="*/ 0 h 33"/>
                  <a:gd name="T10" fmla="*/ 66 w 68"/>
                  <a:gd name="T11" fmla="*/ 0 h 33"/>
                  <a:gd name="T12" fmla="*/ 68 w 68"/>
                  <a:gd name="T13" fmla="*/ 2 h 33"/>
                  <a:gd name="T14" fmla="*/ 68 w 68"/>
                  <a:gd name="T15" fmla="*/ 31 h 33"/>
                  <a:gd name="T16" fmla="*/ 66 w 68"/>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33">
                    <a:moveTo>
                      <a:pt x="66" y="33"/>
                    </a:moveTo>
                    <a:cubicBezTo>
                      <a:pt x="2" y="33"/>
                      <a:pt x="2" y="33"/>
                      <a:pt x="2" y="33"/>
                    </a:cubicBezTo>
                    <a:cubicBezTo>
                      <a:pt x="1" y="33"/>
                      <a:pt x="0" y="32"/>
                      <a:pt x="0" y="31"/>
                    </a:cubicBezTo>
                    <a:cubicBezTo>
                      <a:pt x="0" y="2"/>
                      <a:pt x="0" y="2"/>
                      <a:pt x="0" y="2"/>
                    </a:cubicBezTo>
                    <a:cubicBezTo>
                      <a:pt x="0" y="1"/>
                      <a:pt x="1" y="0"/>
                      <a:pt x="2" y="0"/>
                    </a:cubicBezTo>
                    <a:cubicBezTo>
                      <a:pt x="66" y="0"/>
                      <a:pt x="66" y="0"/>
                      <a:pt x="66" y="0"/>
                    </a:cubicBezTo>
                    <a:cubicBezTo>
                      <a:pt x="67" y="0"/>
                      <a:pt x="68" y="1"/>
                      <a:pt x="68" y="2"/>
                    </a:cubicBezTo>
                    <a:cubicBezTo>
                      <a:pt x="68" y="31"/>
                      <a:pt x="68" y="31"/>
                      <a:pt x="68" y="31"/>
                    </a:cubicBezTo>
                    <a:cubicBezTo>
                      <a:pt x="68" y="32"/>
                      <a:pt x="67" y="33"/>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33" name="任意多边形: 形状 132"/>
              <p:cNvSpPr/>
              <p:nvPr/>
            </p:nvSpPr>
            <p:spPr bwMode="auto">
              <a:xfrm>
                <a:off x="5147892" y="3901592"/>
                <a:ext cx="77542" cy="38533"/>
              </a:xfrm>
              <a:custGeom>
                <a:avLst/>
                <a:gdLst>
                  <a:gd name="T0" fmla="*/ 66 w 69"/>
                  <a:gd name="T1" fmla="*/ 34 h 34"/>
                  <a:gd name="T2" fmla="*/ 3 w 69"/>
                  <a:gd name="T3" fmla="*/ 34 h 34"/>
                  <a:gd name="T4" fmla="*/ 0 w 69"/>
                  <a:gd name="T5" fmla="*/ 32 h 34"/>
                  <a:gd name="T6" fmla="*/ 0 w 69"/>
                  <a:gd name="T7" fmla="*/ 3 h 34"/>
                  <a:gd name="T8" fmla="*/ 3 w 69"/>
                  <a:gd name="T9" fmla="*/ 0 h 34"/>
                  <a:gd name="T10" fmla="*/ 66 w 69"/>
                  <a:gd name="T11" fmla="*/ 0 h 34"/>
                  <a:gd name="T12" fmla="*/ 69 w 69"/>
                  <a:gd name="T13" fmla="*/ 3 h 34"/>
                  <a:gd name="T14" fmla="*/ 69 w 69"/>
                  <a:gd name="T15" fmla="*/ 32 h 34"/>
                  <a:gd name="T16" fmla="*/ 66 w 69"/>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34">
                    <a:moveTo>
                      <a:pt x="66" y="34"/>
                    </a:moveTo>
                    <a:cubicBezTo>
                      <a:pt x="3" y="34"/>
                      <a:pt x="3" y="34"/>
                      <a:pt x="3" y="34"/>
                    </a:cubicBezTo>
                    <a:cubicBezTo>
                      <a:pt x="1" y="34"/>
                      <a:pt x="0" y="33"/>
                      <a:pt x="0" y="32"/>
                    </a:cubicBezTo>
                    <a:cubicBezTo>
                      <a:pt x="0" y="3"/>
                      <a:pt x="0" y="3"/>
                      <a:pt x="0" y="3"/>
                    </a:cubicBezTo>
                    <a:cubicBezTo>
                      <a:pt x="0" y="2"/>
                      <a:pt x="1" y="0"/>
                      <a:pt x="3" y="0"/>
                    </a:cubicBezTo>
                    <a:cubicBezTo>
                      <a:pt x="66" y="0"/>
                      <a:pt x="66" y="0"/>
                      <a:pt x="66" y="0"/>
                    </a:cubicBezTo>
                    <a:cubicBezTo>
                      <a:pt x="68" y="0"/>
                      <a:pt x="69" y="2"/>
                      <a:pt x="69" y="3"/>
                    </a:cubicBezTo>
                    <a:cubicBezTo>
                      <a:pt x="69" y="32"/>
                      <a:pt x="69" y="32"/>
                      <a:pt x="69" y="32"/>
                    </a:cubicBezTo>
                    <a:cubicBezTo>
                      <a:pt x="69" y="33"/>
                      <a:pt x="68" y="34"/>
                      <a:pt x="66" y="3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34" name="任意多边形: 形状 133"/>
              <p:cNvSpPr/>
              <p:nvPr/>
            </p:nvSpPr>
            <p:spPr bwMode="auto">
              <a:xfrm>
                <a:off x="5268249" y="3901592"/>
                <a:ext cx="77066" cy="38533"/>
              </a:xfrm>
              <a:custGeom>
                <a:avLst/>
                <a:gdLst>
                  <a:gd name="T0" fmla="*/ 65 w 68"/>
                  <a:gd name="T1" fmla="*/ 34 h 34"/>
                  <a:gd name="T2" fmla="*/ 2 w 68"/>
                  <a:gd name="T3" fmla="*/ 34 h 34"/>
                  <a:gd name="T4" fmla="*/ 0 w 68"/>
                  <a:gd name="T5" fmla="*/ 32 h 34"/>
                  <a:gd name="T6" fmla="*/ 0 w 68"/>
                  <a:gd name="T7" fmla="*/ 3 h 34"/>
                  <a:gd name="T8" fmla="*/ 2 w 68"/>
                  <a:gd name="T9" fmla="*/ 0 h 34"/>
                  <a:gd name="T10" fmla="*/ 65 w 68"/>
                  <a:gd name="T11" fmla="*/ 0 h 34"/>
                  <a:gd name="T12" fmla="*/ 68 w 68"/>
                  <a:gd name="T13" fmla="*/ 3 h 34"/>
                  <a:gd name="T14" fmla="*/ 68 w 68"/>
                  <a:gd name="T15" fmla="*/ 32 h 34"/>
                  <a:gd name="T16" fmla="*/ 65 w 68"/>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34">
                    <a:moveTo>
                      <a:pt x="65" y="34"/>
                    </a:moveTo>
                    <a:cubicBezTo>
                      <a:pt x="2" y="34"/>
                      <a:pt x="2" y="34"/>
                      <a:pt x="2" y="34"/>
                    </a:cubicBezTo>
                    <a:cubicBezTo>
                      <a:pt x="1" y="34"/>
                      <a:pt x="0" y="33"/>
                      <a:pt x="0" y="32"/>
                    </a:cubicBezTo>
                    <a:cubicBezTo>
                      <a:pt x="0" y="3"/>
                      <a:pt x="0" y="3"/>
                      <a:pt x="0" y="3"/>
                    </a:cubicBezTo>
                    <a:cubicBezTo>
                      <a:pt x="0" y="2"/>
                      <a:pt x="1" y="0"/>
                      <a:pt x="2" y="0"/>
                    </a:cubicBezTo>
                    <a:cubicBezTo>
                      <a:pt x="65" y="0"/>
                      <a:pt x="65" y="0"/>
                      <a:pt x="65" y="0"/>
                    </a:cubicBezTo>
                    <a:cubicBezTo>
                      <a:pt x="67" y="0"/>
                      <a:pt x="68" y="2"/>
                      <a:pt x="68" y="3"/>
                    </a:cubicBezTo>
                    <a:cubicBezTo>
                      <a:pt x="68" y="32"/>
                      <a:pt x="68" y="32"/>
                      <a:pt x="68" y="32"/>
                    </a:cubicBezTo>
                    <a:cubicBezTo>
                      <a:pt x="68" y="33"/>
                      <a:pt x="67" y="34"/>
                      <a:pt x="65" y="3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35" name="任意多边形: 形状 134"/>
              <p:cNvSpPr/>
              <p:nvPr/>
            </p:nvSpPr>
            <p:spPr bwMode="auto">
              <a:xfrm>
                <a:off x="5388130" y="3901592"/>
                <a:ext cx="76591" cy="38533"/>
              </a:xfrm>
              <a:custGeom>
                <a:avLst/>
                <a:gdLst>
                  <a:gd name="T0" fmla="*/ 66 w 68"/>
                  <a:gd name="T1" fmla="*/ 34 h 34"/>
                  <a:gd name="T2" fmla="*/ 2 w 68"/>
                  <a:gd name="T3" fmla="*/ 34 h 34"/>
                  <a:gd name="T4" fmla="*/ 0 w 68"/>
                  <a:gd name="T5" fmla="*/ 32 h 34"/>
                  <a:gd name="T6" fmla="*/ 0 w 68"/>
                  <a:gd name="T7" fmla="*/ 3 h 34"/>
                  <a:gd name="T8" fmla="*/ 2 w 68"/>
                  <a:gd name="T9" fmla="*/ 0 h 34"/>
                  <a:gd name="T10" fmla="*/ 66 w 68"/>
                  <a:gd name="T11" fmla="*/ 0 h 34"/>
                  <a:gd name="T12" fmla="*/ 68 w 68"/>
                  <a:gd name="T13" fmla="*/ 3 h 34"/>
                  <a:gd name="T14" fmla="*/ 68 w 68"/>
                  <a:gd name="T15" fmla="*/ 32 h 34"/>
                  <a:gd name="T16" fmla="*/ 66 w 68"/>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34">
                    <a:moveTo>
                      <a:pt x="66" y="34"/>
                    </a:moveTo>
                    <a:cubicBezTo>
                      <a:pt x="2" y="34"/>
                      <a:pt x="2" y="34"/>
                      <a:pt x="2" y="34"/>
                    </a:cubicBezTo>
                    <a:cubicBezTo>
                      <a:pt x="1" y="34"/>
                      <a:pt x="0" y="33"/>
                      <a:pt x="0" y="32"/>
                    </a:cubicBezTo>
                    <a:cubicBezTo>
                      <a:pt x="0" y="3"/>
                      <a:pt x="0" y="3"/>
                      <a:pt x="0" y="3"/>
                    </a:cubicBezTo>
                    <a:cubicBezTo>
                      <a:pt x="0" y="2"/>
                      <a:pt x="1" y="0"/>
                      <a:pt x="2" y="0"/>
                    </a:cubicBezTo>
                    <a:cubicBezTo>
                      <a:pt x="66" y="0"/>
                      <a:pt x="66" y="0"/>
                      <a:pt x="66" y="0"/>
                    </a:cubicBezTo>
                    <a:cubicBezTo>
                      <a:pt x="67" y="0"/>
                      <a:pt x="68" y="2"/>
                      <a:pt x="68" y="3"/>
                    </a:cubicBezTo>
                    <a:cubicBezTo>
                      <a:pt x="68" y="32"/>
                      <a:pt x="68" y="32"/>
                      <a:pt x="68" y="32"/>
                    </a:cubicBezTo>
                    <a:cubicBezTo>
                      <a:pt x="68" y="33"/>
                      <a:pt x="67" y="34"/>
                      <a:pt x="66" y="3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36" name="任意多边形: 形状 135"/>
              <p:cNvSpPr/>
              <p:nvPr/>
            </p:nvSpPr>
            <p:spPr bwMode="auto">
              <a:xfrm>
                <a:off x="5147892" y="3971999"/>
                <a:ext cx="77542" cy="38057"/>
              </a:xfrm>
              <a:custGeom>
                <a:avLst/>
                <a:gdLst>
                  <a:gd name="T0" fmla="*/ 66 w 69"/>
                  <a:gd name="T1" fmla="*/ 34 h 34"/>
                  <a:gd name="T2" fmla="*/ 3 w 69"/>
                  <a:gd name="T3" fmla="*/ 34 h 34"/>
                  <a:gd name="T4" fmla="*/ 0 w 69"/>
                  <a:gd name="T5" fmla="*/ 32 h 34"/>
                  <a:gd name="T6" fmla="*/ 0 w 69"/>
                  <a:gd name="T7" fmla="*/ 3 h 34"/>
                  <a:gd name="T8" fmla="*/ 3 w 69"/>
                  <a:gd name="T9" fmla="*/ 0 h 34"/>
                  <a:gd name="T10" fmla="*/ 66 w 69"/>
                  <a:gd name="T11" fmla="*/ 0 h 34"/>
                  <a:gd name="T12" fmla="*/ 69 w 69"/>
                  <a:gd name="T13" fmla="*/ 3 h 34"/>
                  <a:gd name="T14" fmla="*/ 69 w 69"/>
                  <a:gd name="T15" fmla="*/ 32 h 34"/>
                  <a:gd name="T16" fmla="*/ 66 w 69"/>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34">
                    <a:moveTo>
                      <a:pt x="66" y="34"/>
                    </a:moveTo>
                    <a:cubicBezTo>
                      <a:pt x="3" y="34"/>
                      <a:pt x="3" y="34"/>
                      <a:pt x="3" y="34"/>
                    </a:cubicBezTo>
                    <a:cubicBezTo>
                      <a:pt x="1" y="34"/>
                      <a:pt x="0" y="33"/>
                      <a:pt x="0" y="32"/>
                    </a:cubicBezTo>
                    <a:cubicBezTo>
                      <a:pt x="0" y="3"/>
                      <a:pt x="0" y="3"/>
                      <a:pt x="0" y="3"/>
                    </a:cubicBezTo>
                    <a:cubicBezTo>
                      <a:pt x="0" y="1"/>
                      <a:pt x="1" y="0"/>
                      <a:pt x="3" y="0"/>
                    </a:cubicBezTo>
                    <a:cubicBezTo>
                      <a:pt x="66" y="0"/>
                      <a:pt x="66" y="0"/>
                      <a:pt x="66" y="0"/>
                    </a:cubicBezTo>
                    <a:cubicBezTo>
                      <a:pt x="68" y="0"/>
                      <a:pt x="69" y="1"/>
                      <a:pt x="69" y="3"/>
                    </a:cubicBezTo>
                    <a:cubicBezTo>
                      <a:pt x="69" y="32"/>
                      <a:pt x="69" y="32"/>
                      <a:pt x="69" y="32"/>
                    </a:cubicBezTo>
                    <a:cubicBezTo>
                      <a:pt x="69" y="33"/>
                      <a:pt x="68" y="34"/>
                      <a:pt x="66" y="3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37" name="任意多边形: 形状 136"/>
              <p:cNvSpPr/>
              <p:nvPr/>
            </p:nvSpPr>
            <p:spPr bwMode="auto">
              <a:xfrm>
                <a:off x="5268249" y="3971999"/>
                <a:ext cx="77066" cy="38057"/>
              </a:xfrm>
              <a:custGeom>
                <a:avLst/>
                <a:gdLst>
                  <a:gd name="T0" fmla="*/ 65 w 68"/>
                  <a:gd name="T1" fmla="*/ 34 h 34"/>
                  <a:gd name="T2" fmla="*/ 2 w 68"/>
                  <a:gd name="T3" fmla="*/ 34 h 34"/>
                  <a:gd name="T4" fmla="*/ 0 w 68"/>
                  <a:gd name="T5" fmla="*/ 32 h 34"/>
                  <a:gd name="T6" fmla="*/ 0 w 68"/>
                  <a:gd name="T7" fmla="*/ 3 h 34"/>
                  <a:gd name="T8" fmla="*/ 2 w 68"/>
                  <a:gd name="T9" fmla="*/ 0 h 34"/>
                  <a:gd name="T10" fmla="*/ 65 w 68"/>
                  <a:gd name="T11" fmla="*/ 0 h 34"/>
                  <a:gd name="T12" fmla="*/ 68 w 68"/>
                  <a:gd name="T13" fmla="*/ 3 h 34"/>
                  <a:gd name="T14" fmla="*/ 68 w 68"/>
                  <a:gd name="T15" fmla="*/ 32 h 34"/>
                  <a:gd name="T16" fmla="*/ 65 w 68"/>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34">
                    <a:moveTo>
                      <a:pt x="65" y="34"/>
                    </a:moveTo>
                    <a:cubicBezTo>
                      <a:pt x="2" y="34"/>
                      <a:pt x="2" y="34"/>
                      <a:pt x="2" y="34"/>
                    </a:cubicBezTo>
                    <a:cubicBezTo>
                      <a:pt x="1" y="34"/>
                      <a:pt x="0" y="33"/>
                      <a:pt x="0" y="32"/>
                    </a:cubicBezTo>
                    <a:cubicBezTo>
                      <a:pt x="0" y="3"/>
                      <a:pt x="0" y="3"/>
                      <a:pt x="0" y="3"/>
                    </a:cubicBezTo>
                    <a:cubicBezTo>
                      <a:pt x="0" y="1"/>
                      <a:pt x="1" y="0"/>
                      <a:pt x="2" y="0"/>
                    </a:cubicBezTo>
                    <a:cubicBezTo>
                      <a:pt x="65" y="0"/>
                      <a:pt x="65" y="0"/>
                      <a:pt x="65" y="0"/>
                    </a:cubicBezTo>
                    <a:cubicBezTo>
                      <a:pt x="67" y="0"/>
                      <a:pt x="68" y="1"/>
                      <a:pt x="68" y="3"/>
                    </a:cubicBezTo>
                    <a:cubicBezTo>
                      <a:pt x="68" y="32"/>
                      <a:pt x="68" y="32"/>
                      <a:pt x="68" y="32"/>
                    </a:cubicBezTo>
                    <a:cubicBezTo>
                      <a:pt x="68" y="33"/>
                      <a:pt x="67" y="34"/>
                      <a:pt x="65" y="3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38" name="任意多边形: 形状 137"/>
              <p:cNvSpPr/>
              <p:nvPr/>
            </p:nvSpPr>
            <p:spPr bwMode="auto">
              <a:xfrm>
                <a:off x="5388130" y="3971999"/>
                <a:ext cx="76591" cy="38057"/>
              </a:xfrm>
              <a:custGeom>
                <a:avLst/>
                <a:gdLst>
                  <a:gd name="T0" fmla="*/ 66 w 68"/>
                  <a:gd name="T1" fmla="*/ 34 h 34"/>
                  <a:gd name="T2" fmla="*/ 2 w 68"/>
                  <a:gd name="T3" fmla="*/ 34 h 34"/>
                  <a:gd name="T4" fmla="*/ 0 w 68"/>
                  <a:gd name="T5" fmla="*/ 32 h 34"/>
                  <a:gd name="T6" fmla="*/ 0 w 68"/>
                  <a:gd name="T7" fmla="*/ 3 h 34"/>
                  <a:gd name="T8" fmla="*/ 2 w 68"/>
                  <a:gd name="T9" fmla="*/ 0 h 34"/>
                  <a:gd name="T10" fmla="*/ 66 w 68"/>
                  <a:gd name="T11" fmla="*/ 0 h 34"/>
                  <a:gd name="T12" fmla="*/ 68 w 68"/>
                  <a:gd name="T13" fmla="*/ 3 h 34"/>
                  <a:gd name="T14" fmla="*/ 68 w 68"/>
                  <a:gd name="T15" fmla="*/ 32 h 34"/>
                  <a:gd name="T16" fmla="*/ 66 w 68"/>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34">
                    <a:moveTo>
                      <a:pt x="66" y="34"/>
                    </a:moveTo>
                    <a:cubicBezTo>
                      <a:pt x="2" y="34"/>
                      <a:pt x="2" y="34"/>
                      <a:pt x="2" y="34"/>
                    </a:cubicBezTo>
                    <a:cubicBezTo>
                      <a:pt x="1" y="34"/>
                      <a:pt x="0" y="33"/>
                      <a:pt x="0" y="32"/>
                    </a:cubicBezTo>
                    <a:cubicBezTo>
                      <a:pt x="0" y="3"/>
                      <a:pt x="0" y="3"/>
                      <a:pt x="0" y="3"/>
                    </a:cubicBezTo>
                    <a:cubicBezTo>
                      <a:pt x="0" y="1"/>
                      <a:pt x="1" y="0"/>
                      <a:pt x="2" y="0"/>
                    </a:cubicBezTo>
                    <a:cubicBezTo>
                      <a:pt x="66" y="0"/>
                      <a:pt x="66" y="0"/>
                      <a:pt x="66" y="0"/>
                    </a:cubicBezTo>
                    <a:cubicBezTo>
                      <a:pt x="67" y="0"/>
                      <a:pt x="68" y="1"/>
                      <a:pt x="68" y="3"/>
                    </a:cubicBezTo>
                    <a:cubicBezTo>
                      <a:pt x="68" y="32"/>
                      <a:pt x="68" y="32"/>
                      <a:pt x="68" y="32"/>
                    </a:cubicBezTo>
                    <a:cubicBezTo>
                      <a:pt x="68" y="33"/>
                      <a:pt x="67" y="34"/>
                      <a:pt x="66" y="3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39" name="任意多边形: 形状 138"/>
              <p:cNvSpPr/>
              <p:nvPr/>
            </p:nvSpPr>
            <p:spPr bwMode="auto">
              <a:xfrm>
                <a:off x="5147892" y="4041929"/>
                <a:ext cx="77542" cy="38533"/>
              </a:xfrm>
              <a:custGeom>
                <a:avLst/>
                <a:gdLst>
                  <a:gd name="T0" fmla="*/ 66 w 69"/>
                  <a:gd name="T1" fmla="*/ 34 h 34"/>
                  <a:gd name="T2" fmla="*/ 3 w 69"/>
                  <a:gd name="T3" fmla="*/ 34 h 34"/>
                  <a:gd name="T4" fmla="*/ 0 w 69"/>
                  <a:gd name="T5" fmla="*/ 31 h 34"/>
                  <a:gd name="T6" fmla="*/ 0 w 69"/>
                  <a:gd name="T7" fmla="*/ 3 h 34"/>
                  <a:gd name="T8" fmla="*/ 3 w 69"/>
                  <a:gd name="T9" fmla="*/ 0 h 34"/>
                  <a:gd name="T10" fmla="*/ 66 w 69"/>
                  <a:gd name="T11" fmla="*/ 0 h 34"/>
                  <a:gd name="T12" fmla="*/ 69 w 69"/>
                  <a:gd name="T13" fmla="*/ 3 h 34"/>
                  <a:gd name="T14" fmla="*/ 69 w 69"/>
                  <a:gd name="T15" fmla="*/ 31 h 34"/>
                  <a:gd name="T16" fmla="*/ 66 w 69"/>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34">
                    <a:moveTo>
                      <a:pt x="66" y="34"/>
                    </a:moveTo>
                    <a:cubicBezTo>
                      <a:pt x="3" y="34"/>
                      <a:pt x="3" y="34"/>
                      <a:pt x="3" y="34"/>
                    </a:cubicBezTo>
                    <a:cubicBezTo>
                      <a:pt x="1" y="34"/>
                      <a:pt x="0" y="33"/>
                      <a:pt x="0" y="31"/>
                    </a:cubicBezTo>
                    <a:cubicBezTo>
                      <a:pt x="0" y="3"/>
                      <a:pt x="0" y="3"/>
                      <a:pt x="0" y="3"/>
                    </a:cubicBezTo>
                    <a:cubicBezTo>
                      <a:pt x="0" y="1"/>
                      <a:pt x="1" y="0"/>
                      <a:pt x="3" y="0"/>
                    </a:cubicBezTo>
                    <a:cubicBezTo>
                      <a:pt x="66" y="0"/>
                      <a:pt x="66" y="0"/>
                      <a:pt x="66" y="0"/>
                    </a:cubicBezTo>
                    <a:cubicBezTo>
                      <a:pt x="68" y="0"/>
                      <a:pt x="69" y="1"/>
                      <a:pt x="69" y="3"/>
                    </a:cubicBezTo>
                    <a:cubicBezTo>
                      <a:pt x="69" y="31"/>
                      <a:pt x="69" y="31"/>
                      <a:pt x="69" y="31"/>
                    </a:cubicBezTo>
                    <a:cubicBezTo>
                      <a:pt x="69" y="33"/>
                      <a:pt x="68" y="34"/>
                      <a:pt x="66" y="3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40" name="任意多边形: 形状 139"/>
              <p:cNvSpPr/>
              <p:nvPr/>
            </p:nvSpPr>
            <p:spPr bwMode="auto">
              <a:xfrm>
                <a:off x="5268249" y="4041929"/>
                <a:ext cx="77066" cy="38533"/>
              </a:xfrm>
              <a:custGeom>
                <a:avLst/>
                <a:gdLst>
                  <a:gd name="T0" fmla="*/ 65 w 68"/>
                  <a:gd name="T1" fmla="*/ 34 h 34"/>
                  <a:gd name="T2" fmla="*/ 2 w 68"/>
                  <a:gd name="T3" fmla="*/ 34 h 34"/>
                  <a:gd name="T4" fmla="*/ 0 w 68"/>
                  <a:gd name="T5" fmla="*/ 31 h 34"/>
                  <a:gd name="T6" fmla="*/ 0 w 68"/>
                  <a:gd name="T7" fmla="*/ 3 h 34"/>
                  <a:gd name="T8" fmla="*/ 2 w 68"/>
                  <a:gd name="T9" fmla="*/ 0 h 34"/>
                  <a:gd name="T10" fmla="*/ 65 w 68"/>
                  <a:gd name="T11" fmla="*/ 0 h 34"/>
                  <a:gd name="T12" fmla="*/ 68 w 68"/>
                  <a:gd name="T13" fmla="*/ 3 h 34"/>
                  <a:gd name="T14" fmla="*/ 68 w 68"/>
                  <a:gd name="T15" fmla="*/ 31 h 34"/>
                  <a:gd name="T16" fmla="*/ 65 w 68"/>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34">
                    <a:moveTo>
                      <a:pt x="65" y="34"/>
                    </a:moveTo>
                    <a:cubicBezTo>
                      <a:pt x="2" y="34"/>
                      <a:pt x="2" y="34"/>
                      <a:pt x="2" y="34"/>
                    </a:cubicBezTo>
                    <a:cubicBezTo>
                      <a:pt x="1" y="34"/>
                      <a:pt x="0" y="33"/>
                      <a:pt x="0" y="31"/>
                    </a:cubicBezTo>
                    <a:cubicBezTo>
                      <a:pt x="0" y="3"/>
                      <a:pt x="0" y="3"/>
                      <a:pt x="0" y="3"/>
                    </a:cubicBezTo>
                    <a:cubicBezTo>
                      <a:pt x="0" y="1"/>
                      <a:pt x="1" y="0"/>
                      <a:pt x="2" y="0"/>
                    </a:cubicBezTo>
                    <a:cubicBezTo>
                      <a:pt x="65" y="0"/>
                      <a:pt x="65" y="0"/>
                      <a:pt x="65" y="0"/>
                    </a:cubicBezTo>
                    <a:cubicBezTo>
                      <a:pt x="67" y="0"/>
                      <a:pt x="68" y="1"/>
                      <a:pt x="68" y="3"/>
                    </a:cubicBezTo>
                    <a:cubicBezTo>
                      <a:pt x="68" y="31"/>
                      <a:pt x="68" y="31"/>
                      <a:pt x="68" y="31"/>
                    </a:cubicBezTo>
                    <a:cubicBezTo>
                      <a:pt x="68" y="33"/>
                      <a:pt x="67" y="34"/>
                      <a:pt x="65" y="3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41" name="任意多边形: 形状 140"/>
              <p:cNvSpPr/>
              <p:nvPr/>
            </p:nvSpPr>
            <p:spPr bwMode="auto">
              <a:xfrm>
                <a:off x="5388130" y="4041929"/>
                <a:ext cx="76591" cy="38533"/>
              </a:xfrm>
              <a:custGeom>
                <a:avLst/>
                <a:gdLst>
                  <a:gd name="T0" fmla="*/ 66 w 68"/>
                  <a:gd name="T1" fmla="*/ 34 h 34"/>
                  <a:gd name="T2" fmla="*/ 2 w 68"/>
                  <a:gd name="T3" fmla="*/ 34 h 34"/>
                  <a:gd name="T4" fmla="*/ 0 w 68"/>
                  <a:gd name="T5" fmla="*/ 31 h 34"/>
                  <a:gd name="T6" fmla="*/ 0 w 68"/>
                  <a:gd name="T7" fmla="*/ 3 h 34"/>
                  <a:gd name="T8" fmla="*/ 2 w 68"/>
                  <a:gd name="T9" fmla="*/ 0 h 34"/>
                  <a:gd name="T10" fmla="*/ 66 w 68"/>
                  <a:gd name="T11" fmla="*/ 0 h 34"/>
                  <a:gd name="T12" fmla="*/ 68 w 68"/>
                  <a:gd name="T13" fmla="*/ 3 h 34"/>
                  <a:gd name="T14" fmla="*/ 68 w 68"/>
                  <a:gd name="T15" fmla="*/ 31 h 34"/>
                  <a:gd name="T16" fmla="*/ 66 w 68"/>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34">
                    <a:moveTo>
                      <a:pt x="66" y="34"/>
                    </a:moveTo>
                    <a:cubicBezTo>
                      <a:pt x="2" y="34"/>
                      <a:pt x="2" y="34"/>
                      <a:pt x="2" y="34"/>
                    </a:cubicBezTo>
                    <a:cubicBezTo>
                      <a:pt x="1" y="34"/>
                      <a:pt x="0" y="33"/>
                      <a:pt x="0" y="31"/>
                    </a:cubicBezTo>
                    <a:cubicBezTo>
                      <a:pt x="0" y="3"/>
                      <a:pt x="0" y="3"/>
                      <a:pt x="0" y="3"/>
                    </a:cubicBezTo>
                    <a:cubicBezTo>
                      <a:pt x="0" y="1"/>
                      <a:pt x="1" y="0"/>
                      <a:pt x="2" y="0"/>
                    </a:cubicBezTo>
                    <a:cubicBezTo>
                      <a:pt x="66" y="0"/>
                      <a:pt x="66" y="0"/>
                      <a:pt x="66" y="0"/>
                    </a:cubicBezTo>
                    <a:cubicBezTo>
                      <a:pt x="67" y="0"/>
                      <a:pt x="68" y="1"/>
                      <a:pt x="68" y="3"/>
                    </a:cubicBezTo>
                    <a:cubicBezTo>
                      <a:pt x="68" y="31"/>
                      <a:pt x="68" y="31"/>
                      <a:pt x="68" y="31"/>
                    </a:cubicBezTo>
                    <a:cubicBezTo>
                      <a:pt x="68" y="33"/>
                      <a:pt x="67" y="34"/>
                      <a:pt x="66" y="3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42" name="任意多边形: 形状 141"/>
              <p:cNvSpPr/>
              <p:nvPr/>
            </p:nvSpPr>
            <p:spPr bwMode="auto">
              <a:xfrm>
                <a:off x="6695406" y="3889224"/>
                <a:ext cx="436710" cy="244044"/>
              </a:xfrm>
              <a:custGeom>
                <a:avLst/>
                <a:gdLst>
                  <a:gd name="T0" fmla="*/ 378 w 387"/>
                  <a:gd name="T1" fmla="*/ 216 h 216"/>
                  <a:gd name="T2" fmla="*/ 9 w 387"/>
                  <a:gd name="T3" fmla="*/ 216 h 216"/>
                  <a:gd name="T4" fmla="*/ 0 w 387"/>
                  <a:gd name="T5" fmla="*/ 207 h 216"/>
                  <a:gd name="T6" fmla="*/ 0 w 387"/>
                  <a:gd name="T7" fmla="*/ 10 h 216"/>
                  <a:gd name="T8" fmla="*/ 9 w 387"/>
                  <a:gd name="T9" fmla="*/ 0 h 216"/>
                  <a:gd name="T10" fmla="*/ 378 w 387"/>
                  <a:gd name="T11" fmla="*/ 0 h 216"/>
                  <a:gd name="T12" fmla="*/ 387 w 387"/>
                  <a:gd name="T13" fmla="*/ 10 h 216"/>
                  <a:gd name="T14" fmla="*/ 387 w 387"/>
                  <a:gd name="T15" fmla="*/ 207 h 216"/>
                  <a:gd name="T16" fmla="*/ 378 w 387"/>
                  <a:gd name="T17" fmla="*/ 21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7" h="216">
                    <a:moveTo>
                      <a:pt x="378" y="216"/>
                    </a:moveTo>
                    <a:cubicBezTo>
                      <a:pt x="9" y="216"/>
                      <a:pt x="9" y="216"/>
                      <a:pt x="9" y="216"/>
                    </a:cubicBezTo>
                    <a:cubicBezTo>
                      <a:pt x="4" y="216"/>
                      <a:pt x="0" y="212"/>
                      <a:pt x="0" y="207"/>
                    </a:cubicBezTo>
                    <a:cubicBezTo>
                      <a:pt x="0" y="10"/>
                      <a:pt x="0" y="10"/>
                      <a:pt x="0" y="10"/>
                    </a:cubicBezTo>
                    <a:cubicBezTo>
                      <a:pt x="0" y="5"/>
                      <a:pt x="4" y="0"/>
                      <a:pt x="9" y="0"/>
                    </a:cubicBezTo>
                    <a:cubicBezTo>
                      <a:pt x="378" y="0"/>
                      <a:pt x="378" y="0"/>
                      <a:pt x="378" y="0"/>
                    </a:cubicBezTo>
                    <a:cubicBezTo>
                      <a:pt x="383" y="0"/>
                      <a:pt x="387" y="5"/>
                      <a:pt x="387" y="10"/>
                    </a:cubicBezTo>
                    <a:cubicBezTo>
                      <a:pt x="387" y="207"/>
                      <a:pt x="387" y="207"/>
                      <a:pt x="387" y="207"/>
                    </a:cubicBezTo>
                    <a:cubicBezTo>
                      <a:pt x="387" y="212"/>
                      <a:pt x="383" y="216"/>
                      <a:pt x="378" y="216"/>
                    </a:cubicBezTo>
                    <a:close/>
                  </a:path>
                </a:pathLst>
              </a:custGeom>
              <a:solidFill>
                <a:srgbClr val="7A869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43" name="任意多边形: 形状 142"/>
              <p:cNvSpPr/>
              <p:nvPr/>
            </p:nvSpPr>
            <p:spPr bwMode="auto">
              <a:xfrm>
                <a:off x="6694455" y="3888272"/>
                <a:ext cx="439089" cy="246422"/>
              </a:xfrm>
              <a:custGeom>
                <a:avLst/>
                <a:gdLst>
                  <a:gd name="T0" fmla="*/ 379 w 389"/>
                  <a:gd name="T1" fmla="*/ 217 h 218"/>
                  <a:gd name="T2" fmla="*/ 379 w 389"/>
                  <a:gd name="T3" fmla="*/ 216 h 218"/>
                  <a:gd name="T4" fmla="*/ 10 w 389"/>
                  <a:gd name="T5" fmla="*/ 216 h 218"/>
                  <a:gd name="T6" fmla="*/ 2 w 389"/>
                  <a:gd name="T7" fmla="*/ 208 h 218"/>
                  <a:gd name="T8" fmla="*/ 2 w 389"/>
                  <a:gd name="T9" fmla="*/ 11 h 218"/>
                  <a:gd name="T10" fmla="*/ 10 w 389"/>
                  <a:gd name="T11" fmla="*/ 2 h 218"/>
                  <a:gd name="T12" fmla="*/ 379 w 389"/>
                  <a:gd name="T13" fmla="*/ 2 h 218"/>
                  <a:gd name="T14" fmla="*/ 387 w 389"/>
                  <a:gd name="T15" fmla="*/ 11 h 218"/>
                  <a:gd name="T16" fmla="*/ 387 w 389"/>
                  <a:gd name="T17" fmla="*/ 208 h 218"/>
                  <a:gd name="T18" fmla="*/ 379 w 389"/>
                  <a:gd name="T19" fmla="*/ 216 h 218"/>
                  <a:gd name="T20" fmla="*/ 379 w 389"/>
                  <a:gd name="T21" fmla="*/ 217 h 218"/>
                  <a:gd name="T22" fmla="*/ 379 w 389"/>
                  <a:gd name="T23" fmla="*/ 218 h 218"/>
                  <a:gd name="T24" fmla="*/ 389 w 389"/>
                  <a:gd name="T25" fmla="*/ 208 h 218"/>
                  <a:gd name="T26" fmla="*/ 389 w 389"/>
                  <a:gd name="T27" fmla="*/ 11 h 218"/>
                  <a:gd name="T28" fmla="*/ 379 w 389"/>
                  <a:gd name="T29" fmla="*/ 0 h 218"/>
                  <a:gd name="T30" fmla="*/ 10 w 389"/>
                  <a:gd name="T31" fmla="*/ 0 h 218"/>
                  <a:gd name="T32" fmla="*/ 0 w 389"/>
                  <a:gd name="T33" fmla="*/ 11 h 218"/>
                  <a:gd name="T34" fmla="*/ 0 w 389"/>
                  <a:gd name="T35" fmla="*/ 208 h 218"/>
                  <a:gd name="T36" fmla="*/ 10 w 389"/>
                  <a:gd name="T37" fmla="*/ 218 h 218"/>
                  <a:gd name="T38" fmla="*/ 379 w 389"/>
                  <a:gd name="T39" fmla="*/ 218 h 218"/>
                  <a:gd name="T40" fmla="*/ 379 w 389"/>
                  <a:gd name="T41" fmla="*/ 217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89" h="218">
                    <a:moveTo>
                      <a:pt x="379" y="217"/>
                    </a:moveTo>
                    <a:cubicBezTo>
                      <a:pt x="379" y="216"/>
                      <a:pt x="379" y="216"/>
                      <a:pt x="379" y="216"/>
                    </a:cubicBezTo>
                    <a:cubicBezTo>
                      <a:pt x="10" y="216"/>
                      <a:pt x="10" y="216"/>
                      <a:pt x="10" y="216"/>
                    </a:cubicBezTo>
                    <a:cubicBezTo>
                      <a:pt x="5" y="216"/>
                      <a:pt x="2" y="212"/>
                      <a:pt x="2" y="208"/>
                    </a:cubicBezTo>
                    <a:cubicBezTo>
                      <a:pt x="2" y="11"/>
                      <a:pt x="2" y="11"/>
                      <a:pt x="2" y="11"/>
                    </a:cubicBezTo>
                    <a:cubicBezTo>
                      <a:pt x="2" y="6"/>
                      <a:pt x="5" y="2"/>
                      <a:pt x="10" y="2"/>
                    </a:cubicBezTo>
                    <a:cubicBezTo>
                      <a:pt x="379" y="2"/>
                      <a:pt x="379" y="2"/>
                      <a:pt x="379" y="2"/>
                    </a:cubicBezTo>
                    <a:cubicBezTo>
                      <a:pt x="383" y="2"/>
                      <a:pt x="387" y="6"/>
                      <a:pt x="387" y="11"/>
                    </a:cubicBezTo>
                    <a:cubicBezTo>
                      <a:pt x="387" y="208"/>
                      <a:pt x="387" y="208"/>
                      <a:pt x="387" y="208"/>
                    </a:cubicBezTo>
                    <a:cubicBezTo>
                      <a:pt x="387" y="212"/>
                      <a:pt x="383" y="216"/>
                      <a:pt x="379" y="216"/>
                    </a:cubicBezTo>
                    <a:cubicBezTo>
                      <a:pt x="379" y="217"/>
                      <a:pt x="379" y="217"/>
                      <a:pt x="379" y="217"/>
                    </a:cubicBezTo>
                    <a:cubicBezTo>
                      <a:pt x="379" y="218"/>
                      <a:pt x="379" y="218"/>
                      <a:pt x="379" y="218"/>
                    </a:cubicBezTo>
                    <a:cubicBezTo>
                      <a:pt x="384" y="218"/>
                      <a:pt x="389" y="213"/>
                      <a:pt x="389" y="208"/>
                    </a:cubicBezTo>
                    <a:cubicBezTo>
                      <a:pt x="389" y="11"/>
                      <a:pt x="389" y="11"/>
                      <a:pt x="389" y="11"/>
                    </a:cubicBezTo>
                    <a:cubicBezTo>
                      <a:pt x="389" y="5"/>
                      <a:pt x="384" y="0"/>
                      <a:pt x="379" y="0"/>
                    </a:cubicBezTo>
                    <a:cubicBezTo>
                      <a:pt x="10" y="0"/>
                      <a:pt x="10" y="0"/>
                      <a:pt x="10" y="0"/>
                    </a:cubicBezTo>
                    <a:cubicBezTo>
                      <a:pt x="4" y="0"/>
                      <a:pt x="0" y="5"/>
                      <a:pt x="0" y="11"/>
                    </a:cubicBezTo>
                    <a:cubicBezTo>
                      <a:pt x="0" y="208"/>
                      <a:pt x="0" y="208"/>
                      <a:pt x="0" y="208"/>
                    </a:cubicBezTo>
                    <a:cubicBezTo>
                      <a:pt x="0" y="213"/>
                      <a:pt x="4" y="218"/>
                      <a:pt x="10" y="218"/>
                    </a:cubicBezTo>
                    <a:cubicBezTo>
                      <a:pt x="379" y="218"/>
                      <a:pt x="379" y="218"/>
                      <a:pt x="379" y="218"/>
                    </a:cubicBezTo>
                    <a:lnTo>
                      <a:pt x="379" y="217"/>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44" name="矩形 143"/>
              <p:cNvSpPr/>
              <p:nvPr/>
            </p:nvSpPr>
            <p:spPr bwMode="auto">
              <a:xfrm>
                <a:off x="6776754" y="3698461"/>
                <a:ext cx="247374" cy="185055"/>
              </a:xfrm>
              <a:prstGeom prst="rect">
                <a:avLst/>
              </a:prstGeom>
              <a:solidFill>
                <a:srgbClr val="7A869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45" name="任意多边形: 形状 144"/>
              <p:cNvSpPr/>
              <p:nvPr/>
            </p:nvSpPr>
            <p:spPr bwMode="auto">
              <a:xfrm>
                <a:off x="6775327" y="3697509"/>
                <a:ext cx="249753" cy="187433"/>
              </a:xfrm>
              <a:custGeom>
                <a:avLst/>
                <a:gdLst>
                  <a:gd name="T0" fmla="*/ 523 w 525"/>
                  <a:gd name="T1" fmla="*/ 391 h 394"/>
                  <a:gd name="T2" fmla="*/ 523 w 525"/>
                  <a:gd name="T3" fmla="*/ 389 h 394"/>
                  <a:gd name="T4" fmla="*/ 3 w 525"/>
                  <a:gd name="T5" fmla="*/ 389 h 394"/>
                  <a:gd name="T6" fmla="*/ 3 w 525"/>
                  <a:gd name="T7" fmla="*/ 4 h 394"/>
                  <a:gd name="T8" fmla="*/ 523 w 525"/>
                  <a:gd name="T9" fmla="*/ 4 h 394"/>
                  <a:gd name="T10" fmla="*/ 523 w 525"/>
                  <a:gd name="T11" fmla="*/ 391 h 394"/>
                  <a:gd name="T12" fmla="*/ 523 w 525"/>
                  <a:gd name="T13" fmla="*/ 391 h 394"/>
                  <a:gd name="T14" fmla="*/ 523 w 525"/>
                  <a:gd name="T15" fmla="*/ 389 h 394"/>
                  <a:gd name="T16" fmla="*/ 523 w 525"/>
                  <a:gd name="T17" fmla="*/ 391 h 394"/>
                  <a:gd name="T18" fmla="*/ 525 w 525"/>
                  <a:gd name="T19" fmla="*/ 391 h 394"/>
                  <a:gd name="T20" fmla="*/ 525 w 525"/>
                  <a:gd name="T21" fmla="*/ 0 h 394"/>
                  <a:gd name="T22" fmla="*/ 0 w 525"/>
                  <a:gd name="T23" fmla="*/ 0 h 394"/>
                  <a:gd name="T24" fmla="*/ 0 w 525"/>
                  <a:gd name="T25" fmla="*/ 394 h 394"/>
                  <a:gd name="T26" fmla="*/ 525 w 525"/>
                  <a:gd name="T27" fmla="*/ 394 h 394"/>
                  <a:gd name="T28" fmla="*/ 525 w 525"/>
                  <a:gd name="T29" fmla="*/ 391 h 394"/>
                  <a:gd name="T30" fmla="*/ 523 w 525"/>
                  <a:gd name="T31" fmla="*/ 391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25" h="394">
                    <a:moveTo>
                      <a:pt x="523" y="391"/>
                    </a:moveTo>
                    <a:lnTo>
                      <a:pt x="523" y="389"/>
                    </a:lnTo>
                    <a:lnTo>
                      <a:pt x="3" y="389"/>
                    </a:lnTo>
                    <a:lnTo>
                      <a:pt x="3" y="4"/>
                    </a:lnTo>
                    <a:lnTo>
                      <a:pt x="523" y="4"/>
                    </a:lnTo>
                    <a:lnTo>
                      <a:pt x="523" y="391"/>
                    </a:lnTo>
                    <a:lnTo>
                      <a:pt x="523" y="391"/>
                    </a:lnTo>
                    <a:lnTo>
                      <a:pt x="523" y="389"/>
                    </a:lnTo>
                    <a:lnTo>
                      <a:pt x="523" y="391"/>
                    </a:lnTo>
                    <a:lnTo>
                      <a:pt x="525" y="391"/>
                    </a:lnTo>
                    <a:lnTo>
                      <a:pt x="525" y="0"/>
                    </a:lnTo>
                    <a:lnTo>
                      <a:pt x="0" y="0"/>
                    </a:lnTo>
                    <a:lnTo>
                      <a:pt x="0" y="394"/>
                    </a:lnTo>
                    <a:lnTo>
                      <a:pt x="525" y="394"/>
                    </a:lnTo>
                    <a:lnTo>
                      <a:pt x="525" y="391"/>
                    </a:lnTo>
                    <a:lnTo>
                      <a:pt x="523" y="391"/>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46" name="矩形 145"/>
              <p:cNvSpPr/>
              <p:nvPr/>
            </p:nvSpPr>
            <p:spPr bwMode="auto">
              <a:xfrm>
                <a:off x="6889499" y="3700839"/>
                <a:ext cx="134628" cy="181725"/>
              </a:xfrm>
              <a:prstGeom prst="rect">
                <a:avLst/>
              </a:prstGeom>
              <a:solidFill>
                <a:srgbClr val="5461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47" name="矩形 146"/>
              <p:cNvSpPr/>
              <p:nvPr/>
            </p:nvSpPr>
            <p:spPr bwMode="auto">
              <a:xfrm>
                <a:off x="6701115" y="3672296"/>
                <a:ext cx="398177" cy="30446"/>
              </a:xfrm>
              <a:prstGeom prst="rect">
                <a:avLst/>
              </a:prstGeom>
              <a:solidFill>
                <a:srgbClr val="7A869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48" name="任意多边形: 形状 147"/>
              <p:cNvSpPr/>
              <p:nvPr/>
            </p:nvSpPr>
            <p:spPr bwMode="auto">
              <a:xfrm>
                <a:off x="6699687" y="3671345"/>
                <a:ext cx="401031" cy="32825"/>
              </a:xfrm>
              <a:custGeom>
                <a:avLst/>
                <a:gdLst>
                  <a:gd name="T0" fmla="*/ 840 w 843"/>
                  <a:gd name="T1" fmla="*/ 66 h 69"/>
                  <a:gd name="T2" fmla="*/ 840 w 843"/>
                  <a:gd name="T3" fmla="*/ 66 h 69"/>
                  <a:gd name="T4" fmla="*/ 5 w 843"/>
                  <a:gd name="T5" fmla="*/ 66 h 69"/>
                  <a:gd name="T6" fmla="*/ 5 w 843"/>
                  <a:gd name="T7" fmla="*/ 5 h 69"/>
                  <a:gd name="T8" fmla="*/ 838 w 843"/>
                  <a:gd name="T9" fmla="*/ 5 h 69"/>
                  <a:gd name="T10" fmla="*/ 838 w 843"/>
                  <a:gd name="T11" fmla="*/ 66 h 69"/>
                  <a:gd name="T12" fmla="*/ 840 w 843"/>
                  <a:gd name="T13" fmla="*/ 66 h 69"/>
                  <a:gd name="T14" fmla="*/ 840 w 843"/>
                  <a:gd name="T15" fmla="*/ 66 h 69"/>
                  <a:gd name="T16" fmla="*/ 840 w 843"/>
                  <a:gd name="T17" fmla="*/ 66 h 69"/>
                  <a:gd name="T18" fmla="*/ 843 w 843"/>
                  <a:gd name="T19" fmla="*/ 66 h 69"/>
                  <a:gd name="T20" fmla="*/ 843 w 843"/>
                  <a:gd name="T21" fmla="*/ 0 h 69"/>
                  <a:gd name="T22" fmla="*/ 0 w 843"/>
                  <a:gd name="T23" fmla="*/ 0 h 69"/>
                  <a:gd name="T24" fmla="*/ 0 w 843"/>
                  <a:gd name="T25" fmla="*/ 69 h 69"/>
                  <a:gd name="T26" fmla="*/ 843 w 843"/>
                  <a:gd name="T27" fmla="*/ 69 h 69"/>
                  <a:gd name="T28" fmla="*/ 843 w 843"/>
                  <a:gd name="T29" fmla="*/ 66 h 69"/>
                  <a:gd name="T30" fmla="*/ 840 w 843"/>
                  <a:gd name="T31" fmla="*/ 66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43" h="69">
                    <a:moveTo>
                      <a:pt x="840" y="66"/>
                    </a:moveTo>
                    <a:lnTo>
                      <a:pt x="840" y="66"/>
                    </a:lnTo>
                    <a:lnTo>
                      <a:pt x="5" y="66"/>
                    </a:lnTo>
                    <a:lnTo>
                      <a:pt x="5" y="5"/>
                    </a:lnTo>
                    <a:lnTo>
                      <a:pt x="838" y="5"/>
                    </a:lnTo>
                    <a:lnTo>
                      <a:pt x="838" y="66"/>
                    </a:lnTo>
                    <a:lnTo>
                      <a:pt x="840" y="66"/>
                    </a:lnTo>
                    <a:lnTo>
                      <a:pt x="840" y="66"/>
                    </a:lnTo>
                    <a:lnTo>
                      <a:pt x="840" y="66"/>
                    </a:lnTo>
                    <a:lnTo>
                      <a:pt x="843" y="66"/>
                    </a:lnTo>
                    <a:lnTo>
                      <a:pt x="843" y="0"/>
                    </a:lnTo>
                    <a:lnTo>
                      <a:pt x="0" y="0"/>
                    </a:lnTo>
                    <a:lnTo>
                      <a:pt x="0" y="69"/>
                    </a:lnTo>
                    <a:lnTo>
                      <a:pt x="843" y="69"/>
                    </a:lnTo>
                    <a:lnTo>
                      <a:pt x="843" y="66"/>
                    </a:lnTo>
                    <a:lnTo>
                      <a:pt x="840" y="66"/>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49" name="矩形 148"/>
              <p:cNvSpPr/>
              <p:nvPr/>
            </p:nvSpPr>
            <p:spPr bwMode="auto">
              <a:xfrm>
                <a:off x="6889499" y="3673723"/>
                <a:ext cx="208841" cy="28067"/>
              </a:xfrm>
              <a:prstGeom prst="rect">
                <a:avLst/>
              </a:prstGeom>
              <a:solidFill>
                <a:srgbClr val="5461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50" name="任意多边形: 形状 149"/>
              <p:cNvSpPr/>
              <p:nvPr/>
            </p:nvSpPr>
            <p:spPr bwMode="auto">
              <a:xfrm>
                <a:off x="6449459" y="3731285"/>
                <a:ext cx="310169" cy="401982"/>
              </a:xfrm>
              <a:custGeom>
                <a:avLst/>
                <a:gdLst>
                  <a:gd name="T0" fmla="*/ 265 w 275"/>
                  <a:gd name="T1" fmla="*/ 356 h 356"/>
                  <a:gd name="T2" fmla="*/ 10 w 275"/>
                  <a:gd name="T3" fmla="*/ 356 h 356"/>
                  <a:gd name="T4" fmla="*/ 0 w 275"/>
                  <a:gd name="T5" fmla="*/ 346 h 356"/>
                  <a:gd name="T6" fmla="*/ 0 w 275"/>
                  <a:gd name="T7" fmla="*/ 10 h 356"/>
                  <a:gd name="T8" fmla="*/ 10 w 275"/>
                  <a:gd name="T9" fmla="*/ 0 h 356"/>
                  <a:gd name="T10" fmla="*/ 265 w 275"/>
                  <a:gd name="T11" fmla="*/ 0 h 356"/>
                  <a:gd name="T12" fmla="*/ 275 w 275"/>
                  <a:gd name="T13" fmla="*/ 10 h 356"/>
                  <a:gd name="T14" fmla="*/ 275 w 275"/>
                  <a:gd name="T15" fmla="*/ 346 h 356"/>
                  <a:gd name="T16" fmla="*/ 265 w 275"/>
                  <a:gd name="T17" fmla="*/ 356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5" h="356">
                    <a:moveTo>
                      <a:pt x="265" y="356"/>
                    </a:moveTo>
                    <a:cubicBezTo>
                      <a:pt x="10" y="356"/>
                      <a:pt x="10" y="356"/>
                      <a:pt x="10" y="356"/>
                    </a:cubicBezTo>
                    <a:cubicBezTo>
                      <a:pt x="4" y="356"/>
                      <a:pt x="0" y="351"/>
                      <a:pt x="0" y="346"/>
                    </a:cubicBezTo>
                    <a:cubicBezTo>
                      <a:pt x="0" y="10"/>
                      <a:pt x="0" y="10"/>
                      <a:pt x="0" y="10"/>
                    </a:cubicBezTo>
                    <a:cubicBezTo>
                      <a:pt x="0" y="5"/>
                      <a:pt x="4" y="0"/>
                      <a:pt x="10" y="0"/>
                    </a:cubicBezTo>
                    <a:cubicBezTo>
                      <a:pt x="265" y="0"/>
                      <a:pt x="265" y="0"/>
                      <a:pt x="265" y="0"/>
                    </a:cubicBezTo>
                    <a:cubicBezTo>
                      <a:pt x="270" y="0"/>
                      <a:pt x="275" y="5"/>
                      <a:pt x="275" y="10"/>
                    </a:cubicBezTo>
                    <a:cubicBezTo>
                      <a:pt x="275" y="346"/>
                      <a:pt x="275" y="346"/>
                      <a:pt x="275" y="346"/>
                    </a:cubicBezTo>
                    <a:cubicBezTo>
                      <a:pt x="275" y="351"/>
                      <a:pt x="270" y="356"/>
                      <a:pt x="265" y="356"/>
                    </a:cubicBezTo>
                    <a:close/>
                  </a:path>
                </a:pathLst>
              </a:custGeom>
              <a:solidFill>
                <a:srgbClr val="FB4E5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51" name="任意多边形: 形状 150"/>
              <p:cNvSpPr/>
              <p:nvPr/>
            </p:nvSpPr>
            <p:spPr bwMode="auto">
              <a:xfrm>
                <a:off x="6448032" y="3729858"/>
                <a:ext cx="313023" cy="404837"/>
              </a:xfrm>
              <a:custGeom>
                <a:avLst/>
                <a:gdLst>
                  <a:gd name="T0" fmla="*/ 266 w 277"/>
                  <a:gd name="T1" fmla="*/ 357 h 358"/>
                  <a:gd name="T2" fmla="*/ 266 w 277"/>
                  <a:gd name="T3" fmla="*/ 356 h 358"/>
                  <a:gd name="T4" fmla="*/ 11 w 277"/>
                  <a:gd name="T5" fmla="*/ 356 h 358"/>
                  <a:gd name="T6" fmla="*/ 1 w 277"/>
                  <a:gd name="T7" fmla="*/ 347 h 358"/>
                  <a:gd name="T8" fmla="*/ 1 w 277"/>
                  <a:gd name="T9" fmla="*/ 11 h 358"/>
                  <a:gd name="T10" fmla="*/ 11 w 277"/>
                  <a:gd name="T11" fmla="*/ 2 h 358"/>
                  <a:gd name="T12" fmla="*/ 266 w 277"/>
                  <a:gd name="T13" fmla="*/ 2 h 358"/>
                  <a:gd name="T14" fmla="*/ 275 w 277"/>
                  <a:gd name="T15" fmla="*/ 11 h 358"/>
                  <a:gd name="T16" fmla="*/ 275 w 277"/>
                  <a:gd name="T17" fmla="*/ 347 h 358"/>
                  <a:gd name="T18" fmla="*/ 266 w 277"/>
                  <a:gd name="T19" fmla="*/ 356 h 358"/>
                  <a:gd name="T20" fmla="*/ 266 w 277"/>
                  <a:gd name="T21" fmla="*/ 357 h 358"/>
                  <a:gd name="T22" fmla="*/ 266 w 277"/>
                  <a:gd name="T23" fmla="*/ 358 h 358"/>
                  <a:gd name="T24" fmla="*/ 277 w 277"/>
                  <a:gd name="T25" fmla="*/ 347 h 358"/>
                  <a:gd name="T26" fmla="*/ 277 w 277"/>
                  <a:gd name="T27" fmla="*/ 11 h 358"/>
                  <a:gd name="T28" fmla="*/ 266 w 277"/>
                  <a:gd name="T29" fmla="*/ 0 h 358"/>
                  <a:gd name="T30" fmla="*/ 11 w 277"/>
                  <a:gd name="T31" fmla="*/ 0 h 358"/>
                  <a:gd name="T32" fmla="*/ 0 w 277"/>
                  <a:gd name="T33" fmla="*/ 11 h 358"/>
                  <a:gd name="T34" fmla="*/ 0 w 277"/>
                  <a:gd name="T35" fmla="*/ 347 h 358"/>
                  <a:gd name="T36" fmla="*/ 11 w 277"/>
                  <a:gd name="T37" fmla="*/ 358 h 358"/>
                  <a:gd name="T38" fmla="*/ 266 w 277"/>
                  <a:gd name="T39" fmla="*/ 358 h 358"/>
                  <a:gd name="T40" fmla="*/ 266 w 277"/>
                  <a:gd name="T41" fmla="*/ 357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77" h="358">
                    <a:moveTo>
                      <a:pt x="266" y="357"/>
                    </a:moveTo>
                    <a:cubicBezTo>
                      <a:pt x="266" y="356"/>
                      <a:pt x="266" y="356"/>
                      <a:pt x="266" y="356"/>
                    </a:cubicBezTo>
                    <a:cubicBezTo>
                      <a:pt x="11" y="356"/>
                      <a:pt x="11" y="356"/>
                      <a:pt x="11" y="356"/>
                    </a:cubicBezTo>
                    <a:cubicBezTo>
                      <a:pt x="6" y="356"/>
                      <a:pt x="1" y="352"/>
                      <a:pt x="1" y="347"/>
                    </a:cubicBezTo>
                    <a:cubicBezTo>
                      <a:pt x="1" y="11"/>
                      <a:pt x="1" y="11"/>
                      <a:pt x="1" y="11"/>
                    </a:cubicBezTo>
                    <a:cubicBezTo>
                      <a:pt x="1" y="6"/>
                      <a:pt x="6" y="2"/>
                      <a:pt x="11" y="2"/>
                    </a:cubicBezTo>
                    <a:cubicBezTo>
                      <a:pt x="266" y="2"/>
                      <a:pt x="266" y="2"/>
                      <a:pt x="266" y="2"/>
                    </a:cubicBezTo>
                    <a:cubicBezTo>
                      <a:pt x="271" y="2"/>
                      <a:pt x="275" y="6"/>
                      <a:pt x="275" y="11"/>
                    </a:cubicBezTo>
                    <a:cubicBezTo>
                      <a:pt x="275" y="347"/>
                      <a:pt x="275" y="347"/>
                      <a:pt x="275" y="347"/>
                    </a:cubicBezTo>
                    <a:cubicBezTo>
                      <a:pt x="275" y="352"/>
                      <a:pt x="271" y="356"/>
                      <a:pt x="266" y="356"/>
                    </a:cubicBezTo>
                    <a:cubicBezTo>
                      <a:pt x="266" y="357"/>
                      <a:pt x="266" y="357"/>
                      <a:pt x="266" y="357"/>
                    </a:cubicBezTo>
                    <a:cubicBezTo>
                      <a:pt x="266" y="358"/>
                      <a:pt x="266" y="358"/>
                      <a:pt x="266" y="358"/>
                    </a:cubicBezTo>
                    <a:cubicBezTo>
                      <a:pt x="272" y="358"/>
                      <a:pt x="277" y="353"/>
                      <a:pt x="277" y="347"/>
                    </a:cubicBezTo>
                    <a:cubicBezTo>
                      <a:pt x="277" y="11"/>
                      <a:pt x="277" y="11"/>
                      <a:pt x="277" y="11"/>
                    </a:cubicBezTo>
                    <a:cubicBezTo>
                      <a:pt x="277" y="5"/>
                      <a:pt x="272" y="0"/>
                      <a:pt x="266" y="0"/>
                    </a:cubicBezTo>
                    <a:cubicBezTo>
                      <a:pt x="11" y="0"/>
                      <a:pt x="11" y="0"/>
                      <a:pt x="11" y="0"/>
                    </a:cubicBezTo>
                    <a:cubicBezTo>
                      <a:pt x="5" y="0"/>
                      <a:pt x="0" y="5"/>
                      <a:pt x="0" y="11"/>
                    </a:cubicBezTo>
                    <a:cubicBezTo>
                      <a:pt x="0" y="347"/>
                      <a:pt x="0" y="347"/>
                      <a:pt x="0" y="347"/>
                    </a:cubicBezTo>
                    <a:cubicBezTo>
                      <a:pt x="0" y="353"/>
                      <a:pt x="5" y="358"/>
                      <a:pt x="11" y="358"/>
                    </a:cubicBezTo>
                    <a:cubicBezTo>
                      <a:pt x="266" y="358"/>
                      <a:pt x="266" y="358"/>
                      <a:pt x="266" y="358"/>
                    </a:cubicBezTo>
                    <a:lnTo>
                      <a:pt x="266" y="357"/>
                    </a:lnTo>
                    <a:close/>
                  </a:path>
                </a:pathLst>
              </a:custGeom>
              <a:solidFill>
                <a:srgbClr val="0C0C0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52" name="任意多边形: 形状 151"/>
              <p:cNvSpPr/>
              <p:nvPr/>
            </p:nvSpPr>
            <p:spPr bwMode="auto">
              <a:xfrm>
                <a:off x="6632135" y="3734615"/>
                <a:ext cx="126541" cy="395322"/>
              </a:xfrm>
              <a:custGeom>
                <a:avLst/>
                <a:gdLst>
                  <a:gd name="T0" fmla="*/ 102 w 112"/>
                  <a:gd name="T1" fmla="*/ 350 h 350"/>
                  <a:gd name="T2" fmla="*/ 0 w 112"/>
                  <a:gd name="T3" fmla="*/ 350 h 350"/>
                  <a:gd name="T4" fmla="*/ 0 w 112"/>
                  <a:gd name="T5" fmla="*/ 0 h 350"/>
                  <a:gd name="T6" fmla="*/ 102 w 112"/>
                  <a:gd name="T7" fmla="*/ 0 h 350"/>
                  <a:gd name="T8" fmla="*/ 112 w 112"/>
                  <a:gd name="T9" fmla="*/ 10 h 350"/>
                  <a:gd name="T10" fmla="*/ 112 w 112"/>
                  <a:gd name="T11" fmla="*/ 340 h 350"/>
                  <a:gd name="T12" fmla="*/ 102 w 112"/>
                  <a:gd name="T13" fmla="*/ 350 h 350"/>
                </a:gdLst>
                <a:ahLst/>
                <a:cxnLst>
                  <a:cxn ang="0">
                    <a:pos x="T0" y="T1"/>
                  </a:cxn>
                  <a:cxn ang="0">
                    <a:pos x="T2" y="T3"/>
                  </a:cxn>
                  <a:cxn ang="0">
                    <a:pos x="T4" y="T5"/>
                  </a:cxn>
                  <a:cxn ang="0">
                    <a:pos x="T6" y="T7"/>
                  </a:cxn>
                  <a:cxn ang="0">
                    <a:pos x="T8" y="T9"/>
                  </a:cxn>
                  <a:cxn ang="0">
                    <a:pos x="T10" y="T11"/>
                  </a:cxn>
                  <a:cxn ang="0">
                    <a:pos x="T12" y="T13"/>
                  </a:cxn>
                </a:cxnLst>
                <a:rect l="0" t="0" r="r" b="b"/>
                <a:pathLst>
                  <a:path w="112" h="350">
                    <a:moveTo>
                      <a:pt x="102" y="350"/>
                    </a:moveTo>
                    <a:cubicBezTo>
                      <a:pt x="0" y="350"/>
                      <a:pt x="0" y="350"/>
                      <a:pt x="0" y="350"/>
                    </a:cubicBezTo>
                    <a:cubicBezTo>
                      <a:pt x="0" y="0"/>
                      <a:pt x="0" y="0"/>
                      <a:pt x="0" y="0"/>
                    </a:cubicBezTo>
                    <a:cubicBezTo>
                      <a:pt x="102" y="0"/>
                      <a:pt x="102" y="0"/>
                      <a:pt x="102" y="0"/>
                    </a:cubicBezTo>
                    <a:cubicBezTo>
                      <a:pt x="107" y="0"/>
                      <a:pt x="112" y="5"/>
                      <a:pt x="112" y="10"/>
                    </a:cubicBezTo>
                    <a:cubicBezTo>
                      <a:pt x="112" y="340"/>
                      <a:pt x="112" y="340"/>
                      <a:pt x="112" y="340"/>
                    </a:cubicBezTo>
                    <a:cubicBezTo>
                      <a:pt x="112" y="345"/>
                      <a:pt x="107" y="350"/>
                      <a:pt x="102" y="350"/>
                    </a:cubicBezTo>
                    <a:close/>
                  </a:path>
                </a:pathLst>
              </a:custGeom>
              <a:solidFill>
                <a:srgbClr val="CF1A3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53" name="矩形 152"/>
              <p:cNvSpPr/>
              <p:nvPr/>
            </p:nvSpPr>
            <p:spPr bwMode="auto">
              <a:xfrm>
                <a:off x="6519390" y="3810254"/>
                <a:ext cx="169356" cy="89435"/>
              </a:xfrm>
              <a:prstGeom prst="rect">
                <a:avLst/>
              </a:prstGeom>
              <a:solidFill>
                <a:srgbClr val="F3FB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54" name="矩形 153"/>
              <p:cNvSpPr/>
              <p:nvPr/>
            </p:nvSpPr>
            <p:spPr bwMode="auto">
              <a:xfrm>
                <a:off x="6519390" y="3917767"/>
                <a:ext cx="169356" cy="14747"/>
              </a:xfrm>
              <a:prstGeom prst="rect">
                <a:avLst/>
              </a:prstGeom>
              <a:solidFill>
                <a:srgbClr val="F3FB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55" name="矩形 154"/>
              <p:cNvSpPr/>
              <p:nvPr/>
            </p:nvSpPr>
            <p:spPr bwMode="auto">
              <a:xfrm>
                <a:off x="6562205" y="3836419"/>
                <a:ext cx="84678" cy="666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56" name="矩形 155"/>
              <p:cNvSpPr/>
              <p:nvPr/>
            </p:nvSpPr>
            <p:spPr bwMode="auto">
              <a:xfrm>
                <a:off x="6562205" y="3860205"/>
                <a:ext cx="84678" cy="7611"/>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57" name="任意多边形: 形状 156"/>
              <p:cNvSpPr/>
              <p:nvPr/>
            </p:nvSpPr>
            <p:spPr bwMode="auto">
              <a:xfrm>
                <a:off x="6476575" y="3724625"/>
                <a:ext cx="41388" cy="85629"/>
              </a:xfrm>
              <a:custGeom>
                <a:avLst/>
                <a:gdLst>
                  <a:gd name="T0" fmla="*/ 0 w 37"/>
                  <a:gd name="T1" fmla="*/ 3 h 76"/>
                  <a:gd name="T2" fmla="*/ 0 w 37"/>
                  <a:gd name="T3" fmla="*/ 76 h 76"/>
                  <a:gd name="T4" fmla="*/ 18 w 37"/>
                  <a:gd name="T5" fmla="*/ 60 h 76"/>
                  <a:gd name="T6" fmla="*/ 37 w 37"/>
                  <a:gd name="T7" fmla="*/ 76 h 76"/>
                  <a:gd name="T8" fmla="*/ 37 w 37"/>
                  <a:gd name="T9" fmla="*/ 3 h 76"/>
                  <a:gd name="T10" fmla="*/ 34 w 37"/>
                  <a:gd name="T11" fmla="*/ 0 h 76"/>
                  <a:gd name="T12" fmla="*/ 3 w 37"/>
                  <a:gd name="T13" fmla="*/ 0 h 76"/>
                  <a:gd name="T14" fmla="*/ 0 w 37"/>
                  <a:gd name="T15" fmla="*/ 3 h 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76">
                    <a:moveTo>
                      <a:pt x="0" y="3"/>
                    </a:moveTo>
                    <a:cubicBezTo>
                      <a:pt x="0" y="76"/>
                      <a:pt x="0" y="76"/>
                      <a:pt x="0" y="76"/>
                    </a:cubicBezTo>
                    <a:cubicBezTo>
                      <a:pt x="18" y="60"/>
                      <a:pt x="18" y="60"/>
                      <a:pt x="18" y="60"/>
                    </a:cubicBezTo>
                    <a:cubicBezTo>
                      <a:pt x="37" y="76"/>
                      <a:pt x="37" y="76"/>
                      <a:pt x="37" y="76"/>
                    </a:cubicBezTo>
                    <a:cubicBezTo>
                      <a:pt x="37" y="3"/>
                      <a:pt x="37" y="3"/>
                      <a:pt x="37" y="3"/>
                    </a:cubicBezTo>
                    <a:cubicBezTo>
                      <a:pt x="37" y="1"/>
                      <a:pt x="35" y="0"/>
                      <a:pt x="34" y="0"/>
                    </a:cubicBezTo>
                    <a:cubicBezTo>
                      <a:pt x="3" y="0"/>
                      <a:pt x="3" y="0"/>
                      <a:pt x="3" y="0"/>
                    </a:cubicBezTo>
                    <a:cubicBezTo>
                      <a:pt x="2" y="0"/>
                      <a:pt x="0" y="1"/>
                      <a:pt x="0" y="3"/>
                    </a:cubicBezTo>
                    <a:close/>
                  </a:path>
                </a:pathLst>
              </a:custGeom>
              <a:solidFill>
                <a:srgbClr val="F2D22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58" name="任意多边形: 形状 157"/>
              <p:cNvSpPr/>
              <p:nvPr/>
            </p:nvSpPr>
            <p:spPr bwMode="auto">
              <a:xfrm>
                <a:off x="6695406" y="3883515"/>
                <a:ext cx="436710" cy="68028"/>
              </a:xfrm>
              <a:custGeom>
                <a:avLst/>
                <a:gdLst>
                  <a:gd name="T0" fmla="*/ 382 w 387"/>
                  <a:gd name="T1" fmla="*/ 60 h 60"/>
                  <a:gd name="T2" fmla="*/ 5 w 387"/>
                  <a:gd name="T3" fmla="*/ 60 h 60"/>
                  <a:gd name="T4" fmla="*/ 0 w 387"/>
                  <a:gd name="T5" fmla="*/ 55 h 60"/>
                  <a:gd name="T6" fmla="*/ 0 w 387"/>
                  <a:gd name="T7" fmla="*/ 5 h 60"/>
                  <a:gd name="T8" fmla="*/ 5 w 387"/>
                  <a:gd name="T9" fmla="*/ 0 h 60"/>
                  <a:gd name="T10" fmla="*/ 382 w 387"/>
                  <a:gd name="T11" fmla="*/ 0 h 60"/>
                  <a:gd name="T12" fmla="*/ 387 w 387"/>
                  <a:gd name="T13" fmla="*/ 5 h 60"/>
                  <a:gd name="T14" fmla="*/ 387 w 387"/>
                  <a:gd name="T15" fmla="*/ 55 h 60"/>
                  <a:gd name="T16" fmla="*/ 382 w 387"/>
                  <a:gd name="T1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7" h="60">
                    <a:moveTo>
                      <a:pt x="382" y="60"/>
                    </a:moveTo>
                    <a:cubicBezTo>
                      <a:pt x="5" y="60"/>
                      <a:pt x="5" y="60"/>
                      <a:pt x="5" y="60"/>
                    </a:cubicBezTo>
                    <a:cubicBezTo>
                      <a:pt x="2" y="60"/>
                      <a:pt x="0" y="58"/>
                      <a:pt x="0" y="55"/>
                    </a:cubicBezTo>
                    <a:cubicBezTo>
                      <a:pt x="0" y="5"/>
                      <a:pt x="0" y="5"/>
                      <a:pt x="0" y="5"/>
                    </a:cubicBezTo>
                    <a:cubicBezTo>
                      <a:pt x="0" y="2"/>
                      <a:pt x="2" y="0"/>
                      <a:pt x="5" y="0"/>
                    </a:cubicBezTo>
                    <a:cubicBezTo>
                      <a:pt x="382" y="0"/>
                      <a:pt x="382" y="0"/>
                      <a:pt x="382" y="0"/>
                    </a:cubicBezTo>
                    <a:cubicBezTo>
                      <a:pt x="385" y="0"/>
                      <a:pt x="387" y="2"/>
                      <a:pt x="387" y="5"/>
                    </a:cubicBezTo>
                    <a:cubicBezTo>
                      <a:pt x="387" y="55"/>
                      <a:pt x="387" y="55"/>
                      <a:pt x="387" y="55"/>
                    </a:cubicBezTo>
                    <a:cubicBezTo>
                      <a:pt x="387" y="58"/>
                      <a:pt x="385" y="60"/>
                      <a:pt x="382" y="6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59" name="任意多边形: 形状 158"/>
              <p:cNvSpPr/>
              <p:nvPr/>
            </p:nvSpPr>
            <p:spPr bwMode="auto">
              <a:xfrm>
                <a:off x="6694455" y="3882564"/>
                <a:ext cx="439089" cy="69931"/>
              </a:xfrm>
              <a:custGeom>
                <a:avLst/>
                <a:gdLst>
                  <a:gd name="T0" fmla="*/ 383 w 389"/>
                  <a:gd name="T1" fmla="*/ 61 h 62"/>
                  <a:gd name="T2" fmla="*/ 383 w 389"/>
                  <a:gd name="T3" fmla="*/ 60 h 62"/>
                  <a:gd name="T4" fmla="*/ 6 w 389"/>
                  <a:gd name="T5" fmla="*/ 60 h 62"/>
                  <a:gd name="T6" fmla="*/ 2 w 389"/>
                  <a:gd name="T7" fmla="*/ 56 h 62"/>
                  <a:gd name="T8" fmla="*/ 2 w 389"/>
                  <a:gd name="T9" fmla="*/ 6 h 62"/>
                  <a:gd name="T10" fmla="*/ 6 w 389"/>
                  <a:gd name="T11" fmla="*/ 2 h 62"/>
                  <a:gd name="T12" fmla="*/ 383 w 389"/>
                  <a:gd name="T13" fmla="*/ 2 h 62"/>
                  <a:gd name="T14" fmla="*/ 387 w 389"/>
                  <a:gd name="T15" fmla="*/ 6 h 62"/>
                  <a:gd name="T16" fmla="*/ 387 w 389"/>
                  <a:gd name="T17" fmla="*/ 56 h 62"/>
                  <a:gd name="T18" fmla="*/ 383 w 389"/>
                  <a:gd name="T19" fmla="*/ 60 h 62"/>
                  <a:gd name="T20" fmla="*/ 383 w 389"/>
                  <a:gd name="T21" fmla="*/ 61 h 62"/>
                  <a:gd name="T22" fmla="*/ 383 w 389"/>
                  <a:gd name="T23" fmla="*/ 62 h 62"/>
                  <a:gd name="T24" fmla="*/ 389 w 389"/>
                  <a:gd name="T25" fmla="*/ 56 h 62"/>
                  <a:gd name="T26" fmla="*/ 389 w 389"/>
                  <a:gd name="T27" fmla="*/ 6 h 62"/>
                  <a:gd name="T28" fmla="*/ 383 w 389"/>
                  <a:gd name="T29" fmla="*/ 0 h 62"/>
                  <a:gd name="T30" fmla="*/ 6 w 389"/>
                  <a:gd name="T31" fmla="*/ 0 h 62"/>
                  <a:gd name="T32" fmla="*/ 0 w 389"/>
                  <a:gd name="T33" fmla="*/ 6 h 62"/>
                  <a:gd name="T34" fmla="*/ 0 w 389"/>
                  <a:gd name="T35" fmla="*/ 56 h 62"/>
                  <a:gd name="T36" fmla="*/ 6 w 389"/>
                  <a:gd name="T37" fmla="*/ 62 h 62"/>
                  <a:gd name="T38" fmla="*/ 383 w 389"/>
                  <a:gd name="T39" fmla="*/ 62 h 62"/>
                  <a:gd name="T40" fmla="*/ 383 w 389"/>
                  <a:gd name="T41" fmla="*/ 6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89" h="62">
                    <a:moveTo>
                      <a:pt x="383" y="61"/>
                    </a:moveTo>
                    <a:cubicBezTo>
                      <a:pt x="383" y="60"/>
                      <a:pt x="383" y="60"/>
                      <a:pt x="383" y="60"/>
                    </a:cubicBezTo>
                    <a:cubicBezTo>
                      <a:pt x="6" y="60"/>
                      <a:pt x="6" y="60"/>
                      <a:pt x="6" y="60"/>
                    </a:cubicBezTo>
                    <a:cubicBezTo>
                      <a:pt x="3" y="60"/>
                      <a:pt x="2" y="58"/>
                      <a:pt x="2" y="56"/>
                    </a:cubicBezTo>
                    <a:cubicBezTo>
                      <a:pt x="2" y="6"/>
                      <a:pt x="2" y="6"/>
                      <a:pt x="2" y="6"/>
                    </a:cubicBezTo>
                    <a:cubicBezTo>
                      <a:pt x="2" y="4"/>
                      <a:pt x="3" y="2"/>
                      <a:pt x="6" y="2"/>
                    </a:cubicBezTo>
                    <a:cubicBezTo>
                      <a:pt x="383" y="2"/>
                      <a:pt x="383" y="2"/>
                      <a:pt x="383" y="2"/>
                    </a:cubicBezTo>
                    <a:cubicBezTo>
                      <a:pt x="385" y="2"/>
                      <a:pt x="387" y="4"/>
                      <a:pt x="387" y="6"/>
                    </a:cubicBezTo>
                    <a:cubicBezTo>
                      <a:pt x="387" y="56"/>
                      <a:pt x="387" y="56"/>
                      <a:pt x="387" y="56"/>
                    </a:cubicBezTo>
                    <a:cubicBezTo>
                      <a:pt x="387" y="58"/>
                      <a:pt x="385" y="60"/>
                      <a:pt x="383" y="60"/>
                    </a:cubicBezTo>
                    <a:cubicBezTo>
                      <a:pt x="383" y="61"/>
                      <a:pt x="383" y="61"/>
                      <a:pt x="383" y="61"/>
                    </a:cubicBezTo>
                    <a:cubicBezTo>
                      <a:pt x="383" y="62"/>
                      <a:pt x="383" y="62"/>
                      <a:pt x="383" y="62"/>
                    </a:cubicBezTo>
                    <a:cubicBezTo>
                      <a:pt x="386" y="62"/>
                      <a:pt x="389" y="59"/>
                      <a:pt x="389" y="56"/>
                    </a:cubicBezTo>
                    <a:cubicBezTo>
                      <a:pt x="389" y="6"/>
                      <a:pt x="389" y="6"/>
                      <a:pt x="389" y="6"/>
                    </a:cubicBezTo>
                    <a:cubicBezTo>
                      <a:pt x="389" y="3"/>
                      <a:pt x="386" y="0"/>
                      <a:pt x="383" y="0"/>
                    </a:cubicBezTo>
                    <a:cubicBezTo>
                      <a:pt x="6" y="0"/>
                      <a:pt x="6" y="0"/>
                      <a:pt x="6" y="0"/>
                    </a:cubicBezTo>
                    <a:cubicBezTo>
                      <a:pt x="2" y="0"/>
                      <a:pt x="0" y="3"/>
                      <a:pt x="0" y="6"/>
                    </a:cubicBezTo>
                    <a:cubicBezTo>
                      <a:pt x="0" y="56"/>
                      <a:pt x="0" y="56"/>
                      <a:pt x="0" y="56"/>
                    </a:cubicBezTo>
                    <a:cubicBezTo>
                      <a:pt x="0" y="59"/>
                      <a:pt x="2" y="62"/>
                      <a:pt x="6" y="62"/>
                    </a:cubicBezTo>
                    <a:cubicBezTo>
                      <a:pt x="383" y="62"/>
                      <a:pt x="383" y="62"/>
                      <a:pt x="383" y="62"/>
                    </a:cubicBezTo>
                    <a:lnTo>
                      <a:pt x="383" y="61"/>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60" name="任意多边形: 形状 159"/>
              <p:cNvSpPr/>
              <p:nvPr/>
            </p:nvSpPr>
            <p:spPr bwMode="auto">
              <a:xfrm>
                <a:off x="6696357" y="3894932"/>
                <a:ext cx="392944" cy="51853"/>
              </a:xfrm>
              <a:custGeom>
                <a:avLst/>
                <a:gdLst>
                  <a:gd name="T0" fmla="*/ 346 w 348"/>
                  <a:gd name="T1" fmla="*/ 46 h 46"/>
                  <a:gd name="T2" fmla="*/ 3 w 348"/>
                  <a:gd name="T3" fmla="*/ 46 h 46"/>
                  <a:gd name="T4" fmla="*/ 0 w 348"/>
                  <a:gd name="T5" fmla="*/ 44 h 46"/>
                  <a:gd name="T6" fmla="*/ 0 w 348"/>
                  <a:gd name="T7" fmla="*/ 2 h 46"/>
                  <a:gd name="T8" fmla="*/ 3 w 348"/>
                  <a:gd name="T9" fmla="*/ 0 h 46"/>
                  <a:gd name="T10" fmla="*/ 346 w 348"/>
                  <a:gd name="T11" fmla="*/ 0 h 46"/>
                  <a:gd name="T12" fmla="*/ 348 w 348"/>
                  <a:gd name="T13" fmla="*/ 2 h 46"/>
                  <a:gd name="T14" fmla="*/ 348 w 348"/>
                  <a:gd name="T15" fmla="*/ 44 h 46"/>
                  <a:gd name="T16" fmla="*/ 346 w 348"/>
                  <a:gd name="T17"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8" h="46">
                    <a:moveTo>
                      <a:pt x="346" y="46"/>
                    </a:moveTo>
                    <a:cubicBezTo>
                      <a:pt x="3" y="46"/>
                      <a:pt x="3" y="46"/>
                      <a:pt x="3" y="46"/>
                    </a:cubicBezTo>
                    <a:cubicBezTo>
                      <a:pt x="1" y="46"/>
                      <a:pt x="0" y="45"/>
                      <a:pt x="0" y="44"/>
                    </a:cubicBezTo>
                    <a:cubicBezTo>
                      <a:pt x="0" y="2"/>
                      <a:pt x="0" y="2"/>
                      <a:pt x="0" y="2"/>
                    </a:cubicBezTo>
                    <a:cubicBezTo>
                      <a:pt x="0" y="1"/>
                      <a:pt x="1" y="0"/>
                      <a:pt x="3" y="0"/>
                    </a:cubicBezTo>
                    <a:cubicBezTo>
                      <a:pt x="346" y="0"/>
                      <a:pt x="346" y="0"/>
                      <a:pt x="346" y="0"/>
                    </a:cubicBezTo>
                    <a:cubicBezTo>
                      <a:pt x="347" y="0"/>
                      <a:pt x="348" y="1"/>
                      <a:pt x="348" y="2"/>
                    </a:cubicBezTo>
                    <a:cubicBezTo>
                      <a:pt x="348" y="44"/>
                      <a:pt x="348" y="44"/>
                      <a:pt x="348" y="44"/>
                    </a:cubicBezTo>
                    <a:cubicBezTo>
                      <a:pt x="348" y="45"/>
                      <a:pt x="347" y="46"/>
                      <a:pt x="346" y="46"/>
                    </a:cubicBezTo>
                    <a:close/>
                  </a:path>
                </a:pathLst>
              </a:custGeom>
              <a:solidFill>
                <a:srgbClr val="EAE7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61" name="任意多边形: 形状 160"/>
              <p:cNvSpPr/>
              <p:nvPr/>
            </p:nvSpPr>
            <p:spPr bwMode="auto">
              <a:xfrm>
                <a:off x="6695406" y="3964863"/>
                <a:ext cx="436710" cy="68028"/>
              </a:xfrm>
              <a:custGeom>
                <a:avLst/>
                <a:gdLst>
                  <a:gd name="T0" fmla="*/ 382 w 387"/>
                  <a:gd name="T1" fmla="*/ 60 h 60"/>
                  <a:gd name="T2" fmla="*/ 5 w 387"/>
                  <a:gd name="T3" fmla="*/ 60 h 60"/>
                  <a:gd name="T4" fmla="*/ 0 w 387"/>
                  <a:gd name="T5" fmla="*/ 56 h 60"/>
                  <a:gd name="T6" fmla="*/ 0 w 387"/>
                  <a:gd name="T7" fmla="*/ 5 h 60"/>
                  <a:gd name="T8" fmla="*/ 5 w 387"/>
                  <a:gd name="T9" fmla="*/ 0 h 60"/>
                  <a:gd name="T10" fmla="*/ 382 w 387"/>
                  <a:gd name="T11" fmla="*/ 0 h 60"/>
                  <a:gd name="T12" fmla="*/ 387 w 387"/>
                  <a:gd name="T13" fmla="*/ 5 h 60"/>
                  <a:gd name="T14" fmla="*/ 387 w 387"/>
                  <a:gd name="T15" fmla="*/ 56 h 60"/>
                  <a:gd name="T16" fmla="*/ 382 w 387"/>
                  <a:gd name="T1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7" h="60">
                    <a:moveTo>
                      <a:pt x="382" y="60"/>
                    </a:moveTo>
                    <a:cubicBezTo>
                      <a:pt x="5" y="60"/>
                      <a:pt x="5" y="60"/>
                      <a:pt x="5" y="60"/>
                    </a:cubicBezTo>
                    <a:cubicBezTo>
                      <a:pt x="2" y="60"/>
                      <a:pt x="0" y="58"/>
                      <a:pt x="0" y="56"/>
                    </a:cubicBezTo>
                    <a:cubicBezTo>
                      <a:pt x="0" y="5"/>
                      <a:pt x="0" y="5"/>
                      <a:pt x="0" y="5"/>
                    </a:cubicBezTo>
                    <a:cubicBezTo>
                      <a:pt x="0" y="3"/>
                      <a:pt x="2" y="0"/>
                      <a:pt x="5" y="0"/>
                    </a:cubicBezTo>
                    <a:cubicBezTo>
                      <a:pt x="382" y="0"/>
                      <a:pt x="382" y="0"/>
                      <a:pt x="382" y="0"/>
                    </a:cubicBezTo>
                    <a:cubicBezTo>
                      <a:pt x="385" y="0"/>
                      <a:pt x="387" y="3"/>
                      <a:pt x="387" y="5"/>
                    </a:cubicBezTo>
                    <a:cubicBezTo>
                      <a:pt x="387" y="56"/>
                      <a:pt x="387" y="56"/>
                      <a:pt x="387" y="56"/>
                    </a:cubicBezTo>
                    <a:cubicBezTo>
                      <a:pt x="387" y="58"/>
                      <a:pt x="385" y="60"/>
                      <a:pt x="382" y="6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62" name="任意多边形: 形状 161"/>
              <p:cNvSpPr/>
              <p:nvPr/>
            </p:nvSpPr>
            <p:spPr bwMode="auto">
              <a:xfrm>
                <a:off x="6694455" y="3963912"/>
                <a:ext cx="439089" cy="69931"/>
              </a:xfrm>
              <a:custGeom>
                <a:avLst/>
                <a:gdLst>
                  <a:gd name="T0" fmla="*/ 383 w 389"/>
                  <a:gd name="T1" fmla="*/ 61 h 62"/>
                  <a:gd name="T2" fmla="*/ 383 w 389"/>
                  <a:gd name="T3" fmla="*/ 61 h 62"/>
                  <a:gd name="T4" fmla="*/ 6 w 389"/>
                  <a:gd name="T5" fmla="*/ 61 h 62"/>
                  <a:gd name="T6" fmla="*/ 2 w 389"/>
                  <a:gd name="T7" fmla="*/ 57 h 62"/>
                  <a:gd name="T8" fmla="*/ 2 w 389"/>
                  <a:gd name="T9" fmla="*/ 6 h 62"/>
                  <a:gd name="T10" fmla="*/ 6 w 389"/>
                  <a:gd name="T11" fmla="*/ 2 h 62"/>
                  <a:gd name="T12" fmla="*/ 383 w 389"/>
                  <a:gd name="T13" fmla="*/ 2 h 62"/>
                  <a:gd name="T14" fmla="*/ 387 w 389"/>
                  <a:gd name="T15" fmla="*/ 6 h 62"/>
                  <a:gd name="T16" fmla="*/ 387 w 389"/>
                  <a:gd name="T17" fmla="*/ 57 h 62"/>
                  <a:gd name="T18" fmla="*/ 383 w 389"/>
                  <a:gd name="T19" fmla="*/ 61 h 62"/>
                  <a:gd name="T20" fmla="*/ 383 w 389"/>
                  <a:gd name="T21" fmla="*/ 61 h 62"/>
                  <a:gd name="T22" fmla="*/ 383 w 389"/>
                  <a:gd name="T23" fmla="*/ 62 h 62"/>
                  <a:gd name="T24" fmla="*/ 389 w 389"/>
                  <a:gd name="T25" fmla="*/ 57 h 62"/>
                  <a:gd name="T26" fmla="*/ 389 w 389"/>
                  <a:gd name="T27" fmla="*/ 6 h 62"/>
                  <a:gd name="T28" fmla="*/ 383 w 389"/>
                  <a:gd name="T29" fmla="*/ 0 h 62"/>
                  <a:gd name="T30" fmla="*/ 6 w 389"/>
                  <a:gd name="T31" fmla="*/ 0 h 62"/>
                  <a:gd name="T32" fmla="*/ 0 w 389"/>
                  <a:gd name="T33" fmla="*/ 6 h 62"/>
                  <a:gd name="T34" fmla="*/ 0 w 389"/>
                  <a:gd name="T35" fmla="*/ 57 h 62"/>
                  <a:gd name="T36" fmla="*/ 6 w 389"/>
                  <a:gd name="T37" fmla="*/ 62 h 62"/>
                  <a:gd name="T38" fmla="*/ 383 w 389"/>
                  <a:gd name="T39" fmla="*/ 62 h 62"/>
                  <a:gd name="T40" fmla="*/ 383 w 389"/>
                  <a:gd name="T41" fmla="*/ 6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89" h="62">
                    <a:moveTo>
                      <a:pt x="383" y="61"/>
                    </a:moveTo>
                    <a:cubicBezTo>
                      <a:pt x="383" y="61"/>
                      <a:pt x="383" y="61"/>
                      <a:pt x="383" y="61"/>
                    </a:cubicBezTo>
                    <a:cubicBezTo>
                      <a:pt x="6" y="61"/>
                      <a:pt x="6" y="61"/>
                      <a:pt x="6" y="61"/>
                    </a:cubicBezTo>
                    <a:cubicBezTo>
                      <a:pt x="3" y="61"/>
                      <a:pt x="2" y="59"/>
                      <a:pt x="2" y="57"/>
                    </a:cubicBezTo>
                    <a:cubicBezTo>
                      <a:pt x="2" y="6"/>
                      <a:pt x="2" y="6"/>
                      <a:pt x="2" y="6"/>
                    </a:cubicBezTo>
                    <a:cubicBezTo>
                      <a:pt x="2" y="4"/>
                      <a:pt x="3" y="2"/>
                      <a:pt x="6" y="2"/>
                    </a:cubicBezTo>
                    <a:cubicBezTo>
                      <a:pt x="383" y="2"/>
                      <a:pt x="383" y="2"/>
                      <a:pt x="383" y="2"/>
                    </a:cubicBezTo>
                    <a:cubicBezTo>
                      <a:pt x="385" y="2"/>
                      <a:pt x="387" y="4"/>
                      <a:pt x="387" y="6"/>
                    </a:cubicBezTo>
                    <a:cubicBezTo>
                      <a:pt x="387" y="57"/>
                      <a:pt x="387" y="57"/>
                      <a:pt x="387" y="57"/>
                    </a:cubicBezTo>
                    <a:cubicBezTo>
                      <a:pt x="387" y="59"/>
                      <a:pt x="385" y="61"/>
                      <a:pt x="383" y="61"/>
                    </a:cubicBezTo>
                    <a:cubicBezTo>
                      <a:pt x="383" y="61"/>
                      <a:pt x="383" y="61"/>
                      <a:pt x="383" y="61"/>
                    </a:cubicBezTo>
                    <a:cubicBezTo>
                      <a:pt x="383" y="62"/>
                      <a:pt x="383" y="62"/>
                      <a:pt x="383" y="62"/>
                    </a:cubicBezTo>
                    <a:cubicBezTo>
                      <a:pt x="386" y="62"/>
                      <a:pt x="389" y="60"/>
                      <a:pt x="389" y="57"/>
                    </a:cubicBezTo>
                    <a:cubicBezTo>
                      <a:pt x="389" y="6"/>
                      <a:pt x="389" y="6"/>
                      <a:pt x="389" y="6"/>
                    </a:cubicBezTo>
                    <a:cubicBezTo>
                      <a:pt x="389" y="3"/>
                      <a:pt x="386" y="0"/>
                      <a:pt x="383" y="0"/>
                    </a:cubicBezTo>
                    <a:cubicBezTo>
                      <a:pt x="6" y="0"/>
                      <a:pt x="6" y="0"/>
                      <a:pt x="6" y="0"/>
                    </a:cubicBezTo>
                    <a:cubicBezTo>
                      <a:pt x="2" y="0"/>
                      <a:pt x="0" y="3"/>
                      <a:pt x="0" y="6"/>
                    </a:cubicBezTo>
                    <a:cubicBezTo>
                      <a:pt x="0" y="57"/>
                      <a:pt x="0" y="57"/>
                      <a:pt x="0" y="57"/>
                    </a:cubicBezTo>
                    <a:cubicBezTo>
                      <a:pt x="0" y="60"/>
                      <a:pt x="2" y="62"/>
                      <a:pt x="6" y="62"/>
                    </a:cubicBezTo>
                    <a:cubicBezTo>
                      <a:pt x="383" y="62"/>
                      <a:pt x="383" y="62"/>
                      <a:pt x="383" y="62"/>
                    </a:cubicBezTo>
                    <a:lnTo>
                      <a:pt x="383" y="61"/>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63" name="任意多边形: 形状 162"/>
              <p:cNvSpPr/>
              <p:nvPr/>
            </p:nvSpPr>
            <p:spPr bwMode="auto">
              <a:xfrm>
                <a:off x="6695406" y="4046211"/>
                <a:ext cx="436710" cy="68979"/>
              </a:xfrm>
              <a:custGeom>
                <a:avLst/>
                <a:gdLst>
                  <a:gd name="T0" fmla="*/ 382 w 387"/>
                  <a:gd name="T1" fmla="*/ 61 h 61"/>
                  <a:gd name="T2" fmla="*/ 5 w 387"/>
                  <a:gd name="T3" fmla="*/ 61 h 61"/>
                  <a:gd name="T4" fmla="*/ 0 w 387"/>
                  <a:gd name="T5" fmla="*/ 56 h 61"/>
                  <a:gd name="T6" fmla="*/ 0 w 387"/>
                  <a:gd name="T7" fmla="*/ 5 h 61"/>
                  <a:gd name="T8" fmla="*/ 5 w 387"/>
                  <a:gd name="T9" fmla="*/ 0 h 61"/>
                  <a:gd name="T10" fmla="*/ 382 w 387"/>
                  <a:gd name="T11" fmla="*/ 0 h 61"/>
                  <a:gd name="T12" fmla="*/ 387 w 387"/>
                  <a:gd name="T13" fmla="*/ 5 h 61"/>
                  <a:gd name="T14" fmla="*/ 387 w 387"/>
                  <a:gd name="T15" fmla="*/ 56 h 61"/>
                  <a:gd name="T16" fmla="*/ 382 w 387"/>
                  <a:gd name="T17"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7" h="61">
                    <a:moveTo>
                      <a:pt x="382" y="61"/>
                    </a:moveTo>
                    <a:cubicBezTo>
                      <a:pt x="5" y="61"/>
                      <a:pt x="5" y="61"/>
                      <a:pt x="5" y="61"/>
                    </a:cubicBezTo>
                    <a:cubicBezTo>
                      <a:pt x="2" y="61"/>
                      <a:pt x="0" y="58"/>
                      <a:pt x="0" y="56"/>
                    </a:cubicBezTo>
                    <a:cubicBezTo>
                      <a:pt x="0" y="5"/>
                      <a:pt x="0" y="5"/>
                      <a:pt x="0" y="5"/>
                    </a:cubicBezTo>
                    <a:cubicBezTo>
                      <a:pt x="0" y="3"/>
                      <a:pt x="2" y="0"/>
                      <a:pt x="5" y="0"/>
                    </a:cubicBezTo>
                    <a:cubicBezTo>
                      <a:pt x="382" y="0"/>
                      <a:pt x="382" y="0"/>
                      <a:pt x="382" y="0"/>
                    </a:cubicBezTo>
                    <a:cubicBezTo>
                      <a:pt x="385" y="0"/>
                      <a:pt x="387" y="3"/>
                      <a:pt x="387" y="5"/>
                    </a:cubicBezTo>
                    <a:cubicBezTo>
                      <a:pt x="387" y="56"/>
                      <a:pt x="387" y="56"/>
                      <a:pt x="387" y="56"/>
                    </a:cubicBezTo>
                    <a:cubicBezTo>
                      <a:pt x="387" y="58"/>
                      <a:pt x="385" y="61"/>
                      <a:pt x="382" y="61"/>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64" name="任意多边形: 形状 163"/>
              <p:cNvSpPr/>
              <p:nvPr/>
            </p:nvSpPr>
            <p:spPr bwMode="auto">
              <a:xfrm>
                <a:off x="6694455" y="4046211"/>
                <a:ext cx="439089" cy="68979"/>
              </a:xfrm>
              <a:custGeom>
                <a:avLst/>
                <a:gdLst>
                  <a:gd name="T0" fmla="*/ 383 w 389"/>
                  <a:gd name="T1" fmla="*/ 61 h 61"/>
                  <a:gd name="T2" fmla="*/ 383 w 389"/>
                  <a:gd name="T3" fmla="*/ 60 h 61"/>
                  <a:gd name="T4" fmla="*/ 6 w 389"/>
                  <a:gd name="T5" fmla="*/ 60 h 61"/>
                  <a:gd name="T6" fmla="*/ 2 w 389"/>
                  <a:gd name="T7" fmla="*/ 56 h 61"/>
                  <a:gd name="T8" fmla="*/ 2 w 389"/>
                  <a:gd name="T9" fmla="*/ 5 h 61"/>
                  <a:gd name="T10" fmla="*/ 6 w 389"/>
                  <a:gd name="T11" fmla="*/ 1 h 61"/>
                  <a:gd name="T12" fmla="*/ 383 w 389"/>
                  <a:gd name="T13" fmla="*/ 1 h 61"/>
                  <a:gd name="T14" fmla="*/ 387 w 389"/>
                  <a:gd name="T15" fmla="*/ 5 h 61"/>
                  <a:gd name="T16" fmla="*/ 387 w 389"/>
                  <a:gd name="T17" fmla="*/ 56 h 61"/>
                  <a:gd name="T18" fmla="*/ 383 w 389"/>
                  <a:gd name="T19" fmla="*/ 60 h 61"/>
                  <a:gd name="T20" fmla="*/ 383 w 389"/>
                  <a:gd name="T21" fmla="*/ 61 h 61"/>
                  <a:gd name="T22" fmla="*/ 383 w 389"/>
                  <a:gd name="T23" fmla="*/ 61 h 61"/>
                  <a:gd name="T24" fmla="*/ 389 w 389"/>
                  <a:gd name="T25" fmla="*/ 56 h 61"/>
                  <a:gd name="T26" fmla="*/ 389 w 389"/>
                  <a:gd name="T27" fmla="*/ 5 h 61"/>
                  <a:gd name="T28" fmla="*/ 383 w 389"/>
                  <a:gd name="T29" fmla="*/ 0 h 61"/>
                  <a:gd name="T30" fmla="*/ 6 w 389"/>
                  <a:gd name="T31" fmla="*/ 0 h 61"/>
                  <a:gd name="T32" fmla="*/ 0 w 389"/>
                  <a:gd name="T33" fmla="*/ 5 h 61"/>
                  <a:gd name="T34" fmla="*/ 0 w 389"/>
                  <a:gd name="T35" fmla="*/ 56 h 61"/>
                  <a:gd name="T36" fmla="*/ 6 w 389"/>
                  <a:gd name="T37" fmla="*/ 61 h 61"/>
                  <a:gd name="T38" fmla="*/ 383 w 389"/>
                  <a:gd name="T39"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89" h="61">
                    <a:moveTo>
                      <a:pt x="383" y="61"/>
                    </a:moveTo>
                    <a:cubicBezTo>
                      <a:pt x="383" y="60"/>
                      <a:pt x="383" y="60"/>
                      <a:pt x="383" y="60"/>
                    </a:cubicBezTo>
                    <a:cubicBezTo>
                      <a:pt x="6" y="60"/>
                      <a:pt x="6" y="60"/>
                      <a:pt x="6" y="60"/>
                    </a:cubicBezTo>
                    <a:cubicBezTo>
                      <a:pt x="3" y="60"/>
                      <a:pt x="2" y="58"/>
                      <a:pt x="2" y="56"/>
                    </a:cubicBezTo>
                    <a:cubicBezTo>
                      <a:pt x="2" y="5"/>
                      <a:pt x="2" y="5"/>
                      <a:pt x="2" y="5"/>
                    </a:cubicBezTo>
                    <a:cubicBezTo>
                      <a:pt x="2" y="3"/>
                      <a:pt x="3" y="1"/>
                      <a:pt x="6" y="1"/>
                    </a:cubicBezTo>
                    <a:cubicBezTo>
                      <a:pt x="383" y="1"/>
                      <a:pt x="383" y="1"/>
                      <a:pt x="383" y="1"/>
                    </a:cubicBezTo>
                    <a:cubicBezTo>
                      <a:pt x="385" y="1"/>
                      <a:pt x="387" y="3"/>
                      <a:pt x="387" y="5"/>
                    </a:cubicBezTo>
                    <a:cubicBezTo>
                      <a:pt x="387" y="56"/>
                      <a:pt x="387" y="56"/>
                      <a:pt x="387" y="56"/>
                    </a:cubicBezTo>
                    <a:cubicBezTo>
                      <a:pt x="387" y="58"/>
                      <a:pt x="385" y="60"/>
                      <a:pt x="383" y="60"/>
                    </a:cubicBezTo>
                    <a:cubicBezTo>
                      <a:pt x="383" y="61"/>
                      <a:pt x="383" y="61"/>
                      <a:pt x="383" y="61"/>
                    </a:cubicBezTo>
                    <a:cubicBezTo>
                      <a:pt x="383" y="61"/>
                      <a:pt x="383" y="61"/>
                      <a:pt x="383" y="61"/>
                    </a:cubicBezTo>
                    <a:cubicBezTo>
                      <a:pt x="386" y="61"/>
                      <a:pt x="389" y="59"/>
                      <a:pt x="389" y="56"/>
                    </a:cubicBezTo>
                    <a:cubicBezTo>
                      <a:pt x="389" y="5"/>
                      <a:pt x="389" y="5"/>
                      <a:pt x="389" y="5"/>
                    </a:cubicBezTo>
                    <a:cubicBezTo>
                      <a:pt x="389" y="2"/>
                      <a:pt x="386" y="0"/>
                      <a:pt x="383" y="0"/>
                    </a:cubicBezTo>
                    <a:cubicBezTo>
                      <a:pt x="6" y="0"/>
                      <a:pt x="6" y="0"/>
                      <a:pt x="6" y="0"/>
                    </a:cubicBezTo>
                    <a:cubicBezTo>
                      <a:pt x="2" y="0"/>
                      <a:pt x="0" y="2"/>
                      <a:pt x="0" y="5"/>
                    </a:cubicBezTo>
                    <a:cubicBezTo>
                      <a:pt x="0" y="56"/>
                      <a:pt x="0" y="56"/>
                      <a:pt x="0" y="56"/>
                    </a:cubicBezTo>
                    <a:cubicBezTo>
                      <a:pt x="0" y="59"/>
                      <a:pt x="2" y="61"/>
                      <a:pt x="6" y="61"/>
                    </a:cubicBezTo>
                    <a:cubicBezTo>
                      <a:pt x="383" y="61"/>
                      <a:pt x="383" y="61"/>
                      <a:pt x="383" y="61"/>
                    </a:cubicBez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65" name="任意多边形: 形状 164"/>
              <p:cNvSpPr/>
              <p:nvPr/>
            </p:nvSpPr>
            <p:spPr bwMode="auto">
              <a:xfrm>
                <a:off x="6696357" y="3979610"/>
                <a:ext cx="392944" cy="50902"/>
              </a:xfrm>
              <a:custGeom>
                <a:avLst/>
                <a:gdLst>
                  <a:gd name="T0" fmla="*/ 346 w 348"/>
                  <a:gd name="T1" fmla="*/ 45 h 45"/>
                  <a:gd name="T2" fmla="*/ 3 w 348"/>
                  <a:gd name="T3" fmla="*/ 45 h 45"/>
                  <a:gd name="T4" fmla="*/ 0 w 348"/>
                  <a:gd name="T5" fmla="*/ 43 h 45"/>
                  <a:gd name="T6" fmla="*/ 0 w 348"/>
                  <a:gd name="T7" fmla="*/ 2 h 45"/>
                  <a:gd name="T8" fmla="*/ 3 w 348"/>
                  <a:gd name="T9" fmla="*/ 0 h 45"/>
                  <a:gd name="T10" fmla="*/ 346 w 348"/>
                  <a:gd name="T11" fmla="*/ 0 h 45"/>
                  <a:gd name="T12" fmla="*/ 348 w 348"/>
                  <a:gd name="T13" fmla="*/ 2 h 45"/>
                  <a:gd name="T14" fmla="*/ 348 w 348"/>
                  <a:gd name="T15" fmla="*/ 43 h 45"/>
                  <a:gd name="T16" fmla="*/ 346 w 348"/>
                  <a:gd name="T17"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8" h="45">
                    <a:moveTo>
                      <a:pt x="346" y="45"/>
                    </a:moveTo>
                    <a:cubicBezTo>
                      <a:pt x="3" y="45"/>
                      <a:pt x="3" y="45"/>
                      <a:pt x="3" y="45"/>
                    </a:cubicBezTo>
                    <a:cubicBezTo>
                      <a:pt x="1" y="45"/>
                      <a:pt x="0" y="44"/>
                      <a:pt x="0" y="43"/>
                    </a:cubicBezTo>
                    <a:cubicBezTo>
                      <a:pt x="0" y="2"/>
                      <a:pt x="0" y="2"/>
                      <a:pt x="0" y="2"/>
                    </a:cubicBezTo>
                    <a:cubicBezTo>
                      <a:pt x="0" y="1"/>
                      <a:pt x="1" y="0"/>
                      <a:pt x="3" y="0"/>
                    </a:cubicBezTo>
                    <a:cubicBezTo>
                      <a:pt x="346" y="0"/>
                      <a:pt x="346" y="0"/>
                      <a:pt x="346" y="0"/>
                    </a:cubicBezTo>
                    <a:cubicBezTo>
                      <a:pt x="347" y="0"/>
                      <a:pt x="348" y="1"/>
                      <a:pt x="348" y="2"/>
                    </a:cubicBezTo>
                    <a:cubicBezTo>
                      <a:pt x="348" y="43"/>
                      <a:pt x="348" y="43"/>
                      <a:pt x="348" y="43"/>
                    </a:cubicBezTo>
                    <a:cubicBezTo>
                      <a:pt x="348" y="44"/>
                      <a:pt x="347" y="45"/>
                      <a:pt x="346" y="45"/>
                    </a:cubicBezTo>
                    <a:close/>
                  </a:path>
                </a:pathLst>
              </a:custGeom>
              <a:solidFill>
                <a:srgbClr val="EAE7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66" name="任意多边形: 形状 165"/>
              <p:cNvSpPr/>
              <p:nvPr/>
            </p:nvSpPr>
            <p:spPr bwMode="auto">
              <a:xfrm>
                <a:off x="6696357" y="4060958"/>
                <a:ext cx="392944" cy="51853"/>
              </a:xfrm>
              <a:custGeom>
                <a:avLst/>
                <a:gdLst>
                  <a:gd name="T0" fmla="*/ 346 w 348"/>
                  <a:gd name="T1" fmla="*/ 46 h 46"/>
                  <a:gd name="T2" fmla="*/ 3 w 348"/>
                  <a:gd name="T3" fmla="*/ 46 h 46"/>
                  <a:gd name="T4" fmla="*/ 0 w 348"/>
                  <a:gd name="T5" fmla="*/ 44 h 46"/>
                  <a:gd name="T6" fmla="*/ 0 w 348"/>
                  <a:gd name="T7" fmla="*/ 2 h 46"/>
                  <a:gd name="T8" fmla="*/ 3 w 348"/>
                  <a:gd name="T9" fmla="*/ 0 h 46"/>
                  <a:gd name="T10" fmla="*/ 346 w 348"/>
                  <a:gd name="T11" fmla="*/ 0 h 46"/>
                  <a:gd name="T12" fmla="*/ 348 w 348"/>
                  <a:gd name="T13" fmla="*/ 2 h 46"/>
                  <a:gd name="T14" fmla="*/ 348 w 348"/>
                  <a:gd name="T15" fmla="*/ 44 h 46"/>
                  <a:gd name="T16" fmla="*/ 346 w 348"/>
                  <a:gd name="T17"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8" h="46">
                    <a:moveTo>
                      <a:pt x="346" y="46"/>
                    </a:moveTo>
                    <a:cubicBezTo>
                      <a:pt x="3" y="46"/>
                      <a:pt x="3" y="46"/>
                      <a:pt x="3" y="46"/>
                    </a:cubicBezTo>
                    <a:cubicBezTo>
                      <a:pt x="1" y="46"/>
                      <a:pt x="0" y="45"/>
                      <a:pt x="0" y="44"/>
                    </a:cubicBezTo>
                    <a:cubicBezTo>
                      <a:pt x="0" y="2"/>
                      <a:pt x="0" y="2"/>
                      <a:pt x="0" y="2"/>
                    </a:cubicBezTo>
                    <a:cubicBezTo>
                      <a:pt x="0" y="1"/>
                      <a:pt x="1" y="0"/>
                      <a:pt x="3" y="0"/>
                    </a:cubicBezTo>
                    <a:cubicBezTo>
                      <a:pt x="346" y="0"/>
                      <a:pt x="346" y="0"/>
                      <a:pt x="346" y="0"/>
                    </a:cubicBezTo>
                    <a:cubicBezTo>
                      <a:pt x="347" y="0"/>
                      <a:pt x="348" y="1"/>
                      <a:pt x="348" y="2"/>
                    </a:cubicBezTo>
                    <a:cubicBezTo>
                      <a:pt x="348" y="44"/>
                      <a:pt x="348" y="44"/>
                      <a:pt x="348" y="44"/>
                    </a:cubicBezTo>
                    <a:cubicBezTo>
                      <a:pt x="348" y="45"/>
                      <a:pt x="347" y="46"/>
                      <a:pt x="346" y="46"/>
                    </a:cubicBezTo>
                    <a:close/>
                  </a:path>
                </a:pathLst>
              </a:custGeom>
              <a:solidFill>
                <a:srgbClr val="EAE7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67" name="椭圆 166"/>
              <p:cNvSpPr/>
              <p:nvPr/>
            </p:nvSpPr>
            <p:spPr bwMode="auto">
              <a:xfrm>
                <a:off x="7063613" y="3899690"/>
                <a:ext cx="35679" cy="36155"/>
              </a:xfrm>
              <a:prstGeom prst="ellipse">
                <a:avLst/>
              </a:pr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68" name="任意多边形: 形状 167"/>
              <p:cNvSpPr/>
              <p:nvPr/>
            </p:nvSpPr>
            <p:spPr bwMode="auto">
              <a:xfrm>
                <a:off x="7062185" y="3898262"/>
                <a:ext cx="38533" cy="38533"/>
              </a:xfrm>
              <a:custGeom>
                <a:avLst/>
                <a:gdLst>
                  <a:gd name="T0" fmla="*/ 33 w 34"/>
                  <a:gd name="T1" fmla="*/ 17 h 34"/>
                  <a:gd name="T2" fmla="*/ 32 w 34"/>
                  <a:gd name="T3" fmla="*/ 17 h 34"/>
                  <a:gd name="T4" fmla="*/ 28 w 34"/>
                  <a:gd name="T5" fmla="*/ 28 h 34"/>
                  <a:gd name="T6" fmla="*/ 17 w 34"/>
                  <a:gd name="T7" fmla="*/ 32 h 34"/>
                  <a:gd name="T8" fmla="*/ 6 w 34"/>
                  <a:gd name="T9" fmla="*/ 28 h 34"/>
                  <a:gd name="T10" fmla="*/ 2 w 34"/>
                  <a:gd name="T11" fmla="*/ 17 h 34"/>
                  <a:gd name="T12" fmla="*/ 6 w 34"/>
                  <a:gd name="T13" fmla="*/ 6 h 34"/>
                  <a:gd name="T14" fmla="*/ 17 w 34"/>
                  <a:gd name="T15" fmla="*/ 2 h 34"/>
                  <a:gd name="T16" fmla="*/ 28 w 34"/>
                  <a:gd name="T17" fmla="*/ 6 h 34"/>
                  <a:gd name="T18" fmla="*/ 32 w 34"/>
                  <a:gd name="T19" fmla="*/ 17 h 34"/>
                  <a:gd name="T20" fmla="*/ 33 w 34"/>
                  <a:gd name="T21" fmla="*/ 17 h 34"/>
                  <a:gd name="T22" fmla="*/ 34 w 34"/>
                  <a:gd name="T23" fmla="*/ 17 h 34"/>
                  <a:gd name="T24" fmla="*/ 17 w 34"/>
                  <a:gd name="T25" fmla="*/ 0 h 34"/>
                  <a:gd name="T26" fmla="*/ 0 w 34"/>
                  <a:gd name="T27" fmla="*/ 17 h 34"/>
                  <a:gd name="T28" fmla="*/ 17 w 34"/>
                  <a:gd name="T29" fmla="*/ 34 h 34"/>
                  <a:gd name="T30" fmla="*/ 34 w 34"/>
                  <a:gd name="T31" fmla="*/ 17 h 34"/>
                  <a:gd name="T32" fmla="*/ 33 w 34"/>
                  <a:gd name="T33"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 h="34">
                    <a:moveTo>
                      <a:pt x="33" y="17"/>
                    </a:moveTo>
                    <a:cubicBezTo>
                      <a:pt x="32" y="17"/>
                      <a:pt x="32" y="17"/>
                      <a:pt x="32" y="17"/>
                    </a:cubicBezTo>
                    <a:cubicBezTo>
                      <a:pt x="32" y="21"/>
                      <a:pt x="31" y="25"/>
                      <a:pt x="28" y="28"/>
                    </a:cubicBezTo>
                    <a:cubicBezTo>
                      <a:pt x="25" y="31"/>
                      <a:pt x="21" y="32"/>
                      <a:pt x="17" y="32"/>
                    </a:cubicBezTo>
                    <a:cubicBezTo>
                      <a:pt x="13" y="32"/>
                      <a:pt x="9" y="31"/>
                      <a:pt x="6" y="28"/>
                    </a:cubicBezTo>
                    <a:cubicBezTo>
                      <a:pt x="3" y="25"/>
                      <a:pt x="2" y="21"/>
                      <a:pt x="2" y="17"/>
                    </a:cubicBezTo>
                    <a:cubicBezTo>
                      <a:pt x="2" y="13"/>
                      <a:pt x="3" y="9"/>
                      <a:pt x="6" y="6"/>
                    </a:cubicBezTo>
                    <a:cubicBezTo>
                      <a:pt x="9" y="3"/>
                      <a:pt x="13" y="2"/>
                      <a:pt x="17" y="2"/>
                    </a:cubicBezTo>
                    <a:cubicBezTo>
                      <a:pt x="21" y="2"/>
                      <a:pt x="25" y="3"/>
                      <a:pt x="28" y="6"/>
                    </a:cubicBezTo>
                    <a:cubicBezTo>
                      <a:pt x="31" y="9"/>
                      <a:pt x="32" y="13"/>
                      <a:pt x="32" y="17"/>
                    </a:cubicBezTo>
                    <a:cubicBezTo>
                      <a:pt x="33" y="17"/>
                      <a:pt x="33" y="17"/>
                      <a:pt x="33" y="17"/>
                    </a:cubicBezTo>
                    <a:cubicBezTo>
                      <a:pt x="34" y="17"/>
                      <a:pt x="34" y="17"/>
                      <a:pt x="34" y="17"/>
                    </a:cubicBezTo>
                    <a:cubicBezTo>
                      <a:pt x="34" y="8"/>
                      <a:pt x="27" y="0"/>
                      <a:pt x="17" y="0"/>
                    </a:cubicBezTo>
                    <a:cubicBezTo>
                      <a:pt x="8" y="0"/>
                      <a:pt x="0" y="8"/>
                      <a:pt x="0" y="17"/>
                    </a:cubicBezTo>
                    <a:cubicBezTo>
                      <a:pt x="0" y="27"/>
                      <a:pt x="8" y="34"/>
                      <a:pt x="17" y="34"/>
                    </a:cubicBezTo>
                    <a:cubicBezTo>
                      <a:pt x="27" y="34"/>
                      <a:pt x="34" y="27"/>
                      <a:pt x="34" y="17"/>
                    </a:cubicBezTo>
                    <a:lnTo>
                      <a:pt x="33" y="17"/>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69" name="椭圆 168"/>
              <p:cNvSpPr/>
              <p:nvPr/>
            </p:nvSpPr>
            <p:spPr bwMode="auto">
              <a:xfrm>
                <a:off x="7063613" y="3981037"/>
                <a:ext cx="35679" cy="37106"/>
              </a:xfrm>
              <a:prstGeom prst="ellipse">
                <a:avLst/>
              </a:pr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70" name="任意多边形: 形状 169"/>
              <p:cNvSpPr/>
              <p:nvPr/>
            </p:nvSpPr>
            <p:spPr bwMode="auto">
              <a:xfrm>
                <a:off x="7062185" y="3979610"/>
                <a:ext cx="38533" cy="38533"/>
              </a:xfrm>
              <a:custGeom>
                <a:avLst/>
                <a:gdLst>
                  <a:gd name="T0" fmla="*/ 33 w 34"/>
                  <a:gd name="T1" fmla="*/ 17 h 34"/>
                  <a:gd name="T2" fmla="*/ 32 w 34"/>
                  <a:gd name="T3" fmla="*/ 17 h 34"/>
                  <a:gd name="T4" fmla="*/ 28 w 34"/>
                  <a:gd name="T5" fmla="*/ 28 h 34"/>
                  <a:gd name="T6" fmla="*/ 17 w 34"/>
                  <a:gd name="T7" fmla="*/ 33 h 34"/>
                  <a:gd name="T8" fmla="*/ 6 w 34"/>
                  <a:gd name="T9" fmla="*/ 28 h 34"/>
                  <a:gd name="T10" fmla="*/ 2 w 34"/>
                  <a:gd name="T11" fmla="*/ 17 h 34"/>
                  <a:gd name="T12" fmla="*/ 6 w 34"/>
                  <a:gd name="T13" fmla="*/ 7 h 34"/>
                  <a:gd name="T14" fmla="*/ 17 w 34"/>
                  <a:gd name="T15" fmla="*/ 2 h 34"/>
                  <a:gd name="T16" fmla="*/ 28 w 34"/>
                  <a:gd name="T17" fmla="*/ 7 h 34"/>
                  <a:gd name="T18" fmla="*/ 32 w 34"/>
                  <a:gd name="T19" fmla="*/ 17 h 34"/>
                  <a:gd name="T20" fmla="*/ 33 w 34"/>
                  <a:gd name="T21" fmla="*/ 17 h 34"/>
                  <a:gd name="T22" fmla="*/ 34 w 34"/>
                  <a:gd name="T23" fmla="*/ 17 h 34"/>
                  <a:gd name="T24" fmla="*/ 17 w 34"/>
                  <a:gd name="T25" fmla="*/ 0 h 34"/>
                  <a:gd name="T26" fmla="*/ 0 w 34"/>
                  <a:gd name="T27" fmla="*/ 17 h 34"/>
                  <a:gd name="T28" fmla="*/ 17 w 34"/>
                  <a:gd name="T29" fmla="*/ 34 h 34"/>
                  <a:gd name="T30" fmla="*/ 34 w 34"/>
                  <a:gd name="T31" fmla="*/ 17 h 34"/>
                  <a:gd name="T32" fmla="*/ 33 w 34"/>
                  <a:gd name="T33"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 h="34">
                    <a:moveTo>
                      <a:pt x="33" y="17"/>
                    </a:moveTo>
                    <a:cubicBezTo>
                      <a:pt x="32" y="17"/>
                      <a:pt x="32" y="17"/>
                      <a:pt x="32" y="17"/>
                    </a:cubicBezTo>
                    <a:cubicBezTo>
                      <a:pt x="32" y="22"/>
                      <a:pt x="31" y="25"/>
                      <a:pt x="28" y="28"/>
                    </a:cubicBezTo>
                    <a:cubicBezTo>
                      <a:pt x="25" y="31"/>
                      <a:pt x="21" y="33"/>
                      <a:pt x="17" y="33"/>
                    </a:cubicBezTo>
                    <a:cubicBezTo>
                      <a:pt x="13" y="33"/>
                      <a:pt x="9" y="31"/>
                      <a:pt x="6" y="28"/>
                    </a:cubicBezTo>
                    <a:cubicBezTo>
                      <a:pt x="3" y="25"/>
                      <a:pt x="2" y="22"/>
                      <a:pt x="2" y="17"/>
                    </a:cubicBezTo>
                    <a:cubicBezTo>
                      <a:pt x="2" y="13"/>
                      <a:pt x="3" y="9"/>
                      <a:pt x="6" y="7"/>
                    </a:cubicBezTo>
                    <a:cubicBezTo>
                      <a:pt x="9" y="4"/>
                      <a:pt x="13" y="2"/>
                      <a:pt x="17" y="2"/>
                    </a:cubicBezTo>
                    <a:cubicBezTo>
                      <a:pt x="21" y="2"/>
                      <a:pt x="25" y="4"/>
                      <a:pt x="28" y="7"/>
                    </a:cubicBezTo>
                    <a:cubicBezTo>
                      <a:pt x="31" y="9"/>
                      <a:pt x="32" y="13"/>
                      <a:pt x="32" y="17"/>
                    </a:cubicBezTo>
                    <a:cubicBezTo>
                      <a:pt x="33" y="17"/>
                      <a:pt x="33" y="17"/>
                      <a:pt x="33" y="17"/>
                    </a:cubicBezTo>
                    <a:cubicBezTo>
                      <a:pt x="34" y="17"/>
                      <a:pt x="34" y="17"/>
                      <a:pt x="34" y="17"/>
                    </a:cubicBezTo>
                    <a:cubicBezTo>
                      <a:pt x="34" y="8"/>
                      <a:pt x="27" y="0"/>
                      <a:pt x="17" y="0"/>
                    </a:cubicBezTo>
                    <a:cubicBezTo>
                      <a:pt x="8" y="0"/>
                      <a:pt x="0" y="8"/>
                      <a:pt x="0" y="17"/>
                    </a:cubicBezTo>
                    <a:cubicBezTo>
                      <a:pt x="0" y="27"/>
                      <a:pt x="8" y="34"/>
                      <a:pt x="17" y="34"/>
                    </a:cubicBezTo>
                    <a:cubicBezTo>
                      <a:pt x="27" y="34"/>
                      <a:pt x="34" y="27"/>
                      <a:pt x="34" y="17"/>
                    </a:cubicBezTo>
                    <a:lnTo>
                      <a:pt x="33" y="17"/>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71" name="椭圆 170"/>
              <p:cNvSpPr/>
              <p:nvPr/>
            </p:nvSpPr>
            <p:spPr bwMode="auto">
              <a:xfrm>
                <a:off x="7063613" y="4062385"/>
                <a:ext cx="35679" cy="37106"/>
              </a:xfrm>
              <a:prstGeom prst="ellipse">
                <a:avLst/>
              </a:pr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72" name="任意多边形: 形状 171"/>
              <p:cNvSpPr/>
              <p:nvPr/>
            </p:nvSpPr>
            <p:spPr bwMode="auto">
              <a:xfrm>
                <a:off x="7062185" y="4060958"/>
                <a:ext cx="38533" cy="39485"/>
              </a:xfrm>
              <a:custGeom>
                <a:avLst/>
                <a:gdLst>
                  <a:gd name="T0" fmla="*/ 33 w 34"/>
                  <a:gd name="T1" fmla="*/ 17 h 35"/>
                  <a:gd name="T2" fmla="*/ 32 w 34"/>
                  <a:gd name="T3" fmla="*/ 17 h 35"/>
                  <a:gd name="T4" fmla="*/ 28 w 34"/>
                  <a:gd name="T5" fmla="*/ 28 h 35"/>
                  <a:gd name="T6" fmla="*/ 17 w 34"/>
                  <a:gd name="T7" fmla="*/ 33 h 35"/>
                  <a:gd name="T8" fmla="*/ 6 w 34"/>
                  <a:gd name="T9" fmla="*/ 28 h 35"/>
                  <a:gd name="T10" fmla="*/ 2 w 34"/>
                  <a:gd name="T11" fmla="*/ 17 h 35"/>
                  <a:gd name="T12" fmla="*/ 6 w 34"/>
                  <a:gd name="T13" fmla="*/ 7 h 35"/>
                  <a:gd name="T14" fmla="*/ 17 w 34"/>
                  <a:gd name="T15" fmla="*/ 2 h 35"/>
                  <a:gd name="T16" fmla="*/ 28 w 34"/>
                  <a:gd name="T17" fmla="*/ 7 h 35"/>
                  <a:gd name="T18" fmla="*/ 32 w 34"/>
                  <a:gd name="T19" fmla="*/ 17 h 35"/>
                  <a:gd name="T20" fmla="*/ 33 w 34"/>
                  <a:gd name="T21" fmla="*/ 17 h 35"/>
                  <a:gd name="T22" fmla="*/ 34 w 34"/>
                  <a:gd name="T23" fmla="*/ 17 h 35"/>
                  <a:gd name="T24" fmla="*/ 17 w 34"/>
                  <a:gd name="T25" fmla="*/ 0 h 35"/>
                  <a:gd name="T26" fmla="*/ 0 w 34"/>
                  <a:gd name="T27" fmla="*/ 17 h 35"/>
                  <a:gd name="T28" fmla="*/ 17 w 34"/>
                  <a:gd name="T29" fmla="*/ 35 h 35"/>
                  <a:gd name="T30" fmla="*/ 34 w 34"/>
                  <a:gd name="T31" fmla="*/ 17 h 35"/>
                  <a:gd name="T32" fmla="*/ 33 w 34"/>
                  <a:gd name="T33" fmla="*/ 1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 h="35">
                    <a:moveTo>
                      <a:pt x="33" y="17"/>
                    </a:moveTo>
                    <a:cubicBezTo>
                      <a:pt x="32" y="17"/>
                      <a:pt x="32" y="17"/>
                      <a:pt x="32" y="17"/>
                    </a:cubicBezTo>
                    <a:cubicBezTo>
                      <a:pt x="32" y="22"/>
                      <a:pt x="31" y="26"/>
                      <a:pt x="28" y="28"/>
                    </a:cubicBezTo>
                    <a:cubicBezTo>
                      <a:pt x="25" y="31"/>
                      <a:pt x="21" y="33"/>
                      <a:pt x="17" y="33"/>
                    </a:cubicBezTo>
                    <a:cubicBezTo>
                      <a:pt x="13" y="33"/>
                      <a:pt x="9" y="31"/>
                      <a:pt x="6" y="28"/>
                    </a:cubicBezTo>
                    <a:cubicBezTo>
                      <a:pt x="3" y="26"/>
                      <a:pt x="2" y="22"/>
                      <a:pt x="2" y="17"/>
                    </a:cubicBezTo>
                    <a:cubicBezTo>
                      <a:pt x="2" y="13"/>
                      <a:pt x="3" y="9"/>
                      <a:pt x="6" y="7"/>
                    </a:cubicBezTo>
                    <a:cubicBezTo>
                      <a:pt x="9" y="4"/>
                      <a:pt x="13" y="2"/>
                      <a:pt x="17" y="2"/>
                    </a:cubicBezTo>
                    <a:cubicBezTo>
                      <a:pt x="21" y="2"/>
                      <a:pt x="25" y="4"/>
                      <a:pt x="28" y="7"/>
                    </a:cubicBezTo>
                    <a:cubicBezTo>
                      <a:pt x="31" y="9"/>
                      <a:pt x="32" y="13"/>
                      <a:pt x="32" y="17"/>
                    </a:cubicBezTo>
                    <a:cubicBezTo>
                      <a:pt x="33" y="17"/>
                      <a:pt x="33" y="17"/>
                      <a:pt x="33" y="17"/>
                    </a:cubicBezTo>
                    <a:cubicBezTo>
                      <a:pt x="34" y="17"/>
                      <a:pt x="34" y="17"/>
                      <a:pt x="34" y="17"/>
                    </a:cubicBezTo>
                    <a:cubicBezTo>
                      <a:pt x="34" y="8"/>
                      <a:pt x="27" y="0"/>
                      <a:pt x="17" y="0"/>
                    </a:cubicBezTo>
                    <a:cubicBezTo>
                      <a:pt x="8" y="0"/>
                      <a:pt x="0" y="8"/>
                      <a:pt x="0" y="17"/>
                    </a:cubicBezTo>
                    <a:cubicBezTo>
                      <a:pt x="0" y="27"/>
                      <a:pt x="8" y="35"/>
                      <a:pt x="17" y="35"/>
                    </a:cubicBezTo>
                    <a:cubicBezTo>
                      <a:pt x="27" y="35"/>
                      <a:pt x="34" y="27"/>
                      <a:pt x="34" y="17"/>
                    </a:cubicBezTo>
                    <a:lnTo>
                      <a:pt x="33" y="17"/>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73" name="矩形 172"/>
              <p:cNvSpPr/>
              <p:nvPr/>
            </p:nvSpPr>
            <p:spPr bwMode="auto">
              <a:xfrm>
                <a:off x="6776754" y="3867816"/>
                <a:ext cx="245947" cy="14747"/>
              </a:xfrm>
              <a:prstGeom prst="rect">
                <a:avLst/>
              </a:prstGeom>
              <a:solidFill>
                <a:srgbClr val="44536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74" name="矩形 173"/>
              <p:cNvSpPr/>
              <p:nvPr/>
            </p:nvSpPr>
            <p:spPr bwMode="auto">
              <a:xfrm>
                <a:off x="6776754" y="3704169"/>
                <a:ext cx="245947" cy="14747"/>
              </a:xfrm>
              <a:prstGeom prst="rect">
                <a:avLst/>
              </a:prstGeom>
              <a:solidFill>
                <a:srgbClr val="44536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75" name="任意多边形: 形状 174"/>
              <p:cNvSpPr/>
              <p:nvPr/>
            </p:nvSpPr>
            <p:spPr bwMode="auto">
              <a:xfrm>
                <a:off x="7315268" y="2947301"/>
                <a:ext cx="134153" cy="143191"/>
              </a:xfrm>
              <a:custGeom>
                <a:avLst/>
                <a:gdLst>
                  <a:gd name="T0" fmla="*/ 110 w 119"/>
                  <a:gd name="T1" fmla="*/ 39 h 127"/>
                  <a:gd name="T2" fmla="*/ 101 w 119"/>
                  <a:gd name="T3" fmla="*/ 49 h 127"/>
                  <a:gd name="T4" fmla="*/ 101 w 119"/>
                  <a:gd name="T5" fmla="*/ 53 h 127"/>
                  <a:gd name="T6" fmla="*/ 100 w 119"/>
                  <a:gd name="T7" fmla="*/ 53 h 127"/>
                  <a:gd name="T8" fmla="*/ 100 w 119"/>
                  <a:gd name="T9" fmla="*/ 46 h 127"/>
                  <a:gd name="T10" fmla="*/ 91 w 119"/>
                  <a:gd name="T11" fmla="*/ 37 h 127"/>
                  <a:gd name="T12" fmla="*/ 81 w 119"/>
                  <a:gd name="T13" fmla="*/ 46 h 127"/>
                  <a:gd name="T14" fmla="*/ 81 w 119"/>
                  <a:gd name="T15" fmla="*/ 53 h 127"/>
                  <a:gd name="T16" fmla="*/ 81 w 119"/>
                  <a:gd name="T17" fmla="*/ 53 h 127"/>
                  <a:gd name="T18" fmla="*/ 81 w 119"/>
                  <a:gd name="T19" fmla="*/ 46 h 127"/>
                  <a:gd name="T20" fmla="*/ 71 w 119"/>
                  <a:gd name="T21" fmla="*/ 37 h 127"/>
                  <a:gd name="T22" fmla="*/ 62 w 119"/>
                  <a:gd name="T23" fmla="*/ 46 h 127"/>
                  <a:gd name="T24" fmla="*/ 62 w 119"/>
                  <a:gd name="T25" fmla="*/ 53 h 127"/>
                  <a:gd name="T26" fmla="*/ 61 w 119"/>
                  <a:gd name="T27" fmla="*/ 53 h 127"/>
                  <a:gd name="T28" fmla="*/ 61 w 119"/>
                  <a:gd name="T29" fmla="*/ 13 h 127"/>
                  <a:gd name="T30" fmla="*/ 48 w 119"/>
                  <a:gd name="T31" fmla="*/ 0 h 127"/>
                  <a:gd name="T32" fmla="*/ 34 w 119"/>
                  <a:gd name="T33" fmla="*/ 13 h 127"/>
                  <a:gd name="T34" fmla="*/ 34 w 119"/>
                  <a:gd name="T35" fmla="*/ 81 h 127"/>
                  <a:gd name="T36" fmla="*/ 24 w 119"/>
                  <a:gd name="T37" fmla="*/ 71 h 127"/>
                  <a:gd name="T38" fmla="*/ 5 w 119"/>
                  <a:gd name="T39" fmla="*/ 71 h 127"/>
                  <a:gd name="T40" fmla="*/ 5 w 119"/>
                  <a:gd name="T41" fmla="*/ 90 h 127"/>
                  <a:gd name="T42" fmla="*/ 37 w 119"/>
                  <a:gd name="T43" fmla="*/ 122 h 127"/>
                  <a:gd name="T44" fmla="*/ 43 w 119"/>
                  <a:gd name="T45" fmla="*/ 125 h 127"/>
                  <a:gd name="T46" fmla="*/ 49 w 119"/>
                  <a:gd name="T47" fmla="*/ 127 h 127"/>
                  <a:gd name="T48" fmla="*/ 95 w 119"/>
                  <a:gd name="T49" fmla="*/ 127 h 127"/>
                  <a:gd name="T50" fmla="*/ 119 w 119"/>
                  <a:gd name="T51" fmla="*/ 102 h 127"/>
                  <a:gd name="T52" fmla="*/ 119 w 119"/>
                  <a:gd name="T53" fmla="*/ 89 h 127"/>
                  <a:gd name="T54" fmla="*/ 119 w 119"/>
                  <a:gd name="T55" fmla="*/ 77 h 127"/>
                  <a:gd name="T56" fmla="*/ 119 w 119"/>
                  <a:gd name="T57" fmla="*/ 49 h 127"/>
                  <a:gd name="T58" fmla="*/ 110 w 119"/>
                  <a:gd name="T59" fmla="*/ 39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9" h="127">
                    <a:moveTo>
                      <a:pt x="110" y="39"/>
                    </a:moveTo>
                    <a:cubicBezTo>
                      <a:pt x="105" y="39"/>
                      <a:pt x="101" y="44"/>
                      <a:pt x="101" y="49"/>
                    </a:cubicBezTo>
                    <a:cubicBezTo>
                      <a:pt x="101" y="53"/>
                      <a:pt x="101" y="53"/>
                      <a:pt x="101" y="53"/>
                    </a:cubicBezTo>
                    <a:cubicBezTo>
                      <a:pt x="100" y="53"/>
                      <a:pt x="100" y="53"/>
                      <a:pt x="100" y="53"/>
                    </a:cubicBezTo>
                    <a:cubicBezTo>
                      <a:pt x="100" y="46"/>
                      <a:pt x="100" y="46"/>
                      <a:pt x="100" y="46"/>
                    </a:cubicBezTo>
                    <a:cubicBezTo>
                      <a:pt x="100" y="41"/>
                      <a:pt x="96" y="37"/>
                      <a:pt x="91" y="37"/>
                    </a:cubicBezTo>
                    <a:cubicBezTo>
                      <a:pt x="85" y="37"/>
                      <a:pt x="81" y="41"/>
                      <a:pt x="81" y="46"/>
                    </a:cubicBezTo>
                    <a:cubicBezTo>
                      <a:pt x="81" y="53"/>
                      <a:pt x="81" y="53"/>
                      <a:pt x="81" y="53"/>
                    </a:cubicBezTo>
                    <a:cubicBezTo>
                      <a:pt x="81" y="53"/>
                      <a:pt x="81" y="53"/>
                      <a:pt x="81" y="53"/>
                    </a:cubicBezTo>
                    <a:cubicBezTo>
                      <a:pt x="81" y="46"/>
                      <a:pt x="81" y="46"/>
                      <a:pt x="81" y="46"/>
                    </a:cubicBezTo>
                    <a:cubicBezTo>
                      <a:pt x="81" y="41"/>
                      <a:pt x="76" y="37"/>
                      <a:pt x="71" y="37"/>
                    </a:cubicBezTo>
                    <a:cubicBezTo>
                      <a:pt x="66" y="37"/>
                      <a:pt x="62" y="41"/>
                      <a:pt x="62" y="46"/>
                    </a:cubicBezTo>
                    <a:cubicBezTo>
                      <a:pt x="62" y="53"/>
                      <a:pt x="62" y="53"/>
                      <a:pt x="62" y="53"/>
                    </a:cubicBezTo>
                    <a:cubicBezTo>
                      <a:pt x="61" y="53"/>
                      <a:pt x="61" y="53"/>
                      <a:pt x="61" y="53"/>
                    </a:cubicBezTo>
                    <a:cubicBezTo>
                      <a:pt x="61" y="13"/>
                      <a:pt x="61" y="13"/>
                      <a:pt x="61" y="13"/>
                    </a:cubicBezTo>
                    <a:cubicBezTo>
                      <a:pt x="61" y="6"/>
                      <a:pt x="55" y="0"/>
                      <a:pt x="48" y="0"/>
                    </a:cubicBezTo>
                    <a:cubicBezTo>
                      <a:pt x="40" y="0"/>
                      <a:pt x="34" y="6"/>
                      <a:pt x="34" y="13"/>
                    </a:cubicBezTo>
                    <a:cubicBezTo>
                      <a:pt x="34" y="81"/>
                      <a:pt x="34" y="81"/>
                      <a:pt x="34" y="81"/>
                    </a:cubicBezTo>
                    <a:cubicBezTo>
                      <a:pt x="24" y="71"/>
                      <a:pt x="24" y="71"/>
                      <a:pt x="24" y="71"/>
                    </a:cubicBezTo>
                    <a:cubicBezTo>
                      <a:pt x="19" y="66"/>
                      <a:pt x="10" y="66"/>
                      <a:pt x="5" y="71"/>
                    </a:cubicBezTo>
                    <a:cubicBezTo>
                      <a:pt x="0" y="76"/>
                      <a:pt x="0" y="85"/>
                      <a:pt x="5" y="90"/>
                    </a:cubicBezTo>
                    <a:cubicBezTo>
                      <a:pt x="37" y="122"/>
                      <a:pt x="37" y="122"/>
                      <a:pt x="37" y="122"/>
                    </a:cubicBezTo>
                    <a:cubicBezTo>
                      <a:pt x="39" y="123"/>
                      <a:pt x="41" y="125"/>
                      <a:pt x="43" y="125"/>
                    </a:cubicBezTo>
                    <a:cubicBezTo>
                      <a:pt x="45" y="126"/>
                      <a:pt x="47" y="127"/>
                      <a:pt x="49" y="127"/>
                    </a:cubicBezTo>
                    <a:cubicBezTo>
                      <a:pt x="95" y="127"/>
                      <a:pt x="95" y="127"/>
                      <a:pt x="95" y="127"/>
                    </a:cubicBezTo>
                    <a:cubicBezTo>
                      <a:pt x="108" y="127"/>
                      <a:pt x="119" y="116"/>
                      <a:pt x="119" y="102"/>
                    </a:cubicBezTo>
                    <a:cubicBezTo>
                      <a:pt x="119" y="89"/>
                      <a:pt x="119" y="89"/>
                      <a:pt x="119" y="89"/>
                    </a:cubicBezTo>
                    <a:cubicBezTo>
                      <a:pt x="119" y="77"/>
                      <a:pt x="119" y="77"/>
                      <a:pt x="119" y="77"/>
                    </a:cubicBezTo>
                    <a:cubicBezTo>
                      <a:pt x="119" y="49"/>
                      <a:pt x="119" y="49"/>
                      <a:pt x="119" y="49"/>
                    </a:cubicBezTo>
                    <a:cubicBezTo>
                      <a:pt x="119" y="44"/>
                      <a:pt x="115" y="39"/>
                      <a:pt x="110" y="39"/>
                    </a:cubicBezTo>
                    <a:close/>
                  </a:path>
                </a:pathLst>
              </a:custGeom>
              <a:solidFill>
                <a:srgbClr val="9DD7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76" name="任意多边形: 形状 175"/>
              <p:cNvSpPr/>
              <p:nvPr/>
            </p:nvSpPr>
            <p:spPr bwMode="auto">
              <a:xfrm>
                <a:off x="7313841" y="2944922"/>
                <a:ext cx="137959" cy="147949"/>
              </a:xfrm>
              <a:custGeom>
                <a:avLst/>
                <a:gdLst>
                  <a:gd name="T0" fmla="*/ 111 w 122"/>
                  <a:gd name="T1" fmla="*/ 39 h 131"/>
                  <a:gd name="T2" fmla="*/ 100 w 122"/>
                  <a:gd name="T3" fmla="*/ 55 h 131"/>
                  <a:gd name="T4" fmla="*/ 102 w 122"/>
                  <a:gd name="T5" fmla="*/ 53 h 131"/>
                  <a:gd name="T6" fmla="*/ 101 w 122"/>
                  <a:gd name="T7" fmla="*/ 55 h 131"/>
                  <a:gd name="T8" fmla="*/ 103 w 122"/>
                  <a:gd name="T9" fmla="*/ 48 h 131"/>
                  <a:gd name="T10" fmla="*/ 80 w 122"/>
                  <a:gd name="T11" fmla="*/ 48 h 131"/>
                  <a:gd name="T12" fmla="*/ 82 w 122"/>
                  <a:gd name="T13" fmla="*/ 55 h 131"/>
                  <a:gd name="T14" fmla="*/ 82 w 122"/>
                  <a:gd name="T15" fmla="*/ 53 h 131"/>
                  <a:gd name="T16" fmla="*/ 84 w 122"/>
                  <a:gd name="T17" fmla="*/ 55 h 131"/>
                  <a:gd name="T18" fmla="*/ 72 w 122"/>
                  <a:gd name="T19" fmla="*/ 37 h 131"/>
                  <a:gd name="T20" fmla="*/ 61 w 122"/>
                  <a:gd name="T21" fmla="*/ 55 h 131"/>
                  <a:gd name="T22" fmla="*/ 63 w 122"/>
                  <a:gd name="T23" fmla="*/ 53 h 131"/>
                  <a:gd name="T24" fmla="*/ 62 w 122"/>
                  <a:gd name="T25" fmla="*/ 55 h 131"/>
                  <a:gd name="T26" fmla="*/ 64 w 122"/>
                  <a:gd name="T27" fmla="*/ 15 h 131"/>
                  <a:gd name="T28" fmla="*/ 33 w 122"/>
                  <a:gd name="T29" fmla="*/ 15 h 131"/>
                  <a:gd name="T30" fmla="*/ 26 w 122"/>
                  <a:gd name="T31" fmla="*/ 71 h 131"/>
                  <a:gd name="T32" fmla="*/ 5 w 122"/>
                  <a:gd name="T33" fmla="*/ 71 h 131"/>
                  <a:gd name="T34" fmla="*/ 5 w 122"/>
                  <a:gd name="T35" fmla="*/ 93 h 131"/>
                  <a:gd name="T36" fmla="*/ 43 w 122"/>
                  <a:gd name="T37" fmla="*/ 129 h 131"/>
                  <a:gd name="T38" fmla="*/ 43 w 122"/>
                  <a:gd name="T39" fmla="*/ 129 h 131"/>
                  <a:gd name="T40" fmla="*/ 96 w 122"/>
                  <a:gd name="T41" fmla="*/ 131 h 131"/>
                  <a:gd name="T42" fmla="*/ 122 w 122"/>
                  <a:gd name="T43" fmla="*/ 91 h 131"/>
                  <a:gd name="T44" fmla="*/ 122 w 122"/>
                  <a:gd name="T45" fmla="*/ 51 h 131"/>
                  <a:gd name="T46" fmla="*/ 111 w 122"/>
                  <a:gd name="T47" fmla="*/ 41 h 131"/>
                  <a:gd name="T48" fmla="*/ 116 w 122"/>
                  <a:gd name="T49" fmla="*/ 46 h 131"/>
                  <a:gd name="T50" fmla="*/ 118 w 122"/>
                  <a:gd name="T51" fmla="*/ 79 h 131"/>
                  <a:gd name="T52" fmla="*/ 118 w 122"/>
                  <a:gd name="T53" fmla="*/ 104 h 131"/>
                  <a:gd name="T54" fmla="*/ 96 w 122"/>
                  <a:gd name="T55" fmla="*/ 127 h 131"/>
                  <a:gd name="T56" fmla="*/ 45 w 122"/>
                  <a:gd name="T57" fmla="*/ 125 h 131"/>
                  <a:gd name="T58" fmla="*/ 44 w 122"/>
                  <a:gd name="T59" fmla="*/ 125 h 131"/>
                  <a:gd name="T60" fmla="*/ 7 w 122"/>
                  <a:gd name="T61" fmla="*/ 90 h 131"/>
                  <a:gd name="T62" fmla="*/ 7 w 122"/>
                  <a:gd name="T63" fmla="*/ 74 h 131"/>
                  <a:gd name="T64" fmla="*/ 23 w 122"/>
                  <a:gd name="T65" fmla="*/ 74 h 131"/>
                  <a:gd name="T66" fmla="*/ 37 w 122"/>
                  <a:gd name="T67" fmla="*/ 15 h 131"/>
                  <a:gd name="T68" fmla="*/ 60 w 122"/>
                  <a:gd name="T69" fmla="*/ 15 h 131"/>
                  <a:gd name="T70" fmla="*/ 63 w 122"/>
                  <a:gd name="T71" fmla="*/ 57 h 131"/>
                  <a:gd name="T72" fmla="*/ 65 w 122"/>
                  <a:gd name="T73" fmla="*/ 48 h 131"/>
                  <a:gd name="T74" fmla="*/ 72 w 122"/>
                  <a:gd name="T75" fmla="*/ 41 h 131"/>
                  <a:gd name="T76" fmla="*/ 80 w 122"/>
                  <a:gd name="T77" fmla="*/ 48 h 131"/>
                  <a:gd name="T78" fmla="*/ 82 w 122"/>
                  <a:gd name="T79" fmla="*/ 57 h 131"/>
                  <a:gd name="T80" fmla="*/ 84 w 122"/>
                  <a:gd name="T81" fmla="*/ 48 h 131"/>
                  <a:gd name="T82" fmla="*/ 92 w 122"/>
                  <a:gd name="T83" fmla="*/ 41 h 131"/>
                  <a:gd name="T84" fmla="*/ 99 w 122"/>
                  <a:gd name="T85" fmla="*/ 48 h 131"/>
                  <a:gd name="T86" fmla="*/ 101 w 122"/>
                  <a:gd name="T87" fmla="*/ 57 h 131"/>
                  <a:gd name="T88" fmla="*/ 103 w 122"/>
                  <a:gd name="T89" fmla="*/ 51 h 131"/>
                  <a:gd name="T90" fmla="*/ 111 w 122"/>
                  <a:gd name="T91" fmla="*/ 43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2" h="131">
                    <a:moveTo>
                      <a:pt x="111" y="41"/>
                    </a:moveTo>
                    <a:cubicBezTo>
                      <a:pt x="111" y="39"/>
                      <a:pt x="111" y="39"/>
                      <a:pt x="111" y="39"/>
                    </a:cubicBezTo>
                    <a:cubicBezTo>
                      <a:pt x="105" y="39"/>
                      <a:pt x="100" y="44"/>
                      <a:pt x="100" y="51"/>
                    </a:cubicBezTo>
                    <a:cubicBezTo>
                      <a:pt x="100" y="55"/>
                      <a:pt x="100" y="55"/>
                      <a:pt x="100" y="55"/>
                    </a:cubicBezTo>
                    <a:cubicBezTo>
                      <a:pt x="102" y="55"/>
                      <a:pt x="102" y="55"/>
                      <a:pt x="102" y="55"/>
                    </a:cubicBezTo>
                    <a:cubicBezTo>
                      <a:pt x="102" y="53"/>
                      <a:pt x="102" y="53"/>
                      <a:pt x="102" y="53"/>
                    </a:cubicBezTo>
                    <a:cubicBezTo>
                      <a:pt x="101" y="53"/>
                      <a:pt x="101" y="53"/>
                      <a:pt x="101" y="53"/>
                    </a:cubicBezTo>
                    <a:cubicBezTo>
                      <a:pt x="101" y="55"/>
                      <a:pt x="101" y="55"/>
                      <a:pt x="101" y="55"/>
                    </a:cubicBezTo>
                    <a:cubicBezTo>
                      <a:pt x="103" y="55"/>
                      <a:pt x="103" y="55"/>
                      <a:pt x="103" y="55"/>
                    </a:cubicBezTo>
                    <a:cubicBezTo>
                      <a:pt x="103" y="48"/>
                      <a:pt x="103" y="48"/>
                      <a:pt x="103" y="48"/>
                    </a:cubicBezTo>
                    <a:cubicBezTo>
                      <a:pt x="103" y="42"/>
                      <a:pt x="98" y="37"/>
                      <a:pt x="92" y="37"/>
                    </a:cubicBezTo>
                    <a:cubicBezTo>
                      <a:pt x="85" y="37"/>
                      <a:pt x="80" y="42"/>
                      <a:pt x="80" y="48"/>
                    </a:cubicBezTo>
                    <a:cubicBezTo>
                      <a:pt x="80" y="55"/>
                      <a:pt x="80" y="55"/>
                      <a:pt x="80" y="55"/>
                    </a:cubicBezTo>
                    <a:cubicBezTo>
                      <a:pt x="82" y="55"/>
                      <a:pt x="82" y="55"/>
                      <a:pt x="82" y="55"/>
                    </a:cubicBezTo>
                    <a:cubicBezTo>
                      <a:pt x="82" y="53"/>
                      <a:pt x="82" y="53"/>
                      <a:pt x="82" y="53"/>
                    </a:cubicBezTo>
                    <a:cubicBezTo>
                      <a:pt x="82" y="53"/>
                      <a:pt x="82" y="53"/>
                      <a:pt x="82" y="53"/>
                    </a:cubicBezTo>
                    <a:cubicBezTo>
                      <a:pt x="82" y="55"/>
                      <a:pt x="82" y="55"/>
                      <a:pt x="82" y="55"/>
                    </a:cubicBezTo>
                    <a:cubicBezTo>
                      <a:pt x="84" y="55"/>
                      <a:pt x="84" y="55"/>
                      <a:pt x="84" y="55"/>
                    </a:cubicBezTo>
                    <a:cubicBezTo>
                      <a:pt x="84" y="48"/>
                      <a:pt x="84" y="48"/>
                      <a:pt x="84" y="48"/>
                    </a:cubicBezTo>
                    <a:cubicBezTo>
                      <a:pt x="84" y="42"/>
                      <a:pt x="78" y="37"/>
                      <a:pt x="72" y="37"/>
                    </a:cubicBezTo>
                    <a:cubicBezTo>
                      <a:pt x="66" y="37"/>
                      <a:pt x="61" y="42"/>
                      <a:pt x="61" y="48"/>
                    </a:cubicBezTo>
                    <a:cubicBezTo>
                      <a:pt x="61" y="55"/>
                      <a:pt x="61" y="55"/>
                      <a:pt x="61" y="55"/>
                    </a:cubicBezTo>
                    <a:cubicBezTo>
                      <a:pt x="63" y="55"/>
                      <a:pt x="63" y="55"/>
                      <a:pt x="63" y="55"/>
                    </a:cubicBezTo>
                    <a:cubicBezTo>
                      <a:pt x="63" y="53"/>
                      <a:pt x="63" y="53"/>
                      <a:pt x="63" y="53"/>
                    </a:cubicBezTo>
                    <a:cubicBezTo>
                      <a:pt x="62" y="53"/>
                      <a:pt x="62" y="53"/>
                      <a:pt x="62" y="53"/>
                    </a:cubicBezTo>
                    <a:cubicBezTo>
                      <a:pt x="62" y="55"/>
                      <a:pt x="62" y="55"/>
                      <a:pt x="62" y="55"/>
                    </a:cubicBezTo>
                    <a:cubicBezTo>
                      <a:pt x="64" y="55"/>
                      <a:pt x="64" y="55"/>
                      <a:pt x="64" y="55"/>
                    </a:cubicBezTo>
                    <a:cubicBezTo>
                      <a:pt x="64" y="15"/>
                      <a:pt x="64" y="15"/>
                      <a:pt x="64" y="15"/>
                    </a:cubicBezTo>
                    <a:cubicBezTo>
                      <a:pt x="64" y="7"/>
                      <a:pt x="57" y="0"/>
                      <a:pt x="49" y="0"/>
                    </a:cubicBezTo>
                    <a:cubicBezTo>
                      <a:pt x="40" y="0"/>
                      <a:pt x="33" y="7"/>
                      <a:pt x="33" y="15"/>
                    </a:cubicBezTo>
                    <a:cubicBezTo>
                      <a:pt x="33" y="79"/>
                      <a:pt x="33" y="79"/>
                      <a:pt x="33" y="79"/>
                    </a:cubicBezTo>
                    <a:cubicBezTo>
                      <a:pt x="26" y="71"/>
                      <a:pt x="26" y="71"/>
                      <a:pt x="26" y="71"/>
                    </a:cubicBezTo>
                    <a:cubicBezTo>
                      <a:pt x="23" y="68"/>
                      <a:pt x="19" y="67"/>
                      <a:pt x="15" y="67"/>
                    </a:cubicBezTo>
                    <a:cubicBezTo>
                      <a:pt x="11" y="67"/>
                      <a:pt x="7" y="68"/>
                      <a:pt x="5" y="71"/>
                    </a:cubicBezTo>
                    <a:cubicBezTo>
                      <a:pt x="2" y="74"/>
                      <a:pt x="0" y="78"/>
                      <a:pt x="0" y="82"/>
                    </a:cubicBezTo>
                    <a:cubicBezTo>
                      <a:pt x="0" y="86"/>
                      <a:pt x="2" y="90"/>
                      <a:pt x="5" y="93"/>
                    </a:cubicBezTo>
                    <a:cubicBezTo>
                      <a:pt x="37" y="125"/>
                      <a:pt x="37" y="125"/>
                      <a:pt x="37" y="125"/>
                    </a:cubicBezTo>
                    <a:cubicBezTo>
                      <a:pt x="39" y="127"/>
                      <a:pt x="41" y="128"/>
                      <a:pt x="43" y="129"/>
                    </a:cubicBezTo>
                    <a:cubicBezTo>
                      <a:pt x="44" y="127"/>
                      <a:pt x="44" y="127"/>
                      <a:pt x="44" y="127"/>
                    </a:cubicBezTo>
                    <a:cubicBezTo>
                      <a:pt x="43" y="129"/>
                      <a:pt x="43" y="129"/>
                      <a:pt x="43" y="129"/>
                    </a:cubicBezTo>
                    <a:cubicBezTo>
                      <a:pt x="45" y="130"/>
                      <a:pt x="47" y="131"/>
                      <a:pt x="50" y="131"/>
                    </a:cubicBezTo>
                    <a:cubicBezTo>
                      <a:pt x="96" y="131"/>
                      <a:pt x="96" y="131"/>
                      <a:pt x="96" y="131"/>
                    </a:cubicBezTo>
                    <a:cubicBezTo>
                      <a:pt x="110" y="131"/>
                      <a:pt x="122" y="119"/>
                      <a:pt x="122" y="104"/>
                    </a:cubicBezTo>
                    <a:cubicBezTo>
                      <a:pt x="122" y="91"/>
                      <a:pt x="122" y="91"/>
                      <a:pt x="122" y="91"/>
                    </a:cubicBezTo>
                    <a:cubicBezTo>
                      <a:pt x="122" y="79"/>
                      <a:pt x="122" y="79"/>
                      <a:pt x="122" y="79"/>
                    </a:cubicBezTo>
                    <a:cubicBezTo>
                      <a:pt x="122" y="51"/>
                      <a:pt x="122" y="51"/>
                      <a:pt x="122" y="51"/>
                    </a:cubicBezTo>
                    <a:cubicBezTo>
                      <a:pt x="122" y="44"/>
                      <a:pt x="117" y="39"/>
                      <a:pt x="111" y="39"/>
                    </a:cubicBezTo>
                    <a:cubicBezTo>
                      <a:pt x="111" y="41"/>
                      <a:pt x="111" y="41"/>
                      <a:pt x="111" y="41"/>
                    </a:cubicBezTo>
                    <a:cubicBezTo>
                      <a:pt x="111" y="43"/>
                      <a:pt x="111" y="43"/>
                      <a:pt x="111" y="43"/>
                    </a:cubicBezTo>
                    <a:cubicBezTo>
                      <a:pt x="113" y="43"/>
                      <a:pt x="115" y="44"/>
                      <a:pt x="116" y="46"/>
                    </a:cubicBezTo>
                    <a:cubicBezTo>
                      <a:pt x="117" y="47"/>
                      <a:pt x="118" y="49"/>
                      <a:pt x="118" y="51"/>
                    </a:cubicBezTo>
                    <a:cubicBezTo>
                      <a:pt x="118" y="79"/>
                      <a:pt x="118" y="79"/>
                      <a:pt x="118" y="79"/>
                    </a:cubicBezTo>
                    <a:cubicBezTo>
                      <a:pt x="118" y="91"/>
                      <a:pt x="118" y="91"/>
                      <a:pt x="118" y="91"/>
                    </a:cubicBezTo>
                    <a:cubicBezTo>
                      <a:pt x="118" y="104"/>
                      <a:pt x="118" y="104"/>
                      <a:pt x="118" y="104"/>
                    </a:cubicBezTo>
                    <a:cubicBezTo>
                      <a:pt x="118" y="110"/>
                      <a:pt x="116" y="116"/>
                      <a:pt x="112" y="120"/>
                    </a:cubicBezTo>
                    <a:cubicBezTo>
                      <a:pt x="107" y="124"/>
                      <a:pt x="102" y="127"/>
                      <a:pt x="96" y="127"/>
                    </a:cubicBezTo>
                    <a:cubicBezTo>
                      <a:pt x="50" y="127"/>
                      <a:pt x="50" y="127"/>
                      <a:pt x="50" y="127"/>
                    </a:cubicBezTo>
                    <a:cubicBezTo>
                      <a:pt x="48" y="127"/>
                      <a:pt x="46" y="126"/>
                      <a:pt x="45" y="125"/>
                    </a:cubicBezTo>
                    <a:cubicBezTo>
                      <a:pt x="45" y="125"/>
                      <a:pt x="45" y="125"/>
                      <a:pt x="45" y="125"/>
                    </a:cubicBezTo>
                    <a:cubicBezTo>
                      <a:pt x="44" y="125"/>
                      <a:pt x="44" y="125"/>
                      <a:pt x="44" y="125"/>
                    </a:cubicBezTo>
                    <a:cubicBezTo>
                      <a:pt x="43" y="125"/>
                      <a:pt x="41" y="124"/>
                      <a:pt x="39" y="122"/>
                    </a:cubicBezTo>
                    <a:cubicBezTo>
                      <a:pt x="7" y="90"/>
                      <a:pt x="7" y="90"/>
                      <a:pt x="7" y="90"/>
                    </a:cubicBezTo>
                    <a:cubicBezTo>
                      <a:pt x="5" y="88"/>
                      <a:pt x="4" y="85"/>
                      <a:pt x="4" y="82"/>
                    </a:cubicBezTo>
                    <a:cubicBezTo>
                      <a:pt x="4" y="79"/>
                      <a:pt x="5" y="77"/>
                      <a:pt x="7" y="74"/>
                    </a:cubicBezTo>
                    <a:cubicBezTo>
                      <a:pt x="10" y="72"/>
                      <a:pt x="12" y="71"/>
                      <a:pt x="15" y="71"/>
                    </a:cubicBezTo>
                    <a:cubicBezTo>
                      <a:pt x="18" y="71"/>
                      <a:pt x="21" y="72"/>
                      <a:pt x="23" y="74"/>
                    </a:cubicBezTo>
                    <a:cubicBezTo>
                      <a:pt x="37" y="88"/>
                      <a:pt x="37" y="88"/>
                      <a:pt x="37" y="88"/>
                    </a:cubicBezTo>
                    <a:cubicBezTo>
                      <a:pt x="37" y="15"/>
                      <a:pt x="37" y="15"/>
                      <a:pt x="37" y="15"/>
                    </a:cubicBezTo>
                    <a:cubicBezTo>
                      <a:pt x="37" y="9"/>
                      <a:pt x="42" y="4"/>
                      <a:pt x="49" y="4"/>
                    </a:cubicBezTo>
                    <a:cubicBezTo>
                      <a:pt x="55" y="4"/>
                      <a:pt x="60" y="9"/>
                      <a:pt x="60" y="15"/>
                    </a:cubicBezTo>
                    <a:cubicBezTo>
                      <a:pt x="60" y="57"/>
                      <a:pt x="60" y="57"/>
                      <a:pt x="60" y="57"/>
                    </a:cubicBezTo>
                    <a:cubicBezTo>
                      <a:pt x="63" y="57"/>
                      <a:pt x="63" y="57"/>
                      <a:pt x="63" y="57"/>
                    </a:cubicBezTo>
                    <a:cubicBezTo>
                      <a:pt x="65" y="56"/>
                      <a:pt x="65" y="56"/>
                      <a:pt x="65" y="56"/>
                    </a:cubicBezTo>
                    <a:cubicBezTo>
                      <a:pt x="65" y="48"/>
                      <a:pt x="65" y="48"/>
                      <a:pt x="65" y="48"/>
                    </a:cubicBezTo>
                    <a:cubicBezTo>
                      <a:pt x="65" y="46"/>
                      <a:pt x="66" y="44"/>
                      <a:pt x="67" y="43"/>
                    </a:cubicBezTo>
                    <a:cubicBezTo>
                      <a:pt x="68" y="42"/>
                      <a:pt x="70" y="41"/>
                      <a:pt x="72" y="41"/>
                    </a:cubicBezTo>
                    <a:cubicBezTo>
                      <a:pt x="74" y="41"/>
                      <a:pt x="76" y="42"/>
                      <a:pt x="77" y="43"/>
                    </a:cubicBezTo>
                    <a:cubicBezTo>
                      <a:pt x="79" y="44"/>
                      <a:pt x="80" y="46"/>
                      <a:pt x="80" y="48"/>
                    </a:cubicBezTo>
                    <a:cubicBezTo>
                      <a:pt x="80" y="57"/>
                      <a:pt x="80" y="57"/>
                      <a:pt x="80" y="57"/>
                    </a:cubicBezTo>
                    <a:cubicBezTo>
                      <a:pt x="82" y="57"/>
                      <a:pt x="82" y="57"/>
                      <a:pt x="82" y="57"/>
                    </a:cubicBezTo>
                    <a:cubicBezTo>
                      <a:pt x="84" y="57"/>
                      <a:pt x="84" y="57"/>
                      <a:pt x="84" y="57"/>
                    </a:cubicBezTo>
                    <a:cubicBezTo>
                      <a:pt x="84" y="48"/>
                      <a:pt x="84" y="48"/>
                      <a:pt x="84" y="48"/>
                    </a:cubicBezTo>
                    <a:cubicBezTo>
                      <a:pt x="84" y="46"/>
                      <a:pt x="85" y="44"/>
                      <a:pt x="86" y="43"/>
                    </a:cubicBezTo>
                    <a:cubicBezTo>
                      <a:pt x="88" y="42"/>
                      <a:pt x="90" y="41"/>
                      <a:pt x="92" y="41"/>
                    </a:cubicBezTo>
                    <a:cubicBezTo>
                      <a:pt x="94" y="41"/>
                      <a:pt x="95" y="42"/>
                      <a:pt x="97" y="43"/>
                    </a:cubicBezTo>
                    <a:cubicBezTo>
                      <a:pt x="98" y="44"/>
                      <a:pt x="99" y="46"/>
                      <a:pt x="99" y="48"/>
                    </a:cubicBezTo>
                    <a:cubicBezTo>
                      <a:pt x="99" y="57"/>
                      <a:pt x="99" y="57"/>
                      <a:pt x="99" y="57"/>
                    </a:cubicBezTo>
                    <a:cubicBezTo>
                      <a:pt x="101" y="57"/>
                      <a:pt x="101" y="57"/>
                      <a:pt x="101" y="57"/>
                    </a:cubicBezTo>
                    <a:cubicBezTo>
                      <a:pt x="103" y="58"/>
                      <a:pt x="103" y="58"/>
                      <a:pt x="103" y="58"/>
                    </a:cubicBezTo>
                    <a:cubicBezTo>
                      <a:pt x="103" y="51"/>
                      <a:pt x="103" y="51"/>
                      <a:pt x="103" y="51"/>
                    </a:cubicBezTo>
                    <a:cubicBezTo>
                      <a:pt x="104" y="49"/>
                      <a:pt x="104" y="47"/>
                      <a:pt x="106" y="46"/>
                    </a:cubicBezTo>
                    <a:cubicBezTo>
                      <a:pt x="107" y="44"/>
                      <a:pt x="109" y="43"/>
                      <a:pt x="111" y="43"/>
                    </a:cubicBezTo>
                    <a:lnTo>
                      <a:pt x="111" y="41"/>
                    </a:lnTo>
                    <a:close/>
                  </a:path>
                </a:pathLst>
              </a:custGeom>
              <a:solidFill>
                <a:srgbClr val="0A0A0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77" name="任意多边形: 形状 176"/>
              <p:cNvSpPr/>
              <p:nvPr/>
            </p:nvSpPr>
            <p:spPr bwMode="auto">
              <a:xfrm>
                <a:off x="4788724" y="2654734"/>
                <a:ext cx="522815" cy="416730"/>
              </a:xfrm>
              <a:custGeom>
                <a:avLst/>
                <a:gdLst>
                  <a:gd name="T0" fmla="*/ 463 w 463"/>
                  <a:gd name="T1" fmla="*/ 152 h 369"/>
                  <a:gd name="T2" fmla="*/ 232 w 463"/>
                  <a:gd name="T3" fmla="*/ 0 h 369"/>
                  <a:gd name="T4" fmla="*/ 0 w 463"/>
                  <a:gd name="T5" fmla="*/ 152 h 369"/>
                  <a:gd name="T6" fmla="*/ 232 w 463"/>
                  <a:gd name="T7" fmla="*/ 304 h 369"/>
                  <a:gd name="T8" fmla="*/ 329 w 463"/>
                  <a:gd name="T9" fmla="*/ 290 h 369"/>
                  <a:gd name="T10" fmla="*/ 412 w 463"/>
                  <a:gd name="T11" fmla="*/ 369 h 369"/>
                  <a:gd name="T12" fmla="*/ 412 w 463"/>
                  <a:gd name="T13" fmla="*/ 247 h 369"/>
                  <a:gd name="T14" fmla="*/ 463 w 463"/>
                  <a:gd name="T15" fmla="*/ 152 h 3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3" h="369">
                    <a:moveTo>
                      <a:pt x="463" y="152"/>
                    </a:moveTo>
                    <a:cubicBezTo>
                      <a:pt x="463" y="68"/>
                      <a:pt x="359" y="0"/>
                      <a:pt x="232" y="0"/>
                    </a:cubicBezTo>
                    <a:cubicBezTo>
                      <a:pt x="104" y="0"/>
                      <a:pt x="0" y="68"/>
                      <a:pt x="0" y="152"/>
                    </a:cubicBezTo>
                    <a:cubicBezTo>
                      <a:pt x="0" y="236"/>
                      <a:pt x="104" y="304"/>
                      <a:pt x="232" y="304"/>
                    </a:cubicBezTo>
                    <a:cubicBezTo>
                      <a:pt x="266" y="304"/>
                      <a:pt x="329" y="290"/>
                      <a:pt x="329" y="290"/>
                    </a:cubicBezTo>
                    <a:cubicBezTo>
                      <a:pt x="412" y="369"/>
                      <a:pt x="412" y="369"/>
                      <a:pt x="412" y="369"/>
                    </a:cubicBezTo>
                    <a:cubicBezTo>
                      <a:pt x="412" y="247"/>
                      <a:pt x="412" y="247"/>
                      <a:pt x="412" y="247"/>
                    </a:cubicBezTo>
                    <a:cubicBezTo>
                      <a:pt x="444" y="221"/>
                      <a:pt x="463" y="188"/>
                      <a:pt x="463" y="152"/>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78" name="任意多边形: 形状 177"/>
              <p:cNvSpPr/>
              <p:nvPr/>
            </p:nvSpPr>
            <p:spPr bwMode="auto">
              <a:xfrm>
                <a:off x="4786345" y="2652355"/>
                <a:ext cx="527097" cy="424817"/>
              </a:xfrm>
              <a:custGeom>
                <a:avLst/>
                <a:gdLst>
                  <a:gd name="T0" fmla="*/ 465 w 467"/>
                  <a:gd name="T1" fmla="*/ 154 h 376"/>
                  <a:gd name="T2" fmla="*/ 467 w 467"/>
                  <a:gd name="T3" fmla="*/ 154 h 376"/>
                  <a:gd name="T4" fmla="*/ 398 w 467"/>
                  <a:gd name="T5" fmla="*/ 45 h 376"/>
                  <a:gd name="T6" fmla="*/ 234 w 467"/>
                  <a:gd name="T7" fmla="*/ 0 h 376"/>
                  <a:gd name="T8" fmla="*/ 69 w 467"/>
                  <a:gd name="T9" fmla="*/ 45 h 376"/>
                  <a:gd name="T10" fmla="*/ 0 w 467"/>
                  <a:gd name="T11" fmla="*/ 154 h 376"/>
                  <a:gd name="T12" fmla="*/ 69 w 467"/>
                  <a:gd name="T13" fmla="*/ 263 h 376"/>
                  <a:gd name="T14" fmla="*/ 234 w 467"/>
                  <a:gd name="T15" fmla="*/ 308 h 376"/>
                  <a:gd name="T16" fmla="*/ 296 w 467"/>
                  <a:gd name="T17" fmla="*/ 301 h 376"/>
                  <a:gd name="T18" fmla="*/ 332 w 467"/>
                  <a:gd name="T19" fmla="*/ 294 h 376"/>
                  <a:gd name="T20" fmla="*/ 331 w 467"/>
                  <a:gd name="T21" fmla="*/ 292 h 376"/>
                  <a:gd name="T22" fmla="*/ 330 w 467"/>
                  <a:gd name="T23" fmla="*/ 293 h 376"/>
                  <a:gd name="T24" fmla="*/ 416 w 467"/>
                  <a:gd name="T25" fmla="*/ 376 h 376"/>
                  <a:gd name="T26" fmla="*/ 416 w 467"/>
                  <a:gd name="T27" fmla="*/ 249 h 376"/>
                  <a:gd name="T28" fmla="*/ 414 w 467"/>
                  <a:gd name="T29" fmla="*/ 249 h 376"/>
                  <a:gd name="T30" fmla="*/ 416 w 467"/>
                  <a:gd name="T31" fmla="*/ 250 h 376"/>
                  <a:gd name="T32" fmla="*/ 467 w 467"/>
                  <a:gd name="T33" fmla="*/ 154 h 376"/>
                  <a:gd name="T34" fmla="*/ 465 w 467"/>
                  <a:gd name="T35" fmla="*/ 154 h 376"/>
                  <a:gd name="T36" fmla="*/ 463 w 467"/>
                  <a:gd name="T37" fmla="*/ 154 h 376"/>
                  <a:gd name="T38" fmla="*/ 413 w 467"/>
                  <a:gd name="T39" fmla="*/ 247 h 376"/>
                  <a:gd name="T40" fmla="*/ 412 w 467"/>
                  <a:gd name="T41" fmla="*/ 248 h 376"/>
                  <a:gd name="T42" fmla="*/ 412 w 467"/>
                  <a:gd name="T43" fmla="*/ 367 h 376"/>
                  <a:gd name="T44" fmla="*/ 332 w 467"/>
                  <a:gd name="T45" fmla="*/ 290 h 376"/>
                  <a:gd name="T46" fmla="*/ 331 w 467"/>
                  <a:gd name="T47" fmla="*/ 290 h 376"/>
                  <a:gd name="T48" fmla="*/ 320 w 467"/>
                  <a:gd name="T49" fmla="*/ 292 h 376"/>
                  <a:gd name="T50" fmla="*/ 234 w 467"/>
                  <a:gd name="T51" fmla="*/ 304 h 376"/>
                  <a:gd name="T52" fmla="*/ 71 w 467"/>
                  <a:gd name="T53" fmla="*/ 260 h 376"/>
                  <a:gd name="T54" fmla="*/ 4 w 467"/>
                  <a:gd name="T55" fmla="*/ 154 h 376"/>
                  <a:gd name="T56" fmla="*/ 71 w 467"/>
                  <a:gd name="T57" fmla="*/ 48 h 376"/>
                  <a:gd name="T58" fmla="*/ 234 w 467"/>
                  <a:gd name="T59" fmla="*/ 4 h 376"/>
                  <a:gd name="T60" fmla="*/ 396 w 467"/>
                  <a:gd name="T61" fmla="*/ 48 h 376"/>
                  <a:gd name="T62" fmla="*/ 463 w 467"/>
                  <a:gd name="T63" fmla="*/ 154 h 376"/>
                  <a:gd name="T64" fmla="*/ 465 w 467"/>
                  <a:gd name="T65" fmla="*/ 154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7" h="376">
                    <a:moveTo>
                      <a:pt x="465" y="154"/>
                    </a:moveTo>
                    <a:cubicBezTo>
                      <a:pt x="467" y="154"/>
                      <a:pt x="467" y="154"/>
                      <a:pt x="467" y="154"/>
                    </a:cubicBezTo>
                    <a:cubicBezTo>
                      <a:pt x="467" y="111"/>
                      <a:pt x="441" y="73"/>
                      <a:pt x="398" y="45"/>
                    </a:cubicBezTo>
                    <a:cubicBezTo>
                      <a:pt x="356" y="17"/>
                      <a:pt x="298" y="0"/>
                      <a:pt x="234" y="0"/>
                    </a:cubicBezTo>
                    <a:cubicBezTo>
                      <a:pt x="169" y="0"/>
                      <a:pt x="111" y="17"/>
                      <a:pt x="69" y="45"/>
                    </a:cubicBezTo>
                    <a:cubicBezTo>
                      <a:pt x="27" y="73"/>
                      <a:pt x="0" y="111"/>
                      <a:pt x="0" y="154"/>
                    </a:cubicBezTo>
                    <a:cubicBezTo>
                      <a:pt x="0" y="197"/>
                      <a:pt x="27" y="235"/>
                      <a:pt x="69" y="263"/>
                    </a:cubicBezTo>
                    <a:cubicBezTo>
                      <a:pt x="111" y="291"/>
                      <a:pt x="169" y="308"/>
                      <a:pt x="234" y="308"/>
                    </a:cubicBezTo>
                    <a:cubicBezTo>
                      <a:pt x="251" y="308"/>
                      <a:pt x="276" y="305"/>
                      <a:pt x="296" y="301"/>
                    </a:cubicBezTo>
                    <a:cubicBezTo>
                      <a:pt x="316" y="297"/>
                      <a:pt x="332" y="294"/>
                      <a:pt x="332" y="294"/>
                    </a:cubicBezTo>
                    <a:cubicBezTo>
                      <a:pt x="331" y="292"/>
                      <a:pt x="331" y="292"/>
                      <a:pt x="331" y="292"/>
                    </a:cubicBezTo>
                    <a:cubicBezTo>
                      <a:pt x="330" y="293"/>
                      <a:pt x="330" y="293"/>
                      <a:pt x="330" y="293"/>
                    </a:cubicBezTo>
                    <a:cubicBezTo>
                      <a:pt x="416" y="376"/>
                      <a:pt x="416" y="376"/>
                      <a:pt x="416" y="376"/>
                    </a:cubicBezTo>
                    <a:cubicBezTo>
                      <a:pt x="416" y="249"/>
                      <a:pt x="416" y="249"/>
                      <a:pt x="416" y="249"/>
                    </a:cubicBezTo>
                    <a:cubicBezTo>
                      <a:pt x="414" y="249"/>
                      <a:pt x="414" y="249"/>
                      <a:pt x="414" y="249"/>
                    </a:cubicBezTo>
                    <a:cubicBezTo>
                      <a:pt x="416" y="250"/>
                      <a:pt x="416" y="250"/>
                      <a:pt x="416" y="250"/>
                    </a:cubicBezTo>
                    <a:cubicBezTo>
                      <a:pt x="448" y="224"/>
                      <a:pt x="467" y="191"/>
                      <a:pt x="467" y="154"/>
                    </a:cubicBezTo>
                    <a:cubicBezTo>
                      <a:pt x="465" y="154"/>
                      <a:pt x="465" y="154"/>
                      <a:pt x="465" y="154"/>
                    </a:cubicBezTo>
                    <a:cubicBezTo>
                      <a:pt x="463" y="154"/>
                      <a:pt x="463" y="154"/>
                      <a:pt x="463" y="154"/>
                    </a:cubicBezTo>
                    <a:cubicBezTo>
                      <a:pt x="463" y="189"/>
                      <a:pt x="444" y="222"/>
                      <a:pt x="413" y="247"/>
                    </a:cubicBezTo>
                    <a:cubicBezTo>
                      <a:pt x="412" y="248"/>
                      <a:pt x="412" y="248"/>
                      <a:pt x="412" y="248"/>
                    </a:cubicBezTo>
                    <a:cubicBezTo>
                      <a:pt x="412" y="367"/>
                      <a:pt x="412" y="367"/>
                      <a:pt x="412" y="367"/>
                    </a:cubicBezTo>
                    <a:cubicBezTo>
                      <a:pt x="332" y="290"/>
                      <a:pt x="332" y="290"/>
                      <a:pt x="332" y="290"/>
                    </a:cubicBezTo>
                    <a:cubicBezTo>
                      <a:pt x="331" y="290"/>
                      <a:pt x="331" y="290"/>
                      <a:pt x="331" y="290"/>
                    </a:cubicBezTo>
                    <a:cubicBezTo>
                      <a:pt x="331" y="290"/>
                      <a:pt x="327" y="291"/>
                      <a:pt x="320" y="292"/>
                    </a:cubicBezTo>
                    <a:cubicBezTo>
                      <a:pt x="301" y="296"/>
                      <a:pt x="259" y="304"/>
                      <a:pt x="234" y="304"/>
                    </a:cubicBezTo>
                    <a:cubicBezTo>
                      <a:pt x="170" y="304"/>
                      <a:pt x="112" y="287"/>
                      <a:pt x="71" y="260"/>
                    </a:cubicBezTo>
                    <a:cubicBezTo>
                      <a:pt x="29" y="233"/>
                      <a:pt x="4" y="195"/>
                      <a:pt x="4" y="154"/>
                    </a:cubicBezTo>
                    <a:cubicBezTo>
                      <a:pt x="4" y="113"/>
                      <a:pt x="29" y="76"/>
                      <a:pt x="71" y="48"/>
                    </a:cubicBezTo>
                    <a:cubicBezTo>
                      <a:pt x="112" y="21"/>
                      <a:pt x="170" y="4"/>
                      <a:pt x="234" y="4"/>
                    </a:cubicBezTo>
                    <a:cubicBezTo>
                      <a:pt x="297" y="4"/>
                      <a:pt x="355" y="21"/>
                      <a:pt x="396" y="48"/>
                    </a:cubicBezTo>
                    <a:cubicBezTo>
                      <a:pt x="438" y="76"/>
                      <a:pt x="463" y="113"/>
                      <a:pt x="463" y="154"/>
                    </a:cubicBezTo>
                    <a:lnTo>
                      <a:pt x="465" y="154"/>
                    </a:lnTo>
                    <a:close/>
                  </a:path>
                </a:pathLst>
              </a:custGeom>
              <a:solidFill>
                <a:srgbClr val="0A0A0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79" name="任意多边形: 形状 178"/>
              <p:cNvSpPr/>
              <p:nvPr/>
            </p:nvSpPr>
            <p:spPr bwMode="auto">
              <a:xfrm>
                <a:off x="4809180" y="2667102"/>
                <a:ext cx="495224" cy="397701"/>
              </a:xfrm>
              <a:custGeom>
                <a:avLst/>
                <a:gdLst>
                  <a:gd name="T0" fmla="*/ 439 w 439"/>
                  <a:gd name="T1" fmla="*/ 145 h 352"/>
                  <a:gd name="T2" fmla="*/ 219 w 439"/>
                  <a:gd name="T3" fmla="*/ 0 h 352"/>
                  <a:gd name="T4" fmla="*/ 0 w 439"/>
                  <a:gd name="T5" fmla="*/ 145 h 352"/>
                  <a:gd name="T6" fmla="*/ 219 w 439"/>
                  <a:gd name="T7" fmla="*/ 290 h 352"/>
                  <a:gd name="T8" fmla="*/ 311 w 439"/>
                  <a:gd name="T9" fmla="*/ 277 h 352"/>
                  <a:gd name="T10" fmla="*/ 391 w 439"/>
                  <a:gd name="T11" fmla="*/ 352 h 352"/>
                  <a:gd name="T12" fmla="*/ 391 w 439"/>
                  <a:gd name="T13" fmla="*/ 236 h 352"/>
                  <a:gd name="T14" fmla="*/ 439 w 439"/>
                  <a:gd name="T15" fmla="*/ 145 h 3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9" h="352">
                    <a:moveTo>
                      <a:pt x="439" y="145"/>
                    </a:moveTo>
                    <a:cubicBezTo>
                      <a:pt x="439" y="65"/>
                      <a:pt x="341" y="0"/>
                      <a:pt x="219" y="0"/>
                    </a:cubicBezTo>
                    <a:cubicBezTo>
                      <a:pt x="98" y="0"/>
                      <a:pt x="0" y="65"/>
                      <a:pt x="0" y="145"/>
                    </a:cubicBezTo>
                    <a:cubicBezTo>
                      <a:pt x="0" y="225"/>
                      <a:pt x="98" y="290"/>
                      <a:pt x="219" y="290"/>
                    </a:cubicBezTo>
                    <a:cubicBezTo>
                      <a:pt x="253" y="290"/>
                      <a:pt x="311" y="277"/>
                      <a:pt x="311" y="277"/>
                    </a:cubicBezTo>
                    <a:cubicBezTo>
                      <a:pt x="391" y="352"/>
                      <a:pt x="391" y="352"/>
                      <a:pt x="391" y="352"/>
                    </a:cubicBezTo>
                    <a:cubicBezTo>
                      <a:pt x="391" y="236"/>
                      <a:pt x="391" y="236"/>
                      <a:pt x="391" y="236"/>
                    </a:cubicBezTo>
                    <a:cubicBezTo>
                      <a:pt x="421" y="211"/>
                      <a:pt x="439" y="179"/>
                      <a:pt x="439" y="145"/>
                    </a:cubicBezTo>
                    <a:close/>
                  </a:path>
                </a:pathLst>
              </a:custGeom>
              <a:solidFill>
                <a:srgbClr val="9DD7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80" name="矩形 179"/>
              <p:cNvSpPr/>
              <p:nvPr/>
            </p:nvSpPr>
            <p:spPr bwMode="auto">
              <a:xfrm>
                <a:off x="4879111" y="2773188"/>
                <a:ext cx="151279" cy="13796"/>
              </a:xfrm>
              <a:prstGeom prst="rect">
                <a:avLst/>
              </a:prstGeom>
              <a:solidFill>
                <a:srgbClr val="F3FB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81" name="矩形 180"/>
              <p:cNvSpPr/>
              <p:nvPr/>
            </p:nvSpPr>
            <p:spPr bwMode="auto">
              <a:xfrm>
                <a:off x="4879111" y="2817430"/>
                <a:ext cx="151279" cy="13320"/>
              </a:xfrm>
              <a:prstGeom prst="rect">
                <a:avLst/>
              </a:prstGeom>
              <a:solidFill>
                <a:srgbClr val="F3FB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82" name="矩形 181"/>
              <p:cNvSpPr/>
              <p:nvPr/>
            </p:nvSpPr>
            <p:spPr bwMode="auto">
              <a:xfrm>
                <a:off x="4879111" y="2861196"/>
                <a:ext cx="151279" cy="13796"/>
              </a:xfrm>
              <a:prstGeom prst="rect">
                <a:avLst/>
              </a:prstGeom>
              <a:solidFill>
                <a:srgbClr val="F3FB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83" name="矩形 182"/>
              <p:cNvSpPr/>
              <p:nvPr/>
            </p:nvSpPr>
            <p:spPr bwMode="auto">
              <a:xfrm>
                <a:off x="5113640" y="2778896"/>
                <a:ext cx="74688" cy="103707"/>
              </a:xfrm>
              <a:prstGeom prst="rect">
                <a:avLst/>
              </a:prstGeom>
              <a:solidFill>
                <a:srgbClr val="5A472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84" name="任意多边形: 形状 183"/>
              <p:cNvSpPr/>
              <p:nvPr/>
            </p:nvSpPr>
            <p:spPr bwMode="auto">
              <a:xfrm>
                <a:off x="5119349" y="2756538"/>
                <a:ext cx="63271" cy="88959"/>
              </a:xfrm>
              <a:custGeom>
                <a:avLst/>
                <a:gdLst>
                  <a:gd name="T0" fmla="*/ 28 w 56"/>
                  <a:gd name="T1" fmla="*/ 79 h 79"/>
                  <a:gd name="T2" fmla="*/ 28 w 56"/>
                  <a:gd name="T3" fmla="*/ 79 h 79"/>
                  <a:gd name="T4" fmla="*/ 0 w 56"/>
                  <a:gd name="T5" fmla="*/ 51 h 79"/>
                  <a:gd name="T6" fmla="*/ 0 w 56"/>
                  <a:gd name="T7" fmla="*/ 27 h 79"/>
                  <a:gd name="T8" fmla="*/ 28 w 56"/>
                  <a:gd name="T9" fmla="*/ 0 h 79"/>
                  <a:gd name="T10" fmla="*/ 56 w 56"/>
                  <a:gd name="T11" fmla="*/ 27 h 79"/>
                  <a:gd name="T12" fmla="*/ 56 w 56"/>
                  <a:gd name="T13" fmla="*/ 51 h 79"/>
                  <a:gd name="T14" fmla="*/ 28 w 56"/>
                  <a:gd name="T15" fmla="*/ 79 h 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 h="79">
                    <a:moveTo>
                      <a:pt x="28" y="79"/>
                    </a:moveTo>
                    <a:cubicBezTo>
                      <a:pt x="28" y="79"/>
                      <a:pt x="28" y="79"/>
                      <a:pt x="28" y="79"/>
                    </a:cubicBezTo>
                    <a:cubicBezTo>
                      <a:pt x="13" y="79"/>
                      <a:pt x="0" y="67"/>
                      <a:pt x="0" y="51"/>
                    </a:cubicBezTo>
                    <a:cubicBezTo>
                      <a:pt x="0" y="27"/>
                      <a:pt x="0" y="27"/>
                      <a:pt x="0" y="27"/>
                    </a:cubicBezTo>
                    <a:cubicBezTo>
                      <a:pt x="0" y="12"/>
                      <a:pt x="13" y="0"/>
                      <a:pt x="28" y="0"/>
                    </a:cubicBezTo>
                    <a:cubicBezTo>
                      <a:pt x="43" y="0"/>
                      <a:pt x="56" y="12"/>
                      <a:pt x="56" y="27"/>
                    </a:cubicBezTo>
                    <a:cubicBezTo>
                      <a:pt x="56" y="51"/>
                      <a:pt x="56" y="51"/>
                      <a:pt x="56" y="51"/>
                    </a:cubicBezTo>
                    <a:cubicBezTo>
                      <a:pt x="56" y="67"/>
                      <a:pt x="43" y="79"/>
                      <a:pt x="28" y="79"/>
                    </a:cubicBezTo>
                    <a:close/>
                  </a:path>
                </a:pathLst>
              </a:custGeom>
              <a:solidFill>
                <a:srgbClr val="E4C69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85" name="矩形 184"/>
              <p:cNvSpPr/>
              <p:nvPr/>
            </p:nvSpPr>
            <p:spPr bwMode="auto">
              <a:xfrm>
                <a:off x="5138853" y="2834080"/>
                <a:ext cx="24737" cy="25213"/>
              </a:xfrm>
              <a:prstGeom prst="rect">
                <a:avLst/>
              </a:prstGeom>
              <a:solidFill>
                <a:srgbClr val="E4C69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86" name="任意多边形: 形状 185"/>
              <p:cNvSpPr/>
              <p:nvPr/>
            </p:nvSpPr>
            <p:spPr bwMode="auto">
              <a:xfrm>
                <a:off x="5097941" y="2855963"/>
                <a:ext cx="106085" cy="50426"/>
              </a:xfrm>
              <a:custGeom>
                <a:avLst/>
                <a:gdLst>
                  <a:gd name="T0" fmla="*/ 94 w 94"/>
                  <a:gd name="T1" fmla="*/ 45 h 45"/>
                  <a:gd name="T2" fmla="*/ 47 w 94"/>
                  <a:gd name="T3" fmla="*/ 0 h 45"/>
                  <a:gd name="T4" fmla="*/ 0 w 94"/>
                  <a:gd name="T5" fmla="*/ 45 h 45"/>
                  <a:gd name="T6" fmla="*/ 94 w 94"/>
                  <a:gd name="T7" fmla="*/ 45 h 45"/>
                </a:gdLst>
                <a:ahLst/>
                <a:cxnLst>
                  <a:cxn ang="0">
                    <a:pos x="T0" y="T1"/>
                  </a:cxn>
                  <a:cxn ang="0">
                    <a:pos x="T2" y="T3"/>
                  </a:cxn>
                  <a:cxn ang="0">
                    <a:pos x="T4" y="T5"/>
                  </a:cxn>
                  <a:cxn ang="0">
                    <a:pos x="T6" y="T7"/>
                  </a:cxn>
                </a:cxnLst>
                <a:rect l="0" t="0" r="r" b="b"/>
                <a:pathLst>
                  <a:path w="94" h="45">
                    <a:moveTo>
                      <a:pt x="94" y="45"/>
                    </a:moveTo>
                    <a:cubicBezTo>
                      <a:pt x="90" y="20"/>
                      <a:pt x="71" y="0"/>
                      <a:pt x="47" y="0"/>
                    </a:cubicBezTo>
                    <a:cubicBezTo>
                      <a:pt x="23" y="0"/>
                      <a:pt x="4" y="20"/>
                      <a:pt x="0" y="45"/>
                    </a:cubicBezTo>
                    <a:lnTo>
                      <a:pt x="94" y="45"/>
                    </a:lnTo>
                    <a:close/>
                  </a:path>
                </a:pathLst>
              </a:custGeom>
              <a:solidFill>
                <a:srgbClr val="FE707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87" name="任意多边形: 形状 186"/>
              <p:cNvSpPr/>
              <p:nvPr/>
            </p:nvSpPr>
            <p:spPr bwMode="auto">
              <a:xfrm>
                <a:off x="5113640" y="2741790"/>
                <a:ext cx="74688" cy="37106"/>
              </a:xfrm>
              <a:custGeom>
                <a:avLst/>
                <a:gdLst>
                  <a:gd name="T0" fmla="*/ 66 w 66"/>
                  <a:gd name="T1" fmla="*/ 33 h 33"/>
                  <a:gd name="T2" fmla="*/ 0 w 66"/>
                  <a:gd name="T3" fmla="*/ 33 h 33"/>
                  <a:gd name="T4" fmla="*/ 33 w 66"/>
                  <a:gd name="T5" fmla="*/ 0 h 33"/>
                  <a:gd name="T6" fmla="*/ 33 w 66"/>
                  <a:gd name="T7" fmla="*/ 0 h 33"/>
                  <a:gd name="T8" fmla="*/ 66 w 66"/>
                  <a:gd name="T9" fmla="*/ 33 h 33"/>
                </a:gdLst>
                <a:ahLst/>
                <a:cxnLst>
                  <a:cxn ang="0">
                    <a:pos x="T0" y="T1"/>
                  </a:cxn>
                  <a:cxn ang="0">
                    <a:pos x="T2" y="T3"/>
                  </a:cxn>
                  <a:cxn ang="0">
                    <a:pos x="T4" y="T5"/>
                  </a:cxn>
                  <a:cxn ang="0">
                    <a:pos x="T6" y="T7"/>
                  </a:cxn>
                  <a:cxn ang="0">
                    <a:pos x="T8" y="T9"/>
                  </a:cxn>
                </a:cxnLst>
                <a:rect l="0" t="0" r="r" b="b"/>
                <a:pathLst>
                  <a:path w="66" h="33">
                    <a:moveTo>
                      <a:pt x="66" y="33"/>
                    </a:moveTo>
                    <a:cubicBezTo>
                      <a:pt x="0" y="33"/>
                      <a:pt x="0" y="33"/>
                      <a:pt x="0" y="33"/>
                    </a:cubicBezTo>
                    <a:cubicBezTo>
                      <a:pt x="0" y="14"/>
                      <a:pt x="15" y="0"/>
                      <a:pt x="33" y="0"/>
                    </a:cubicBezTo>
                    <a:cubicBezTo>
                      <a:pt x="33" y="0"/>
                      <a:pt x="33" y="0"/>
                      <a:pt x="33" y="0"/>
                    </a:cubicBezTo>
                    <a:cubicBezTo>
                      <a:pt x="51" y="0"/>
                      <a:pt x="66" y="14"/>
                      <a:pt x="66" y="33"/>
                    </a:cubicBezTo>
                    <a:close/>
                  </a:path>
                </a:pathLst>
              </a:custGeom>
              <a:solidFill>
                <a:srgbClr val="5A472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88" name="任意多边形: 形状 187"/>
              <p:cNvSpPr/>
              <p:nvPr/>
            </p:nvSpPr>
            <p:spPr bwMode="auto">
              <a:xfrm>
                <a:off x="5889538" y="2734655"/>
                <a:ext cx="57562" cy="58038"/>
              </a:xfrm>
              <a:custGeom>
                <a:avLst/>
                <a:gdLst>
                  <a:gd name="T0" fmla="*/ 48 w 51"/>
                  <a:gd name="T1" fmla="*/ 26 h 51"/>
                  <a:gd name="T2" fmla="*/ 46 w 51"/>
                  <a:gd name="T3" fmla="*/ 26 h 51"/>
                  <a:gd name="T4" fmla="*/ 40 w 51"/>
                  <a:gd name="T5" fmla="*/ 40 h 51"/>
                  <a:gd name="T6" fmla="*/ 25 w 51"/>
                  <a:gd name="T7" fmla="*/ 46 h 51"/>
                  <a:gd name="T8" fmla="*/ 11 w 51"/>
                  <a:gd name="T9" fmla="*/ 40 h 51"/>
                  <a:gd name="T10" fmla="*/ 5 w 51"/>
                  <a:gd name="T11" fmla="*/ 26 h 51"/>
                  <a:gd name="T12" fmla="*/ 11 w 51"/>
                  <a:gd name="T13" fmla="*/ 11 h 51"/>
                  <a:gd name="T14" fmla="*/ 25 w 51"/>
                  <a:gd name="T15" fmla="*/ 5 h 51"/>
                  <a:gd name="T16" fmla="*/ 40 w 51"/>
                  <a:gd name="T17" fmla="*/ 11 h 51"/>
                  <a:gd name="T18" fmla="*/ 46 w 51"/>
                  <a:gd name="T19" fmla="*/ 26 h 51"/>
                  <a:gd name="T20" fmla="*/ 48 w 51"/>
                  <a:gd name="T21" fmla="*/ 26 h 51"/>
                  <a:gd name="T22" fmla="*/ 51 w 51"/>
                  <a:gd name="T23" fmla="*/ 26 h 51"/>
                  <a:gd name="T24" fmla="*/ 25 w 51"/>
                  <a:gd name="T25" fmla="*/ 0 h 51"/>
                  <a:gd name="T26" fmla="*/ 0 w 51"/>
                  <a:gd name="T27" fmla="*/ 26 h 51"/>
                  <a:gd name="T28" fmla="*/ 25 w 51"/>
                  <a:gd name="T29" fmla="*/ 51 h 51"/>
                  <a:gd name="T30" fmla="*/ 51 w 51"/>
                  <a:gd name="T31" fmla="*/ 26 h 51"/>
                  <a:gd name="T32" fmla="*/ 48 w 51"/>
                  <a:gd name="T33" fmla="*/ 26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1" h="51">
                    <a:moveTo>
                      <a:pt x="48" y="26"/>
                    </a:moveTo>
                    <a:cubicBezTo>
                      <a:pt x="46" y="26"/>
                      <a:pt x="46" y="26"/>
                      <a:pt x="46" y="26"/>
                    </a:cubicBezTo>
                    <a:cubicBezTo>
                      <a:pt x="46" y="32"/>
                      <a:pt x="43" y="37"/>
                      <a:pt x="40" y="40"/>
                    </a:cubicBezTo>
                    <a:cubicBezTo>
                      <a:pt x="36" y="44"/>
                      <a:pt x="31" y="46"/>
                      <a:pt x="25" y="46"/>
                    </a:cubicBezTo>
                    <a:cubicBezTo>
                      <a:pt x="20" y="46"/>
                      <a:pt x="14" y="44"/>
                      <a:pt x="11" y="40"/>
                    </a:cubicBezTo>
                    <a:cubicBezTo>
                      <a:pt x="7" y="37"/>
                      <a:pt x="5" y="32"/>
                      <a:pt x="5" y="26"/>
                    </a:cubicBezTo>
                    <a:cubicBezTo>
                      <a:pt x="5" y="20"/>
                      <a:pt x="7" y="15"/>
                      <a:pt x="11" y="11"/>
                    </a:cubicBezTo>
                    <a:cubicBezTo>
                      <a:pt x="14" y="8"/>
                      <a:pt x="20" y="5"/>
                      <a:pt x="25" y="5"/>
                    </a:cubicBezTo>
                    <a:cubicBezTo>
                      <a:pt x="31" y="5"/>
                      <a:pt x="36" y="8"/>
                      <a:pt x="40" y="11"/>
                    </a:cubicBezTo>
                    <a:cubicBezTo>
                      <a:pt x="43" y="15"/>
                      <a:pt x="46" y="20"/>
                      <a:pt x="46" y="26"/>
                    </a:cubicBezTo>
                    <a:cubicBezTo>
                      <a:pt x="48" y="26"/>
                      <a:pt x="48" y="26"/>
                      <a:pt x="48" y="26"/>
                    </a:cubicBezTo>
                    <a:cubicBezTo>
                      <a:pt x="51" y="26"/>
                      <a:pt x="51" y="26"/>
                      <a:pt x="51" y="26"/>
                    </a:cubicBezTo>
                    <a:cubicBezTo>
                      <a:pt x="51" y="12"/>
                      <a:pt x="39" y="0"/>
                      <a:pt x="25" y="0"/>
                    </a:cubicBezTo>
                    <a:cubicBezTo>
                      <a:pt x="11" y="0"/>
                      <a:pt x="0" y="12"/>
                      <a:pt x="0" y="26"/>
                    </a:cubicBezTo>
                    <a:cubicBezTo>
                      <a:pt x="0" y="40"/>
                      <a:pt x="11" y="51"/>
                      <a:pt x="25" y="51"/>
                    </a:cubicBezTo>
                    <a:cubicBezTo>
                      <a:pt x="39" y="51"/>
                      <a:pt x="51" y="40"/>
                      <a:pt x="51" y="26"/>
                    </a:cubicBezTo>
                    <a:lnTo>
                      <a:pt x="48" y="26"/>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89" name="任意多边形: 形状 188"/>
              <p:cNvSpPr/>
              <p:nvPr/>
            </p:nvSpPr>
            <p:spPr bwMode="auto">
              <a:xfrm>
                <a:off x="5635504" y="2496319"/>
                <a:ext cx="60892" cy="62319"/>
              </a:xfrm>
              <a:custGeom>
                <a:avLst/>
                <a:gdLst>
                  <a:gd name="T0" fmla="*/ 51 w 54"/>
                  <a:gd name="T1" fmla="*/ 28 h 55"/>
                  <a:gd name="T2" fmla="*/ 49 w 54"/>
                  <a:gd name="T3" fmla="*/ 28 h 55"/>
                  <a:gd name="T4" fmla="*/ 42 w 54"/>
                  <a:gd name="T5" fmla="*/ 43 h 55"/>
                  <a:gd name="T6" fmla="*/ 27 w 54"/>
                  <a:gd name="T7" fmla="*/ 49 h 55"/>
                  <a:gd name="T8" fmla="*/ 11 w 54"/>
                  <a:gd name="T9" fmla="*/ 43 h 55"/>
                  <a:gd name="T10" fmla="*/ 5 w 54"/>
                  <a:gd name="T11" fmla="*/ 28 h 55"/>
                  <a:gd name="T12" fmla="*/ 11 w 54"/>
                  <a:gd name="T13" fmla="*/ 12 h 55"/>
                  <a:gd name="T14" fmla="*/ 27 w 54"/>
                  <a:gd name="T15" fmla="*/ 6 h 55"/>
                  <a:gd name="T16" fmla="*/ 42 w 54"/>
                  <a:gd name="T17" fmla="*/ 12 h 55"/>
                  <a:gd name="T18" fmla="*/ 49 w 54"/>
                  <a:gd name="T19" fmla="*/ 28 h 55"/>
                  <a:gd name="T20" fmla="*/ 51 w 54"/>
                  <a:gd name="T21" fmla="*/ 28 h 55"/>
                  <a:gd name="T22" fmla="*/ 54 w 54"/>
                  <a:gd name="T23" fmla="*/ 28 h 55"/>
                  <a:gd name="T24" fmla="*/ 27 w 54"/>
                  <a:gd name="T25" fmla="*/ 0 h 55"/>
                  <a:gd name="T26" fmla="*/ 0 w 54"/>
                  <a:gd name="T27" fmla="*/ 28 h 55"/>
                  <a:gd name="T28" fmla="*/ 27 w 54"/>
                  <a:gd name="T29" fmla="*/ 55 h 55"/>
                  <a:gd name="T30" fmla="*/ 54 w 54"/>
                  <a:gd name="T31" fmla="*/ 28 h 55"/>
                  <a:gd name="T32" fmla="*/ 51 w 54"/>
                  <a:gd name="T33" fmla="*/ 2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4" h="55">
                    <a:moveTo>
                      <a:pt x="51" y="28"/>
                    </a:moveTo>
                    <a:cubicBezTo>
                      <a:pt x="49" y="28"/>
                      <a:pt x="49" y="28"/>
                      <a:pt x="49" y="28"/>
                    </a:cubicBezTo>
                    <a:cubicBezTo>
                      <a:pt x="49" y="34"/>
                      <a:pt x="46" y="39"/>
                      <a:pt x="42" y="43"/>
                    </a:cubicBezTo>
                    <a:cubicBezTo>
                      <a:pt x="38" y="47"/>
                      <a:pt x="33" y="49"/>
                      <a:pt x="27" y="49"/>
                    </a:cubicBezTo>
                    <a:cubicBezTo>
                      <a:pt x="21" y="49"/>
                      <a:pt x="15" y="47"/>
                      <a:pt x="11" y="43"/>
                    </a:cubicBezTo>
                    <a:cubicBezTo>
                      <a:pt x="8" y="39"/>
                      <a:pt x="5" y="34"/>
                      <a:pt x="5" y="28"/>
                    </a:cubicBezTo>
                    <a:cubicBezTo>
                      <a:pt x="5" y="22"/>
                      <a:pt x="8" y="16"/>
                      <a:pt x="11" y="12"/>
                    </a:cubicBezTo>
                    <a:cubicBezTo>
                      <a:pt x="15" y="8"/>
                      <a:pt x="21" y="6"/>
                      <a:pt x="27" y="6"/>
                    </a:cubicBezTo>
                    <a:cubicBezTo>
                      <a:pt x="33" y="6"/>
                      <a:pt x="38" y="8"/>
                      <a:pt x="42" y="12"/>
                    </a:cubicBezTo>
                    <a:cubicBezTo>
                      <a:pt x="46" y="16"/>
                      <a:pt x="49" y="22"/>
                      <a:pt x="49" y="28"/>
                    </a:cubicBezTo>
                    <a:cubicBezTo>
                      <a:pt x="51" y="28"/>
                      <a:pt x="51" y="28"/>
                      <a:pt x="51" y="28"/>
                    </a:cubicBezTo>
                    <a:cubicBezTo>
                      <a:pt x="54" y="28"/>
                      <a:pt x="54" y="28"/>
                      <a:pt x="54" y="28"/>
                    </a:cubicBezTo>
                    <a:cubicBezTo>
                      <a:pt x="54" y="13"/>
                      <a:pt x="42" y="0"/>
                      <a:pt x="27" y="0"/>
                    </a:cubicBezTo>
                    <a:cubicBezTo>
                      <a:pt x="12" y="0"/>
                      <a:pt x="0" y="13"/>
                      <a:pt x="0" y="28"/>
                    </a:cubicBezTo>
                    <a:cubicBezTo>
                      <a:pt x="0" y="43"/>
                      <a:pt x="12" y="55"/>
                      <a:pt x="27" y="55"/>
                    </a:cubicBezTo>
                    <a:cubicBezTo>
                      <a:pt x="42" y="55"/>
                      <a:pt x="54" y="43"/>
                      <a:pt x="54" y="28"/>
                    </a:cubicBezTo>
                    <a:lnTo>
                      <a:pt x="51" y="28"/>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90" name="任意多边形: 形状 189"/>
              <p:cNvSpPr/>
              <p:nvPr/>
            </p:nvSpPr>
            <p:spPr bwMode="auto">
              <a:xfrm>
                <a:off x="7176358" y="3439670"/>
                <a:ext cx="60892" cy="60892"/>
              </a:xfrm>
              <a:custGeom>
                <a:avLst/>
                <a:gdLst>
                  <a:gd name="T0" fmla="*/ 52 w 54"/>
                  <a:gd name="T1" fmla="*/ 27 h 54"/>
                  <a:gd name="T2" fmla="*/ 49 w 54"/>
                  <a:gd name="T3" fmla="*/ 27 h 54"/>
                  <a:gd name="T4" fmla="*/ 42 w 54"/>
                  <a:gd name="T5" fmla="*/ 43 h 54"/>
                  <a:gd name="T6" fmla="*/ 27 w 54"/>
                  <a:gd name="T7" fmla="*/ 49 h 54"/>
                  <a:gd name="T8" fmla="*/ 12 w 54"/>
                  <a:gd name="T9" fmla="*/ 43 h 54"/>
                  <a:gd name="T10" fmla="*/ 5 w 54"/>
                  <a:gd name="T11" fmla="*/ 27 h 54"/>
                  <a:gd name="T12" fmla="*/ 12 w 54"/>
                  <a:gd name="T13" fmla="*/ 12 h 54"/>
                  <a:gd name="T14" fmla="*/ 27 w 54"/>
                  <a:gd name="T15" fmla="*/ 6 h 54"/>
                  <a:gd name="T16" fmla="*/ 42 w 54"/>
                  <a:gd name="T17" fmla="*/ 12 h 54"/>
                  <a:gd name="T18" fmla="*/ 49 w 54"/>
                  <a:gd name="T19" fmla="*/ 27 h 54"/>
                  <a:gd name="T20" fmla="*/ 52 w 54"/>
                  <a:gd name="T21" fmla="*/ 27 h 54"/>
                  <a:gd name="T22" fmla="*/ 54 w 54"/>
                  <a:gd name="T23" fmla="*/ 27 h 54"/>
                  <a:gd name="T24" fmla="*/ 27 w 54"/>
                  <a:gd name="T25" fmla="*/ 0 h 54"/>
                  <a:gd name="T26" fmla="*/ 0 w 54"/>
                  <a:gd name="T27" fmla="*/ 27 h 54"/>
                  <a:gd name="T28" fmla="*/ 27 w 54"/>
                  <a:gd name="T29" fmla="*/ 54 h 54"/>
                  <a:gd name="T30" fmla="*/ 54 w 54"/>
                  <a:gd name="T31" fmla="*/ 27 h 54"/>
                  <a:gd name="T32" fmla="*/ 52 w 54"/>
                  <a:gd name="T33"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4" h="54">
                    <a:moveTo>
                      <a:pt x="52" y="27"/>
                    </a:moveTo>
                    <a:cubicBezTo>
                      <a:pt x="49" y="27"/>
                      <a:pt x="49" y="27"/>
                      <a:pt x="49" y="27"/>
                    </a:cubicBezTo>
                    <a:cubicBezTo>
                      <a:pt x="49" y="33"/>
                      <a:pt x="46" y="39"/>
                      <a:pt x="42" y="43"/>
                    </a:cubicBezTo>
                    <a:cubicBezTo>
                      <a:pt x="39" y="47"/>
                      <a:pt x="33" y="49"/>
                      <a:pt x="27" y="49"/>
                    </a:cubicBezTo>
                    <a:cubicBezTo>
                      <a:pt x="21" y="49"/>
                      <a:pt x="16" y="47"/>
                      <a:pt x="12" y="43"/>
                    </a:cubicBezTo>
                    <a:cubicBezTo>
                      <a:pt x="8" y="39"/>
                      <a:pt x="5" y="33"/>
                      <a:pt x="5" y="27"/>
                    </a:cubicBezTo>
                    <a:cubicBezTo>
                      <a:pt x="5" y="21"/>
                      <a:pt x="8" y="16"/>
                      <a:pt x="12" y="12"/>
                    </a:cubicBezTo>
                    <a:cubicBezTo>
                      <a:pt x="16" y="8"/>
                      <a:pt x="21" y="6"/>
                      <a:pt x="27" y="6"/>
                    </a:cubicBezTo>
                    <a:cubicBezTo>
                      <a:pt x="33" y="6"/>
                      <a:pt x="39" y="8"/>
                      <a:pt x="42" y="12"/>
                    </a:cubicBezTo>
                    <a:cubicBezTo>
                      <a:pt x="46" y="16"/>
                      <a:pt x="49" y="21"/>
                      <a:pt x="49" y="27"/>
                    </a:cubicBezTo>
                    <a:cubicBezTo>
                      <a:pt x="52" y="27"/>
                      <a:pt x="52" y="27"/>
                      <a:pt x="52" y="27"/>
                    </a:cubicBezTo>
                    <a:cubicBezTo>
                      <a:pt x="54" y="27"/>
                      <a:pt x="54" y="27"/>
                      <a:pt x="54" y="27"/>
                    </a:cubicBezTo>
                    <a:cubicBezTo>
                      <a:pt x="54" y="12"/>
                      <a:pt x="42" y="0"/>
                      <a:pt x="27" y="0"/>
                    </a:cubicBezTo>
                    <a:cubicBezTo>
                      <a:pt x="12" y="0"/>
                      <a:pt x="0" y="12"/>
                      <a:pt x="0" y="27"/>
                    </a:cubicBezTo>
                    <a:cubicBezTo>
                      <a:pt x="0" y="42"/>
                      <a:pt x="12" y="54"/>
                      <a:pt x="27" y="54"/>
                    </a:cubicBezTo>
                    <a:cubicBezTo>
                      <a:pt x="42" y="54"/>
                      <a:pt x="54" y="42"/>
                      <a:pt x="54" y="27"/>
                    </a:cubicBezTo>
                    <a:lnTo>
                      <a:pt x="52" y="27"/>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91" name="任意多边形: 形状 190"/>
              <p:cNvSpPr/>
              <p:nvPr/>
            </p:nvSpPr>
            <p:spPr bwMode="auto">
              <a:xfrm>
                <a:off x="5611718" y="2765576"/>
                <a:ext cx="247374" cy="9039"/>
              </a:xfrm>
              <a:custGeom>
                <a:avLst/>
                <a:gdLst>
                  <a:gd name="T0" fmla="*/ 455 w 520"/>
                  <a:gd name="T1" fmla="*/ 19 h 19"/>
                  <a:gd name="T2" fmla="*/ 520 w 520"/>
                  <a:gd name="T3" fmla="*/ 19 h 19"/>
                  <a:gd name="T4" fmla="*/ 520 w 520"/>
                  <a:gd name="T5" fmla="*/ 0 h 19"/>
                  <a:gd name="T6" fmla="*/ 455 w 520"/>
                  <a:gd name="T7" fmla="*/ 0 h 19"/>
                  <a:gd name="T8" fmla="*/ 455 w 520"/>
                  <a:gd name="T9" fmla="*/ 19 h 19"/>
                  <a:gd name="T10" fmla="*/ 304 w 520"/>
                  <a:gd name="T11" fmla="*/ 19 h 19"/>
                  <a:gd name="T12" fmla="*/ 380 w 520"/>
                  <a:gd name="T13" fmla="*/ 19 h 19"/>
                  <a:gd name="T14" fmla="*/ 380 w 520"/>
                  <a:gd name="T15" fmla="*/ 0 h 19"/>
                  <a:gd name="T16" fmla="*/ 304 w 520"/>
                  <a:gd name="T17" fmla="*/ 0 h 19"/>
                  <a:gd name="T18" fmla="*/ 304 w 520"/>
                  <a:gd name="T19" fmla="*/ 19 h 19"/>
                  <a:gd name="T20" fmla="*/ 152 w 520"/>
                  <a:gd name="T21" fmla="*/ 19 h 19"/>
                  <a:gd name="T22" fmla="*/ 228 w 520"/>
                  <a:gd name="T23" fmla="*/ 19 h 19"/>
                  <a:gd name="T24" fmla="*/ 228 w 520"/>
                  <a:gd name="T25" fmla="*/ 0 h 19"/>
                  <a:gd name="T26" fmla="*/ 152 w 520"/>
                  <a:gd name="T27" fmla="*/ 0 h 19"/>
                  <a:gd name="T28" fmla="*/ 152 w 520"/>
                  <a:gd name="T29" fmla="*/ 19 h 19"/>
                  <a:gd name="T30" fmla="*/ 0 w 520"/>
                  <a:gd name="T31" fmla="*/ 19 h 19"/>
                  <a:gd name="T32" fmla="*/ 76 w 520"/>
                  <a:gd name="T33" fmla="*/ 19 h 19"/>
                  <a:gd name="T34" fmla="*/ 76 w 520"/>
                  <a:gd name="T35" fmla="*/ 0 h 19"/>
                  <a:gd name="T36" fmla="*/ 0 w 520"/>
                  <a:gd name="T37" fmla="*/ 0 h 19"/>
                  <a:gd name="T38" fmla="*/ 0 w 520"/>
                  <a:gd name="T3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20" h="19">
                    <a:moveTo>
                      <a:pt x="455" y="19"/>
                    </a:moveTo>
                    <a:lnTo>
                      <a:pt x="520" y="19"/>
                    </a:lnTo>
                    <a:lnTo>
                      <a:pt x="520" y="0"/>
                    </a:lnTo>
                    <a:lnTo>
                      <a:pt x="455" y="0"/>
                    </a:lnTo>
                    <a:lnTo>
                      <a:pt x="455" y="19"/>
                    </a:lnTo>
                    <a:close/>
                    <a:moveTo>
                      <a:pt x="304" y="19"/>
                    </a:moveTo>
                    <a:lnTo>
                      <a:pt x="380" y="19"/>
                    </a:lnTo>
                    <a:lnTo>
                      <a:pt x="380" y="0"/>
                    </a:lnTo>
                    <a:lnTo>
                      <a:pt x="304" y="0"/>
                    </a:lnTo>
                    <a:lnTo>
                      <a:pt x="304" y="19"/>
                    </a:lnTo>
                    <a:close/>
                    <a:moveTo>
                      <a:pt x="152" y="19"/>
                    </a:moveTo>
                    <a:lnTo>
                      <a:pt x="228" y="19"/>
                    </a:lnTo>
                    <a:lnTo>
                      <a:pt x="228" y="0"/>
                    </a:lnTo>
                    <a:lnTo>
                      <a:pt x="152" y="0"/>
                    </a:lnTo>
                    <a:lnTo>
                      <a:pt x="152" y="19"/>
                    </a:lnTo>
                    <a:close/>
                    <a:moveTo>
                      <a:pt x="0" y="19"/>
                    </a:moveTo>
                    <a:lnTo>
                      <a:pt x="76" y="19"/>
                    </a:lnTo>
                    <a:lnTo>
                      <a:pt x="76" y="0"/>
                    </a:lnTo>
                    <a:lnTo>
                      <a:pt x="0" y="0"/>
                    </a:lnTo>
                    <a:lnTo>
                      <a:pt x="0" y="19"/>
                    </a:lnTo>
                    <a:close/>
                  </a:path>
                </a:pathLst>
              </a:custGeom>
              <a:solidFill>
                <a:srgbClr val="0A0A0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92" name="任意多边形: 形状 191"/>
              <p:cNvSpPr/>
              <p:nvPr/>
            </p:nvSpPr>
            <p:spPr bwMode="auto">
              <a:xfrm>
                <a:off x="4855325" y="3267935"/>
                <a:ext cx="56611" cy="59941"/>
              </a:xfrm>
              <a:custGeom>
                <a:avLst/>
                <a:gdLst>
                  <a:gd name="T0" fmla="*/ 45 w 50"/>
                  <a:gd name="T1" fmla="*/ 1 h 53"/>
                  <a:gd name="T2" fmla="*/ 1 w 50"/>
                  <a:gd name="T3" fmla="*/ 48 h 53"/>
                  <a:gd name="T4" fmla="*/ 1 w 50"/>
                  <a:gd name="T5" fmla="*/ 52 h 53"/>
                  <a:gd name="T6" fmla="*/ 5 w 50"/>
                  <a:gd name="T7" fmla="*/ 51 h 53"/>
                  <a:gd name="T8" fmla="*/ 49 w 50"/>
                  <a:gd name="T9" fmla="*/ 5 h 53"/>
                  <a:gd name="T10" fmla="*/ 49 w 50"/>
                  <a:gd name="T11" fmla="*/ 1 h 53"/>
                  <a:gd name="T12" fmla="*/ 45 w 50"/>
                  <a:gd name="T13" fmla="*/ 1 h 53"/>
                </a:gdLst>
                <a:ahLst/>
                <a:cxnLst>
                  <a:cxn ang="0">
                    <a:pos x="T0" y="T1"/>
                  </a:cxn>
                  <a:cxn ang="0">
                    <a:pos x="T2" y="T3"/>
                  </a:cxn>
                  <a:cxn ang="0">
                    <a:pos x="T4" y="T5"/>
                  </a:cxn>
                  <a:cxn ang="0">
                    <a:pos x="T6" y="T7"/>
                  </a:cxn>
                  <a:cxn ang="0">
                    <a:pos x="T8" y="T9"/>
                  </a:cxn>
                  <a:cxn ang="0">
                    <a:pos x="T10" y="T11"/>
                  </a:cxn>
                  <a:cxn ang="0">
                    <a:pos x="T12" y="T13"/>
                  </a:cxn>
                </a:cxnLst>
                <a:rect l="0" t="0" r="r" b="b"/>
                <a:pathLst>
                  <a:path w="50" h="53">
                    <a:moveTo>
                      <a:pt x="45" y="1"/>
                    </a:moveTo>
                    <a:cubicBezTo>
                      <a:pt x="1" y="48"/>
                      <a:pt x="1" y="48"/>
                      <a:pt x="1" y="48"/>
                    </a:cubicBezTo>
                    <a:cubicBezTo>
                      <a:pt x="0" y="49"/>
                      <a:pt x="0" y="50"/>
                      <a:pt x="1" y="52"/>
                    </a:cubicBezTo>
                    <a:cubicBezTo>
                      <a:pt x="2" y="53"/>
                      <a:pt x="4" y="53"/>
                      <a:pt x="5" y="51"/>
                    </a:cubicBezTo>
                    <a:cubicBezTo>
                      <a:pt x="49" y="5"/>
                      <a:pt x="49" y="5"/>
                      <a:pt x="49" y="5"/>
                    </a:cubicBezTo>
                    <a:cubicBezTo>
                      <a:pt x="50" y="4"/>
                      <a:pt x="50" y="2"/>
                      <a:pt x="49" y="1"/>
                    </a:cubicBezTo>
                    <a:cubicBezTo>
                      <a:pt x="48" y="0"/>
                      <a:pt x="46" y="0"/>
                      <a:pt x="45" y="1"/>
                    </a:cubicBezTo>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93" name="任意多边形: 形状 192"/>
              <p:cNvSpPr/>
              <p:nvPr/>
            </p:nvSpPr>
            <p:spPr bwMode="auto">
              <a:xfrm>
                <a:off x="4855325" y="3267935"/>
                <a:ext cx="56611" cy="59941"/>
              </a:xfrm>
              <a:custGeom>
                <a:avLst/>
                <a:gdLst>
                  <a:gd name="T0" fmla="*/ 1 w 50"/>
                  <a:gd name="T1" fmla="*/ 5 h 53"/>
                  <a:gd name="T2" fmla="*/ 45 w 50"/>
                  <a:gd name="T3" fmla="*/ 51 h 53"/>
                  <a:gd name="T4" fmla="*/ 49 w 50"/>
                  <a:gd name="T5" fmla="*/ 52 h 53"/>
                  <a:gd name="T6" fmla="*/ 49 w 50"/>
                  <a:gd name="T7" fmla="*/ 48 h 53"/>
                  <a:gd name="T8" fmla="*/ 5 w 50"/>
                  <a:gd name="T9" fmla="*/ 1 h 53"/>
                  <a:gd name="T10" fmla="*/ 1 w 50"/>
                  <a:gd name="T11" fmla="*/ 1 h 53"/>
                  <a:gd name="T12" fmla="*/ 1 w 50"/>
                  <a:gd name="T13" fmla="*/ 5 h 53"/>
                </a:gdLst>
                <a:ahLst/>
                <a:cxnLst>
                  <a:cxn ang="0">
                    <a:pos x="T0" y="T1"/>
                  </a:cxn>
                  <a:cxn ang="0">
                    <a:pos x="T2" y="T3"/>
                  </a:cxn>
                  <a:cxn ang="0">
                    <a:pos x="T4" y="T5"/>
                  </a:cxn>
                  <a:cxn ang="0">
                    <a:pos x="T6" y="T7"/>
                  </a:cxn>
                  <a:cxn ang="0">
                    <a:pos x="T8" y="T9"/>
                  </a:cxn>
                  <a:cxn ang="0">
                    <a:pos x="T10" y="T11"/>
                  </a:cxn>
                  <a:cxn ang="0">
                    <a:pos x="T12" y="T13"/>
                  </a:cxn>
                </a:cxnLst>
                <a:rect l="0" t="0" r="r" b="b"/>
                <a:pathLst>
                  <a:path w="50" h="53">
                    <a:moveTo>
                      <a:pt x="1" y="5"/>
                    </a:moveTo>
                    <a:cubicBezTo>
                      <a:pt x="45" y="51"/>
                      <a:pt x="45" y="51"/>
                      <a:pt x="45" y="51"/>
                    </a:cubicBezTo>
                    <a:cubicBezTo>
                      <a:pt x="46" y="53"/>
                      <a:pt x="48" y="53"/>
                      <a:pt x="49" y="52"/>
                    </a:cubicBezTo>
                    <a:cubicBezTo>
                      <a:pt x="50" y="50"/>
                      <a:pt x="50" y="49"/>
                      <a:pt x="49" y="48"/>
                    </a:cubicBezTo>
                    <a:cubicBezTo>
                      <a:pt x="5" y="1"/>
                      <a:pt x="5" y="1"/>
                      <a:pt x="5" y="1"/>
                    </a:cubicBezTo>
                    <a:cubicBezTo>
                      <a:pt x="4" y="0"/>
                      <a:pt x="2" y="0"/>
                      <a:pt x="1" y="1"/>
                    </a:cubicBezTo>
                    <a:cubicBezTo>
                      <a:pt x="0" y="2"/>
                      <a:pt x="0" y="4"/>
                      <a:pt x="1" y="5"/>
                    </a:cubicBezTo>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94" name="任意多边形: 形状 193"/>
              <p:cNvSpPr/>
              <p:nvPr/>
            </p:nvSpPr>
            <p:spPr bwMode="auto">
              <a:xfrm>
                <a:off x="6480857" y="2835507"/>
                <a:ext cx="32825" cy="34727"/>
              </a:xfrm>
              <a:custGeom>
                <a:avLst/>
                <a:gdLst>
                  <a:gd name="T0" fmla="*/ 26 w 29"/>
                  <a:gd name="T1" fmla="*/ 0 h 31"/>
                  <a:gd name="T2" fmla="*/ 0 w 29"/>
                  <a:gd name="T3" fmla="*/ 28 h 31"/>
                  <a:gd name="T4" fmla="*/ 0 w 29"/>
                  <a:gd name="T5" fmla="*/ 30 h 31"/>
                  <a:gd name="T6" fmla="*/ 3 w 29"/>
                  <a:gd name="T7" fmla="*/ 30 h 31"/>
                  <a:gd name="T8" fmla="*/ 29 w 29"/>
                  <a:gd name="T9" fmla="*/ 2 h 31"/>
                  <a:gd name="T10" fmla="*/ 28 w 29"/>
                  <a:gd name="T11" fmla="*/ 0 h 31"/>
                  <a:gd name="T12" fmla="*/ 26 w 29"/>
                  <a:gd name="T13" fmla="*/ 0 h 31"/>
                </a:gdLst>
                <a:ahLst/>
                <a:cxnLst>
                  <a:cxn ang="0">
                    <a:pos x="T0" y="T1"/>
                  </a:cxn>
                  <a:cxn ang="0">
                    <a:pos x="T2" y="T3"/>
                  </a:cxn>
                  <a:cxn ang="0">
                    <a:pos x="T4" y="T5"/>
                  </a:cxn>
                  <a:cxn ang="0">
                    <a:pos x="T6" y="T7"/>
                  </a:cxn>
                  <a:cxn ang="0">
                    <a:pos x="T8" y="T9"/>
                  </a:cxn>
                  <a:cxn ang="0">
                    <a:pos x="T10" y="T11"/>
                  </a:cxn>
                  <a:cxn ang="0">
                    <a:pos x="T12" y="T13"/>
                  </a:cxn>
                </a:cxnLst>
                <a:rect l="0" t="0" r="r" b="b"/>
                <a:pathLst>
                  <a:path w="29" h="31">
                    <a:moveTo>
                      <a:pt x="26" y="0"/>
                    </a:moveTo>
                    <a:cubicBezTo>
                      <a:pt x="0" y="28"/>
                      <a:pt x="0" y="28"/>
                      <a:pt x="0" y="28"/>
                    </a:cubicBezTo>
                    <a:cubicBezTo>
                      <a:pt x="0" y="28"/>
                      <a:pt x="0" y="29"/>
                      <a:pt x="0" y="30"/>
                    </a:cubicBezTo>
                    <a:cubicBezTo>
                      <a:pt x="1" y="31"/>
                      <a:pt x="2" y="31"/>
                      <a:pt x="3" y="30"/>
                    </a:cubicBezTo>
                    <a:cubicBezTo>
                      <a:pt x="29" y="2"/>
                      <a:pt x="29" y="2"/>
                      <a:pt x="29" y="2"/>
                    </a:cubicBezTo>
                    <a:cubicBezTo>
                      <a:pt x="29" y="2"/>
                      <a:pt x="29" y="1"/>
                      <a:pt x="28" y="0"/>
                    </a:cubicBezTo>
                    <a:cubicBezTo>
                      <a:pt x="28" y="0"/>
                      <a:pt x="27" y="0"/>
                      <a:pt x="26" y="0"/>
                    </a:cubicBezTo>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95" name="任意多边形: 形状 194"/>
              <p:cNvSpPr/>
              <p:nvPr/>
            </p:nvSpPr>
            <p:spPr bwMode="auto">
              <a:xfrm>
                <a:off x="6480857" y="2835507"/>
                <a:ext cx="32825" cy="34727"/>
              </a:xfrm>
              <a:custGeom>
                <a:avLst/>
                <a:gdLst>
                  <a:gd name="T0" fmla="*/ 0 w 29"/>
                  <a:gd name="T1" fmla="*/ 2 h 31"/>
                  <a:gd name="T2" fmla="*/ 26 w 29"/>
                  <a:gd name="T3" fmla="*/ 30 h 31"/>
                  <a:gd name="T4" fmla="*/ 28 w 29"/>
                  <a:gd name="T5" fmla="*/ 30 h 31"/>
                  <a:gd name="T6" fmla="*/ 29 w 29"/>
                  <a:gd name="T7" fmla="*/ 28 h 31"/>
                  <a:gd name="T8" fmla="*/ 3 w 29"/>
                  <a:gd name="T9" fmla="*/ 0 h 31"/>
                  <a:gd name="T10" fmla="*/ 0 w 29"/>
                  <a:gd name="T11" fmla="*/ 0 h 31"/>
                  <a:gd name="T12" fmla="*/ 0 w 29"/>
                  <a:gd name="T13" fmla="*/ 2 h 31"/>
                </a:gdLst>
                <a:ahLst/>
                <a:cxnLst>
                  <a:cxn ang="0">
                    <a:pos x="T0" y="T1"/>
                  </a:cxn>
                  <a:cxn ang="0">
                    <a:pos x="T2" y="T3"/>
                  </a:cxn>
                  <a:cxn ang="0">
                    <a:pos x="T4" y="T5"/>
                  </a:cxn>
                  <a:cxn ang="0">
                    <a:pos x="T6" y="T7"/>
                  </a:cxn>
                  <a:cxn ang="0">
                    <a:pos x="T8" y="T9"/>
                  </a:cxn>
                  <a:cxn ang="0">
                    <a:pos x="T10" y="T11"/>
                  </a:cxn>
                  <a:cxn ang="0">
                    <a:pos x="T12" y="T13"/>
                  </a:cxn>
                </a:cxnLst>
                <a:rect l="0" t="0" r="r" b="b"/>
                <a:pathLst>
                  <a:path w="29" h="31">
                    <a:moveTo>
                      <a:pt x="0" y="2"/>
                    </a:moveTo>
                    <a:cubicBezTo>
                      <a:pt x="26" y="30"/>
                      <a:pt x="26" y="30"/>
                      <a:pt x="26" y="30"/>
                    </a:cubicBezTo>
                    <a:cubicBezTo>
                      <a:pt x="27" y="31"/>
                      <a:pt x="28" y="31"/>
                      <a:pt x="28" y="30"/>
                    </a:cubicBezTo>
                    <a:cubicBezTo>
                      <a:pt x="29" y="29"/>
                      <a:pt x="29" y="28"/>
                      <a:pt x="29" y="28"/>
                    </a:cubicBezTo>
                    <a:cubicBezTo>
                      <a:pt x="3" y="0"/>
                      <a:pt x="3" y="0"/>
                      <a:pt x="3" y="0"/>
                    </a:cubicBezTo>
                    <a:cubicBezTo>
                      <a:pt x="2" y="0"/>
                      <a:pt x="1" y="0"/>
                      <a:pt x="0" y="0"/>
                    </a:cubicBezTo>
                    <a:cubicBezTo>
                      <a:pt x="0" y="1"/>
                      <a:pt x="0" y="2"/>
                      <a:pt x="0" y="2"/>
                    </a:cubicBezTo>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96" name="任意多边形: 形状 195"/>
              <p:cNvSpPr/>
              <p:nvPr/>
            </p:nvSpPr>
            <p:spPr bwMode="auto">
              <a:xfrm>
                <a:off x="4672649" y="3838322"/>
                <a:ext cx="235481" cy="9039"/>
              </a:xfrm>
              <a:custGeom>
                <a:avLst/>
                <a:gdLst>
                  <a:gd name="T0" fmla="*/ 455 w 495"/>
                  <a:gd name="T1" fmla="*/ 19 h 19"/>
                  <a:gd name="T2" fmla="*/ 495 w 495"/>
                  <a:gd name="T3" fmla="*/ 19 h 19"/>
                  <a:gd name="T4" fmla="*/ 495 w 495"/>
                  <a:gd name="T5" fmla="*/ 0 h 19"/>
                  <a:gd name="T6" fmla="*/ 455 w 495"/>
                  <a:gd name="T7" fmla="*/ 0 h 19"/>
                  <a:gd name="T8" fmla="*/ 455 w 495"/>
                  <a:gd name="T9" fmla="*/ 19 h 19"/>
                  <a:gd name="T10" fmla="*/ 303 w 495"/>
                  <a:gd name="T11" fmla="*/ 19 h 19"/>
                  <a:gd name="T12" fmla="*/ 379 w 495"/>
                  <a:gd name="T13" fmla="*/ 19 h 19"/>
                  <a:gd name="T14" fmla="*/ 379 w 495"/>
                  <a:gd name="T15" fmla="*/ 0 h 19"/>
                  <a:gd name="T16" fmla="*/ 303 w 495"/>
                  <a:gd name="T17" fmla="*/ 0 h 19"/>
                  <a:gd name="T18" fmla="*/ 303 w 495"/>
                  <a:gd name="T19" fmla="*/ 19 h 19"/>
                  <a:gd name="T20" fmla="*/ 151 w 495"/>
                  <a:gd name="T21" fmla="*/ 19 h 19"/>
                  <a:gd name="T22" fmla="*/ 227 w 495"/>
                  <a:gd name="T23" fmla="*/ 19 h 19"/>
                  <a:gd name="T24" fmla="*/ 227 w 495"/>
                  <a:gd name="T25" fmla="*/ 0 h 19"/>
                  <a:gd name="T26" fmla="*/ 151 w 495"/>
                  <a:gd name="T27" fmla="*/ 0 h 19"/>
                  <a:gd name="T28" fmla="*/ 151 w 495"/>
                  <a:gd name="T29" fmla="*/ 19 h 19"/>
                  <a:gd name="T30" fmla="*/ 0 w 495"/>
                  <a:gd name="T31" fmla="*/ 19 h 19"/>
                  <a:gd name="T32" fmla="*/ 75 w 495"/>
                  <a:gd name="T33" fmla="*/ 19 h 19"/>
                  <a:gd name="T34" fmla="*/ 75 w 495"/>
                  <a:gd name="T35" fmla="*/ 0 h 19"/>
                  <a:gd name="T36" fmla="*/ 0 w 495"/>
                  <a:gd name="T37" fmla="*/ 0 h 19"/>
                  <a:gd name="T38" fmla="*/ 0 w 495"/>
                  <a:gd name="T3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95" h="19">
                    <a:moveTo>
                      <a:pt x="455" y="19"/>
                    </a:moveTo>
                    <a:lnTo>
                      <a:pt x="495" y="19"/>
                    </a:lnTo>
                    <a:lnTo>
                      <a:pt x="495" y="0"/>
                    </a:lnTo>
                    <a:lnTo>
                      <a:pt x="455" y="0"/>
                    </a:lnTo>
                    <a:lnTo>
                      <a:pt x="455" y="19"/>
                    </a:lnTo>
                    <a:close/>
                    <a:moveTo>
                      <a:pt x="303" y="19"/>
                    </a:moveTo>
                    <a:lnTo>
                      <a:pt x="379" y="19"/>
                    </a:lnTo>
                    <a:lnTo>
                      <a:pt x="379" y="0"/>
                    </a:lnTo>
                    <a:lnTo>
                      <a:pt x="303" y="0"/>
                    </a:lnTo>
                    <a:lnTo>
                      <a:pt x="303" y="19"/>
                    </a:lnTo>
                    <a:close/>
                    <a:moveTo>
                      <a:pt x="151" y="19"/>
                    </a:moveTo>
                    <a:lnTo>
                      <a:pt x="227" y="19"/>
                    </a:lnTo>
                    <a:lnTo>
                      <a:pt x="227" y="0"/>
                    </a:lnTo>
                    <a:lnTo>
                      <a:pt x="151" y="0"/>
                    </a:lnTo>
                    <a:lnTo>
                      <a:pt x="151" y="19"/>
                    </a:lnTo>
                    <a:close/>
                    <a:moveTo>
                      <a:pt x="0" y="19"/>
                    </a:moveTo>
                    <a:lnTo>
                      <a:pt x="75" y="19"/>
                    </a:lnTo>
                    <a:lnTo>
                      <a:pt x="75" y="0"/>
                    </a:lnTo>
                    <a:lnTo>
                      <a:pt x="0" y="0"/>
                    </a:lnTo>
                    <a:lnTo>
                      <a:pt x="0" y="19"/>
                    </a:lnTo>
                    <a:close/>
                  </a:path>
                </a:pathLst>
              </a:custGeom>
              <a:solidFill>
                <a:srgbClr val="0A0A0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grpSp>
      </p:grpSp>
    </p:spTree>
    <p:custDataLst>
      <p:tags r:id="rId1"/>
    </p:custData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660400" y="1167168"/>
            <a:ext cx="10858500" cy="4966932"/>
            <a:chOff x="660400" y="1167168"/>
            <a:chExt cx="10858500" cy="4966932"/>
          </a:xfrm>
        </p:grpSpPr>
        <p:cxnSp>
          <p:nvCxnSpPr>
            <p:cNvPr id="4" name="直接连接符 3"/>
            <p:cNvCxnSpPr/>
            <p:nvPr/>
          </p:nvCxnSpPr>
          <p:spPr>
            <a:xfrm>
              <a:off x="3669658" y="2258053"/>
              <a:ext cx="0" cy="744839"/>
            </a:xfrm>
            <a:prstGeom prst="line">
              <a:avLst/>
            </a:prstGeom>
            <a:ln w="12700" cap="rnd">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
          <p:nvSpPr>
            <p:cNvPr id="5" name="任意多边形: 形状 4"/>
            <p:cNvSpPr/>
            <p:nvPr/>
          </p:nvSpPr>
          <p:spPr>
            <a:xfrm>
              <a:off x="1989077" y="3002891"/>
              <a:ext cx="3361160" cy="729296"/>
            </a:xfrm>
            <a:custGeom>
              <a:avLst/>
              <a:gdLst>
                <a:gd name="connsiteX0" fmla="*/ 0 w 7855027"/>
                <a:gd name="connsiteY0" fmla="*/ 108776 h 2635713"/>
                <a:gd name="connsiteX1" fmla="*/ 108776 w 7855027"/>
                <a:gd name="connsiteY1" fmla="*/ 0 h 2635713"/>
                <a:gd name="connsiteX2" fmla="*/ 7746251 w 7855027"/>
                <a:gd name="connsiteY2" fmla="*/ 0 h 2635713"/>
                <a:gd name="connsiteX3" fmla="*/ 7855027 w 7855027"/>
                <a:gd name="connsiteY3" fmla="*/ 108776 h 2635713"/>
                <a:gd name="connsiteX4" fmla="*/ 7855027 w 7855027"/>
                <a:gd name="connsiteY4" fmla="*/ 2526937 h 2635713"/>
                <a:gd name="connsiteX5" fmla="*/ 7746251 w 7855027"/>
                <a:gd name="connsiteY5" fmla="*/ 2635713 h 2635713"/>
                <a:gd name="connsiteX6" fmla="*/ 108776 w 7855027"/>
                <a:gd name="connsiteY6" fmla="*/ 2635713 h 2635713"/>
                <a:gd name="connsiteX7" fmla="*/ 0 w 7855027"/>
                <a:gd name="connsiteY7" fmla="*/ 2526937 h 2635713"/>
                <a:gd name="connsiteX8" fmla="*/ 0 w 7855027"/>
                <a:gd name="connsiteY8" fmla="*/ 108776 h 2635713"/>
                <a:gd name="connsiteX0-1" fmla="*/ 0 w 7855027"/>
                <a:gd name="connsiteY0-2" fmla="*/ 108776 h 2635713"/>
                <a:gd name="connsiteX1-3" fmla="*/ 108776 w 7855027"/>
                <a:gd name="connsiteY1-4" fmla="*/ 0 h 2635713"/>
                <a:gd name="connsiteX2-5" fmla="*/ 7746251 w 7855027"/>
                <a:gd name="connsiteY2-6" fmla="*/ 0 h 2635713"/>
                <a:gd name="connsiteX3-7" fmla="*/ 7855027 w 7855027"/>
                <a:gd name="connsiteY3-8" fmla="*/ 108776 h 2635713"/>
                <a:gd name="connsiteX4-9" fmla="*/ 7855027 w 7855027"/>
                <a:gd name="connsiteY4-10" fmla="*/ 2526937 h 2635713"/>
                <a:gd name="connsiteX5-11" fmla="*/ 7746251 w 7855027"/>
                <a:gd name="connsiteY5-12" fmla="*/ 2635713 h 2635713"/>
                <a:gd name="connsiteX6-13" fmla="*/ 0 w 7855027"/>
                <a:gd name="connsiteY6-14" fmla="*/ 2526937 h 2635713"/>
                <a:gd name="connsiteX7-15" fmla="*/ 0 w 7855027"/>
                <a:gd name="connsiteY7-16" fmla="*/ 108776 h 2635713"/>
                <a:gd name="connsiteX0-17" fmla="*/ 7746251 w 7855027"/>
                <a:gd name="connsiteY0-18" fmla="*/ 2635713 h 2727153"/>
                <a:gd name="connsiteX1-19" fmla="*/ 0 w 7855027"/>
                <a:gd name="connsiteY1-20" fmla="*/ 2526937 h 2727153"/>
                <a:gd name="connsiteX2-21" fmla="*/ 0 w 7855027"/>
                <a:gd name="connsiteY2-22" fmla="*/ 108776 h 2727153"/>
                <a:gd name="connsiteX3-23" fmla="*/ 108776 w 7855027"/>
                <a:gd name="connsiteY3-24" fmla="*/ 0 h 2727153"/>
                <a:gd name="connsiteX4-25" fmla="*/ 7746251 w 7855027"/>
                <a:gd name="connsiteY4-26" fmla="*/ 0 h 2727153"/>
                <a:gd name="connsiteX5-27" fmla="*/ 7855027 w 7855027"/>
                <a:gd name="connsiteY5-28" fmla="*/ 108776 h 2727153"/>
                <a:gd name="connsiteX6-29" fmla="*/ 7855027 w 7855027"/>
                <a:gd name="connsiteY6-30" fmla="*/ 2526937 h 2727153"/>
                <a:gd name="connsiteX7-31" fmla="*/ 7837691 w 7855027"/>
                <a:gd name="connsiteY7-32" fmla="*/ 2727153 h 2727153"/>
                <a:gd name="connsiteX0-33" fmla="*/ 0 w 7855027"/>
                <a:gd name="connsiteY0-34" fmla="*/ 2526937 h 2727153"/>
                <a:gd name="connsiteX1-35" fmla="*/ 0 w 7855027"/>
                <a:gd name="connsiteY1-36" fmla="*/ 108776 h 2727153"/>
                <a:gd name="connsiteX2-37" fmla="*/ 108776 w 7855027"/>
                <a:gd name="connsiteY2-38" fmla="*/ 0 h 2727153"/>
                <a:gd name="connsiteX3-39" fmla="*/ 7746251 w 7855027"/>
                <a:gd name="connsiteY3-40" fmla="*/ 0 h 2727153"/>
                <a:gd name="connsiteX4-41" fmla="*/ 7855027 w 7855027"/>
                <a:gd name="connsiteY4-42" fmla="*/ 108776 h 2727153"/>
                <a:gd name="connsiteX5-43" fmla="*/ 7855027 w 7855027"/>
                <a:gd name="connsiteY5-44" fmla="*/ 2526937 h 2727153"/>
                <a:gd name="connsiteX6-45" fmla="*/ 7837691 w 7855027"/>
                <a:gd name="connsiteY6-46" fmla="*/ 2727153 h 2727153"/>
                <a:gd name="connsiteX0-47" fmla="*/ 0 w 7855027"/>
                <a:gd name="connsiteY0-48" fmla="*/ 2526937 h 2526937"/>
                <a:gd name="connsiteX1-49" fmla="*/ 0 w 7855027"/>
                <a:gd name="connsiteY1-50" fmla="*/ 108776 h 2526937"/>
                <a:gd name="connsiteX2-51" fmla="*/ 108776 w 7855027"/>
                <a:gd name="connsiteY2-52" fmla="*/ 0 h 2526937"/>
                <a:gd name="connsiteX3-53" fmla="*/ 7746251 w 7855027"/>
                <a:gd name="connsiteY3-54" fmla="*/ 0 h 2526937"/>
                <a:gd name="connsiteX4-55" fmla="*/ 7855027 w 7855027"/>
                <a:gd name="connsiteY4-56" fmla="*/ 108776 h 2526937"/>
                <a:gd name="connsiteX5-57" fmla="*/ 7855027 w 7855027"/>
                <a:gd name="connsiteY5-58" fmla="*/ 2526937 h 2526937"/>
                <a:gd name="connsiteX0-59" fmla="*/ 0 w 7855027"/>
                <a:gd name="connsiteY0-60" fmla="*/ 2526937 h 2526937"/>
                <a:gd name="connsiteX1-61" fmla="*/ 1837 w 7855027"/>
                <a:gd name="connsiteY1-62" fmla="*/ 1465556 h 2526937"/>
                <a:gd name="connsiteX2-63" fmla="*/ 0 w 7855027"/>
                <a:gd name="connsiteY2-64" fmla="*/ 108776 h 2526937"/>
                <a:gd name="connsiteX3-65" fmla="*/ 108776 w 7855027"/>
                <a:gd name="connsiteY3-66" fmla="*/ 0 h 2526937"/>
                <a:gd name="connsiteX4-67" fmla="*/ 7746251 w 7855027"/>
                <a:gd name="connsiteY4-68" fmla="*/ 0 h 2526937"/>
                <a:gd name="connsiteX5-69" fmla="*/ 7855027 w 7855027"/>
                <a:gd name="connsiteY5-70" fmla="*/ 108776 h 2526937"/>
                <a:gd name="connsiteX6-71" fmla="*/ 7855027 w 7855027"/>
                <a:gd name="connsiteY6-72" fmla="*/ 2526937 h 2526937"/>
                <a:gd name="connsiteX0-73" fmla="*/ 0 w 7855027"/>
                <a:gd name="connsiteY0-74" fmla="*/ 2526937 h 2526937"/>
                <a:gd name="connsiteX1-75" fmla="*/ 1837 w 7855027"/>
                <a:gd name="connsiteY1-76" fmla="*/ 1465556 h 2526937"/>
                <a:gd name="connsiteX2-77" fmla="*/ 0 w 7855027"/>
                <a:gd name="connsiteY2-78" fmla="*/ 108776 h 2526937"/>
                <a:gd name="connsiteX3-79" fmla="*/ 108776 w 7855027"/>
                <a:gd name="connsiteY3-80" fmla="*/ 0 h 2526937"/>
                <a:gd name="connsiteX4-81" fmla="*/ 7746251 w 7855027"/>
                <a:gd name="connsiteY4-82" fmla="*/ 0 h 2526937"/>
                <a:gd name="connsiteX5-83" fmla="*/ 7855027 w 7855027"/>
                <a:gd name="connsiteY5-84" fmla="*/ 108776 h 2526937"/>
                <a:gd name="connsiteX6-85" fmla="*/ 7845847 w 7855027"/>
                <a:gd name="connsiteY6-86" fmla="*/ 1465556 h 2526937"/>
                <a:gd name="connsiteX7-87" fmla="*/ 7855027 w 7855027"/>
                <a:gd name="connsiteY7-88" fmla="*/ 2526937 h 2526937"/>
                <a:gd name="connsiteX0-89" fmla="*/ 0 w 7855027"/>
                <a:gd name="connsiteY0-90" fmla="*/ 2526937 h 2526937"/>
                <a:gd name="connsiteX1-91" fmla="*/ 1837 w 7855027"/>
                <a:gd name="connsiteY1-92" fmla="*/ 1465556 h 2526937"/>
                <a:gd name="connsiteX2-93" fmla="*/ 0 w 7855027"/>
                <a:gd name="connsiteY2-94" fmla="*/ 108776 h 2526937"/>
                <a:gd name="connsiteX3-95" fmla="*/ 108776 w 7855027"/>
                <a:gd name="connsiteY3-96" fmla="*/ 0 h 2526937"/>
                <a:gd name="connsiteX4-97" fmla="*/ 7746251 w 7855027"/>
                <a:gd name="connsiteY4-98" fmla="*/ 0 h 2526937"/>
                <a:gd name="connsiteX5-99" fmla="*/ 7855027 w 7855027"/>
                <a:gd name="connsiteY5-100" fmla="*/ 108776 h 2526937"/>
                <a:gd name="connsiteX6-101" fmla="*/ 7845847 w 7855027"/>
                <a:gd name="connsiteY6-102" fmla="*/ 1465556 h 2526937"/>
                <a:gd name="connsiteX0-103" fmla="*/ 1837 w 7855027"/>
                <a:gd name="connsiteY0-104" fmla="*/ 1465556 h 1465556"/>
                <a:gd name="connsiteX1-105" fmla="*/ 0 w 7855027"/>
                <a:gd name="connsiteY1-106" fmla="*/ 108776 h 1465556"/>
                <a:gd name="connsiteX2-107" fmla="*/ 108776 w 7855027"/>
                <a:gd name="connsiteY2-108" fmla="*/ 0 h 1465556"/>
                <a:gd name="connsiteX3-109" fmla="*/ 7746251 w 7855027"/>
                <a:gd name="connsiteY3-110" fmla="*/ 0 h 1465556"/>
                <a:gd name="connsiteX4-111" fmla="*/ 7855027 w 7855027"/>
                <a:gd name="connsiteY4-112" fmla="*/ 108776 h 1465556"/>
                <a:gd name="connsiteX5-113" fmla="*/ 7845847 w 7855027"/>
                <a:gd name="connsiteY5-114" fmla="*/ 1465556 h 1465556"/>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Lst>
              <a:rect l="l" t="t" r="r" b="b"/>
              <a:pathLst>
                <a:path w="7855027" h="1465556">
                  <a:moveTo>
                    <a:pt x="1837" y="1465556"/>
                  </a:moveTo>
                  <a:cubicBezTo>
                    <a:pt x="1225" y="1013296"/>
                    <a:pt x="612" y="561036"/>
                    <a:pt x="0" y="108776"/>
                  </a:cubicBezTo>
                  <a:cubicBezTo>
                    <a:pt x="0" y="48701"/>
                    <a:pt x="48701" y="0"/>
                    <a:pt x="108776" y="0"/>
                  </a:cubicBezTo>
                  <a:lnTo>
                    <a:pt x="7746251" y="0"/>
                  </a:lnTo>
                  <a:cubicBezTo>
                    <a:pt x="7806326" y="0"/>
                    <a:pt x="7855027" y="48701"/>
                    <a:pt x="7855027" y="108776"/>
                  </a:cubicBezTo>
                  <a:lnTo>
                    <a:pt x="7845847" y="1465556"/>
                  </a:lnTo>
                </a:path>
              </a:pathLst>
            </a:custGeom>
            <a:noFill/>
            <a:ln w="12700" cap="rnd">
              <a:solidFill>
                <a:schemeClr val="bg1">
                  <a:lumMod val="85000"/>
                </a:schemeClr>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endParaRPr>
            </a:p>
          </p:txBody>
        </p:sp>
        <p:cxnSp>
          <p:nvCxnSpPr>
            <p:cNvPr id="6" name="直接连接符 5"/>
            <p:cNvCxnSpPr/>
            <p:nvPr/>
          </p:nvCxnSpPr>
          <p:spPr>
            <a:xfrm>
              <a:off x="7030818" y="1190227"/>
              <a:ext cx="0" cy="681949"/>
            </a:xfrm>
            <a:prstGeom prst="line">
              <a:avLst/>
            </a:prstGeom>
            <a:ln w="12700" cap="rnd">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
          <p:nvSpPr>
            <p:cNvPr id="7" name="任意多边形: 形状 6"/>
            <p:cNvSpPr/>
            <p:nvPr/>
          </p:nvSpPr>
          <p:spPr>
            <a:xfrm>
              <a:off x="3669658" y="1872177"/>
              <a:ext cx="6523226" cy="729296"/>
            </a:xfrm>
            <a:custGeom>
              <a:avLst/>
              <a:gdLst>
                <a:gd name="connsiteX0" fmla="*/ 0 w 7855027"/>
                <a:gd name="connsiteY0" fmla="*/ 108776 h 2635713"/>
                <a:gd name="connsiteX1" fmla="*/ 108776 w 7855027"/>
                <a:gd name="connsiteY1" fmla="*/ 0 h 2635713"/>
                <a:gd name="connsiteX2" fmla="*/ 7746251 w 7855027"/>
                <a:gd name="connsiteY2" fmla="*/ 0 h 2635713"/>
                <a:gd name="connsiteX3" fmla="*/ 7855027 w 7855027"/>
                <a:gd name="connsiteY3" fmla="*/ 108776 h 2635713"/>
                <a:gd name="connsiteX4" fmla="*/ 7855027 w 7855027"/>
                <a:gd name="connsiteY4" fmla="*/ 2526937 h 2635713"/>
                <a:gd name="connsiteX5" fmla="*/ 7746251 w 7855027"/>
                <a:gd name="connsiteY5" fmla="*/ 2635713 h 2635713"/>
                <a:gd name="connsiteX6" fmla="*/ 108776 w 7855027"/>
                <a:gd name="connsiteY6" fmla="*/ 2635713 h 2635713"/>
                <a:gd name="connsiteX7" fmla="*/ 0 w 7855027"/>
                <a:gd name="connsiteY7" fmla="*/ 2526937 h 2635713"/>
                <a:gd name="connsiteX8" fmla="*/ 0 w 7855027"/>
                <a:gd name="connsiteY8" fmla="*/ 108776 h 2635713"/>
                <a:gd name="connsiteX0-1" fmla="*/ 0 w 7855027"/>
                <a:gd name="connsiteY0-2" fmla="*/ 108776 h 2635713"/>
                <a:gd name="connsiteX1-3" fmla="*/ 108776 w 7855027"/>
                <a:gd name="connsiteY1-4" fmla="*/ 0 h 2635713"/>
                <a:gd name="connsiteX2-5" fmla="*/ 7746251 w 7855027"/>
                <a:gd name="connsiteY2-6" fmla="*/ 0 h 2635713"/>
                <a:gd name="connsiteX3-7" fmla="*/ 7855027 w 7855027"/>
                <a:gd name="connsiteY3-8" fmla="*/ 108776 h 2635713"/>
                <a:gd name="connsiteX4-9" fmla="*/ 7855027 w 7855027"/>
                <a:gd name="connsiteY4-10" fmla="*/ 2526937 h 2635713"/>
                <a:gd name="connsiteX5-11" fmla="*/ 7746251 w 7855027"/>
                <a:gd name="connsiteY5-12" fmla="*/ 2635713 h 2635713"/>
                <a:gd name="connsiteX6-13" fmla="*/ 0 w 7855027"/>
                <a:gd name="connsiteY6-14" fmla="*/ 2526937 h 2635713"/>
                <a:gd name="connsiteX7-15" fmla="*/ 0 w 7855027"/>
                <a:gd name="connsiteY7-16" fmla="*/ 108776 h 2635713"/>
                <a:gd name="connsiteX0-17" fmla="*/ 7746251 w 7855027"/>
                <a:gd name="connsiteY0-18" fmla="*/ 2635713 h 2727153"/>
                <a:gd name="connsiteX1-19" fmla="*/ 0 w 7855027"/>
                <a:gd name="connsiteY1-20" fmla="*/ 2526937 h 2727153"/>
                <a:gd name="connsiteX2-21" fmla="*/ 0 w 7855027"/>
                <a:gd name="connsiteY2-22" fmla="*/ 108776 h 2727153"/>
                <a:gd name="connsiteX3-23" fmla="*/ 108776 w 7855027"/>
                <a:gd name="connsiteY3-24" fmla="*/ 0 h 2727153"/>
                <a:gd name="connsiteX4-25" fmla="*/ 7746251 w 7855027"/>
                <a:gd name="connsiteY4-26" fmla="*/ 0 h 2727153"/>
                <a:gd name="connsiteX5-27" fmla="*/ 7855027 w 7855027"/>
                <a:gd name="connsiteY5-28" fmla="*/ 108776 h 2727153"/>
                <a:gd name="connsiteX6-29" fmla="*/ 7855027 w 7855027"/>
                <a:gd name="connsiteY6-30" fmla="*/ 2526937 h 2727153"/>
                <a:gd name="connsiteX7-31" fmla="*/ 7837691 w 7855027"/>
                <a:gd name="connsiteY7-32" fmla="*/ 2727153 h 2727153"/>
                <a:gd name="connsiteX0-33" fmla="*/ 0 w 7855027"/>
                <a:gd name="connsiteY0-34" fmla="*/ 2526937 h 2727153"/>
                <a:gd name="connsiteX1-35" fmla="*/ 0 w 7855027"/>
                <a:gd name="connsiteY1-36" fmla="*/ 108776 h 2727153"/>
                <a:gd name="connsiteX2-37" fmla="*/ 108776 w 7855027"/>
                <a:gd name="connsiteY2-38" fmla="*/ 0 h 2727153"/>
                <a:gd name="connsiteX3-39" fmla="*/ 7746251 w 7855027"/>
                <a:gd name="connsiteY3-40" fmla="*/ 0 h 2727153"/>
                <a:gd name="connsiteX4-41" fmla="*/ 7855027 w 7855027"/>
                <a:gd name="connsiteY4-42" fmla="*/ 108776 h 2727153"/>
                <a:gd name="connsiteX5-43" fmla="*/ 7855027 w 7855027"/>
                <a:gd name="connsiteY5-44" fmla="*/ 2526937 h 2727153"/>
                <a:gd name="connsiteX6-45" fmla="*/ 7837691 w 7855027"/>
                <a:gd name="connsiteY6-46" fmla="*/ 2727153 h 2727153"/>
                <a:gd name="connsiteX0-47" fmla="*/ 0 w 7855027"/>
                <a:gd name="connsiteY0-48" fmla="*/ 2526937 h 2526937"/>
                <a:gd name="connsiteX1-49" fmla="*/ 0 w 7855027"/>
                <a:gd name="connsiteY1-50" fmla="*/ 108776 h 2526937"/>
                <a:gd name="connsiteX2-51" fmla="*/ 108776 w 7855027"/>
                <a:gd name="connsiteY2-52" fmla="*/ 0 h 2526937"/>
                <a:gd name="connsiteX3-53" fmla="*/ 7746251 w 7855027"/>
                <a:gd name="connsiteY3-54" fmla="*/ 0 h 2526937"/>
                <a:gd name="connsiteX4-55" fmla="*/ 7855027 w 7855027"/>
                <a:gd name="connsiteY4-56" fmla="*/ 108776 h 2526937"/>
                <a:gd name="connsiteX5-57" fmla="*/ 7855027 w 7855027"/>
                <a:gd name="connsiteY5-58" fmla="*/ 2526937 h 2526937"/>
                <a:gd name="connsiteX0-59" fmla="*/ 0 w 7855027"/>
                <a:gd name="connsiteY0-60" fmla="*/ 2526937 h 2526937"/>
                <a:gd name="connsiteX1-61" fmla="*/ 1837 w 7855027"/>
                <a:gd name="connsiteY1-62" fmla="*/ 1465556 h 2526937"/>
                <a:gd name="connsiteX2-63" fmla="*/ 0 w 7855027"/>
                <a:gd name="connsiteY2-64" fmla="*/ 108776 h 2526937"/>
                <a:gd name="connsiteX3-65" fmla="*/ 108776 w 7855027"/>
                <a:gd name="connsiteY3-66" fmla="*/ 0 h 2526937"/>
                <a:gd name="connsiteX4-67" fmla="*/ 7746251 w 7855027"/>
                <a:gd name="connsiteY4-68" fmla="*/ 0 h 2526937"/>
                <a:gd name="connsiteX5-69" fmla="*/ 7855027 w 7855027"/>
                <a:gd name="connsiteY5-70" fmla="*/ 108776 h 2526937"/>
                <a:gd name="connsiteX6-71" fmla="*/ 7855027 w 7855027"/>
                <a:gd name="connsiteY6-72" fmla="*/ 2526937 h 2526937"/>
                <a:gd name="connsiteX0-73" fmla="*/ 0 w 7855027"/>
                <a:gd name="connsiteY0-74" fmla="*/ 2526937 h 2526937"/>
                <a:gd name="connsiteX1-75" fmla="*/ 1837 w 7855027"/>
                <a:gd name="connsiteY1-76" fmla="*/ 1465556 h 2526937"/>
                <a:gd name="connsiteX2-77" fmla="*/ 0 w 7855027"/>
                <a:gd name="connsiteY2-78" fmla="*/ 108776 h 2526937"/>
                <a:gd name="connsiteX3-79" fmla="*/ 108776 w 7855027"/>
                <a:gd name="connsiteY3-80" fmla="*/ 0 h 2526937"/>
                <a:gd name="connsiteX4-81" fmla="*/ 7746251 w 7855027"/>
                <a:gd name="connsiteY4-82" fmla="*/ 0 h 2526937"/>
                <a:gd name="connsiteX5-83" fmla="*/ 7855027 w 7855027"/>
                <a:gd name="connsiteY5-84" fmla="*/ 108776 h 2526937"/>
                <a:gd name="connsiteX6-85" fmla="*/ 7845847 w 7855027"/>
                <a:gd name="connsiteY6-86" fmla="*/ 1465556 h 2526937"/>
                <a:gd name="connsiteX7-87" fmla="*/ 7855027 w 7855027"/>
                <a:gd name="connsiteY7-88" fmla="*/ 2526937 h 2526937"/>
                <a:gd name="connsiteX0-89" fmla="*/ 0 w 7855027"/>
                <a:gd name="connsiteY0-90" fmla="*/ 2526937 h 2526937"/>
                <a:gd name="connsiteX1-91" fmla="*/ 1837 w 7855027"/>
                <a:gd name="connsiteY1-92" fmla="*/ 1465556 h 2526937"/>
                <a:gd name="connsiteX2-93" fmla="*/ 0 w 7855027"/>
                <a:gd name="connsiteY2-94" fmla="*/ 108776 h 2526937"/>
                <a:gd name="connsiteX3-95" fmla="*/ 108776 w 7855027"/>
                <a:gd name="connsiteY3-96" fmla="*/ 0 h 2526937"/>
                <a:gd name="connsiteX4-97" fmla="*/ 7746251 w 7855027"/>
                <a:gd name="connsiteY4-98" fmla="*/ 0 h 2526937"/>
                <a:gd name="connsiteX5-99" fmla="*/ 7855027 w 7855027"/>
                <a:gd name="connsiteY5-100" fmla="*/ 108776 h 2526937"/>
                <a:gd name="connsiteX6-101" fmla="*/ 7845847 w 7855027"/>
                <a:gd name="connsiteY6-102" fmla="*/ 1465556 h 2526937"/>
                <a:gd name="connsiteX0-103" fmla="*/ 1837 w 7855027"/>
                <a:gd name="connsiteY0-104" fmla="*/ 1465556 h 1465556"/>
                <a:gd name="connsiteX1-105" fmla="*/ 0 w 7855027"/>
                <a:gd name="connsiteY1-106" fmla="*/ 108776 h 1465556"/>
                <a:gd name="connsiteX2-107" fmla="*/ 108776 w 7855027"/>
                <a:gd name="connsiteY2-108" fmla="*/ 0 h 1465556"/>
                <a:gd name="connsiteX3-109" fmla="*/ 7746251 w 7855027"/>
                <a:gd name="connsiteY3-110" fmla="*/ 0 h 1465556"/>
                <a:gd name="connsiteX4-111" fmla="*/ 7855027 w 7855027"/>
                <a:gd name="connsiteY4-112" fmla="*/ 108776 h 1465556"/>
                <a:gd name="connsiteX5-113" fmla="*/ 7845847 w 7855027"/>
                <a:gd name="connsiteY5-114" fmla="*/ 1465556 h 1465556"/>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Lst>
              <a:rect l="l" t="t" r="r" b="b"/>
              <a:pathLst>
                <a:path w="7855027" h="1465556">
                  <a:moveTo>
                    <a:pt x="1837" y="1465556"/>
                  </a:moveTo>
                  <a:cubicBezTo>
                    <a:pt x="1225" y="1013296"/>
                    <a:pt x="612" y="561036"/>
                    <a:pt x="0" y="108776"/>
                  </a:cubicBezTo>
                  <a:cubicBezTo>
                    <a:pt x="0" y="48701"/>
                    <a:pt x="48701" y="0"/>
                    <a:pt x="108776" y="0"/>
                  </a:cubicBezTo>
                  <a:lnTo>
                    <a:pt x="7746251" y="0"/>
                  </a:lnTo>
                  <a:cubicBezTo>
                    <a:pt x="7806326" y="0"/>
                    <a:pt x="7855027" y="48701"/>
                    <a:pt x="7855027" y="108776"/>
                  </a:cubicBezTo>
                  <a:lnTo>
                    <a:pt x="7845847" y="1465556"/>
                  </a:lnTo>
                </a:path>
              </a:pathLst>
            </a:custGeom>
            <a:noFill/>
            <a:ln w="12700" cap="rnd">
              <a:solidFill>
                <a:schemeClr val="bg1">
                  <a:lumMod val="85000"/>
                </a:schemeClr>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endParaRPr>
            </a:p>
          </p:txBody>
        </p:sp>
        <p:sp>
          <p:nvSpPr>
            <p:cNvPr id="3" name="矩形 2"/>
            <p:cNvSpPr/>
            <p:nvPr/>
          </p:nvSpPr>
          <p:spPr>
            <a:xfrm>
              <a:off x="660400" y="3497118"/>
              <a:ext cx="2605584" cy="2636982"/>
            </a:xfrm>
            <a:prstGeom prst="rect">
              <a:avLst/>
            </a:prstGeom>
            <a:solidFill>
              <a:schemeClr val="tx1">
                <a:alpha val="5000"/>
              </a:schemeClr>
            </a:solidFill>
            <a:ln w="190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endParaRPr>
            </a:p>
          </p:txBody>
        </p:sp>
        <p:sp>
          <p:nvSpPr>
            <p:cNvPr id="9" name="矩形 8"/>
            <p:cNvSpPr/>
            <p:nvPr/>
          </p:nvSpPr>
          <p:spPr>
            <a:xfrm>
              <a:off x="880141" y="4357393"/>
              <a:ext cx="2166104" cy="987130"/>
            </a:xfrm>
            <a:prstGeom prst="rect">
              <a:avLst/>
            </a:prstGeom>
            <a:ln>
              <a:noFill/>
            </a:ln>
          </p:spPr>
          <p:txBody>
            <a:bodyPr wrap="square" lIns="91440" tIns="45720" rIns="91440" bIns="45720" anchor="t">
              <a:sp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50000"/>
                </a:lnSpc>
              </a:pPr>
              <a:r>
                <a:rPr lang="en-US" altLang="zh-CN" sz="1000" dirty="0">
                  <a:latin typeface="Arial" panose="020B0604020202090204" pitchFamily="34" charset="0"/>
                  <a:ea typeface="华文楷体" panose="02010600040101010101" pitchFamily="2" charset="-122"/>
                </a:rPr>
                <a:t>Copy paste fonts. Choose the only option to retain text Adjust the spacing to adapt to Chinese typesetting</a:t>
              </a:r>
              <a:endParaRPr lang="en-US" altLang="zh-CN" sz="1000" dirty="0">
                <a:latin typeface="Arial" panose="020B0604020202090204" pitchFamily="34" charset="0"/>
                <a:ea typeface="华文楷体" panose="02010600040101010101" pitchFamily="2" charset="-122"/>
              </a:endParaRPr>
            </a:p>
          </p:txBody>
        </p:sp>
        <p:sp>
          <p:nvSpPr>
            <p:cNvPr id="10" name="文本框 9"/>
            <p:cNvSpPr txBox="1"/>
            <p:nvPr/>
          </p:nvSpPr>
          <p:spPr>
            <a:xfrm>
              <a:off x="880141" y="3954848"/>
              <a:ext cx="2166104" cy="446435"/>
            </a:xfrm>
            <a:prstGeom prst="rect">
              <a:avLst/>
            </a:prstGeom>
            <a:noFill/>
            <a:ln>
              <a:noFill/>
            </a:ln>
          </p:spPr>
          <p:txBody>
            <a:bodyPr wrap="square" lIns="91440" tIns="45720" rIns="91440" bIns="45720" anchor="ctr"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3765" rtl="0" eaLnBrk="1" fontAlgn="auto" latinLnBrk="0" hangingPunct="1">
                <a:lnSpc>
                  <a:spcPct val="100000"/>
                </a:lnSpc>
                <a:spcBef>
                  <a:spcPts val="0"/>
                </a:spcBef>
                <a:spcAft>
                  <a:spcPts val="0"/>
                </a:spcAft>
                <a:buClrTx/>
                <a:buSzPct val="25000"/>
                <a:buFontTx/>
                <a:buNone/>
                <a:defRPr/>
              </a:pPr>
              <a:r>
                <a:rPr kumimoji="0" lang="en-US" sz="1600" b="1" i="0" u="none" strike="noStrike" kern="1200" cap="none" spc="0" normalizeH="0" baseline="0" noProof="0" dirty="0">
                  <a:ln>
                    <a:noFill/>
                  </a:ln>
                  <a:effectLst/>
                  <a:uLnTx/>
                  <a:uFillTx/>
                  <a:latin typeface="Arial" panose="020B0604020202090204" pitchFamily="34" charset="0"/>
                  <a:ea typeface="华文楷体" panose="02010600040101010101" pitchFamily="2" charset="-122"/>
                </a:rPr>
                <a:t>Text here</a:t>
              </a:r>
              <a:endParaRPr kumimoji="0" lang="en-US" sz="1600" b="1" i="0" u="none" strike="noStrike" kern="1200" cap="none" spc="0" normalizeH="0" baseline="0" noProof="0" dirty="0">
                <a:ln>
                  <a:noFill/>
                </a:ln>
                <a:effectLst/>
                <a:uLnTx/>
                <a:uFillTx/>
                <a:latin typeface="Arial" panose="020B0604020202090204" pitchFamily="34" charset="0"/>
                <a:ea typeface="华文楷体" panose="02010600040101010101" pitchFamily="2" charset="-122"/>
              </a:endParaRPr>
            </a:p>
          </p:txBody>
        </p:sp>
        <p:sp>
          <p:nvSpPr>
            <p:cNvPr id="13" name="文本框 12"/>
            <p:cNvSpPr txBox="1"/>
            <p:nvPr/>
          </p:nvSpPr>
          <p:spPr>
            <a:xfrm>
              <a:off x="5888655" y="1167168"/>
              <a:ext cx="2309542" cy="338554"/>
            </a:xfrm>
            <a:prstGeom prst="rect">
              <a:avLst/>
            </a:prstGeom>
            <a:gradFill>
              <a:gsLst>
                <a:gs pos="0">
                  <a:schemeClr val="accent1">
                    <a:lumMod val="60000"/>
                    <a:lumOff val="40000"/>
                  </a:schemeClr>
                </a:gs>
                <a:gs pos="60000">
                  <a:schemeClr val="accent1"/>
                </a:gs>
              </a:gsLst>
              <a:lin ang="2700000" scaled="0"/>
            </a:gradFill>
            <a:ln w="57150" cap="rnd">
              <a:noFill/>
              <a:prstDash val="solid"/>
              <a:round/>
            </a:ln>
            <a:effectLst>
              <a:outerShdw blurRad="76200" dist="50800" dir="5400000" algn="ctr" rotWithShape="0">
                <a:schemeClr val="accent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spAutoFit/>
            </a:bodyPr>
            <a:lstStyle>
              <a:defPPr>
                <a:defRPr lang="zh-CN"/>
              </a:defPPr>
              <a:lvl1pPr algn="ctr" defTabSz="913765">
                <a:defRPr sz="1600" b="1">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latin typeface="Arial" panose="020B0604020202090204" pitchFamily="34" charset="0"/>
                  <a:ea typeface="华文楷体" panose="02010600040101010101" pitchFamily="2" charset="-122"/>
                </a:rPr>
                <a:t>Text here</a:t>
              </a:r>
              <a:endParaRPr lang="en-US" dirty="0">
                <a:latin typeface="Arial" panose="020B0604020202090204" pitchFamily="34" charset="0"/>
                <a:ea typeface="华文楷体" panose="02010600040101010101" pitchFamily="2" charset="-122"/>
              </a:endParaRPr>
            </a:p>
          </p:txBody>
        </p:sp>
        <p:sp>
          <p:nvSpPr>
            <p:cNvPr id="14" name="文本框 13"/>
            <p:cNvSpPr txBox="1"/>
            <p:nvPr/>
          </p:nvSpPr>
          <p:spPr>
            <a:xfrm>
              <a:off x="2716232" y="2273851"/>
              <a:ext cx="1912963" cy="412290"/>
            </a:xfrm>
            <a:prstGeom prst="rect">
              <a:avLst/>
            </a:prstGeom>
            <a:gradFill>
              <a:gsLst>
                <a:gs pos="0">
                  <a:schemeClr val="accent2">
                    <a:lumMod val="60000"/>
                    <a:lumOff val="40000"/>
                  </a:schemeClr>
                </a:gs>
                <a:gs pos="60000">
                  <a:schemeClr val="accent2"/>
                </a:gs>
              </a:gsLst>
              <a:lin ang="2700000" scaled="0"/>
            </a:gradFill>
            <a:ln w="57150" cap="rnd">
              <a:noFill/>
              <a:prstDash val="solid"/>
              <a:round/>
            </a:ln>
            <a:effectLst>
              <a:outerShdw blurRad="76200" dist="50800" dir="5400000" algn="ctr" rotWithShape="0">
                <a:schemeClr val="accent2">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algn="ctr" defTabSz="913765">
                <a:defRPr sz="1600" b="1">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latin typeface="Arial" panose="020B0604020202090204" pitchFamily="34" charset="0"/>
                  <a:ea typeface="华文楷体" panose="02010600040101010101" pitchFamily="2" charset="-122"/>
                </a:rPr>
                <a:t>Text here</a:t>
              </a:r>
              <a:endParaRPr lang="en-US" dirty="0">
                <a:latin typeface="Arial" panose="020B0604020202090204" pitchFamily="34" charset="0"/>
                <a:ea typeface="华文楷体" panose="02010600040101010101" pitchFamily="2" charset="-122"/>
              </a:endParaRPr>
            </a:p>
          </p:txBody>
        </p:sp>
        <p:sp>
          <p:nvSpPr>
            <p:cNvPr id="2" name="矩形 1"/>
            <p:cNvSpPr/>
            <p:nvPr/>
          </p:nvSpPr>
          <p:spPr>
            <a:xfrm>
              <a:off x="4047444" y="3497118"/>
              <a:ext cx="2605584" cy="2636982"/>
            </a:xfrm>
            <a:prstGeom prst="rect">
              <a:avLst/>
            </a:prstGeom>
            <a:solidFill>
              <a:schemeClr val="tx1">
                <a:alpha val="5000"/>
              </a:schemeClr>
            </a:solidFill>
            <a:ln w="190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endParaRPr>
            </a:p>
          </p:txBody>
        </p:sp>
        <p:sp>
          <p:nvSpPr>
            <p:cNvPr id="11" name="矩形 10"/>
            <p:cNvSpPr/>
            <p:nvPr/>
          </p:nvSpPr>
          <p:spPr>
            <a:xfrm>
              <a:off x="4267184" y="4357393"/>
              <a:ext cx="2166104" cy="987130"/>
            </a:xfrm>
            <a:prstGeom prst="rect">
              <a:avLst/>
            </a:prstGeom>
            <a:ln>
              <a:noFill/>
            </a:ln>
          </p:spPr>
          <p:txBody>
            <a:bodyPr wrap="square" lIns="91440" tIns="45720" rIns="91440" bIns="45720" anchor="t">
              <a:sp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50000"/>
                </a:lnSpc>
              </a:pPr>
              <a:r>
                <a:rPr lang="en-US" altLang="zh-CN" sz="1000" dirty="0">
                  <a:latin typeface="Arial" panose="020B0604020202090204" pitchFamily="34" charset="0"/>
                  <a:ea typeface="华文楷体" panose="02010600040101010101" pitchFamily="2" charset="-122"/>
                </a:rPr>
                <a:t>Copy paste fonts. Choose the only option to retain text Adjust the spacing to adapt to Chinese typesetting</a:t>
              </a:r>
              <a:endParaRPr lang="en-US" altLang="zh-CN" sz="1000" dirty="0">
                <a:latin typeface="Arial" panose="020B0604020202090204" pitchFamily="34" charset="0"/>
                <a:ea typeface="华文楷体" panose="02010600040101010101" pitchFamily="2" charset="-122"/>
              </a:endParaRPr>
            </a:p>
          </p:txBody>
        </p:sp>
        <p:sp>
          <p:nvSpPr>
            <p:cNvPr id="12" name="文本框 11"/>
            <p:cNvSpPr txBox="1"/>
            <p:nvPr/>
          </p:nvSpPr>
          <p:spPr>
            <a:xfrm>
              <a:off x="4267184" y="3954848"/>
              <a:ext cx="2166104" cy="446435"/>
            </a:xfrm>
            <a:prstGeom prst="rect">
              <a:avLst/>
            </a:prstGeom>
            <a:noFill/>
            <a:ln>
              <a:noFill/>
            </a:ln>
          </p:spPr>
          <p:txBody>
            <a:bodyPr wrap="square" lIns="91440" tIns="45720" rIns="91440" bIns="45720" anchor="ctr"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3765" rtl="0" eaLnBrk="1" fontAlgn="auto" latinLnBrk="0" hangingPunct="1">
                <a:lnSpc>
                  <a:spcPct val="100000"/>
                </a:lnSpc>
                <a:spcBef>
                  <a:spcPts val="0"/>
                </a:spcBef>
                <a:spcAft>
                  <a:spcPts val="0"/>
                </a:spcAft>
                <a:buClrTx/>
                <a:buSzPct val="25000"/>
                <a:buFontTx/>
                <a:buNone/>
                <a:defRPr/>
              </a:pPr>
              <a:r>
                <a:rPr kumimoji="0" lang="en-US" sz="1600" b="1" i="0" u="none" strike="noStrike" kern="1200" cap="none" spc="0" normalizeH="0" baseline="0" noProof="0" dirty="0">
                  <a:ln>
                    <a:noFill/>
                  </a:ln>
                  <a:effectLst/>
                  <a:uLnTx/>
                  <a:uFillTx/>
                  <a:latin typeface="Arial" panose="020B0604020202090204" pitchFamily="34" charset="0"/>
                  <a:ea typeface="华文楷体" panose="02010600040101010101" pitchFamily="2" charset="-122"/>
                </a:rPr>
                <a:t>Text here</a:t>
              </a:r>
              <a:endParaRPr kumimoji="0" lang="en-US" sz="1600" b="1" i="0" u="none" strike="noStrike" kern="1200" cap="none" spc="0" normalizeH="0" baseline="0" noProof="0" dirty="0">
                <a:ln>
                  <a:noFill/>
                </a:ln>
                <a:effectLst/>
                <a:uLnTx/>
                <a:uFillTx/>
                <a:latin typeface="Arial" panose="020B0604020202090204" pitchFamily="34" charset="0"/>
                <a:ea typeface="华文楷体" panose="02010600040101010101" pitchFamily="2" charset="-122"/>
              </a:endParaRPr>
            </a:p>
          </p:txBody>
        </p:sp>
        <p:cxnSp>
          <p:nvCxnSpPr>
            <p:cNvPr id="18" name="直接连接符 17"/>
            <p:cNvCxnSpPr/>
            <p:nvPr/>
          </p:nvCxnSpPr>
          <p:spPr>
            <a:xfrm flipH="1">
              <a:off x="10216108" y="2251756"/>
              <a:ext cx="7895" cy="909101"/>
            </a:xfrm>
            <a:prstGeom prst="line">
              <a:avLst/>
            </a:prstGeom>
            <a:ln w="12700" cap="rnd">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
          <p:nvSpPr>
            <p:cNvPr id="17" name="矩形 16"/>
            <p:cNvSpPr/>
            <p:nvPr/>
          </p:nvSpPr>
          <p:spPr>
            <a:xfrm>
              <a:off x="8913316" y="3490821"/>
              <a:ext cx="2605584" cy="2636982"/>
            </a:xfrm>
            <a:prstGeom prst="rect">
              <a:avLst/>
            </a:prstGeom>
            <a:solidFill>
              <a:schemeClr val="tx1">
                <a:alpha val="5000"/>
              </a:schemeClr>
            </a:solidFill>
            <a:ln w="190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endParaRPr>
            </a:p>
          </p:txBody>
        </p:sp>
        <p:sp>
          <p:nvSpPr>
            <p:cNvPr id="21" name="矩形 20"/>
            <p:cNvSpPr/>
            <p:nvPr/>
          </p:nvSpPr>
          <p:spPr>
            <a:xfrm>
              <a:off x="9133057" y="4351096"/>
              <a:ext cx="2166104" cy="987130"/>
            </a:xfrm>
            <a:prstGeom prst="rect">
              <a:avLst/>
            </a:prstGeom>
            <a:ln>
              <a:noFill/>
            </a:ln>
          </p:spPr>
          <p:txBody>
            <a:bodyPr wrap="square" lIns="91440" tIns="45720" rIns="91440" bIns="45720" anchor="t">
              <a:sp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50000"/>
                </a:lnSpc>
              </a:pPr>
              <a:r>
                <a:rPr lang="en-US" altLang="zh-CN" sz="1000" dirty="0">
                  <a:latin typeface="Arial" panose="020B0604020202090204" pitchFamily="34" charset="0"/>
                  <a:ea typeface="华文楷体" panose="02010600040101010101" pitchFamily="2" charset="-122"/>
                </a:rPr>
                <a:t>Copy paste fonts. Choose the only option to retain text Adjust the spacing to adapt to Chinese typesetting</a:t>
              </a:r>
              <a:endParaRPr lang="en-US" altLang="zh-CN" sz="1000" u="sng" dirty="0">
                <a:latin typeface="Arial" panose="020B0604020202090204" pitchFamily="34" charset="0"/>
                <a:ea typeface="华文楷体" panose="02010600040101010101" pitchFamily="2" charset="-122"/>
              </a:endParaRPr>
            </a:p>
          </p:txBody>
        </p:sp>
        <p:sp>
          <p:nvSpPr>
            <p:cNvPr id="22" name="文本框 21"/>
            <p:cNvSpPr txBox="1"/>
            <p:nvPr/>
          </p:nvSpPr>
          <p:spPr>
            <a:xfrm>
              <a:off x="9133057" y="3948551"/>
              <a:ext cx="2166104" cy="446435"/>
            </a:xfrm>
            <a:prstGeom prst="rect">
              <a:avLst/>
            </a:prstGeom>
            <a:noFill/>
            <a:ln>
              <a:noFill/>
            </a:ln>
          </p:spPr>
          <p:txBody>
            <a:bodyPr wrap="square" lIns="91440" tIns="45720" rIns="91440" bIns="45720" anchor="ctr"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3765" rtl="0" eaLnBrk="1" fontAlgn="auto" latinLnBrk="0" hangingPunct="1">
                <a:lnSpc>
                  <a:spcPct val="100000"/>
                </a:lnSpc>
                <a:spcBef>
                  <a:spcPts val="0"/>
                </a:spcBef>
                <a:spcAft>
                  <a:spcPts val="0"/>
                </a:spcAft>
                <a:buClrTx/>
                <a:buSzPct val="25000"/>
                <a:buFontTx/>
                <a:buNone/>
                <a:defRPr/>
              </a:pPr>
              <a:r>
                <a:rPr kumimoji="0" lang="en-US" sz="1600" b="1" i="0" u="none" strike="noStrike" kern="1200" cap="none" spc="0" normalizeH="0" baseline="0" noProof="0" dirty="0">
                  <a:ln>
                    <a:noFill/>
                  </a:ln>
                  <a:effectLst/>
                  <a:uLnTx/>
                  <a:uFillTx/>
                  <a:latin typeface="Arial" panose="020B0604020202090204" pitchFamily="34" charset="0"/>
                  <a:ea typeface="华文楷体" panose="02010600040101010101" pitchFamily="2" charset="-122"/>
                </a:rPr>
                <a:t>Text here</a:t>
              </a:r>
              <a:endParaRPr kumimoji="0" lang="en-US" sz="1600" b="1" i="0" u="none" strike="noStrike" kern="1200" cap="none" spc="0" normalizeH="0" baseline="0" noProof="0" dirty="0">
                <a:ln>
                  <a:noFill/>
                </a:ln>
                <a:effectLst/>
                <a:uLnTx/>
                <a:uFillTx/>
                <a:latin typeface="Arial" panose="020B0604020202090204" pitchFamily="34" charset="0"/>
                <a:ea typeface="华文楷体" panose="02010600040101010101" pitchFamily="2" charset="-122"/>
              </a:endParaRPr>
            </a:p>
          </p:txBody>
        </p:sp>
        <p:sp>
          <p:nvSpPr>
            <p:cNvPr id="25" name="文本框 24"/>
            <p:cNvSpPr txBox="1"/>
            <p:nvPr/>
          </p:nvSpPr>
          <p:spPr>
            <a:xfrm>
              <a:off x="9270578" y="2267554"/>
              <a:ext cx="1912963" cy="412290"/>
            </a:xfrm>
            <a:prstGeom prst="rect">
              <a:avLst/>
            </a:prstGeom>
            <a:gradFill>
              <a:gsLst>
                <a:gs pos="0">
                  <a:schemeClr val="accent3">
                    <a:lumMod val="60000"/>
                    <a:lumOff val="40000"/>
                  </a:schemeClr>
                </a:gs>
                <a:gs pos="60000">
                  <a:schemeClr val="accent3"/>
                </a:gs>
              </a:gsLst>
              <a:lin ang="2700000" scaled="0"/>
            </a:gradFill>
            <a:ln w="57150" cap="rnd">
              <a:noFill/>
              <a:prstDash val="solid"/>
              <a:round/>
            </a:ln>
            <a:effectLst>
              <a:outerShdw blurRad="76200" dist="50800" dir="5400000" algn="ctr" rotWithShape="0">
                <a:schemeClr val="accent3">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algn="ctr" defTabSz="913765">
                <a:defRPr sz="1600" b="1">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latin typeface="Arial" panose="020B0604020202090204" pitchFamily="34" charset="0"/>
                  <a:ea typeface="华文楷体" panose="02010600040101010101" pitchFamily="2" charset="-122"/>
                </a:rPr>
                <a:t>Text here</a:t>
              </a:r>
              <a:endParaRPr lang="en-US" dirty="0">
                <a:latin typeface="Arial" panose="020B0604020202090204" pitchFamily="34" charset="0"/>
                <a:ea typeface="华文楷体" panose="02010600040101010101" pitchFamily="2" charset="-122"/>
              </a:endParaRPr>
            </a:p>
          </p:txBody>
        </p:sp>
        <p:sp>
          <p:nvSpPr>
            <p:cNvPr id="26" name="矩形 25"/>
            <p:cNvSpPr/>
            <p:nvPr/>
          </p:nvSpPr>
          <p:spPr>
            <a:xfrm>
              <a:off x="1712592" y="3212466"/>
              <a:ext cx="552970" cy="552970"/>
            </a:xfrm>
            <a:prstGeom prst="rect">
              <a:avLst/>
            </a:prstGeom>
            <a:gradFill>
              <a:gsLst>
                <a:gs pos="0">
                  <a:schemeClr val="accent2">
                    <a:lumMod val="60000"/>
                    <a:lumOff val="40000"/>
                  </a:schemeClr>
                </a:gs>
                <a:gs pos="60000">
                  <a:schemeClr val="accent2"/>
                </a:gs>
              </a:gsLst>
              <a:lin ang="2700000" scaled="0"/>
            </a:gradFill>
            <a:ln w="57150" cap="rnd">
              <a:noFill/>
              <a:prstDash val="solid"/>
              <a:round/>
            </a:ln>
            <a:effectLst>
              <a:outerShdw blurRad="76200" dist="50800" dir="5400000" algn="ctr" rotWithShape="0">
                <a:schemeClr val="accent2">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3765"/>
              <a:r>
                <a:rPr lang="en-US" altLang="zh-CN" sz="1600" b="1" dirty="0">
                  <a:solidFill>
                    <a:schemeClr val="bg1"/>
                  </a:solidFill>
                  <a:latin typeface="Arial" panose="020B0604020202090204" pitchFamily="34" charset="0"/>
                  <a:ea typeface="华文楷体" panose="02010600040101010101" pitchFamily="2" charset="-122"/>
                </a:rPr>
                <a:t>01</a:t>
              </a:r>
              <a:endParaRPr lang="zh-CN" altLang="en-US" sz="1600" b="1" dirty="0">
                <a:solidFill>
                  <a:schemeClr val="bg1"/>
                </a:solidFill>
                <a:latin typeface="Arial" panose="020B0604020202090204" pitchFamily="34" charset="0"/>
                <a:ea typeface="华文楷体" panose="02010600040101010101" pitchFamily="2" charset="-122"/>
              </a:endParaRPr>
            </a:p>
          </p:txBody>
        </p:sp>
        <p:sp>
          <p:nvSpPr>
            <p:cNvPr id="27" name="矩形 26"/>
            <p:cNvSpPr/>
            <p:nvPr/>
          </p:nvSpPr>
          <p:spPr>
            <a:xfrm>
              <a:off x="5073751" y="3212466"/>
              <a:ext cx="552970" cy="552970"/>
            </a:xfrm>
            <a:prstGeom prst="rect">
              <a:avLst/>
            </a:prstGeom>
            <a:gradFill>
              <a:gsLst>
                <a:gs pos="0">
                  <a:schemeClr val="accent2">
                    <a:lumMod val="60000"/>
                    <a:lumOff val="40000"/>
                  </a:schemeClr>
                </a:gs>
                <a:gs pos="60000">
                  <a:schemeClr val="accent2"/>
                </a:gs>
              </a:gsLst>
              <a:lin ang="2700000" scaled="0"/>
            </a:gradFill>
            <a:ln w="57150" cap="rnd">
              <a:noFill/>
              <a:prstDash val="solid"/>
              <a:round/>
            </a:ln>
            <a:effectLst>
              <a:outerShdw blurRad="76200" dist="50800" dir="5400000" algn="ctr" rotWithShape="0">
                <a:schemeClr val="accent2">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3765"/>
              <a:r>
                <a:rPr lang="en-US" altLang="zh-CN" sz="1600" b="1" dirty="0">
                  <a:solidFill>
                    <a:schemeClr val="bg1"/>
                  </a:solidFill>
                  <a:latin typeface="Arial" panose="020B0604020202090204" pitchFamily="34" charset="0"/>
                  <a:ea typeface="华文楷体" panose="02010600040101010101" pitchFamily="2" charset="-122"/>
                </a:rPr>
                <a:t>02</a:t>
              </a:r>
              <a:endParaRPr lang="zh-CN" altLang="en-US" sz="1600" b="1" dirty="0">
                <a:solidFill>
                  <a:schemeClr val="bg1"/>
                </a:solidFill>
                <a:latin typeface="Arial" panose="020B0604020202090204" pitchFamily="34" charset="0"/>
                <a:ea typeface="华文楷体" panose="02010600040101010101" pitchFamily="2" charset="-122"/>
              </a:endParaRPr>
            </a:p>
          </p:txBody>
        </p:sp>
        <p:sp>
          <p:nvSpPr>
            <p:cNvPr id="28" name="矩形 27"/>
            <p:cNvSpPr/>
            <p:nvPr/>
          </p:nvSpPr>
          <p:spPr>
            <a:xfrm>
              <a:off x="9947518" y="3212466"/>
              <a:ext cx="552970" cy="552970"/>
            </a:xfrm>
            <a:prstGeom prst="rect">
              <a:avLst/>
            </a:prstGeom>
            <a:gradFill>
              <a:gsLst>
                <a:gs pos="0">
                  <a:schemeClr val="accent3">
                    <a:lumMod val="60000"/>
                    <a:lumOff val="40000"/>
                  </a:schemeClr>
                </a:gs>
                <a:gs pos="60000">
                  <a:schemeClr val="accent3"/>
                </a:gs>
              </a:gsLst>
              <a:lin ang="2700000" scaled="0"/>
            </a:gradFill>
            <a:ln w="57150" cap="rnd">
              <a:noFill/>
              <a:prstDash val="solid"/>
              <a:round/>
            </a:ln>
            <a:effectLst>
              <a:outerShdw blurRad="76200" dist="50800" dir="5400000" algn="ctr" rotWithShape="0">
                <a:schemeClr val="accent3">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3765"/>
              <a:r>
                <a:rPr lang="en-US" altLang="zh-CN" sz="1600" b="1">
                  <a:solidFill>
                    <a:schemeClr val="bg1"/>
                  </a:solidFill>
                  <a:latin typeface="Arial" panose="020B0604020202090204" pitchFamily="34" charset="0"/>
                  <a:ea typeface="华文楷体" panose="02010600040101010101" pitchFamily="2" charset="-122"/>
                </a:rPr>
                <a:t>03</a:t>
              </a:r>
              <a:endParaRPr lang="zh-CN" altLang="en-US" sz="1600" b="1" dirty="0">
                <a:solidFill>
                  <a:schemeClr val="bg1"/>
                </a:solidFill>
                <a:latin typeface="Arial" panose="020B0604020202090204" pitchFamily="34" charset="0"/>
                <a:ea typeface="华文楷体" panose="02010600040101010101" pitchFamily="2" charset="-122"/>
              </a:endParaRPr>
            </a:p>
          </p:txBody>
        </p:sp>
      </p:grpSp>
    </p:spTree>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660400" y="1130300"/>
            <a:ext cx="10858500" cy="4709953"/>
            <a:chOff x="660400" y="1130300"/>
            <a:chExt cx="10858500" cy="4709953"/>
          </a:xfrm>
        </p:grpSpPr>
        <p:sp>
          <p:nvSpPr>
            <p:cNvPr id="59" name="矩形: 圆角 58"/>
            <p:cNvSpPr/>
            <p:nvPr/>
          </p:nvSpPr>
          <p:spPr>
            <a:xfrm>
              <a:off x="660400" y="1955800"/>
              <a:ext cx="10858500" cy="1193800"/>
            </a:xfrm>
            <a:prstGeom prst="roundRect">
              <a:avLst>
                <a:gd name="adj" fmla="val 13100"/>
              </a:avLst>
            </a:prstGeom>
            <a:ln w="9525">
              <a:solidFill>
                <a:schemeClr val="tx1">
                  <a:lumMod val="50000"/>
                  <a:lumOff val="50000"/>
                  <a:alpha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solidFill>
                  <a:schemeClr val="tx1"/>
                </a:solidFill>
              </a:endParaRPr>
            </a:p>
          </p:txBody>
        </p:sp>
        <p:sp>
          <p:nvSpPr>
            <p:cNvPr id="5" name="文本框 4"/>
            <p:cNvSpPr txBox="1"/>
            <p:nvPr/>
          </p:nvSpPr>
          <p:spPr>
            <a:xfrm>
              <a:off x="660400" y="1130300"/>
              <a:ext cx="10858500" cy="584775"/>
            </a:xfrm>
            <a:prstGeom prst="rect">
              <a:avLst/>
            </a:prstGeom>
            <a:noFill/>
          </p:spPr>
          <p:txBody>
            <a:bodyPr wrap="square" rtlCol="0">
              <a:spAutoFit/>
            </a:bodyPr>
            <a:lstStyle/>
            <a:p>
              <a:pPr algn="ctr"/>
              <a:r>
                <a:rPr kumimoji="0" lang="en-US" altLang="zh-CN" sz="3200" b="1" i="0" u="none" strike="noStrike" kern="1200" cap="none" spc="0" normalizeH="0" baseline="0" noProof="0" dirty="0">
                  <a:ln>
                    <a:noFill/>
                  </a:ln>
                  <a:effectLst/>
                  <a:uLnTx/>
                  <a:uFillTx/>
                  <a:latin typeface="Arial" panose="020B0604020202090204" pitchFamily="34" charset="0"/>
                  <a:ea typeface="华文楷体" panose="02010600040101010101" pitchFamily="2" charset="-122"/>
                </a:rPr>
                <a:t>Unified fonts make reading more </a:t>
              </a:r>
              <a:r>
                <a:rPr kumimoji="0" lang="en-US" altLang="zh-CN" sz="3200" b="1" i="0" u="none" strike="noStrike" kern="1200" cap="none" spc="0" normalizeH="0" baseline="0" noProof="0" dirty="0">
                  <a:ln>
                    <a:noFill/>
                  </a:ln>
                  <a:solidFill>
                    <a:schemeClr val="accent1"/>
                  </a:solidFill>
                  <a:effectLst/>
                  <a:uLnTx/>
                  <a:uFillTx/>
                  <a:latin typeface="Arial" panose="020B0604020202090204" pitchFamily="34" charset="0"/>
                  <a:ea typeface="华文楷体" panose="02010600040101010101" pitchFamily="2" charset="-122"/>
                </a:rPr>
                <a:t>fluent.</a:t>
              </a:r>
              <a:endParaRPr kumimoji="0" lang="en-US" altLang="zh-CN" sz="3200" b="1" i="0" u="none" strike="noStrike" kern="1200" cap="none" spc="0" normalizeH="0" baseline="0" noProof="0" dirty="0">
                <a:ln>
                  <a:noFill/>
                </a:ln>
                <a:solidFill>
                  <a:schemeClr val="accent1"/>
                </a:solidFill>
                <a:effectLst/>
                <a:uLnTx/>
                <a:uFillTx/>
                <a:latin typeface="Arial" panose="020B0604020202090204" pitchFamily="34" charset="0"/>
                <a:ea typeface="华文楷体" panose="02010600040101010101" pitchFamily="2" charset="-122"/>
              </a:endParaRPr>
            </a:p>
          </p:txBody>
        </p:sp>
        <p:grpSp>
          <p:nvGrpSpPr>
            <p:cNvPr id="40" name="组合 39"/>
            <p:cNvGrpSpPr/>
            <p:nvPr/>
          </p:nvGrpSpPr>
          <p:grpSpPr>
            <a:xfrm>
              <a:off x="7001298" y="2097944"/>
              <a:ext cx="2553070" cy="928561"/>
              <a:chOff x="5982308" y="2097944"/>
              <a:chExt cx="2553070" cy="928561"/>
            </a:xfrm>
          </p:grpSpPr>
          <p:sp>
            <p:nvSpPr>
              <p:cNvPr id="3" name="矩形: 圆角 2"/>
              <p:cNvSpPr/>
              <p:nvPr/>
            </p:nvSpPr>
            <p:spPr>
              <a:xfrm>
                <a:off x="5982309" y="2097944"/>
                <a:ext cx="2553068" cy="369334"/>
              </a:xfrm>
              <a:prstGeom prst="roundRect">
                <a:avLst>
                  <a:gd name="adj" fmla="val 50000"/>
                </a:avLst>
              </a:prstGeom>
              <a:solidFill>
                <a:schemeClr val="tx1">
                  <a:lumMod val="50000"/>
                  <a:lumOff val="50000"/>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b="1" dirty="0">
                    <a:solidFill>
                      <a:schemeClr val="tx1"/>
                    </a:solidFill>
                    <a:latin typeface="Arial" panose="020B0604020202090204" pitchFamily="34" charset="0"/>
                    <a:ea typeface="华文楷体" panose="02010600040101010101" pitchFamily="2" charset="-122"/>
                  </a:rPr>
                  <a:t>Text here</a:t>
                </a:r>
                <a:endParaRPr lang="zh-CN" altLang="en-US" sz="1400" b="1" dirty="0">
                  <a:solidFill>
                    <a:schemeClr val="tx1"/>
                  </a:solidFill>
                  <a:latin typeface="Arial" panose="020B0604020202090204" pitchFamily="34" charset="0"/>
                  <a:ea typeface="华文楷体" panose="02010600040101010101" pitchFamily="2" charset="-122"/>
                </a:endParaRPr>
              </a:p>
            </p:txBody>
          </p:sp>
          <p:sp>
            <p:nvSpPr>
              <p:cNvPr id="4" name="文本框 3"/>
              <p:cNvSpPr txBox="1"/>
              <p:nvPr/>
            </p:nvSpPr>
            <p:spPr>
              <a:xfrm>
                <a:off x="5982308" y="2501040"/>
                <a:ext cx="2553070" cy="525465"/>
              </a:xfrm>
              <a:prstGeom prst="rect">
                <a:avLst/>
              </a:prstGeom>
              <a:noFill/>
            </p:spPr>
            <p:txBody>
              <a:bodyPr wrap="square" rtlCol="0">
                <a:spAutoFit/>
              </a:bodyPr>
              <a:lstStyle/>
              <a:p>
                <a:pPr algn="ctr">
                  <a:lnSpc>
                    <a:spcPct val="150000"/>
                  </a:lnSpc>
                </a:pPr>
                <a:r>
                  <a:rPr kumimoji="0" lang="en-US" altLang="zh-CN" sz="1000" b="0" i="0" u="none" strike="noStrike" kern="1200" cap="none" spc="0" normalizeH="0" baseline="0" noProof="0" dirty="0">
                    <a:ln>
                      <a:noFill/>
                    </a:ln>
                    <a:effectLst/>
                    <a:uLnTx/>
                    <a:uFillTx/>
                    <a:latin typeface="Arial" panose="020B0604020202090204" pitchFamily="34" charset="0"/>
                    <a:ea typeface="华文楷体" panose="02010600040101010101" pitchFamily="2" charset="-122"/>
                  </a:rPr>
                  <a:t>Theme color makes PPT more </a:t>
                </a:r>
                <a:endParaRPr kumimoji="0" lang="en-US" altLang="zh-CN" sz="1000" b="0" i="0" u="none" strike="noStrike" kern="1200" cap="none" spc="0" normalizeH="0" baseline="0" noProof="0" dirty="0">
                  <a:ln>
                    <a:noFill/>
                  </a:ln>
                  <a:effectLst/>
                  <a:uLnTx/>
                  <a:uFillTx/>
                  <a:latin typeface="Arial" panose="020B0604020202090204" pitchFamily="34" charset="0"/>
                  <a:ea typeface="华文楷体" panose="02010600040101010101" pitchFamily="2" charset="-122"/>
                </a:endParaRPr>
              </a:p>
              <a:p>
                <a:pPr algn="ctr">
                  <a:lnSpc>
                    <a:spcPct val="150000"/>
                  </a:lnSpc>
                </a:pPr>
                <a:r>
                  <a:rPr kumimoji="0" lang="en-US" altLang="zh-CN" sz="1000" b="0" i="0" u="none" strike="noStrike" kern="1200" cap="none" spc="0" normalizeH="0" baseline="0" noProof="0" dirty="0">
                    <a:ln>
                      <a:noFill/>
                    </a:ln>
                    <a:effectLst/>
                    <a:uLnTx/>
                    <a:uFillTx/>
                    <a:latin typeface="Arial" panose="020B0604020202090204" pitchFamily="34" charset="0"/>
                    <a:ea typeface="华文楷体" panose="02010600040101010101" pitchFamily="2" charset="-122"/>
                  </a:rPr>
                  <a:t>convenient to change. </a:t>
                </a:r>
                <a:endParaRPr kumimoji="0" lang="en-US" altLang="zh-CN" sz="1000" b="0" i="0" u="none" strike="noStrike" kern="1200" cap="none" spc="0" normalizeH="0" baseline="0" noProof="0" dirty="0">
                  <a:ln>
                    <a:noFill/>
                  </a:ln>
                  <a:effectLst/>
                  <a:uLnTx/>
                  <a:uFillTx/>
                  <a:latin typeface="Arial" panose="020B0604020202090204" pitchFamily="34" charset="0"/>
                  <a:ea typeface="华文楷体" panose="02010600040101010101" pitchFamily="2" charset="-122"/>
                </a:endParaRPr>
              </a:p>
            </p:txBody>
          </p:sp>
        </p:grpSp>
        <p:sp>
          <p:nvSpPr>
            <p:cNvPr id="33" name="矩形: 圆角 32"/>
            <p:cNvSpPr/>
            <p:nvPr/>
          </p:nvSpPr>
          <p:spPr>
            <a:xfrm>
              <a:off x="5410624" y="3448691"/>
              <a:ext cx="2553068" cy="369334"/>
            </a:xfrm>
            <a:prstGeom prst="roundRect">
              <a:avLst>
                <a:gd name="adj" fmla="val 50000"/>
              </a:avLst>
            </a:prstGeom>
            <a:solidFill>
              <a:schemeClr val="tx1">
                <a:lumMod val="50000"/>
                <a:lumOff val="50000"/>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b="1" dirty="0">
                  <a:solidFill>
                    <a:schemeClr val="tx1"/>
                  </a:solidFill>
                  <a:latin typeface="Arial" panose="020B0604020202090204" pitchFamily="34" charset="0"/>
                  <a:ea typeface="华文楷体" panose="02010600040101010101" pitchFamily="2" charset="-122"/>
                </a:rPr>
                <a:t>Text here</a:t>
              </a:r>
              <a:endParaRPr lang="zh-CN" altLang="en-US" sz="1400" b="1" dirty="0">
                <a:solidFill>
                  <a:schemeClr val="tx1"/>
                </a:solidFill>
                <a:latin typeface="Arial" panose="020B0604020202090204" pitchFamily="34" charset="0"/>
                <a:ea typeface="华文楷体" panose="02010600040101010101" pitchFamily="2" charset="-122"/>
              </a:endParaRPr>
            </a:p>
          </p:txBody>
        </p:sp>
        <p:sp>
          <p:nvSpPr>
            <p:cNvPr id="34" name="文本框 33"/>
            <p:cNvSpPr txBox="1"/>
            <p:nvPr/>
          </p:nvSpPr>
          <p:spPr>
            <a:xfrm>
              <a:off x="5410623" y="3851787"/>
              <a:ext cx="2553070" cy="525465"/>
            </a:xfrm>
            <a:prstGeom prst="rect">
              <a:avLst/>
            </a:prstGeom>
            <a:noFill/>
          </p:spPr>
          <p:txBody>
            <a:bodyPr wrap="square" rtlCol="0">
              <a:spAutoFit/>
            </a:bodyPr>
            <a:lstStyle/>
            <a:p>
              <a:pPr algn="ctr">
                <a:lnSpc>
                  <a:spcPct val="150000"/>
                </a:lnSpc>
              </a:pPr>
              <a:r>
                <a:rPr kumimoji="0" lang="en-US" altLang="zh-CN" sz="1000" b="0" i="0" u="none" strike="noStrike" kern="1200" cap="none" spc="0" normalizeH="0" baseline="0" noProof="0" dirty="0">
                  <a:ln>
                    <a:noFill/>
                  </a:ln>
                  <a:effectLst/>
                  <a:uLnTx/>
                  <a:uFillTx/>
                  <a:latin typeface="Arial" panose="020B0604020202090204" pitchFamily="34" charset="0"/>
                  <a:ea typeface="华文楷体" panose="02010600040101010101" pitchFamily="2" charset="-122"/>
                </a:rPr>
                <a:t>Theme color makes PPT more </a:t>
              </a:r>
              <a:endParaRPr kumimoji="0" lang="en-US" altLang="zh-CN" sz="1000" b="0" i="0" u="none" strike="noStrike" kern="1200" cap="none" spc="0" normalizeH="0" baseline="0" noProof="0" dirty="0">
                <a:ln>
                  <a:noFill/>
                </a:ln>
                <a:effectLst/>
                <a:uLnTx/>
                <a:uFillTx/>
                <a:latin typeface="Arial" panose="020B0604020202090204" pitchFamily="34" charset="0"/>
                <a:ea typeface="华文楷体" panose="02010600040101010101" pitchFamily="2" charset="-122"/>
              </a:endParaRPr>
            </a:p>
            <a:p>
              <a:pPr algn="ctr">
                <a:lnSpc>
                  <a:spcPct val="150000"/>
                </a:lnSpc>
              </a:pPr>
              <a:r>
                <a:rPr kumimoji="0" lang="en-US" altLang="zh-CN" sz="1000" b="0" i="0" u="none" strike="noStrike" kern="1200" cap="none" spc="0" normalizeH="0" baseline="0" noProof="0" dirty="0">
                  <a:ln>
                    <a:noFill/>
                  </a:ln>
                  <a:effectLst/>
                  <a:uLnTx/>
                  <a:uFillTx/>
                  <a:latin typeface="Arial" panose="020B0604020202090204" pitchFamily="34" charset="0"/>
                  <a:ea typeface="华文楷体" panose="02010600040101010101" pitchFamily="2" charset="-122"/>
                </a:rPr>
                <a:t>convenient to change. </a:t>
              </a:r>
              <a:endParaRPr kumimoji="0" lang="en-US" altLang="zh-CN" sz="1000" b="0" i="0" u="none" strike="noStrike" kern="1200" cap="none" spc="0" normalizeH="0" baseline="0" noProof="0" dirty="0">
                <a:ln>
                  <a:noFill/>
                </a:ln>
                <a:effectLst/>
                <a:uLnTx/>
                <a:uFillTx/>
                <a:latin typeface="Arial" panose="020B0604020202090204" pitchFamily="34" charset="0"/>
                <a:ea typeface="华文楷体" panose="02010600040101010101" pitchFamily="2" charset="-122"/>
              </a:endParaRPr>
            </a:p>
          </p:txBody>
        </p:sp>
        <p:sp>
          <p:nvSpPr>
            <p:cNvPr id="35" name="矩形: 圆角 34"/>
            <p:cNvSpPr/>
            <p:nvPr/>
          </p:nvSpPr>
          <p:spPr>
            <a:xfrm>
              <a:off x="8591974" y="3448691"/>
              <a:ext cx="2553068" cy="369334"/>
            </a:xfrm>
            <a:prstGeom prst="roundRect">
              <a:avLst>
                <a:gd name="adj" fmla="val 50000"/>
              </a:avLst>
            </a:prstGeom>
            <a:solidFill>
              <a:schemeClr val="tx1">
                <a:lumMod val="50000"/>
                <a:lumOff val="50000"/>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b="1" dirty="0">
                  <a:solidFill>
                    <a:schemeClr val="accent1"/>
                  </a:solidFill>
                  <a:latin typeface="Arial" panose="020B0604020202090204" pitchFamily="34" charset="0"/>
                  <a:ea typeface="华文楷体" panose="02010600040101010101" pitchFamily="2" charset="-122"/>
                </a:rPr>
                <a:t>Text here</a:t>
              </a:r>
              <a:endParaRPr lang="zh-CN" altLang="en-US" sz="1400" b="1" dirty="0">
                <a:solidFill>
                  <a:schemeClr val="accent1"/>
                </a:solidFill>
                <a:latin typeface="Arial" panose="020B0604020202090204" pitchFamily="34" charset="0"/>
                <a:ea typeface="华文楷体" panose="02010600040101010101" pitchFamily="2" charset="-122"/>
              </a:endParaRPr>
            </a:p>
          </p:txBody>
        </p:sp>
        <p:sp>
          <p:nvSpPr>
            <p:cNvPr id="36" name="文本框 35"/>
            <p:cNvSpPr txBox="1"/>
            <p:nvPr/>
          </p:nvSpPr>
          <p:spPr>
            <a:xfrm>
              <a:off x="8591973" y="3851787"/>
              <a:ext cx="2553070" cy="525465"/>
            </a:xfrm>
            <a:prstGeom prst="rect">
              <a:avLst/>
            </a:prstGeom>
            <a:noFill/>
          </p:spPr>
          <p:txBody>
            <a:bodyPr wrap="square" rtlCol="0">
              <a:spAutoFit/>
            </a:bodyPr>
            <a:lstStyle/>
            <a:p>
              <a:pPr algn="ctr">
                <a:lnSpc>
                  <a:spcPct val="150000"/>
                </a:lnSpc>
              </a:pPr>
              <a:r>
                <a:rPr kumimoji="0" lang="en-US" altLang="zh-CN" sz="1000" b="0" i="0" u="none" strike="noStrike" kern="1200" cap="none" spc="0" normalizeH="0" baseline="0" noProof="0" dirty="0">
                  <a:ln>
                    <a:noFill/>
                  </a:ln>
                  <a:effectLst/>
                  <a:uLnTx/>
                  <a:uFillTx/>
                  <a:latin typeface="Arial" panose="020B0604020202090204" pitchFamily="34" charset="0"/>
                  <a:ea typeface="华文楷体" panose="02010600040101010101" pitchFamily="2" charset="-122"/>
                </a:rPr>
                <a:t>Theme color makes PPT more </a:t>
              </a:r>
              <a:endParaRPr kumimoji="0" lang="en-US" altLang="zh-CN" sz="1000" b="0" i="0" u="none" strike="noStrike" kern="1200" cap="none" spc="0" normalizeH="0" baseline="0" noProof="0" dirty="0">
                <a:ln>
                  <a:noFill/>
                </a:ln>
                <a:effectLst/>
                <a:uLnTx/>
                <a:uFillTx/>
                <a:latin typeface="Arial" panose="020B0604020202090204" pitchFamily="34" charset="0"/>
                <a:ea typeface="华文楷体" panose="02010600040101010101" pitchFamily="2" charset="-122"/>
              </a:endParaRPr>
            </a:p>
            <a:p>
              <a:pPr algn="ctr">
                <a:lnSpc>
                  <a:spcPct val="150000"/>
                </a:lnSpc>
              </a:pPr>
              <a:r>
                <a:rPr kumimoji="0" lang="en-US" altLang="zh-CN" sz="1000" b="0" i="0" u="none" strike="noStrike" kern="1200" cap="none" spc="0" normalizeH="0" baseline="0" noProof="0" dirty="0">
                  <a:ln>
                    <a:noFill/>
                  </a:ln>
                  <a:effectLst/>
                  <a:uLnTx/>
                  <a:uFillTx/>
                  <a:latin typeface="Arial" panose="020B0604020202090204" pitchFamily="34" charset="0"/>
                  <a:ea typeface="华文楷体" panose="02010600040101010101" pitchFamily="2" charset="-122"/>
                </a:rPr>
                <a:t>convenient to change. </a:t>
              </a:r>
              <a:endParaRPr kumimoji="0" lang="en-US" altLang="zh-CN" sz="1000" b="0" i="0" u="none" strike="noStrike" kern="1200" cap="none" spc="0" normalizeH="0" baseline="0" noProof="0" dirty="0">
                <a:ln>
                  <a:noFill/>
                </a:ln>
                <a:effectLst/>
                <a:uLnTx/>
                <a:uFillTx/>
                <a:latin typeface="Arial" panose="020B0604020202090204" pitchFamily="34" charset="0"/>
                <a:ea typeface="华文楷体" panose="02010600040101010101" pitchFamily="2" charset="-122"/>
              </a:endParaRPr>
            </a:p>
          </p:txBody>
        </p:sp>
        <p:sp>
          <p:nvSpPr>
            <p:cNvPr id="53" name="矩形: 圆角 52"/>
            <p:cNvSpPr/>
            <p:nvPr/>
          </p:nvSpPr>
          <p:spPr>
            <a:xfrm>
              <a:off x="7001299" y="4799437"/>
              <a:ext cx="2553068" cy="369334"/>
            </a:xfrm>
            <a:prstGeom prst="roundRect">
              <a:avLst>
                <a:gd name="adj" fmla="val 50000"/>
              </a:avLst>
            </a:prstGeom>
            <a:solidFill>
              <a:schemeClr val="tx1">
                <a:lumMod val="50000"/>
                <a:lumOff val="50000"/>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b="1" dirty="0">
                  <a:solidFill>
                    <a:schemeClr val="tx1"/>
                  </a:solidFill>
                  <a:latin typeface="Arial" panose="020B0604020202090204" pitchFamily="34" charset="0"/>
                  <a:ea typeface="华文楷体" panose="02010600040101010101" pitchFamily="2" charset="-122"/>
                </a:rPr>
                <a:t>Text here</a:t>
              </a:r>
              <a:endParaRPr lang="zh-CN" altLang="en-US" sz="1400" b="1" dirty="0">
                <a:solidFill>
                  <a:schemeClr val="tx1"/>
                </a:solidFill>
                <a:latin typeface="Arial" panose="020B0604020202090204" pitchFamily="34" charset="0"/>
                <a:ea typeface="华文楷体" panose="02010600040101010101" pitchFamily="2" charset="-122"/>
              </a:endParaRPr>
            </a:p>
          </p:txBody>
        </p:sp>
        <p:sp>
          <p:nvSpPr>
            <p:cNvPr id="54" name="文本框 53"/>
            <p:cNvSpPr txBox="1"/>
            <p:nvPr/>
          </p:nvSpPr>
          <p:spPr>
            <a:xfrm>
              <a:off x="7001298" y="5202533"/>
              <a:ext cx="2553070" cy="525465"/>
            </a:xfrm>
            <a:prstGeom prst="rect">
              <a:avLst/>
            </a:prstGeom>
            <a:noFill/>
          </p:spPr>
          <p:txBody>
            <a:bodyPr wrap="square" rtlCol="0">
              <a:spAutoFit/>
            </a:bodyPr>
            <a:lstStyle/>
            <a:p>
              <a:pPr algn="ctr">
                <a:lnSpc>
                  <a:spcPct val="150000"/>
                </a:lnSpc>
              </a:pPr>
              <a:r>
                <a:rPr kumimoji="0" lang="en-US" altLang="zh-CN" sz="1000" b="0" i="0" u="none" strike="noStrike" kern="1200" cap="none" spc="0" normalizeH="0" baseline="0" noProof="0" dirty="0">
                  <a:ln>
                    <a:noFill/>
                  </a:ln>
                  <a:effectLst/>
                  <a:uLnTx/>
                  <a:uFillTx/>
                  <a:latin typeface="Arial" panose="020B0604020202090204" pitchFamily="34" charset="0"/>
                  <a:ea typeface="华文楷体" panose="02010600040101010101" pitchFamily="2" charset="-122"/>
                </a:rPr>
                <a:t>Theme color makes PPT more </a:t>
              </a:r>
              <a:endParaRPr kumimoji="0" lang="en-US" altLang="zh-CN" sz="1000" b="0" i="0" u="none" strike="noStrike" kern="1200" cap="none" spc="0" normalizeH="0" baseline="0" noProof="0" dirty="0">
                <a:ln>
                  <a:noFill/>
                </a:ln>
                <a:effectLst/>
                <a:uLnTx/>
                <a:uFillTx/>
                <a:latin typeface="Arial" panose="020B0604020202090204" pitchFamily="34" charset="0"/>
                <a:ea typeface="华文楷体" panose="02010600040101010101" pitchFamily="2" charset="-122"/>
              </a:endParaRPr>
            </a:p>
            <a:p>
              <a:pPr algn="ctr">
                <a:lnSpc>
                  <a:spcPct val="150000"/>
                </a:lnSpc>
              </a:pPr>
              <a:r>
                <a:rPr kumimoji="0" lang="en-US" altLang="zh-CN" sz="1000" b="0" i="0" u="none" strike="noStrike" kern="1200" cap="none" spc="0" normalizeH="0" baseline="0" noProof="0" dirty="0">
                  <a:ln>
                    <a:noFill/>
                  </a:ln>
                  <a:effectLst/>
                  <a:uLnTx/>
                  <a:uFillTx/>
                  <a:latin typeface="Arial" panose="020B0604020202090204" pitchFamily="34" charset="0"/>
                  <a:ea typeface="华文楷体" panose="02010600040101010101" pitchFamily="2" charset="-122"/>
                </a:rPr>
                <a:t>convenient to change. </a:t>
              </a:r>
              <a:endParaRPr kumimoji="0" lang="en-US" altLang="zh-CN" sz="1000" b="0" i="0" u="none" strike="noStrike" kern="1200" cap="none" spc="0" normalizeH="0" baseline="0" noProof="0" dirty="0">
                <a:ln>
                  <a:noFill/>
                </a:ln>
                <a:effectLst/>
                <a:uLnTx/>
                <a:uFillTx/>
                <a:latin typeface="Arial" panose="020B0604020202090204" pitchFamily="34" charset="0"/>
                <a:ea typeface="华文楷体" panose="02010600040101010101" pitchFamily="2" charset="-122"/>
              </a:endParaRPr>
            </a:p>
          </p:txBody>
        </p:sp>
        <p:sp>
          <p:nvSpPr>
            <p:cNvPr id="60" name="矩形: 圆角 59"/>
            <p:cNvSpPr/>
            <p:nvPr/>
          </p:nvSpPr>
          <p:spPr>
            <a:xfrm>
              <a:off x="660400" y="3301126"/>
              <a:ext cx="10858500" cy="1193800"/>
            </a:xfrm>
            <a:prstGeom prst="roundRect">
              <a:avLst>
                <a:gd name="adj" fmla="val 13100"/>
              </a:avLst>
            </a:prstGeom>
            <a:ln w="9525">
              <a:solidFill>
                <a:schemeClr val="tx1">
                  <a:lumMod val="50000"/>
                  <a:lumOff val="50000"/>
                  <a:alpha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solidFill>
                  <a:schemeClr val="tx1"/>
                </a:solidFill>
              </a:endParaRPr>
            </a:p>
          </p:txBody>
        </p:sp>
        <p:sp>
          <p:nvSpPr>
            <p:cNvPr id="61" name="矩形: 圆角 60"/>
            <p:cNvSpPr/>
            <p:nvPr/>
          </p:nvSpPr>
          <p:spPr>
            <a:xfrm>
              <a:off x="660400" y="4646453"/>
              <a:ext cx="10858500" cy="1193800"/>
            </a:xfrm>
            <a:prstGeom prst="roundRect">
              <a:avLst>
                <a:gd name="adj" fmla="val 13100"/>
              </a:avLst>
            </a:prstGeom>
            <a:ln w="9525">
              <a:solidFill>
                <a:schemeClr val="tx1">
                  <a:lumMod val="50000"/>
                  <a:lumOff val="50000"/>
                  <a:alpha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solidFill>
                  <a:schemeClr val="tx1"/>
                </a:solidFill>
              </a:endParaRPr>
            </a:p>
          </p:txBody>
        </p:sp>
        <p:sp>
          <p:nvSpPr>
            <p:cNvPr id="62" name="文本框 61"/>
            <p:cNvSpPr txBox="1"/>
            <p:nvPr/>
          </p:nvSpPr>
          <p:spPr>
            <a:xfrm>
              <a:off x="830013" y="2394440"/>
              <a:ext cx="2505814" cy="369332"/>
            </a:xfrm>
            <a:prstGeom prst="rect">
              <a:avLst/>
            </a:prstGeom>
            <a:noFill/>
          </p:spPr>
          <p:txBody>
            <a:bodyPr wrap="none" rtlCol="0">
              <a:spAutoFit/>
            </a:bodyPr>
            <a:lstStyle/>
            <a:p>
              <a:r>
                <a:rPr lang="en-US" altLang="zh-CN" sz="1800" b="1" dirty="0">
                  <a:latin typeface="Arial" panose="020B0604020202090204" pitchFamily="34" charset="0"/>
                  <a:ea typeface="华文楷体" panose="02010600040101010101" pitchFamily="2" charset="-122"/>
                </a:rPr>
                <a:t>Supporting text here.</a:t>
              </a:r>
              <a:endParaRPr lang="en-US" altLang="zh-CN" sz="1800" b="1" dirty="0">
                <a:latin typeface="Arial" panose="020B0604020202090204" pitchFamily="34" charset="0"/>
                <a:ea typeface="华文楷体" panose="02010600040101010101" pitchFamily="2" charset="-122"/>
              </a:endParaRPr>
            </a:p>
          </p:txBody>
        </p:sp>
        <p:sp>
          <p:nvSpPr>
            <p:cNvPr id="63" name="文本框 62"/>
            <p:cNvSpPr txBox="1"/>
            <p:nvPr/>
          </p:nvSpPr>
          <p:spPr>
            <a:xfrm>
              <a:off x="830013" y="3713360"/>
              <a:ext cx="2505814" cy="369332"/>
            </a:xfrm>
            <a:prstGeom prst="rect">
              <a:avLst/>
            </a:prstGeom>
            <a:noFill/>
          </p:spPr>
          <p:txBody>
            <a:bodyPr wrap="none" rtlCol="0">
              <a:spAutoFit/>
            </a:bodyPr>
            <a:lstStyle/>
            <a:p>
              <a:r>
                <a:rPr lang="en-US" altLang="zh-CN" sz="1800" b="1" dirty="0">
                  <a:solidFill>
                    <a:schemeClr val="accent1"/>
                  </a:solidFill>
                  <a:latin typeface="Arial" panose="020B0604020202090204" pitchFamily="34" charset="0"/>
                  <a:ea typeface="华文楷体" panose="02010600040101010101" pitchFamily="2" charset="-122"/>
                </a:rPr>
                <a:t>Supporting text here.</a:t>
              </a:r>
              <a:endParaRPr lang="en-US" altLang="zh-CN" sz="1800" b="1" dirty="0">
                <a:solidFill>
                  <a:schemeClr val="accent1"/>
                </a:solidFill>
                <a:latin typeface="Arial" panose="020B0604020202090204" pitchFamily="34" charset="0"/>
                <a:ea typeface="华文楷体" panose="02010600040101010101" pitchFamily="2" charset="-122"/>
              </a:endParaRPr>
            </a:p>
          </p:txBody>
        </p:sp>
        <p:sp>
          <p:nvSpPr>
            <p:cNvPr id="64" name="文本框 63"/>
            <p:cNvSpPr txBox="1"/>
            <p:nvPr/>
          </p:nvSpPr>
          <p:spPr>
            <a:xfrm>
              <a:off x="830013" y="5058687"/>
              <a:ext cx="2505814" cy="369332"/>
            </a:xfrm>
            <a:prstGeom prst="rect">
              <a:avLst/>
            </a:prstGeom>
            <a:noFill/>
          </p:spPr>
          <p:txBody>
            <a:bodyPr wrap="none" rtlCol="0">
              <a:spAutoFit/>
            </a:bodyPr>
            <a:lstStyle/>
            <a:p>
              <a:r>
                <a:rPr lang="en-US" altLang="zh-CN" sz="1800" b="1" dirty="0">
                  <a:latin typeface="Arial" panose="020B0604020202090204" pitchFamily="34" charset="0"/>
                  <a:ea typeface="华文楷体" panose="02010600040101010101" pitchFamily="2" charset="-122"/>
                </a:rPr>
                <a:t>Supporting text here.</a:t>
              </a:r>
              <a:endParaRPr lang="en-US" altLang="zh-CN" sz="1800" b="1" dirty="0">
                <a:latin typeface="Arial" panose="020B0604020202090204" pitchFamily="34" charset="0"/>
                <a:ea typeface="华文楷体" panose="02010600040101010101" pitchFamily="2" charset="-122"/>
              </a:endParaRPr>
            </a:p>
          </p:txBody>
        </p:sp>
      </p:grpSp>
    </p:spTree>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组合 6"/>
          <p:cNvGrpSpPr/>
          <p:nvPr/>
        </p:nvGrpSpPr>
        <p:grpSpPr>
          <a:xfrm>
            <a:off x="0" y="0"/>
            <a:ext cx="12192000" cy="6858000"/>
            <a:chOff x="0" y="0"/>
            <a:chExt cx="12192000" cy="6858000"/>
          </a:xfrm>
        </p:grpSpPr>
        <p:sp>
          <p:nvSpPr>
            <p:cNvPr id="15" name="矩形 14"/>
            <p:cNvSpPr/>
            <p:nvPr/>
          </p:nvSpPr>
          <p:spPr>
            <a:xfrm>
              <a:off x="0" y="0"/>
              <a:ext cx="12192000" cy="6858000"/>
            </a:xfrm>
            <a:prstGeom prst="rect">
              <a:avLst/>
            </a:prstGeom>
            <a:solidFill>
              <a:schemeClr val="tx1">
                <a:lumMod val="50000"/>
                <a:lumOff val="50000"/>
                <a:alpha val="1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32" name="组合 31"/>
            <p:cNvGrpSpPr/>
            <p:nvPr/>
          </p:nvGrpSpPr>
          <p:grpSpPr>
            <a:xfrm>
              <a:off x="6291663" y="1337100"/>
              <a:ext cx="4683438" cy="668929"/>
              <a:chOff x="6291663" y="1862210"/>
              <a:chExt cx="4683438" cy="668929"/>
            </a:xfrm>
          </p:grpSpPr>
          <p:grpSp>
            <p:nvGrpSpPr>
              <p:cNvPr id="6" name="组合 5"/>
              <p:cNvGrpSpPr/>
              <p:nvPr/>
            </p:nvGrpSpPr>
            <p:grpSpPr>
              <a:xfrm>
                <a:off x="6864028" y="1862210"/>
                <a:ext cx="4111073" cy="668929"/>
                <a:chOff x="6864028" y="1862210"/>
                <a:chExt cx="4111073" cy="668929"/>
              </a:xfrm>
            </p:grpSpPr>
            <p:sp>
              <p:nvSpPr>
                <p:cNvPr id="2" name="矩形 1"/>
                <p:cNvSpPr/>
                <p:nvPr/>
              </p:nvSpPr>
              <p:spPr>
                <a:xfrm flipH="1">
                  <a:off x="6864028" y="2236507"/>
                  <a:ext cx="4111073" cy="294632"/>
                </a:xfrm>
                <a:prstGeom prst="rect">
                  <a:avLst/>
                </a:prstGeom>
              </p:spPr>
              <p:txBody>
                <a:bodyPr wrap="square" anchor="t" anchorCtr="0">
                  <a:spAutoFit/>
                </a:bodyPr>
                <a:lstStyle/>
                <a:p>
                  <a:pPr>
                    <a:lnSpc>
                      <a:spcPct val="150000"/>
                    </a:lnSpc>
                  </a:pPr>
                  <a:r>
                    <a:rPr lang="en-US" altLang="zh-CN" sz="1000" dirty="0">
                      <a:latin typeface="Arial" panose="020B0604020202090204" pitchFamily="34" charset="0"/>
                      <a:ea typeface="华文楷体" panose="02010600040101010101" pitchFamily="2" charset="-122"/>
                    </a:rPr>
                    <a:t>Theme  color makes PPT more convenient to change</a:t>
                  </a:r>
                  <a:endParaRPr lang="en-US" altLang="zh-CN" sz="1000" dirty="0">
                    <a:latin typeface="Arial" panose="020B0604020202090204" pitchFamily="34" charset="0"/>
                    <a:ea typeface="华文楷体" panose="02010600040101010101" pitchFamily="2" charset="-122"/>
                  </a:endParaRPr>
                </a:p>
              </p:txBody>
            </p:sp>
            <p:sp>
              <p:nvSpPr>
                <p:cNvPr id="3" name="文本框 2"/>
                <p:cNvSpPr txBox="1"/>
                <p:nvPr/>
              </p:nvSpPr>
              <p:spPr>
                <a:xfrm flipH="1">
                  <a:off x="6864029" y="1862210"/>
                  <a:ext cx="4111072" cy="461665"/>
                </a:xfrm>
                <a:prstGeom prst="rect">
                  <a:avLst/>
                </a:prstGeom>
                <a:no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spAutoFit/>
                </a:bodyPr>
                <a:lstStyle>
                  <a:defPPr>
                    <a:defRPr lang="zh-CN"/>
                  </a:defPPr>
                  <a:lvl1pPr algn="ctr" defTabSz="914400">
                    <a:defRPr sz="1400" b="1">
                      <a:solidFill>
                        <a:schemeClr val="tx1">
                          <a:lumMod val="90000"/>
                          <a:lumOff val="1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n-US" altLang="zh-CN" sz="2400" dirty="0">
                      <a:latin typeface="Arial" panose="020B0604020202090204" pitchFamily="34" charset="0"/>
                      <a:ea typeface="华文楷体" panose="02010600040101010101" pitchFamily="2" charset="-122"/>
                    </a:rPr>
                    <a:t>Text here</a:t>
                  </a:r>
                  <a:endParaRPr lang="en-US" altLang="zh-CN" sz="2400" dirty="0">
                    <a:latin typeface="Arial" panose="020B0604020202090204" pitchFamily="34" charset="0"/>
                    <a:ea typeface="华文楷体" panose="02010600040101010101" pitchFamily="2" charset="-122"/>
                  </a:endParaRPr>
                </a:p>
              </p:txBody>
            </p:sp>
          </p:grpSp>
          <p:grpSp>
            <p:nvGrpSpPr>
              <p:cNvPr id="19" name="组合 18"/>
              <p:cNvGrpSpPr/>
              <p:nvPr/>
            </p:nvGrpSpPr>
            <p:grpSpPr>
              <a:xfrm>
                <a:off x="6291663" y="1967952"/>
                <a:ext cx="444222" cy="444220"/>
                <a:chOff x="3866383" y="2005963"/>
                <a:chExt cx="444222" cy="444220"/>
              </a:xfrm>
            </p:grpSpPr>
            <p:sp>
              <p:nvSpPr>
                <p:cNvPr id="21" name="椭圆 20"/>
                <p:cNvSpPr/>
                <p:nvPr/>
              </p:nvSpPr>
              <p:spPr>
                <a:xfrm>
                  <a:off x="3866383" y="2005963"/>
                  <a:ext cx="444222" cy="444220"/>
                </a:xfrm>
                <a:prstGeom prst="ellipse">
                  <a:avLst/>
                </a:prstGeom>
                <a:solidFill>
                  <a:schemeClr val="accent1"/>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8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endParaRPr>
                </a:p>
              </p:txBody>
            </p:sp>
            <p:sp>
              <p:nvSpPr>
                <p:cNvPr id="22" name="任意多边形: 形状 21"/>
                <p:cNvSpPr/>
                <p:nvPr/>
              </p:nvSpPr>
              <p:spPr bwMode="auto">
                <a:xfrm>
                  <a:off x="3985714" y="2150988"/>
                  <a:ext cx="205561" cy="154170"/>
                </a:xfrm>
                <a:custGeom>
                  <a:avLst/>
                  <a:gdLst>
                    <a:gd name="connsiteX0" fmla="*/ 505433 w 533400"/>
                    <a:gd name="connsiteY0" fmla="*/ 621 h 400050"/>
                    <a:gd name="connsiteX1" fmla="*/ 534008 w 533400"/>
                    <a:gd name="connsiteY1" fmla="*/ 29196 h 400050"/>
                    <a:gd name="connsiteX2" fmla="*/ 534008 w 533400"/>
                    <a:gd name="connsiteY2" fmla="*/ 372096 h 400050"/>
                    <a:gd name="connsiteX3" fmla="*/ 505433 w 533400"/>
                    <a:gd name="connsiteY3" fmla="*/ 400671 h 400050"/>
                    <a:gd name="connsiteX4" fmla="*/ 29183 w 533400"/>
                    <a:gd name="connsiteY4" fmla="*/ 400671 h 400050"/>
                    <a:gd name="connsiteX5" fmla="*/ 608 w 533400"/>
                    <a:gd name="connsiteY5" fmla="*/ 372096 h 400050"/>
                    <a:gd name="connsiteX6" fmla="*/ 608 w 533400"/>
                    <a:gd name="connsiteY6" fmla="*/ 29196 h 400050"/>
                    <a:gd name="connsiteX7" fmla="*/ 29183 w 533400"/>
                    <a:gd name="connsiteY7" fmla="*/ 621 h 400050"/>
                    <a:gd name="connsiteX8" fmla="*/ 505433 w 533400"/>
                    <a:gd name="connsiteY8" fmla="*/ 621 h 400050"/>
                    <a:gd name="connsiteX9" fmla="*/ 391419 w 533400"/>
                    <a:gd name="connsiteY9" fmla="*/ 198646 h 400050"/>
                    <a:gd name="connsiteX10" fmla="*/ 351414 w 533400"/>
                    <a:gd name="connsiteY10" fmla="*/ 204170 h 400050"/>
                    <a:gd name="connsiteX11" fmla="*/ 351414 w 533400"/>
                    <a:gd name="connsiteY11" fmla="*/ 204170 h 400050"/>
                    <a:gd name="connsiteX12" fmla="*/ 267118 w 533400"/>
                    <a:gd name="connsiteY12" fmla="*/ 315613 h 400050"/>
                    <a:gd name="connsiteX13" fmla="*/ 264641 w 533400"/>
                    <a:gd name="connsiteY13" fmla="*/ 318470 h 400050"/>
                    <a:gd name="connsiteX14" fmla="*/ 224255 w 533400"/>
                    <a:gd name="connsiteY14" fmla="*/ 318756 h 400050"/>
                    <a:gd name="connsiteX15" fmla="*/ 224255 w 533400"/>
                    <a:gd name="connsiteY15" fmla="*/ 318756 h 400050"/>
                    <a:gd name="connsiteX16" fmla="*/ 162152 w 533400"/>
                    <a:gd name="connsiteY16" fmla="*/ 257415 h 400050"/>
                    <a:gd name="connsiteX17" fmla="*/ 160247 w 533400"/>
                    <a:gd name="connsiteY17" fmla="*/ 255701 h 400050"/>
                    <a:gd name="connsiteX18" fmla="*/ 120052 w 533400"/>
                    <a:gd name="connsiteY18" fmla="*/ 259606 h 400050"/>
                    <a:gd name="connsiteX19" fmla="*/ 120052 w 533400"/>
                    <a:gd name="connsiteY19" fmla="*/ 259606 h 400050"/>
                    <a:gd name="connsiteX20" fmla="*/ 32517 w 533400"/>
                    <a:gd name="connsiteY20" fmla="*/ 366095 h 400050"/>
                    <a:gd name="connsiteX21" fmla="*/ 30326 w 533400"/>
                    <a:gd name="connsiteY21" fmla="*/ 372096 h 400050"/>
                    <a:gd name="connsiteX22" fmla="*/ 39851 w 533400"/>
                    <a:gd name="connsiteY22" fmla="*/ 381621 h 400050"/>
                    <a:gd name="connsiteX23" fmla="*/ 39851 w 533400"/>
                    <a:gd name="connsiteY23" fmla="*/ 381621 h 400050"/>
                    <a:gd name="connsiteX24" fmla="*/ 497242 w 533400"/>
                    <a:gd name="connsiteY24" fmla="*/ 381621 h 400050"/>
                    <a:gd name="connsiteX25" fmla="*/ 502480 w 533400"/>
                    <a:gd name="connsiteY25" fmla="*/ 380002 h 400050"/>
                    <a:gd name="connsiteX26" fmla="*/ 505147 w 533400"/>
                    <a:gd name="connsiteY26" fmla="*/ 366762 h 400050"/>
                    <a:gd name="connsiteX27" fmla="*/ 505147 w 533400"/>
                    <a:gd name="connsiteY27" fmla="*/ 366762 h 400050"/>
                    <a:gd name="connsiteX28" fmla="*/ 397991 w 533400"/>
                    <a:gd name="connsiteY28" fmla="*/ 205504 h 400050"/>
                    <a:gd name="connsiteX29" fmla="*/ 391419 w 533400"/>
                    <a:gd name="connsiteY29" fmla="*/ 198646 h 400050"/>
                    <a:gd name="connsiteX30" fmla="*/ 95858 w 533400"/>
                    <a:gd name="connsiteY30" fmla="*/ 57771 h 400050"/>
                    <a:gd name="connsiteX31" fmla="*/ 57758 w 533400"/>
                    <a:gd name="connsiteY31" fmla="*/ 95871 h 400050"/>
                    <a:gd name="connsiteX32" fmla="*/ 95858 w 533400"/>
                    <a:gd name="connsiteY32" fmla="*/ 133971 h 400050"/>
                    <a:gd name="connsiteX33" fmla="*/ 133958 w 533400"/>
                    <a:gd name="connsiteY33" fmla="*/ 95871 h 400050"/>
                    <a:gd name="connsiteX34" fmla="*/ 95858 w 533400"/>
                    <a:gd name="connsiteY34" fmla="*/ 57771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33400" h="400050">
                      <a:moveTo>
                        <a:pt x="505433" y="621"/>
                      </a:moveTo>
                      <a:cubicBezTo>
                        <a:pt x="521245" y="621"/>
                        <a:pt x="534008" y="13385"/>
                        <a:pt x="534008" y="29196"/>
                      </a:cubicBezTo>
                      <a:lnTo>
                        <a:pt x="534008" y="372096"/>
                      </a:lnTo>
                      <a:cubicBezTo>
                        <a:pt x="534008" y="387907"/>
                        <a:pt x="521245" y="400671"/>
                        <a:pt x="505433" y="400671"/>
                      </a:cubicBezTo>
                      <a:lnTo>
                        <a:pt x="29183" y="400671"/>
                      </a:lnTo>
                      <a:cubicBezTo>
                        <a:pt x="13371" y="400671"/>
                        <a:pt x="608" y="387907"/>
                        <a:pt x="608" y="372096"/>
                      </a:cubicBezTo>
                      <a:lnTo>
                        <a:pt x="608" y="29196"/>
                      </a:lnTo>
                      <a:cubicBezTo>
                        <a:pt x="608" y="13385"/>
                        <a:pt x="13371" y="621"/>
                        <a:pt x="29183" y="621"/>
                      </a:cubicBezTo>
                      <a:lnTo>
                        <a:pt x="505433" y="621"/>
                      </a:lnTo>
                      <a:close/>
                      <a:moveTo>
                        <a:pt x="391419" y="198646"/>
                      </a:moveTo>
                      <a:cubicBezTo>
                        <a:pt x="378846" y="189121"/>
                        <a:pt x="360939" y="191597"/>
                        <a:pt x="351414" y="204170"/>
                      </a:cubicBezTo>
                      <a:lnTo>
                        <a:pt x="351414" y="204170"/>
                      </a:lnTo>
                      <a:lnTo>
                        <a:pt x="267118" y="315613"/>
                      </a:lnTo>
                      <a:cubicBezTo>
                        <a:pt x="266355" y="316660"/>
                        <a:pt x="265498" y="317518"/>
                        <a:pt x="264641" y="318470"/>
                      </a:cubicBezTo>
                      <a:cubicBezTo>
                        <a:pt x="253592" y="329710"/>
                        <a:pt x="235495" y="329805"/>
                        <a:pt x="224255" y="318756"/>
                      </a:cubicBezTo>
                      <a:lnTo>
                        <a:pt x="224255" y="318756"/>
                      </a:lnTo>
                      <a:lnTo>
                        <a:pt x="162152" y="257415"/>
                      </a:lnTo>
                      <a:cubicBezTo>
                        <a:pt x="161485" y="256844"/>
                        <a:pt x="160914" y="256177"/>
                        <a:pt x="160247" y="255701"/>
                      </a:cubicBezTo>
                      <a:cubicBezTo>
                        <a:pt x="148055" y="245699"/>
                        <a:pt x="130053" y="247414"/>
                        <a:pt x="120052" y="259606"/>
                      </a:cubicBezTo>
                      <a:lnTo>
                        <a:pt x="120052" y="259606"/>
                      </a:lnTo>
                      <a:lnTo>
                        <a:pt x="32517" y="366095"/>
                      </a:lnTo>
                      <a:cubicBezTo>
                        <a:pt x="31088" y="367810"/>
                        <a:pt x="30326" y="369905"/>
                        <a:pt x="30326" y="372096"/>
                      </a:cubicBezTo>
                      <a:cubicBezTo>
                        <a:pt x="30326" y="377335"/>
                        <a:pt x="34612" y="381621"/>
                        <a:pt x="39851" y="381621"/>
                      </a:cubicBezTo>
                      <a:lnTo>
                        <a:pt x="39851" y="381621"/>
                      </a:lnTo>
                      <a:lnTo>
                        <a:pt x="497242" y="381621"/>
                      </a:lnTo>
                      <a:cubicBezTo>
                        <a:pt x="499146" y="381621"/>
                        <a:pt x="500956" y="381050"/>
                        <a:pt x="502480" y="380002"/>
                      </a:cubicBezTo>
                      <a:cubicBezTo>
                        <a:pt x="506862" y="377049"/>
                        <a:pt x="508005" y="371144"/>
                        <a:pt x="505147" y="366762"/>
                      </a:cubicBezTo>
                      <a:lnTo>
                        <a:pt x="505147" y="366762"/>
                      </a:lnTo>
                      <a:lnTo>
                        <a:pt x="397991" y="205504"/>
                      </a:lnTo>
                      <a:cubicBezTo>
                        <a:pt x="396181" y="202932"/>
                        <a:pt x="393990" y="200551"/>
                        <a:pt x="391419" y="198646"/>
                      </a:cubicBezTo>
                      <a:close/>
                      <a:moveTo>
                        <a:pt x="95858" y="57771"/>
                      </a:moveTo>
                      <a:cubicBezTo>
                        <a:pt x="74808" y="57771"/>
                        <a:pt x="57758" y="74821"/>
                        <a:pt x="57758" y="95871"/>
                      </a:cubicBezTo>
                      <a:cubicBezTo>
                        <a:pt x="57758" y="116921"/>
                        <a:pt x="74808" y="133971"/>
                        <a:pt x="95858" y="133971"/>
                      </a:cubicBezTo>
                      <a:cubicBezTo>
                        <a:pt x="116908" y="133971"/>
                        <a:pt x="133958" y="116921"/>
                        <a:pt x="133958" y="95871"/>
                      </a:cubicBezTo>
                      <a:cubicBezTo>
                        <a:pt x="133958" y="74821"/>
                        <a:pt x="116908" y="57771"/>
                        <a:pt x="95858" y="57771"/>
                      </a:cubicBezTo>
                      <a:close/>
                    </a:path>
                  </a:pathLst>
                </a:custGeom>
                <a:solidFill>
                  <a:srgbClr val="FFFFFF"/>
                </a:solidFill>
                <a:ln>
                  <a:noFill/>
                </a:ln>
              </p:spPr>
              <p:txBody>
                <a:bodyPr/>
                <a:lstStyle/>
                <a:p>
                  <a:endParaRPr lang="zh-CN" altLang="en-US"/>
                </a:p>
              </p:txBody>
            </p:sp>
          </p:grpSp>
        </p:grpSp>
        <p:grpSp>
          <p:nvGrpSpPr>
            <p:cNvPr id="8" name="组合 7"/>
            <p:cNvGrpSpPr/>
            <p:nvPr/>
          </p:nvGrpSpPr>
          <p:grpSpPr>
            <a:xfrm>
              <a:off x="6291663" y="2718291"/>
              <a:ext cx="4683641" cy="668929"/>
              <a:chOff x="6300678" y="3343833"/>
              <a:chExt cx="4683641" cy="668929"/>
            </a:xfrm>
          </p:grpSpPr>
          <p:grpSp>
            <p:nvGrpSpPr>
              <p:cNvPr id="5" name="组合 4"/>
              <p:cNvGrpSpPr/>
              <p:nvPr/>
            </p:nvGrpSpPr>
            <p:grpSpPr>
              <a:xfrm>
                <a:off x="6873246" y="3343833"/>
                <a:ext cx="4111073" cy="668929"/>
                <a:chOff x="6873246" y="3343833"/>
                <a:chExt cx="4111073" cy="668929"/>
              </a:xfrm>
            </p:grpSpPr>
            <p:sp>
              <p:nvSpPr>
                <p:cNvPr id="10" name="矩形 9"/>
                <p:cNvSpPr/>
                <p:nvPr/>
              </p:nvSpPr>
              <p:spPr>
                <a:xfrm flipH="1">
                  <a:off x="6873246" y="3718130"/>
                  <a:ext cx="4111073" cy="294632"/>
                </a:xfrm>
                <a:prstGeom prst="rect">
                  <a:avLst/>
                </a:prstGeom>
              </p:spPr>
              <p:txBody>
                <a:bodyPr wrap="square" anchor="t" anchorCtr="0">
                  <a:spAutoFit/>
                </a:bodyPr>
                <a:lstStyle/>
                <a:p>
                  <a:pPr>
                    <a:lnSpc>
                      <a:spcPct val="150000"/>
                    </a:lnSpc>
                  </a:pPr>
                  <a:r>
                    <a:rPr lang="en-US" altLang="zh-CN" sz="1000" dirty="0">
                      <a:latin typeface="Arial" panose="020B0604020202090204" pitchFamily="34" charset="0"/>
                      <a:ea typeface="华文楷体" panose="02010600040101010101" pitchFamily="2" charset="-122"/>
                    </a:rPr>
                    <a:t>Theme  color makes PPT more convenient to change</a:t>
                  </a:r>
                  <a:endParaRPr lang="en-US" altLang="zh-CN" sz="1000" dirty="0">
                    <a:latin typeface="Arial" panose="020B0604020202090204" pitchFamily="34" charset="0"/>
                    <a:ea typeface="华文楷体" panose="02010600040101010101" pitchFamily="2" charset="-122"/>
                  </a:endParaRPr>
                </a:p>
              </p:txBody>
            </p:sp>
            <p:sp>
              <p:nvSpPr>
                <p:cNvPr id="11" name="文本框 10"/>
                <p:cNvSpPr txBox="1"/>
                <p:nvPr/>
              </p:nvSpPr>
              <p:spPr>
                <a:xfrm flipH="1">
                  <a:off x="6873247" y="3343833"/>
                  <a:ext cx="4111072" cy="461665"/>
                </a:xfrm>
                <a:prstGeom prst="rect">
                  <a:avLst/>
                </a:prstGeom>
                <a:no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spAutoFit/>
                </a:bodyPr>
                <a:lstStyle>
                  <a:defPPr>
                    <a:defRPr lang="zh-CN"/>
                  </a:defPPr>
                  <a:lvl1pPr algn="ctr" defTabSz="914400">
                    <a:defRPr sz="1400" b="1">
                      <a:solidFill>
                        <a:schemeClr val="tx1">
                          <a:lumMod val="90000"/>
                          <a:lumOff val="1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n-US" altLang="zh-CN" sz="2400" dirty="0">
                      <a:latin typeface="Arial" panose="020B0604020202090204" pitchFamily="34" charset="0"/>
                      <a:ea typeface="华文楷体" panose="02010600040101010101" pitchFamily="2" charset="-122"/>
                    </a:rPr>
                    <a:t>Text here</a:t>
                  </a:r>
                  <a:endParaRPr lang="en-US" altLang="zh-CN" sz="2400" dirty="0">
                    <a:latin typeface="Arial" panose="020B0604020202090204" pitchFamily="34" charset="0"/>
                    <a:ea typeface="华文楷体" panose="02010600040101010101" pitchFamily="2" charset="-122"/>
                  </a:endParaRPr>
                </a:p>
              </p:txBody>
            </p:sp>
          </p:grpSp>
          <p:grpSp>
            <p:nvGrpSpPr>
              <p:cNvPr id="23" name="组合 22"/>
              <p:cNvGrpSpPr/>
              <p:nvPr/>
            </p:nvGrpSpPr>
            <p:grpSpPr>
              <a:xfrm>
                <a:off x="6300678" y="3460148"/>
                <a:ext cx="444222" cy="444220"/>
                <a:chOff x="4678401" y="2094096"/>
                <a:chExt cx="444222" cy="444220"/>
              </a:xfrm>
            </p:grpSpPr>
            <p:sp>
              <p:nvSpPr>
                <p:cNvPr id="24" name="椭圆 23"/>
                <p:cNvSpPr/>
                <p:nvPr/>
              </p:nvSpPr>
              <p:spPr>
                <a:xfrm>
                  <a:off x="4678401" y="2094096"/>
                  <a:ext cx="444222" cy="444220"/>
                </a:xfrm>
                <a:prstGeom prst="ellipse">
                  <a:avLst/>
                </a:prstGeom>
                <a:solidFill>
                  <a:schemeClr val="accent1"/>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8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endParaRPr>
                </a:p>
              </p:txBody>
            </p:sp>
            <p:sp>
              <p:nvSpPr>
                <p:cNvPr id="25" name="任意多边形: 形状 24"/>
                <p:cNvSpPr/>
                <p:nvPr/>
              </p:nvSpPr>
              <p:spPr bwMode="auto">
                <a:xfrm>
                  <a:off x="4788717" y="2220630"/>
                  <a:ext cx="205561" cy="171132"/>
                </a:xfrm>
                <a:custGeom>
                  <a:avLst/>
                  <a:gdLst>
                    <a:gd name="connsiteX0" fmla="*/ 483573 w 526297"/>
                    <a:gd name="connsiteY0" fmla="*/ 133971 h 438150"/>
                    <a:gd name="connsiteX1" fmla="*/ 527674 w 526297"/>
                    <a:gd name="connsiteY1" fmla="*/ 178072 h 438150"/>
                    <a:gd name="connsiteX2" fmla="*/ 527579 w 526297"/>
                    <a:gd name="connsiteY2" fmla="*/ 181501 h 438150"/>
                    <a:gd name="connsiteX3" fmla="*/ 514244 w 526297"/>
                    <a:gd name="connsiteY3" fmla="*/ 355237 h 438150"/>
                    <a:gd name="connsiteX4" fmla="*/ 485764 w 526297"/>
                    <a:gd name="connsiteY4" fmla="*/ 381621 h 438150"/>
                    <a:gd name="connsiteX5" fmla="*/ 454998 w 526297"/>
                    <a:gd name="connsiteY5" fmla="*/ 381621 h 438150"/>
                    <a:gd name="connsiteX6" fmla="*/ 454998 w 526297"/>
                    <a:gd name="connsiteY6" fmla="*/ 438771 h 438150"/>
                    <a:gd name="connsiteX7" fmla="*/ 435948 w 526297"/>
                    <a:gd name="connsiteY7" fmla="*/ 438771 h 438150"/>
                    <a:gd name="connsiteX8" fmla="*/ 435948 w 526297"/>
                    <a:gd name="connsiteY8" fmla="*/ 381621 h 438150"/>
                    <a:gd name="connsiteX9" fmla="*/ 93048 w 526297"/>
                    <a:gd name="connsiteY9" fmla="*/ 381621 h 438150"/>
                    <a:gd name="connsiteX10" fmla="*/ 93048 w 526297"/>
                    <a:gd name="connsiteY10" fmla="*/ 438771 h 438150"/>
                    <a:gd name="connsiteX11" fmla="*/ 73998 w 526297"/>
                    <a:gd name="connsiteY11" fmla="*/ 438771 h 438150"/>
                    <a:gd name="connsiteX12" fmla="*/ 73998 w 526297"/>
                    <a:gd name="connsiteY12" fmla="*/ 381621 h 438150"/>
                    <a:gd name="connsiteX13" fmla="*/ 43328 w 526297"/>
                    <a:gd name="connsiteY13" fmla="*/ 381621 h 438150"/>
                    <a:gd name="connsiteX14" fmla="*/ 14848 w 526297"/>
                    <a:gd name="connsiteY14" fmla="*/ 355237 h 438150"/>
                    <a:gd name="connsiteX15" fmla="*/ 1513 w 526297"/>
                    <a:gd name="connsiteY15" fmla="*/ 181501 h 438150"/>
                    <a:gd name="connsiteX16" fmla="*/ 42089 w 526297"/>
                    <a:gd name="connsiteY16" fmla="*/ 134162 h 438150"/>
                    <a:gd name="connsiteX17" fmla="*/ 45518 w 526297"/>
                    <a:gd name="connsiteY17" fmla="*/ 134066 h 438150"/>
                    <a:gd name="connsiteX18" fmla="*/ 101906 w 526297"/>
                    <a:gd name="connsiteY18" fmla="*/ 180834 h 438150"/>
                    <a:gd name="connsiteX19" fmla="*/ 121623 w 526297"/>
                    <a:gd name="connsiteY19" fmla="*/ 286371 h 438150"/>
                    <a:gd name="connsiteX20" fmla="*/ 407373 w 526297"/>
                    <a:gd name="connsiteY20" fmla="*/ 286371 h 438150"/>
                    <a:gd name="connsiteX21" fmla="*/ 427185 w 526297"/>
                    <a:gd name="connsiteY21" fmla="*/ 180739 h 438150"/>
                    <a:gd name="connsiteX22" fmla="*/ 483573 w 526297"/>
                    <a:gd name="connsiteY22" fmla="*/ 133971 h 438150"/>
                    <a:gd name="connsiteX23" fmla="*/ 416898 w 526297"/>
                    <a:gd name="connsiteY23" fmla="*/ 621 h 438150"/>
                    <a:gd name="connsiteX24" fmla="*/ 483573 w 526297"/>
                    <a:gd name="connsiteY24" fmla="*/ 67296 h 438150"/>
                    <a:gd name="connsiteX25" fmla="*/ 483573 w 526297"/>
                    <a:gd name="connsiteY25" fmla="*/ 115397 h 438150"/>
                    <a:gd name="connsiteX26" fmla="*/ 476429 w 526297"/>
                    <a:gd name="connsiteY26" fmla="*/ 114921 h 438150"/>
                    <a:gd name="connsiteX27" fmla="*/ 412040 w 526297"/>
                    <a:gd name="connsiteY27" fmla="*/ 166451 h 438150"/>
                    <a:gd name="connsiteX28" fmla="*/ 411564 w 526297"/>
                    <a:gd name="connsiteY28" fmla="*/ 168737 h 438150"/>
                    <a:gd name="connsiteX29" fmla="*/ 393086 w 526297"/>
                    <a:gd name="connsiteY29" fmla="*/ 267321 h 438150"/>
                    <a:gd name="connsiteX30" fmla="*/ 135911 w 526297"/>
                    <a:gd name="connsiteY30" fmla="*/ 267321 h 438150"/>
                    <a:gd name="connsiteX31" fmla="*/ 117432 w 526297"/>
                    <a:gd name="connsiteY31" fmla="*/ 168737 h 438150"/>
                    <a:gd name="connsiteX32" fmla="*/ 52567 w 526297"/>
                    <a:gd name="connsiteY32" fmla="*/ 114921 h 438150"/>
                    <a:gd name="connsiteX33" fmla="*/ 54948 w 526297"/>
                    <a:gd name="connsiteY33" fmla="*/ 67296 h 438150"/>
                    <a:gd name="connsiteX34" fmla="*/ 121623 w 526297"/>
                    <a:gd name="connsiteY34" fmla="*/ 621 h 438150"/>
                    <a:gd name="connsiteX35" fmla="*/ 416898 w 526297"/>
                    <a:gd name="connsiteY35" fmla="*/ 621 h 43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526297" h="438150">
                      <a:moveTo>
                        <a:pt x="483573" y="133971"/>
                      </a:moveTo>
                      <a:cubicBezTo>
                        <a:pt x="507957" y="133971"/>
                        <a:pt x="527674" y="153688"/>
                        <a:pt x="527674" y="178072"/>
                      </a:cubicBezTo>
                      <a:cubicBezTo>
                        <a:pt x="527674" y="179215"/>
                        <a:pt x="527674" y="180358"/>
                        <a:pt x="527579" y="181501"/>
                      </a:cubicBezTo>
                      <a:lnTo>
                        <a:pt x="514244" y="355237"/>
                      </a:lnTo>
                      <a:cubicBezTo>
                        <a:pt x="513101" y="370096"/>
                        <a:pt x="500718" y="381621"/>
                        <a:pt x="485764" y="381621"/>
                      </a:cubicBezTo>
                      <a:lnTo>
                        <a:pt x="454998" y="381621"/>
                      </a:lnTo>
                      <a:lnTo>
                        <a:pt x="454998" y="438771"/>
                      </a:lnTo>
                      <a:lnTo>
                        <a:pt x="435948" y="438771"/>
                      </a:lnTo>
                      <a:lnTo>
                        <a:pt x="435948" y="381621"/>
                      </a:lnTo>
                      <a:lnTo>
                        <a:pt x="93048" y="381621"/>
                      </a:lnTo>
                      <a:lnTo>
                        <a:pt x="93048" y="438771"/>
                      </a:lnTo>
                      <a:lnTo>
                        <a:pt x="73998" y="438771"/>
                      </a:lnTo>
                      <a:lnTo>
                        <a:pt x="73998" y="381621"/>
                      </a:lnTo>
                      <a:lnTo>
                        <a:pt x="43328" y="381621"/>
                      </a:lnTo>
                      <a:cubicBezTo>
                        <a:pt x="28373" y="381621"/>
                        <a:pt x="15991" y="370096"/>
                        <a:pt x="14848" y="355237"/>
                      </a:cubicBezTo>
                      <a:lnTo>
                        <a:pt x="1513" y="181501"/>
                      </a:lnTo>
                      <a:cubicBezTo>
                        <a:pt x="-392" y="157212"/>
                        <a:pt x="17801" y="135971"/>
                        <a:pt x="42089" y="134162"/>
                      </a:cubicBezTo>
                      <a:cubicBezTo>
                        <a:pt x="43232" y="134066"/>
                        <a:pt x="44375" y="134066"/>
                        <a:pt x="45518" y="134066"/>
                      </a:cubicBezTo>
                      <a:cubicBezTo>
                        <a:pt x="73141" y="134066"/>
                        <a:pt x="96858" y="153688"/>
                        <a:pt x="101906" y="180834"/>
                      </a:cubicBezTo>
                      <a:lnTo>
                        <a:pt x="121623" y="286371"/>
                      </a:lnTo>
                      <a:lnTo>
                        <a:pt x="407373" y="286371"/>
                      </a:lnTo>
                      <a:lnTo>
                        <a:pt x="427185" y="180739"/>
                      </a:lnTo>
                      <a:cubicBezTo>
                        <a:pt x="432233" y="153592"/>
                        <a:pt x="455951" y="133971"/>
                        <a:pt x="483573" y="133971"/>
                      </a:cubicBezTo>
                      <a:close/>
                      <a:moveTo>
                        <a:pt x="416898" y="621"/>
                      </a:moveTo>
                      <a:cubicBezTo>
                        <a:pt x="453760" y="621"/>
                        <a:pt x="483573" y="30434"/>
                        <a:pt x="483573" y="67296"/>
                      </a:cubicBezTo>
                      <a:lnTo>
                        <a:pt x="483573" y="115397"/>
                      </a:lnTo>
                      <a:cubicBezTo>
                        <a:pt x="481192" y="115112"/>
                        <a:pt x="478811" y="114921"/>
                        <a:pt x="476429" y="114921"/>
                      </a:cubicBezTo>
                      <a:cubicBezTo>
                        <a:pt x="445473" y="114921"/>
                        <a:pt x="418803" y="136448"/>
                        <a:pt x="412040" y="166451"/>
                      </a:cubicBezTo>
                      <a:lnTo>
                        <a:pt x="411564" y="168737"/>
                      </a:lnTo>
                      <a:lnTo>
                        <a:pt x="393086" y="267321"/>
                      </a:lnTo>
                      <a:lnTo>
                        <a:pt x="135911" y="267321"/>
                      </a:lnTo>
                      <a:lnTo>
                        <a:pt x="117432" y="168737"/>
                      </a:lnTo>
                      <a:cubicBezTo>
                        <a:pt x="111622" y="137495"/>
                        <a:pt x="84285" y="114921"/>
                        <a:pt x="52567" y="114921"/>
                      </a:cubicBezTo>
                      <a:lnTo>
                        <a:pt x="54948" y="67296"/>
                      </a:lnTo>
                      <a:cubicBezTo>
                        <a:pt x="54948" y="30434"/>
                        <a:pt x="84761" y="621"/>
                        <a:pt x="121623" y="621"/>
                      </a:cubicBezTo>
                      <a:lnTo>
                        <a:pt x="416898" y="621"/>
                      </a:lnTo>
                      <a:close/>
                    </a:path>
                  </a:pathLst>
                </a:custGeom>
                <a:solidFill>
                  <a:srgbClr val="FFFFFF"/>
                </a:solidFill>
                <a:ln>
                  <a:noFill/>
                </a:ln>
              </p:spPr>
              <p:txBody>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dirty="0"/>
                </a:p>
              </p:txBody>
            </p:sp>
          </p:grpSp>
        </p:grpSp>
        <p:grpSp>
          <p:nvGrpSpPr>
            <p:cNvPr id="33" name="组合 32"/>
            <p:cNvGrpSpPr/>
            <p:nvPr/>
          </p:nvGrpSpPr>
          <p:grpSpPr>
            <a:xfrm>
              <a:off x="6291663" y="4099482"/>
              <a:ext cx="4683641" cy="668929"/>
              <a:chOff x="6403458" y="4853163"/>
              <a:chExt cx="4683641" cy="668929"/>
            </a:xfrm>
          </p:grpSpPr>
          <p:grpSp>
            <p:nvGrpSpPr>
              <p:cNvPr id="26" name="组合 25"/>
              <p:cNvGrpSpPr/>
              <p:nvPr/>
            </p:nvGrpSpPr>
            <p:grpSpPr>
              <a:xfrm>
                <a:off x="6403458" y="4980051"/>
                <a:ext cx="444222" cy="444220"/>
                <a:chOff x="5472389" y="2095128"/>
                <a:chExt cx="444222" cy="444220"/>
              </a:xfrm>
            </p:grpSpPr>
            <p:sp>
              <p:nvSpPr>
                <p:cNvPr id="27" name="椭圆 26"/>
                <p:cNvSpPr/>
                <p:nvPr/>
              </p:nvSpPr>
              <p:spPr>
                <a:xfrm>
                  <a:off x="5472389" y="2095128"/>
                  <a:ext cx="444222" cy="444220"/>
                </a:xfrm>
                <a:prstGeom prst="ellipse">
                  <a:avLst/>
                </a:prstGeom>
                <a:solidFill>
                  <a:schemeClr val="accent1"/>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8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endParaRPr>
                </a:p>
              </p:txBody>
            </p:sp>
            <p:sp>
              <p:nvSpPr>
                <p:cNvPr id="28" name="任意多边形: 形状 27"/>
                <p:cNvSpPr/>
                <p:nvPr/>
              </p:nvSpPr>
              <p:spPr bwMode="auto">
                <a:xfrm>
                  <a:off x="5591720" y="2223635"/>
                  <a:ext cx="205561" cy="187207"/>
                </a:xfrm>
                <a:custGeom>
                  <a:avLst/>
                  <a:gdLst>
                    <a:gd name="connsiteX0" fmla="*/ 125329 w 533400"/>
                    <a:gd name="connsiteY0" fmla="*/ 229221 h 485775"/>
                    <a:gd name="connsiteX1" fmla="*/ 125329 w 533400"/>
                    <a:gd name="connsiteY1" fmla="*/ 276846 h 485775"/>
                    <a:gd name="connsiteX2" fmla="*/ 144379 w 533400"/>
                    <a:gd name="connsiteY2" fmla="*/ 276846 h 485775"/>
                    <a:gd name="connsiteX3" fmla="*/ 144379 w 533400"/>
                    <a:gd name="connsiteY3" fmla="*/ 229221 h 485775"/>
                    <a:gd name="connsiteX4" fmla="*/ 392029 w 533400"/>
                    <a:gd name="connsiteY4" fmla="*/ 229221 h 485775"/>
                    <a:gd name="connsiteX5" fmla="*/ 392029 w 533400"/>
                    <a:gd name="connsiteY5" fmla="*/ 276846 h 485775"/>
                    <a:gd name="connsiteX6" fmla="*/ 411079 w 533400"/>
                    <a:gd name="connsiteY6" fmla="*/ 276846 h 485775"/>
                    <a:gd name="connsiteX7" fmla="*/ 411079 w 533400"/>
                    <a:gd name="connsiteY7" fmla="*/ 229221 h 485775"/>
                    <a:gd name="connsiteX8" fmla="*/ 534904 w 533400"/>
                    <a:gd name="connsiteY8" fmla="*/ 229221 h 485775"/>
                    <a:gd name="connsiteX9" fmla="*/ 534904 w 533400"/>
                    <a:gd name="connsiteY9" fmla="*/ 457821 h 485775"/>
                    <a:gd name="connsiteX10" fmla="*/ 506329 w 533400"/>
                    <a:gd name="connsiteY10" fmla="*/ 486396 h 485775"/>
                    <a:gd name="connsiteX11" fmla="*/ 30079 w 533400"/>
                    <a:gd name="connsiteY11" fmla="*/ 486396 h 485775"/>
                    <a:gd name="connsiteX12" fmla="*/ 1504 w 533400"/>
                    <a:gd name="connsiteY12" fmla="*/ 457821 h 485775"/>
                    <a:gd name="connsiteX13" fmla="*/ 1504 w 533400"/>
                    <a:gd name="connsiteY13" fmla="*/ 229221 h 485775"/>
                    <a:gd name="connsiteX14" fmla="*/ 125329 w 533400"/>
                    <a:gd name="connsiteY14" fmla="*/ 229221 h 485775"/>
                    <a:gd name="connsiteX15" fmla="*/ 372979 w 533400"/>
                    <a:gd name="connsiteY15" fmla="*/ 621 h 485775"/>
                    <a:gd name="connsiteX16" fmla="*/ 411079 w 533400"/>
                    <a:gd name="connsiteY16" fmla="*/ 36816 h 485775"/>
                    <a:gd name="connsiteX17" fmla="*/ 411079 w 533400"/>
                    <a:gd name="connsiteY17" fmla="*/ 38721 h 485775"/>
                    <a:gd name="connsiteX18" fmla="*/ 411079 w 533400"/>
                    <a:gd name="connsiteY18" fmla="*/ 114921 h 485775"/>
                    <a:gd name="connsiteX19" fmla="*/ 506329 w 533400"/>
                    <a:gd name="connsiteY19" fmla="*/ 114921 h 485775"/>
                    <a:gd name="connsiteX20" fmla="*/ 534904 w 533400"/>
                    <a:gd name="connsiteY20" fmla="*/ 143496 h 485775"/>
                    <a:gd name="connsiteX21" fmla="*/ 534904 w 533400"/>
                    <a:gd name="connsiteY21" fmla="*/ 210171 h 485775"/>
                    <a:gd name="connsiteX22" fmla="*/ 1504 w 533400"/>
                    <a:gd name="connsiteY22" fmla="*/ 210171 h 485775"/>
                    <a:gd name="connsiteX23" fmla="*/ 1504 w 533400"/>
                    <a:gd name="connsiteY23" fmla="*/ 143496 h 485775"/>
                    <a:gd name="connsiteX24" fmla="*/ 30079 w 533400"/>
                    <a:gd name="connsiteY24" fmla="*/ 114921 h 485775"/>
                    <a:gd name="connsiteX25" fmla="*/ 125329 w 533400"/>
                    <a:gd name="connsiteY25" fmla="*/ 114921 h 485775"/>
                    <a:gd name="connsiteX26" fmla="*/ 125329 w 533400"/>
                    <a:gd name="connsiteY26" fmla="*/ 38721 h 485775"/>
                    <a:gd name="connsiteX27" fmla="*/ 161524 w 533400"/>
                    <a:gd name="connsiteY27" fmla="*/ 621 h 485775"/>
                    <a:gd name="connsiteX28" fmla="*/ 163429 w 533400"/>
                    <a:gd name="connsiteY28" fmla="*/ 621 h 485775"/>
                    <a:gd name="connsiteX29" fmla="*/ 372979 w 533400"/>
                    <a:gd name="connsiteY29" fmla="*/ 621 h 485775"/>
                    <a:gd name="connsiteX30" fmla="*/ 372979 w 533400"/>
                    <a:gd name="connsiteY30" fmla="*/ 19671 h 485775"/>
                    <a:gd name="connsiteX31" fmla="*/ 163429 w 533400"/>
                    <a:gd name="connsiteY31" fmla="*/ 19671 h 485775"/>
                    <a:gd name="connsiteX32" fmla="*/ 144474 w 533400"/>
                    <a:gd name="connsiteY32" fmla="*/ 37292 h 485775"/>
                    <a:gd name="connsiteX33" fmla="*/ 144379 w 533400"/>
                    <a:gd name="connsiteY33" fmla="*/ 38721 h 485775"/>
                    <a:gd name="connsiteX34" fmla="*/ 144379 w 533400"/>
                    <a:gd name="connsiteY34" fmla="*/ 114921 h 485775"/>
                    <a:gd name="connsiteX35" fmla="*/ 392029 w 533400"/>
                    <a:gd name="connsiteY35" fmla="*/ 114921 h 485775"/>
                    <a:gd name="connsiteX36" fmla="*/ 392029 w 533400"/>
                    <a:gd name="connsiteY36" fmla="*/ 38721 h 485775"/>
                    <a:gd name="connsiteX37" fmla="*/ 375836 w 533400"/>
                    <a:gd name="connsiteY37" fmla="*/ 19862 h 485775"/>
                    <a:gd name="connsiteX38" fmla="*/ 374408 w 533400"/>
                    <a:gd name="connsiteY38" fmla="*/ 19671 h 485775"/>
                    <a:gd name="connsiteX39" fmla="*/ 372979 w 533400"/>
                    <a:gd name="connsiteY39" fmla="*/ 19671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533400" h="485775">
                      <a:moveTo>
                        <a:pt x="125329" y="229221"/>
                      </a:moveTo>
                      <a:lnTo>
                        <a:pt x="125329" y="276846"/>
                      </a:lnTo>
                      <a:lnTo>
                        <a:pt x="144379" y="276846"/>
                      </a:lnTo>
                      <a:lnTo>
                        <a:pt x="144379" y="229221"/>
                      </a:lnTo>
                      <a:lnTo>
                        <a:pt x="392029" y="229221"/>
                      </a:lnTo>
                      <a:lnTo>
                        <a:pt x="392029" y="276846"/>
                      </a:lnTo>
                      <a:lnTo>
                        <a:pt x="411079" y="276846"/>
                      </a:lnTo>
                      <a:lnTo>
                        <a:pt x="411079" y="229221"/>
                      </a:lnTo>
                      <a:lnTo>
                        <a:pt x="534904" y="229221"/>
                      </a:lnTo>
                      <a:lnTo>
                        <a:pt x="534904" y="457821"/>
                      </a:lnTo>
                      <a:cubicBezTo>
                        <a:pt x="534904" y="473632"/>
                        <a:pt x="522141" y="486396"/>
                        <a:pt x="506329" y="486396"/>
                      </a:cubicBezTo>
                      <a:lnTo>
                        <a:pt x="30079" y="486396"/>
                      </a:lnTo>
                      <a:cubicBezTo>
                        <a:pt x="14267" y="486396"/>
                        <a:pt x="1504" y="473632"/>
                        <a:pt x="1504" y="457821"/>
                      </a:cubicBezTo>
                      <a:lnTo>
                        <a:pt x="1504" y="229221"/>
                      </a:lnTo>
                      <a:lnTo>
                        <a:pt x="125329" y="229221"/>
                      </a:lnTo>
                      <a:close/>
                      <a:moveTo>
                        <a:pt x="372979" y="621"/>
                      </a:moveTo>
                      <a:cubicBezTo>
                        <a:pt x="393363" y="621"/>
                        <a:pt x="410031" y="16623"/>
                        <a:pt x="411079" y="36816"/>
                      </a:cubicBezTo>
                      <a:lnTo>
                        <a:pt x="411079" y="38721"/>
                      </a:lnTo>
                      <a:lnTo>
                        <a:pt x="411079" y="114921"/>
                      </a:lnTo>
                      <a:lnTo>
                        <a:pt x="506329" y="114921"/>
                      </a:lnTo>
                      <a:cubicBezTo>
                        <a:pt x="522141" y="114921"/>
                        <a:pt x="534904" y="127685"/>
                        <a:pt x="534904" y="143496"/>
                      </a:cubicBezTo>
                      <a:lnTo>
                        <a:pt x="534904" y="210171"/>
                      </a:lnTo>
                      <a:lnTo>
                        <a:pt x="1504" y="210171"/>
                      </a:lnTo>
                      <a:lnTo>
                        <a:pt x="1504" y="143496"/>
                      </a:lnTo>
                      <a:cubicBezTo>
                        <a:pt x="1504" y="127685"/>
                        <a:pt x="14267" y="114921"/>
                        <a:pt x="30079" y="114921"/>
                      </a:cubicBezTo>
                      <a:lnTo>
                        <a:pt x="125329" y="114921"/>
                      </a:lnTo>
                      <a:lnTo>
                        <a:pt x="125329" y="38721"/>
                      </a:lnTo>
                      <a:cubicBezTo>
                        <a:pt x="125329" y="18337"/>
                        <a:pt x="141331" y="1669"/>
                        <a:pt x="161524" y="621"/>
                      </a:cubicBezTo>
                      <a:lnTo>
                        <a:pt x="163429" y="621"/>
                      </a:lnTo>
                      <a:lnTo>
                        <a:pt x="372979" y="621"/>
                      </a:lnTo>
                      <a:close/>
                      <a:moveTo>
                        <a:pt x="372979" y="19671"/>
                      </a:moveTo>
                      <a:lnTo>
                        <a:pt x="163429" y="19671"/>
                      </a:lnTo>
                      <a:cubicBezTo>
                        <a:pt x="153428" y="19671"/>
                        <a:pt x="145141" y="27482"/>
                        <a:pt x="144474" y="37292"/>
                      </a:cubicBezTo>
                      <a:lnTo>
                        <a:pt x="144379" y="38721"/>
                      </a:lnTo>
                      <a:lnTo>
                        <a:pt x="144379" y="114921"/>
                      </a:lnTo>
                      <a:lnTo>
                        <a:pt x="392029" y="114921"/>
                      </a:lnTo>
                      <a:lnTo>
                        <a:pt x="392029" y="38721"/>
                      </a:lnTo>
                      <a:cubicBezTo>
                        <a:pt x="392029" y="29196"/>
                        <a:pt x="384981" y="21290"/>
                        <a:pt x="375836" y="19862"/>
                      </a:cubicBezTo>
                      <a:lnTo>
                        <a:pt x="374408" y="19671"/>
                      </a:lnTo>
                      <a:lnTo>
                        <a:pt x="372979" y="19671"/>
                      </a:lnTo>
                      <a:close/>
                    </a:path>
                  </a:pathLst>
                </a:custGeom>
                <a:solidFill>
                  <a:srgbClr val="FFFFFF"/>
                </a:solidFill>
                <a:ln>
                  <a:noFill/>
                </a:ln>
              </p:spPr>
              <p:txBody>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grpSp>
          <p:grpSp>
            <p:nvGrpSpPr>
              <p:cNvPr id="29" name="组合 28"/>
              <p:cNvGrpSpPr/>
              <p:nvPr/>
            </p:nvGrpSpPr>
            <p:grpSpPr>
              <a:xfrm>
                <a:off x="6976026" y="4853163"/>
                <a:ext cx="4111073" cy="668929"/>
                <a:chOff x="6976026" y="1862210"/>
                <a:chExt cx="4111073" cy="668929"/>
              </a:xfrm>
            </p:grpSpPr>
            <p:sp>
              <p:nvSpPr>
                <p:cNvPr id="30" name="矩形 29"/>
                <p:cNvSpPr/>
                <p:nvPr/>
              </p:nvSpPr>
              <p:spPr>
                <a:xfrm flipH="1">
                  <a:off x="6976026" y="2236507"/>
                  <a:ext cx="4111073" cy="294632"/>
                </a:xfrm>
                <a:prstGeom prst="rect">
                  <a:avLst/>
                </a:prstGeom>
              </p:spPr>
              <p:txBody>
                <a:bodyPr wrap="square" anchor="t" anchorCtr="0">
                  <a:spAutoFit/>
                </a:bodyPr>
                <a:lstStyle/>
                <a:p>
                  <a:pPr>
                    <a:lnSpc>
                      <a:spcPct val="150000"/>
                    </a:lnSpc>
                  </a:pPr>
                  <a:r>
                    <a:rPr lang="en-US" altLang="zh-CN" sz="1000" dirty="0">
                      <a:latin typeface="Arial" panose="020B0604020202090204" pitchFamily="34" charset="0"/>
                      <a:ea typeface="华文楷体" panose="02010600040101010101" pitchFamily="2" charset="-122"/>
                    </a:rPr>
                    <a:t>Theme  color makes PPT more convenient to change</a:t>
                  </a:r>
                  <a:endParaRPr lang="en-US" altLang="zh-CN" sz="1000" dirty="0">
                    <a:latin typeface="Arial" panose="020B0604020202090204" pitchFamily="34" charset="0"/>
                    <a:ea typeface="华文楷体" panose="02010600040101010101" pitchFamily="2" charset="-122"/>
                  </a:endParaRPr>
                </a:p>
              </p:txBody>
            </p:sp>
            <p:sp>
              <p:nvSpPr>
                <p:cNvPr id="31" name="文本框 30"/>
                <p:cNvSpPr txBox="1"/>
                <p:nvPr/>
              </p:nvSpPr>
              <p:spPr>
                <a:xfrm flipH="1">
                  <a:off x="6976027" y="1862210"/>
                  <a:ext cx="4111072" cy="461665"/>
                </a:xfrm>
                <a:prstGeom prst="rect">
                  <a:avLst/>
                </a:prstGeom>
                <a:no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spAutoFit/>
                </a:bodyPr>
                <a:lstStyle>
                  <a:defPPr>
                    <a:defRPr lang="zh-CN"/>
                  </a:defPPr>
                  <a:lvl1pPr algn="ctr" defTabSz="914400">
                    <a:defRPr sz="1400" b="1">
                      <a:solidFill>
                        <a:schemeClr val="tx1">
                          <a:lumMod val="90000"/>
                          <a:lumOff val="1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n-US" altLang="zh-CN" sz="2400" dirty="0">
                      <a:latin typeface="Arial" panose="020B0604020202090204" pitchFamily="34" charset="0"/>
                      <a:ea typeface="华文楷体" panose="02010600040101010101" pitchFamily="2" charset="-122"/>
                    </a:rPr>
                    <a:t>Text here</a:t>
                  </a:r>
                  <a:endParaRPr lang="en-US" altLang="zh-CN" sz="2400" dirty="0">
                    <a:latin typeface="Arial" panose="020B0604020202090204" pitchFamily="34" charset="0"/>
                    <a:ea typeface="华文楷体" panose="02010600040101010101" pitchFamily="2" charset="-122"/>
                  </a:endParaRPr>
                </a:p>
              </p:txBody>
            </p:sp>
          </p:grpSp>
        </p:grpSp>
        <p:grpSp>
          <p:nvGrpSpPr>
            <p:cNvPr id="9" name="组合 8"/>
            <p:cNvGrpSpPr/>
            <p:nvPr/>
          </p:nvGrpSpPr>
          <p:grpSpPr>
            <a:xfrm>
              <a:off x="862624" y="1193615"/>
              <a:ext cx="4896706" cy="4896706"/>
              <a:chOff x="776005" y="820320"/>
              <a:chExt cx="4896706" cy="4896706"/>
            </a:xfrm>
          </p:grpSpPr>
          <p:sp>
            <p:nvSpPr>
              <p:cNvPr id="34" name="椭圆 33"/>
              <p:cNvSpPr/>
              <p:nvPr/>
            </p:nvSpPr>
            <p:spPr>
              <a:xfrm>
                <a:off x="776005" y="820320"/>
                <a:ext cx="4896706" cy="4896706"/>
              </a:xfrm>
              <a:prstGeom prst="ellipse">
                <a:avLst/>
              </a:prstGeom>
              <a:solidFill>
                <a:schemeClr val="tx1">
                  <a:lumMod val="50000"/>
                  <a:lumOff val="50000"/>
                  <a:alpha val="1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椭圆 15"/>
              <p:cNvSpPr/>
              <p:nvPr/>
            </p:nvSpPr>
            <p:spPr>
              <a:xfrm>
                <a:off x="1225462" y="1719233"/>
                <a:ext cx="3997793" cy="3997793"/>
              </a:xfrm>
              <a:prstGeom prst="ellipse">
                <a:avLst/>
              </a:prstGeom>
              <a:solidFill>
                <a:schemeClr val="tx1">
                  <a:lumMod val="50000"/>
                  <a:lumOff val="50000"/>
                  <a:alpha val="1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4" name="椭圆 13"/>
              <p:cNvSpPr/>
              <p:nvPr/>
            </p:nvSpPr>
            <p:spPr>
              <a:xfrm>
                <a:off x="1711341" y="2690991"/>
                <a:ext cx="3026035" cy="3026035"/>
              </a:xfrm>
              <a:prstGeom prst="ellipse">
                <a:avLst/>
              </a:prstGeom>
              <a:solidFill>
                <a:schemeClr val="tx1">
                  <a:lumMod val="50000"/>
                  <a:lumOff val="50000"/>
                  <a:alpha val="1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4" name="椭圆 3"/>
              <p:cNvSpPr/>
              <p:nvPr/>
            </p:nvSpPr>
            <p:spPr>
              <a:xfrm>
                <a:off x="2229331" y="3726972"/>
                <a:ext cx="1990054" cy="199005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文本框 12"/>
              <p:cNvSpPr txBox="1"/>
              <p:nvPr/>
            </p:nvSpPr>
            <p:spPr>
              <a:xfrm flipH="1">
                <a:off x="2457768" y="4623687"/>
                <a:ext cx="1518616" cy="461665"/>
              </a:xfrm>
              <a:prstGeom prst="rect">
                <a:avLst/>
              </a:prstGeom>
              <a:no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spAutoFit/>
              </a:bodyPr>
              <a:lstStyle>
                <a:defPPr>
                  <a:defRPr lang="zh-CN"/>
                </a:defPPr>
                <a:lvl1pPr algn="ctr" defTabSz="914400">
                  <a:defRPr sz="1400" b="1">
                    <a:solidFill>
                      <a:schemeClr val="tx1">
                        <a:lumMod val="90000"/>
                        <a:lumOff val="1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n-US" altLang="zh-CN" sz="2400" dirty="0">
                    <a:latin typeface="Arial" panose="020B0604020202090204" pitchFamily="34" charset="0"/>
                    <a:ea typeface="华文楷体" panose="02010600040101010101" pitchFamily="2" charset="-122"/>
                  </a:rPr>
                  <a:t>Text here</a:t>
                </a:r>
                <a:endParaRPr lang="en-US" altLang="zh-CN" sz="2400" dirty="0">
                  <a:latin typeface="Arial" panose="020B0604020202090204" pitchFamily="34" charset="0"/>
                  <a:ea typeface="华文楷体" panose="02010600040101010101" pitchFamily="2" charset="-122"/>
                </a:endParaRPr>
              </a:p>
            </p:txBody>
          </p:sp>
          <p:sp>
            <p:nvSpPr>
              <p:cNvPr id="17" name="文本框 16"/>
              <p:cNvSpPr txBox="1"/>
              <p:nvPr/>
            </p:nvSpPr>
            <p:spPr>
              <a:xfrm flipH="1">
                <a:off x="2457768" y="3127193"/>
                <a:ext cx="1518616" cy="461665"/>
              </a:xfrm>
              <a:prstGeom prst="rect">
                <a:avLst/>
              </a:prstGeom>
              <a:no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spAutoFit/>
              </a:bodyPr>
              <a:lstStyle>
                <a:defPPr>
                  <a:defRPr lang="zh-CN"/>
                </a:defPPr>
                <a:lvl1pPr algn="ctr" defTabSz="914400">
                  <a:defRPr sz="1400" b="1">
                    <a:solidFill>
                      <a:schemeClr val="tx1">
                        <a:lumMod val="90000"/>
                        <a:lumOff val="1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n-US" altLang="zh-CN" sz="2400" dirty="0">
                    <a:latin typeface="Arial" panose="020B0604020202090204" pitchFamily="34" charset="0"/>
                    <a:ea typeface="华文楷体" panose="02010600040101010101" pitchFamily="2" charset="-122"/>
                  </a:rPr>
                  <a:t>Text here</a:t>
                </a:r>
                <a:endParaRPr lang="en-US" altLang="zh-CN" sz="2400" dirty="0">
                  <a:latin typeface="Arial" panose="020B0604020202090204" pitchFamily="34" charset="0"/>
                  <a:ea typeface="华文楷体" panose="02010600040101010101" pitchFamily="2" charset="-122"/>
                </a:endParaRPr>
              </a:p>
            </p:txBody>
          </p:sp>
          <p:sp>
            <p:nvSpPr>
              <p:cNvPr id="18" name="文本框 17"/>
              <p:cNvSpPr txBox="1"/>
              <p:nvPr/>
            </p:nvSpPr>
            <p:spPr>
              <a:xfrm flipH="1">
                <a:off x="2457768" y="1999646"/>
                <a:ext cx="1518616" cy="461665"/>
              </a:xfrm>
              <a:prstGeom prst="rect">
                <a:avLst/>
              </a:prstGeom>
              <a:no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spAutoFit/>
              </a:bodyPr>
              <a:lstStyle>
                <a:defPPr>
                  <a:defRPr lang="zh-CN"/>
                </a:defPPr>
                <a:lvl1pPr algn="ctr" defTabSz="914400">
                  <a:defRPr sz="1400" b="1">
                    <a:solidFill>
                      <a:schemeClr val="tx1">
                        <a:lumMod val="90000"/>
                        <a:lumOff val="1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n-US" altLang="zh-CN" sz="2400" dirty="0">
                    <a:latin typeface="Arial" panose="020B0604020202090204" pitchFamily="34" charset="0"/>
                    <a:ea typeface="华文楷体" panose="02010600040101010101" pitchFamily="2" charset="-122"/>
                  </a:rPr>
                  <a:t>Text here</a:t>
                </a:r>
                <a:endParaRPr lang="en-US" altLang="zh-CN" sz="2400" dirty="0">
                  <a:latin typeface="Arial" panose="020B0604020202090204" pitchFamily="34" charset="0"/>
                  <a:ea typeface="华文楷体" panose="02010600040101010101" pitchFamily="2" charset="-122"/>
                </a:endParaRPr>
              </a:p>
            </p:txBody>
          </p:sp>
          <p:sp>
            <p:nvSpPr>
              <p:cNvPr id="35" name="文本框 34"/>
              <p:cNvSpPr txBox="1"/>
              <p:nvPr/>
            </p:nvSpPr>
            <p:spPr>
              <a:xfrm flipH="1">
                <a:off x="2457768" y="1052102"/>
                <a:ext cx="1518616" cy="461665"/>
              </a:xfrm>
              <a:prstGeom prst="rect">
                <a:avLst/>
              </a:prstGeom>
              <a:no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spAutoFit/>
              </a:bodyPr>
              <a:lstStyle>
                <a:defPPr>
                  <a:defRPr lang="zh-CN"/>
                </a:defPPr>
                <a:lvl1pPr algn="ctr" defTabSz="914400">
                  <a:defRPr sz="1400" b="1">
                    <a:solidFill>
                      <a:schemeClr val="tx1">
                        <a:lumMod val="90000"/>
                        <a:lumOff val="1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n-US" altLang="zh-CN" sz="2400" dirty="0">
                    <a:latin typeface="Arial" panose="020B0604020202090204" pitchFamily="34" charset="0"/>
                    <a:ea typeface="华文楷体" panose="02010600040101010101" pitchFamily="2" charset="-122"/>
                  </a:rPr>
                  <a:t>Text here</a:t>
                </a:r>
                <a:endParaRPr lang="en-US" altLang="zh-CN" sz="2400" dirty="0">
                  <a:latin typeface="Arial" panose="020B0604020202090204" pitchFamily="34" charset="0"/>
                  <a:ea typeface="华文楷体" panose="02010600040101010101" pitchFamily="2" charset="-122"/>
                </a:endParaRPr>
              </a:p>
            </p:txBody>
          </p:sp>
        </p:grpSp>
        <p:grpSp>
          <p:nvGrpSpPr>
            <p:cNvPr id="12" name="组合 11"/>
            <p:cNvGrpSpPr/>
            <p:nvPr/>
          </p:nvGrpSpPr>
          <p:grpSpPr>
            <a:xfrm>
              <a:off x="6291663" y="5480672"/>
              <a:ext cx="4676377" cy="668929"/>
              <a:chOff x="6298927" y="5480672"/>
              <a:chExt cx="4676377" cy="668929"/>
            </a:xfrm>
          </p:grpSpPr>
          <p:grpSp>
            <p:nvGrpSpPr>
              <p:cNvPr id="38" name="组合 37"/>
              <p:cNvGrpSpPr/>
              <p:nvPr/>
            </p:nvGrpSpPr>
            <p:grpSpPr>
              <a:xfrm>
                <a:off x="6864231" y="5480672"/>
                <a:ext cx="4111073" cy="668929"/>
                <a:chOff x="6976026" y="1862210"/>
                <a:chExt cx="4111073" cy="668929"/>
              </a:xfrm>
            </p:grpSpPr>
            <p:sp>
              <p:nvSpPr>
                <p:cNvPr id="39" name="矩形 38"/>
                <p:cNvSpPr/>
                <p:nvPr/>
              </p:nvSpPr>
              <p:spPr>
                <a:xfrm flipH="1">
                  <a:off x="6976026" y="2236507"/>
                  <a:ext cx="4111073" cy="294632"/>
                </a:xfrm>
                <a:prstGeom prst="rect">
                  <a:avLst/>
                </a:prstGeom>
              </p:spPr>
              <p:txBody>
                <a:bodyPr wrap="square" anchor="t" anchorCtr="0">
                  <a:spAutoFit/>
                </a:bodyPr>
                <a:lstStyle/>
                <a:p>
                  <a:pPr>
                    <a:lnSpc>
                      <a:spcPct val="150000"/>
                    </a:lnSpc>
                  </a:pPr>
                  <a:r>
                    <a:rPr lang="en-US" altLang="zh-CN" sz="1000" dirty="0">
                      <a:latin typeface="Arial" panose="020B0604020202090204" pitchFamily="34" charset="0"/>
                      <a:ea typeface="华文楷体" panose="02010600040101010101" pitchFamily="2" charset="-122"/>
                    </a:rPr>
                    <a:t>Theme  color makes PPT more convenient to change</a:t>
                  </a:r>
                  <a:endParaRPr lang="en-US" altLang="zh-CN" sz="1000" dirty="0">
                    <a:latin typeface="Arial" panose="020B0604020202090204" pitchFamily="34" charset="0"/>
                    <a:ea typeface="华文楷体" panose="02010600040101010101" pitchFamily="2" charset="-122"/>
                  </a:endParaRPr>
                </a:p>
              </p:txBody>
            </p:sp>
            <p:sp>
              <p:nvSpPr>
                <p:cNvPr id="40" name="文本框 39"/>
                <p:cNvSpPr txBox="1"/>
                <p:nvPr/>
              </p:nvSpPr>
              <p:spPr>
                <a:xfrm flipH="1">
                  <a:off x="6976027" y="1862210"/>
                  <a:ext cx="4111072" cy="461665"/>
                </a:xfrm>
                <a:prstGeom prst="rect">
                  <a:avLst/>
                </a:prstGeom>
                <a:no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spAutoFit/>
                </a:bodyPr>
                <a:lstStyle>
                  <a:defPPr>
                    <a:defRPr lang="zh-CN"/>
                  </a:defPPr>
                  <a:lvl1pPr algn="ctr" defTabSz="914400">
                    <a:defRPr sz="1400" b="1">
                      <a:solidFill>
                        <a:schemeClr val="tx1">
                          <a:lumMod val="90000"/>
                          <a:lumOff val="1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n-US" altLang="zh-CN" sz="2400" dirty="0">
                      <a:latin typeface="Arial" panose="020B0604020202090204" pitchFamily="34" charset="0"/>
                      <a:ea typeface="华文楷体" panose="02010600040101010101" pitchFamily="2" charset="-122"/>
                    </a:rPr>
                    <a:t>Text here</a:t>
                  </a:r>
                  <a:endParaRPr lang="en-US" altLang="zh-CN" sz="2400" dirty="0">
                    <a:latin typeface="Arial" panose="020B0604020202090204" pitchFamily="34" charset="0"/>
                    <a:ea typeface="华文楷体" panose="02010600040101010101" pitchFamily="2" charset="-122"/>
                  </a:endParaRPr>
                </a:p>
              </p:txBody>
            </p:sp>
          </p:grpSp>
          <p:grpSp>
            <p:nvGrpSpPr>
              <p:cNvPr id="45" name="组合 44"/>
              <p:cNvGrpSpPr/>
              <p:nvPr/>
            </p:nvGrpSpPr>
            <p:grpSpPr>
              <a:xfrm>
                <a:off x="6298927" y="5599084"/>
                <a:ext cx="444222" cy="444220"/>
                <a:chOff x="6270352" y="2079217"/>
                <a:chExt cx="444222" cy="444220"/>
              </a:xfrm>
            </p:grpSpPr>
            <p:sp>
              <p:nvSpPr>
                <p:cNvPr id="46" name="椭圆 45"/>
                <p:cNvSpPr/>
                <p:nvPr/>
              </p:nvSpPr>
              <p:spPr>
                <a:xfrm>
                  <a:off x="6270352" y="2079217"/>
                  <a:ext cx="444222" cy="444220"/>
                </a:xfrm>
                <a:prstGeom prst="ellipse">
                  <a:avLst/>
                </a:prstGeom>
                <a:solidFill>
                  <a:schemeClr val="accent1"/>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8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endParaRPr>
                </a:p>
              </p:txBody>
            </p:sp>
            <p:sp>
              <p:nvSpPr>
                <p:cNvPr id="47" name="任意多边形: 形状 46"/>
                <p:cNvSpPr/>
                <p:nvPr/>
              </p:nvSpPr>
              <p:spPr bwMode="auto">
                <a:xfrm>
                  <a:off x="6389683" y="2219484"/>
                  <a:ext cx="205561" cy="163687"/>
                </a:xfrm>
                <a:custGeom>
                  <a:avLst/>
                  <a:gdLst>
                    <a:gd name="connsiteX0" fmla="*/ 486767 w 514350"/>
                    <a:gd name="connsiteY0" fmla="*/ 621 h 409575"/>
                    <a:gd name="connsiteX1" fmla="*/ 515342 w 514350"/>
                    <a:gd name="connsiteY1" fmla="*/ 29196 h 409575"/>
                    <a:gd name="connsiteX2" fmla="*/ 515342 w 514350"/>
                    <a:gd name="connsiteY2" fmla="*/ 324471 h 409575"/>
                    <a:gd name="connsiteX3" fmla="*/ 486767 w 514350"/>
                    <a:gd name="connsiteY3" fmla="*/ 353046 h 409575"/>
                    <a:gd name="connsiteX4" fmla="*/ 192159 w 514350"/>
                    <a:gd name="connsiteY4" fmla="*/ 353046 h 409575"/>
                    <a:gd name="connsiteX5" fmla="*/ 115387 w 514350"/>
                    <a:gd name="connsiteY5" fmla="*/ 410196 h 409575"/>
                    <a:gd name="connsiteX6" fmla="*/ 115387 w 514350"/>
                    <a:gd name="connsiteY6" fmla="*/ 353046 h 409575"/>
                    <a:gd name="connsiteX7" fmla="*/ 29567 w 514350"/>
                    <a:gd name="connsiteY7" fmla="*/ 353046 h 409575"/>
                    <a:gd name="connsiteX8" fmla="*/ 992 w 514350"/>
                    <a:gd name="connsiteY8" fmla="*/ 324471 h 409575"/>
                    <a:gd name="connsiteX9" fmla="*/ 992 w 514350"/>
                    <a:gd name="connsiteY9" fmla="*/ 29196 h 409575"/>
                    <a:gd name="connsiteX10" fmla="*/ 29567 w 514350"/>
                    <a:gd name="connsiteY10" fmla="*/ 621 h 409575"/>
                    <a:gd name="connsiteX11" fmla="*/ 486767 w 514350"/>
                    <a:gd name="connsiteY11" fmla="*/ 621 h 409575"/>
                    <a:gd name="connsiteX12" fmla="*/ 124817 w 514350"/>
                    <a:gd name="connsiteY12" fmla="*/ 143496 h 409575"/>
                    <a:gd name="connsiteX13" fmla="*/ 91480 w 514350"/>
                    <a:gd name="connsiteY13" fmla="*/ 176834 h 409575"/>
                    <a:gd name="connsiteX14" fmla="*/ 124817 w 514350"/>
                    <a:gd name="connsiteY14" fmla="*/ 210171 h 409575"/>
                    <a:gd name="connsiteX15" fmla="*/ 158155 w 514350"/>
                    <a:gd name="connsiteY15" fmla="*/ 176834 h 409575"/>
                    <a:gd name="connsiteX16" fmla="*/ 124817 w 514350"/>
                    <a:gd name="connsiteY16" fmla="*/ 143496 h 409575"/>
                    <a:gd name="connsiteX17" fmla="*/ 258167 w 514350"/>
                    <a:gd name="connsiteY17" fmla="*/ 143496 h 409575"/>
                    <a:gd name="connsiteX18" fmla="*/ 224830 w 514350"/>
                    <a:gd name="connsiteY18" fmla="*/ 176834 h 409575"/>
                    <a:gd name="connsiteX19" fmla="*/ 258167 w 514350"/>
                    <a:gd name="connsiteY19" fmla="*/ 210171 h 409575"/>
                    <a:gd name="connsiteX20" fmla="*/ 291505 w 514350"/>
                    <a:gd name="connsiteY20" fmla="*/ 176834 h 409575"/>
                    <a:gd name="connsiteX21" fmla="*/ 258167 w 514350"/>
                    <a:gd name="connsiteY21" fmla="*/ 143496 h 409575"/>
                    <a:gd name="connsiteX22" fmla="*/ 391517 w 514350"/>
                    <a:gd name="connsiteY22" fmla="*/ 143496 h 409575"/>
                    <a:gd name="connsiteX23" fmla="*/ 358180 w 514350"/>
                    <a:gd name="connsiteY23" fmla="*/ 176834 h 409575"/>
                    <a:gd name="connsiteX24" fmla="*/ 391517 w 514350"/>
                    <a:gd name="connsiteY24" fmla="*/ 210171 h 409575"/>
                    <a:gd name="connsiteX25" fmla="*/ 424855 w 514350"/>
                    <a:gd name="connsiteY25" fmla="*/ 176834 h 409575"/>
                    <a:gd name="connsiteX26" fmla="*/ 391517 w 514350"/>
                    <a:gd name="connsiteY26" fmla="*/ 143496 h 409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14350" h="409575">
                      <a:moveTo>
                        <a:pt x="486767" y="621"/>
                      </a:moveTo>
                      <a:cubicBezTo>
                        <a:pt x="502579" y="621"/>
                        <a:pt x="515342" y="13385"/>
                        <a:pt x="515342" y="29196"/>
                      </a:cubicBezTo>
                      <a:lnTo>
                        <a:pt x="515342" y="324471"/>
                      </a:lnTo>
                      <a:cubicBezTo>
                        <a:pt x="515342" y="340282"/>
                        <a:pt x="502579" y="353046"/>
                        <a:pt x="486767" y="353046"/>
                      </a:cubicBezTo>
                      <a:lnTo>
                        <a:pt x="192159" y="353046"/>
                      </a:lnTo>
                      <a:lnTo>
                        <a:pt x="115387" y="410196"/>
                      </a:lnTo>
                      <a:lnTo>
                        <a:pt x="115387" y="353046"/>
                      </a:lnTo>
                      <a:lnTo>
                        <a:pt x="29567" y="353046"/>
                      </a:lnTo>
                      <a:cubicBezTo>
                        <a:pt x="13755" y="353046"/>
                        <a:pt x="992" y="340282"/>
                        <a:pt x="992" y="324471"/>
                      </a:cubicBezTo>
                      <a:lnTo>
                        <a:pt x="992" y="29196"/>
                      </a:lnTo>
                      <a:cubicBezTo>
                        <a:pt x="992" y="13385"/>
                        <a:pt x="13755" y="621"/>
                        <a:pt x="29567" y="621"/>
                      </a:cubicBezTo>
                      <a:lnTo>
                        <a:pt x="486767" y="621"/>
                      </a:lnTo>
                      <a:close/>
                      <a:moveTo>
                        <a:pt x="124817" y="143496"/>
                      </a:moveTo>
                      <a:cubicBezTo>
                        <a:pt x="106434" y="143496"/>
                        <a:pt x="91480" y="158450"/>
                        <a:pt x="91480" y="176834"/>
                      </a:cubicBezTo>
                      <a:cubicBezTo>
                        <a:pt x="91480" y="195217"/>
                        <a:pt x="106434" y="210171"/>
                        <a:pt x="124817" y="210171"/>
                      </a:cubicBezTo>
                      <a:cubicBezTo>
                        <a:pt x="143200" y="210171"/>
                        <a:pt x="158155" y="195217"/>
                        <a:pt x="158155" y="176834"/>
                      </a:cubicBezTo>
                      <a:cubicBezTo>
                        <a:pt x="158155" y="158450"/>
                        <a:pt x="143200" y="143496"/>
                        <a:pt x="124817" y="143496"/>
                      </a:cubicBezTo>
                      <a:close/>
                      <a:moveTo>
                        <a:pt x="258167" y="143496"/>
                      </a:moveTo>
                      <a:cubicBezTo>
                        <a:pt x="239784" y="143496"/>
                        <a:pt x="224830" y="158450"/>
                        <a:pt x="224830" y="176834"/>
                      </a:cubicBezTo>
                      <a:cubicBezTo>
                        <a:pt x="224830" y="195217"/>
                        <a:pt x="239784" y="210171"/>
                        <a:pt x="258167" y="210171"/>
                      </a:cubicBezTo>
                      <a:cubicBezTo>
                        <a:pt x="276550" y="210171"/>
                        <a:pt x="291505" y="195217"/>
                        <a:pt x="291505" y="176834"/>
                      </a:cubicBezTo>
                      <a:cubicBezTo>
                        <a:pt x="291505" y="158450"/>
                        <a:pt x="276550" y="143496"/>
                        <a:pt x="258167" y="143496"/>
                      </a:cubicBezTo>
                      <a:close/>
                      <a:moveTo>
                        <a:pt x="391517" y="143496"/>
                      </a:moveTo>
                      <a:cubicBezTo>
                        <a:pt x="373134" y="143496"/>
                        <a:pt x="358180" y="158450"/>
                        <a:pt x="358180" y="176834"/>
                      </a:cubicBezTo>
                      <a:cubicBezTo>
                        <a:pt x="358180" y="195217"/>
                        <a:pt x="373134" y="210171"/>
                        <a:pt x="391517" y="210171"/>
                      </a:cubicBezTo>
                      <a:cubicBezTo>
                        <a:pt x="409900" y="210171"/>
                        <a:pt x="424855" y="195217"/>
                        <a:pt x="424855" y="176834"/>
                      </a:cubicBezTo>
                      <a:cubicBezTo>
                        <a:pt x="424855" y="158450"/>
                        <a:pt x="409900" y="143496"/>
                        <a:pt x="391517" y="143496"/>
                      </a:cubicBezTo>
                      <a:close/>
                    </a:path>
                  </a:pathLst>
                </a:custGeom>
                <a:solidFill>
                  <a:srgbClr val="FFFFFF"/>
                </a:solidFill>
                <a:ln>
                  <a:noFill/>
                </a:ln>
              </p:spPr>
              <p:txBody>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grpSp>
        </p:grpSp>
      </p:gr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图片 5"/>
          <p:cNvPicPr>
            <a:picLocks noChangeAspect="1"/>
          </p:cNvPicPr>
          <p:nvPr/>
        </p:nvPicPr>
        <p:blipFill rotWithShape="1">
          <a:blip r:embed="rId1"/>
          <a:srcRect b="14505"/>
          <a:stretch>
            <a:fillRect/>
          </a:stretch>
        </p:blipFill>
        <p:spPr>
          <a:xfrm>
            <a:off x="-25400" y="0"/>
            <a:ext cx="12217400" cy="6966857"/>
          </a:xfrm>
          <a:prstGeom prst="rect">
            <a:avLst/>
          </a:prstGeom>
        </p:spPr>
      </p:pic>
      <p:sp>
        <p:nvSpPr>
          <p:cNvPr id="9" name="e7d195523061f1c0" descr="e7d195523061f1c0d318120d6aeaf1b6ccceb6ba3da59c0775C5DE19DDDEBC09ED96DBD9900D9848D623ECAD1D4904B78047D0015C22C8BE97228BE8B5BFF08FE7A3AE04126DA07312A96C0F69F9BAB71A8D4487C13BBD21E178D4F88753BF1C0AA2D476514934E2BFA1BCD92238D9398A04F1D9D25610EF52C0143E775B4548A6233544C90E9CB7" hidden="1"/>
          <p:cNvSpPr txBox="1"/>
          <p:nvPr/>
        </p:nvSpPr>
        <p:spPr>
          <a:xfrm>
            <a:off x="-355600" y="1803400"/>
            <a:ext cx="262251" cy="1016000"/>
          </a:xfrm>
          <a:prstGeom prst="rect">
            <a:avLst/>
          </a:prstGeom>
          <a:noFill/>
        </p:spPr>
        <p:txBody>
          <a:bodyPr vert="wordArtVert"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00" b="0" i="0" u="none" strike="noStrike" kern="1200" cap="none" spc="0" normalizeH="0" baseline="0" noProof="0">
                <a:ln>
                  <a:noFill/>
                </a:ln>
                <a:solidFill>
                  <a:prstClr val="black"/>
                </a:solidFill>
                <a:effectLst/>
                <a:uLnTx/>
                <a:uFillTx/>
                <a:latin typeface="Arial" panose="020B0604020202090204"/>
                <a:ea typeface="华文楷体" panose="02010600040101010101" pitchFamily="2" charset="-122"/>
                <a:cs typeface="+mn-cs"/>
              </a:rPr>
              <a:t>e7d195523061f1c0d318120d6aeaf1b6ccceb6ba3da59c0775C5DE19DDDEBC09ED96DBD9900D9848D623ECAD1D4904B78047D0015C22C8BE97228BE8B5BFF08FE7A3AE04126DA07312A96C0F69F9BAB71A8D4487C13BBD21E178D4F88753BF1C0AA2D476514934E2BFA1BCD92238D9398A04F1D9D25610EF52C0143E775B4548A6233544C90E9CB7</a:t>
            </a:r>
            <a:endParaRPr kumimoji="0" lang="zh-CN" altLang="en-US" sz="100" b="0" i="0" u="none" strike="noStrike" kern="1200" cap="none" spc="0" normalizeH="0" baseline="0" noProof="0">
              <a:ln>
                <a:noFill/>
              </a:ln>
              <a:solidFill>
                <a:prstClr val="black"/>
              </a:solidFill>
              <a:effectLst/>
              <a:uLnTx/>
              <a:uFillTx/>
              <a:latin typeface="Arial" panose="020B0604020202090204"/>
              <a:ea typeface="华文楷体" panose="02010600040101010101" pitchFamily="2" charset="-122"/>
              <a:cs typeface="+mn-cs"/>
            </a:endParaRPr>
          </a:p>
        </p:txBody>
      </p:sp>
      <p:sp>
        <p:nvSpPr>
          <p:cNvPr id="4" name="矩形 3"/>
          <p:cNvSpPr/>
          <p:nvPr/>
        </p:nvSpPr>
        <p:spPr>
          <a:xfrm rot="10800000">
            <a:off x="-3" y="-1"/>
            <a:ext cx="12242799" cy="7017657"/>
          </a:xfrm>
          <a:prstGeom prst="rect">
            <a:avLst/>
          </a:prstGeom>
          <a:solidFill>
            <a:srgbClr val="000000">
              <a:alpha val="7098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11" name="object 3"/>
          <p:cNvSpPr txBox="1"/>
          <p:nvPr/>
        </p:nvSpPr>
        <p:spPr>
          <a:xfrm>
            <a:off x="3124197" y="2323254"/>
            <a:ext cx="5994402" cy="842410"/>
          </a:xfrm>
          <a:prstGeom prst="rect">
            <a:avLst/>
          </a:prstGeom>
        </p:spPr>
        <p:txBody>
          <a:bodyPr vert="horz" wrap="square" lIns="0" tIns="12700" rIns="0" bIns="0" rtlCol="0">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12700" marR="0" lvl="0" indent="0" algn="dist" defTabSz="914400" rtl="0" eaLnBrk="1" fontAlgn="auto" latinLnBrk="0" hangingPunct="1">
              <a:lnSpc>
                <a:spcPct val="150000"/>
              </a:lnSpc>
              <a:spcBef>
                <a:spcPts val="100"/>
              </a:spcBef>
              <a:spcAft>
                <a:spcPts val="0"/>
              </a:spcAft>
              <a:buClrTx/>
              <a:buSzTx/>
              <a:buFontTx/>
              <a:buNone/>
              <a:defRPr/>
            </a:pPr>
            <a:r>
              <a:rPr kumimoji="0" lang="en-US" altLang="zh-CN" sz="4000" b="1" i="0" u="none" strike="noStrike" kern="1200" cap="none" spc="0" normalizeH="0" baseline="0" noProof="0" dirty="0">
                <a:ln>
                  <a:noFill/>
                </a:ln>
                <a:solidFill>
                  <a:srgbClr val="FE8637"/>
                </a:solidFill>
                <a:effectLst/>
                <a:uLnTx/>
                <a:uFillTx/>
                <a:latin typeface="Arial" panose="020B0604020202090204"/>
                <a:ea typeface="华文楷体" panose="02010600040101010101" pitchFamily="2" charset="-122"/>
                <a:cs typeface="+mj-cs"/>
              </a:rPr>
              <a:t>XXXXXX</a:t>
            </a:r>
            <a:endParaRPr kumimoji="0" lang="zh-CN" altLang="en-US" sz="4000" b="1" i="0" u="none" strike="noStrike" kern="1200" cap="none" spc="0" normalizeH="0" baseline="0" noProof="0" dirty="0">
              <a:ln>
                <a:noFill/>
              </a:ln>
              <a:solidFill>
                <a:srgbClr val="FE8637"/>
              </a:solidFill>
              <a:effectLst/>
              <a:uLnTx/>
              <a:uFillTx/>
              <a:latin typeface="Arial" panose="020B0604020202090204"/>
              <a:ea typeface="华文楷体" panose="02010600040101010101" pitchFamily="2" charset="-122"/>
              <a:cs typeface="+mj-cs"/>
            </a:endParaRPr>
          </a:p>
        </p:txBody>
      </p:sp>
      <p:sp>
        <p:nvSpPr>
          <p:cNvPr id="5" name="文本框 4"/>
          <p:cNvSpPr txBox="1"/>
          <p:nvPr/>
        </p:nvSpPr>
        <p:spPr>
          <a:xfrm>
            <a:off x="1958521" y="3374960"/>
            <a:ext cx="8898165" cy="523220"/>
          </a:xfrm>
          <a:prstGeom prst="rect">
            <a:avLst/>
          </a:prstGeom>
          <a:noFill/>
        </p:spPr>
        <p:txBody>
          <a:bodyPr wrap="square">
            <a:spAutoFit/>
          </a:bodyPr>
          <a:lstStyle/>
          <a:p>
            <a:pPr algn="ctr"/>
            <a:r>
              <a:rPr lang="en-US" altLang="zh-CN" sz="2800" b="1" kern="0" dirty="0">
                <a:solidFill>
                  <a:schemeClr val="bg1"/>
                </a:solidFill>
                <a:latin typeface="Arial" panose="020B0604020202090204" pitchFamily="34" charset="0"/>
                <a:ea typeface="华文楷体" panose="02010600040101010101" pitchFamily="2" charset="-122"/>
              </a:rPr>
              <a:t>XXXXXXXXXX</a:t>
            </a:r>
            <a:endParaRPr lang="zh-CN" altLang="en-US" sz="2800" b="1" kern="0" dirty="0">
              <a:solidFill>
                <a:schemeClr val="bg1"/>
              </a:solidFill>
              <a:latin typeface="Arial" panose="020B0604020202090204" pitchFamily="34" charset="0"/>
              <a:ea typeface="华文楷体" panose="02010600040101010101" pitchFamily="2" charset="-122"/>
            </a:endParaRPr>
          </a:p>
        </p:txBody>
      </p:sp>
    </p:spTree>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3" name="组合 32"/>
          <p:cNvGrpSpPr/>
          <p:nvPr/>
        </p:nvGrpSpPr>
        <p:grpSpPr>
          <a:xfrm>
            <a:off x="1060286" y="1652525"/>
            <a:ext cx="10058727" cy="4097421"/>
            <a:chOff x="1060286" y="1652525"/>
            <a:chExt cx="10058727" cy="4097421"/>
          </a:xfrm>
        </p:grpSpPr>
        <p:cxnSp>
          <p:nvCxnSpPr>
            <p:cNvPr id="2" name="直接连接符 1"/>
            <p:cNvCxnSpPr/>
            <p:nvPr/>
          </p:nvCxnSpPr>
          <p:spPr>
            <a:xfrm flipV="1">
              <a:off x="2058019" y="3717113"/>
              <a:ext cx="8063261" cy="3175"/>
            </a:xfrm>
            <a:prstGeom prst="line">
              <a:avLst/>
            </a:prstGeom>
            <a:ln>
              <a:solidFill>
                <a:schemeClr val="tx1">
                  <a:lumMod val="50000"/>
                  <a:lumOff val="50000"/>
                  <a:alpha val="40000"/>
                </a:schemeClr>
              </a:solidFill>
            </a:ln>
          </p:spPr>
          <p:style>
            <a:lnRef idx="1">
              <a:schemeClr val="accent1"/>
            </a:lnRef>
            <a:fillRef idx="0">
              <a:schemeClr val="accent1"/>
            </a:fillRef>
            <a:effectRef idx="0">
              <a:schemeClr val="accent1"/>
            </a:effectRef>
            <a:fontRef idx="minor">
              <a:schemeClr val="tx1"/>
            </a:fontRef>
          </p:style>
        </p:cxnSp>
        <p:sp>
          <p:nvSpPr>
            <p:cNvPr id="3" name="右大括号 2"/>
            <p:cNvSpPr/>
            <p:nvPr/>
          </p:nvSpPr>
          <p:spPr>
            <a:xfrm rot="16200000">
              <a:off x="5790288" y="-1445627"/>
              <a:ext cx="598725" cy="8174450"/>
            </a:xfrm>
            <a:prstGeom prst="rightBrace">
              <a:avLst>
                <a:gd name="adj1" fmla="val 88763"/>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dirty="0"/>
            </a:p>
          </p:txBody>
        </p:sp>
        <p:sp>
          <p:nvSpPr>
            <p:cNvPr id="4" name="矩形 3"/>
            <p:cNvSpPr/>
            <p:nvPr/>
          </p:nvSpPr>
          <p:spPr>
            <a:xfrm>
              <a:off x="4773563" y="1652525"/>
              <a:ext cx="2632172" cy="4951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b" anchorCtr="0">
              <a:spAutoFit/>
            </a:bodyPr>
            <a:lstStyle/>
            <a:p>
              <a:pPr algn="ctr"/>
              <a:r>
                <a:rPr kumimoji="1" lang="en-US" altLang="zh-CN" b="1" dirty="0">
                  <a:solidFill>
                    <a:schemeClr val="accent1"/>
                  </a:solidFill>
                  <a:latin typeface="Arial" panose="020B0604020202090204" pitchFamily="34" charset="0"/>
                  <a:ea typeface="华文楷体" panose="02010600040101010101" pitchFamily="2" charset="-122"/>
                </a:rPr>
                <a:t>Supporting text here</a:t>
              </a:r>
              <a:endParaRPr kumimoji="1" lang="en-US" altLang="zh-CN" b="1" dirty="0">
                <a:solidFill>
                  <a:schemeClr val="accent1"/>
                </a:solidFill>
                <a:latin typeface="Arial" panose="020B0604020202090204" pitchFamily="34" charset="0"/>
                <a:ea typeface="华文楷体" panose="02010600040101010101" pitchFamily="2" charset="-122"/>
              </a:endParaRPr>
            </a:p>
          </p:txBody>
        </p:sp>
        <p:grpSp>
          <p:nvGrpSpPr>
            <p:cNvPr id="5" name="组合 4"/>
            <p:cNvGrpSpPr/>
            <p:nvPr/>
          </p:nvGrpSpPr>
          <p:grpSpPr>
            <a:xfrm>
              <a:off x="1060286" y="3653613"/>
              <a:ext cx="1969192" cy="2096333"/>
              <a:chOff x="768186" y="3643506"/>
              <a:chExt cx="1969192" cy="2096333"/>
            </a:xfrm>
          </p:grpSpPr>
          <p:sp>
            <p:nvSpPr>
              <p:cNvPr id="6" name="矩形 5"/>
              <p:cNvSpPr/>
              <p:nvPr/>
            </p:nvSpPr>
            <p:spPr>
              <a:xfrm>
                <a:off x="768186" y="4719019"/>
                <a:ext cx="1969192" cy="4279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tIns="90000" bIns="90000" rtlCol="0" anchor="b"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kumimoji="1" lang="en-US" altLang="zh-CN" sz="1600" b="1" dirty="0">
                    <a:solidFill>
                      <a:schemeClr val="tx1"/>
                    </a:solidFill>
                    <a:latin typeface="Arial" panose="020B0604020202090204" pitchFamily="34" charset="0"/>
                    <a:ea typeface="华文楷体" panose="02010600040101010101" pitchFamily="2" charset="-122"/>
                  </a:rPr>
                  <a:t>Text</a:t>
                </a:r>
                <a:r>
                  <a:rPr kumimoji="1" lang="zh-CN" altLang="en-US" sz="1600" b="1" dirty="0">
                    <a:solidFill>
                      <a:schemeClr val="tx1"/>
                    </a:solidFill>
                    <a:latin typeface="Arial" panose="020B0604020202090204" pitchFamily="34" charset="0"/>
                    <a:ea typeface="华文楷体" panose="02010600040101010101" pitchFamily="2" charset="-122"/>
                  </a:rPr>
                  <a:t> </a:t>
                </a:r>
                <a:r>
                  <a:rPr kumimoji="1" lang="en-US" altLang="zh-CN" sz="1600" b="1" dirty="0">
                    <a:solidFill>
                      <a:schemeClr val="tx1"/>
                    </a:solidFill>
                    <a:latin typeface="Arial" panose="020B0604020202090204" pitchFamily="34" charset="0"/>
                    <a:ea typeface="华文楷体" panose="02010600040101010101" pitchFamily="2" charset="-122"/>
                  </a:rPr>
                  <a:t>here</a:t>
                </a:r>
                <a:endParaRPr kumimoji="1" lang="en-US" altLang="zh-CN" sz="1600" b="1" dirty="0">
                  <a:solidFill>
                    <a:schemeClr val="tx1"/>
                  </a:solidFill>
                  <a:latin typeface="Arial" panose="020B0604020202090204" pitchFamily="34" charset="0"/>
                  <a:ea typeface="华文楷体" panose="02010600040101010101" pitchFamily="2" charset="-122"/>
                </a:endParaRPr>
              </a:p>
            </p:txBody>
          </p:sp>
          <p:sp>
            <p:nvSpPr>
              <p:cNvPr id="7" name="矩形 6"/>
              <p:cNvSpPr/>
              <p:nvPr/>
            </p:nvSpPr>
            <p:spPr>
              <a:xfrm>
                <a:off x="768186" y="5141113"/>
                <a:ext cx="1969192" cy="59872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t"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lnSpc>
                    <a:spcPct val="130000"/>
                  </a:lnSpc>
                </a:pPr>
                <a:r>
                  <a:rPr kumimoji="1" lang="en-US" altLang="zh-CN" sz="1000" dirty="0">
                    <a:solidFill>
                      <a:schemeClr val="tx1"/>
                    </a:solidFill>
                    <a:latin typeface="Arial" panose="020B0604020202090204" pitchFamily="34" charset="0"/>
                    <a:ea typeface="华文楷体" panose="02010600040101010101" pitchFamily="2" charset="-122"/>
                  </a:rPr>
                  <a:t>Theme color makes PPT more convenient to change.</a:t>
                </a:r>
                <a:endParaRPr kumimoji="1" lang="en-US" altLang="zh-CN" sz="1000" dirty="0">
                  <a:solidFill>
                    <a:schemeClr val="tx1"/>
                  </a:solidFill>
                  <a:latin typeface="Arial" panose="020B0604020202090204" pitchFamily="34" charset="0"/>
                  <a:ea typeface="华文楷体" panose="02010600040101010101" pitchFamily="2" charset="-122"/>
                </a:endParaRPr>
              </a:p>
            </p:txBody>
          </p:sp>
          <p:grpSp>
            <p:nvGrpSpPr>
              <p:cNvPr id="8" name="组合 7"/>
              <p:cNvGrpSpPr/>
              <p:nvPr/>
            </p:nvGrpSpPr>
            <p:grpSpPr>
              <a:xfrm>
                <a:off x="1482782" y="4096214"/>
                <a:ext cx="540000" cy="540000"/>
                <a:chOff x="2697243" y="1164218"/>
                <a:chExt cx="454025" cy="454025"/>
              </a:xfrm>
            </p:grpSpPr>
            <p:sp>
              <p:nvSpPr>
                <p:cNvPr id="10" name="椭圆 9"/>
                <p:cNvSpPr/>
                <p:nvPr/>
              </p:nvSpPr>
              <p:spPr>
                <a:xfrm>
                  <a:off x="2697243" y="1164218"/>
                  <a:ext cx="454025" cy="45402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任意多边形: 形状 10"/>
                <p:cNvSpPr/>
                <p:nvPr/>
              </p:nvSpPr>
              <p:spPr bwMode="auto">
                <a:xfrm>
                  <a:off x="2834564" y="1282040"/>
                  <a:ext cx="179383" cy="218380"/>
                </a:xfrm>
                <a:custGeom>
                  <a:avLst/>
                  <a:gdLst>
                    <a:gd name="connsiteX0" fmla="*/ 283816 w 438150"/>
                    <a:gd name="connsiteY0" fmla="*/ 621 h 533400"/>
                    <a:gd name="connsiteX1" fmla="*/ 286102 w 438150"/>
                    <a:gd name="connsiteY1" fmla="*/ 716 h 533400"/>
                    <a:gd name="connsiteX2" fmla="*/ 286102 w 438150"/>
                    <a:gd name="connsiteY2" fmla="*/ 124446 h 533400"/>
                    <a:gd name="connsiteX3" fmla="*/ 286197 w 438150"/>
                    <a:gd name="connsiteY3" fmla="*/ 126160 h 533400"/>
                    <a:gd name="connsiteX4" fmla="*/ 314677 w 438150"/>
                    <a:gd name="connsiteY4" fmla="*/ 153021 h 533400"/>
                    <a:gd name="connsiteX5" fmla="*/ 314677 w 438150"/>
                    <a:gd name="connsiteY5" fmla="*/ 153021 h 533400"/>
                    <a:gd name="connsiteX6" fmla="*/ 438407 w 438150"/>
                    <a:gd name="connsiteY6" fmla="*/ 153021 h 533400"/>
                    <a:gd name="connsiteX7" fmla="*/ 438502 w 438150"/>
                    <a:gd name="connsiteY7" fmla="*/ 155307 h 533400"/>
                    <a:gd name="connsiteX8" fmla="*/ 438502 w 438150"/>
                    <a:gd name="connsiteY8" fmla="*/ 505446 h 533400"/>
                    <a:gd name="connsiteX9" fmla="*/ 409927 w 438150"/>
                    <a:gd name="connsiteY9" fmla="*/ 534021 h 533400"/>
                    <a:gd name="connsiteX10" fmla="*/ 28927 w 438150"/>
                    <a:gd name="connsiteY10" fmla="*/ 534021 h 533400"/>
                    <a:gd name="connsiteX11" fmla="*/ 352 w 438150"/>
                    <a:gd name="connsiteY11" fmla="*/ 505446 h 533400"/>
                    <a:gd name="connsiteX12" fmla="*/ 352 w 438150"/>
                    <a:gd name="connsiteY12" fmla="*/ 29196 h 533400"/>
                    <a:gd name="connsiteX13" fmla="*/ 28927 w 438150"/>
                    <a:gd name="connsiteY13" fmla="*/ 621 h 533400"/>
                    <a:gd name="connsiteX14" fmla="*/ 283816 w 438150"/>
                    <a:gd name="connsiteY14" fmla="*/ 621 h 533400"/>
                    <a:gd name="connsiteX15" fmla="*/ 248002 w 438150"/>
                    <a:gd name="connsiteY15" fmla="*/ 200646 h 533400"/>
                    <a:gd name="connsiteX16" fmla="*/ 152752 w 438150"/>
                    <a:gd name="connsiteY16" fmla="*/ 200646 h 533400"/>
                    <a:gd name="connsiteX17" fmla="*/ 152752 w 438150"/>
                    <a:gd name="connsiteY17" fmla="*/ 410196 h 533400"/>
                    <a:gd name="connsiteX18" fmla="*/ 171802 w 438150"/>
                    <a:gd name="connsiteY18" fmla="*/ 410196 h 533400"/>
                    <a:gd name="connsiteX19" fmla="*/ 171802 w 438150"/>
                    <a:gd name="connsiteY19" fmla="*/ 314946 h 533400"/>
                    <a:gd name="connsiteX20" fmla="*/ 248002 w 438150"/>
                    <a:gd name="connsiteY20" fmla="*/ 314946 h 533400"/>
                    <a:gd name="connsiteX21" fmla="*/ 250098 w 438150"/>
                    <a:gd name="connsiteY21" fmla="*/ 314946 h 533400"/>
                    <a:gd name="connsiteX22" fmla="*/ 305152 w 438150"/>
                    <a:gd name="connsiteY22" fmla="*/ 257796 h 533400"/>
                    <a:gd name="connsiteX23" fmla="*/ 248002 w 438150"/>
                    <a:gd name="connsiteY23" fmla="*/ 200646 h 533400"/>
                    <a:gd name="connsiteX24" fmla="*/ 248002 w 438150"/>
                    <a:gd name="connsiteY24" fmla="*/ 200646 h 533400"/>
                    <a:gd name="connsiteX25" fmla="*/ 248002 w 438150"/>
                    <a:gd name="connsiteY25" fmla="*/ 219696 h 533400"/>
                    <a:gd name="connsiteX26" fmla="*/ 286102 w 438150"/>
                    <a:gd name="connsiteY26" fmla="*/ 257796 h 533400"/>
                    <a:gd name="connsiteX27" fmla="*/ 248002 w 438150"/>
                    <a:gd name="connsiteY27" fmla="*/ 295896 h 533400"/>
                    <a:gd name="connsiteX28" fmla="*/ 248002 w 438150"/>
                    <a:gd name="connsiteY28" fmla="*/ 295896 h 533400"/>
                    <a:gd name="connsiteX29" fmla="*/ 171802 w 438150"/>
                    <a:gd name="connsiteY29" fmla="*/ 295896 h 533400"/>
                    <a:gd name="connsiteX30" fmla="*/ 171802 w 438150"/>
                    <a:gd name="connsiteY30" fmla="*/ 219696 h 533400"/>
                    <a:gd name="connsiteX31" fmla="*/ 248002 w 438150"/>
                    <a:gd name="connsiteY31" fmla="*/ 219696 h 533400"/>
                    <a:gd name="connsiteX32" fmla="*/ 428977 w 438150"/>
                    <a:gd name="connsiteY32" fmla="*/ 133971 h 533400"/>
                    <a:gd name="connsiteX33" fmla="*/ 314677 w 438150"/>
                    <a:gd name="connsiteY33" fmla="*/ 133971 h 533400"/>
                    <a:gd name="connsiteX34" fmla="*/ 313534 w 438150"/>
                    <a:gd name="connsiteY34" fmla="*/ 133876 h 533400"/>
                    <a:gd name="connsiteX35" fmla="*/ 305152 w 438150"/>
                    <a:gd name="connsiteY35" fmla="*/ 124446 h 533400"/>
                    <a:gd name="connsiteX36" fmla="*/ 305152 w 438150"/>
                    <a:gd name="connsiteY36" fmla="*/ 124446 h 533400"/>
                    <a:gd name="connsiteX37" fmla="*/ 305152 w 438150"/>
                    <a:gd name="connsiteY37" fmla="*/ 10146 h 533400"/>
                    <a:gd name="connsiteX38" fmla="*/ 428977 w 438150"/>
                    <a:gd name="connsiteY38" fmla="*/ 133971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38150" h="533400">
                      <a:moveTo>
                        <a:pt x="283816" y="621"/>
                      </a:moveTo>
                      <a:cubicBezTo>
                        <a:pt x="284578" y="621"/>
                        <a:pt x="285340" y="621"/>
                        <a:pt x="286102" y="716"/>
                      </a:cubicBezTo>
                      <a:lnTo>
                        <a:pt x="286102" y="124446"/>
                      </a:lnTo>
                      <a:lnTo>
                        <a:pt x="286197" y="126160"/>
                      </a:lnTo>
                      <a:cubicBezTo>
                        <a:pt x="287055" y="141115"/>
                        <a:pt x="299532" y="153021"/>
                        <a:pt x="314677" y="153021"/>
                      </a:cubicBezTo>
                      <a:lnTo>
                        <a:pt x="314677" y="153021"/>
                      </a:lnTo>
                      <a:lnTo>
                        <a:pt x="438407" y="153021"/>
                      </a:lnTo>
                      <a:cubicBezTo>
                        <a:pt x="438502" y="153783"/>
                        <a:pt x="438502" y="154545"/>
                        <a:pt x="438502" y="155307"/>
                      </a:cubicBezTo>
                      <a:lnTo>
                        <a:pt x="438502" y="505446"/>
                      </a:lnTo>
                      <a:cubicBezTo>
                        <a:pt x="438502" y="521257"/>
                        <a:pt x="425739" y="534021"/>
                        <a:pt x="409927" y="534021"/>
                      </a:cubicBezTo>
                      <a:lnTo>
                        <a:pt x="28927" y="534021"/>
                      </a:lnTo>
                      <a:cubicBezTo>
                        <a:pt x="13115" y="534021"/>
                        <a:pt x="352" y="521257"/>
                        <a:pt x="352" y="505446"/>
                      </a:cubicBezTo>
                      <a:lnTo>
                        <a:pt x="352" y="29196"/>
                      </a:lnTo>
                      <a:cubicBezTo>
                        <a:pt x="352" y="13385"/>
                        <a:pt x="13115" y="621"/>
                        <a:pt x="28927" y="621"/>
                      </a:cubicBezTo>
                      <a:lnTo>
                        <a:pt x="283816" y="621"/>
                      </a:lnTo>
                      <a:close/>
                      <a:moveTo>
                        <a:pt x="248002" y="200646"/>
                      </a:moveTo>
                      <a:lnTo>
                        <a:pt x="152752" y="200646"/>
                      </a:lnTo>
                      <a:lnTo>
                        <a:pt x="152752" y="410196"/>
                      </a:lnTo>
                      <a:lnTo>
                        <a:pt x="171802" y="410196"/>
                      </a:lnTo>
                      <a:lnTo>
                        <a:pt x="171802" y="314946"/>
                      </a:lnTo>
                      <a:lnTo>
                        <a:pt x="248002" y="314946"/>
                      </a:lnTo>
                      <a:lnTo>
                        <a:pt x="250098" y="314946"/>
                      </a:lnTo>
                      <a:cubicBezTo>
                        <a:pt x="280673" y="313803"/>
                        <a:pt x="305152" y="288657"/>
                        <a:pt x="305152" y="257796"/>
                      </a:cubicBezTo>
                      <a:cubicBezTo>
                        <a:pt x="305152" y="226268"/>
                        <a:pt x="279530" y="200646"/>
                        <a:pt x="248002" y="200646"/>
                      </a:cubicBezTo>
                      <a:lnTo>
                        <a:pt x="248002" y="200646"/>
                      </a:lnTo>
                      <a:close/>
                      <a:moveTo>
                        <a:pt x="248002" y="219696"/>
                      </a:moveTo>
                      <a:cubicBezTo>
                        <a:pt x="269052" y="219696"/>
                        <a:pt x="286102" y="236746"/>
                        <a:pt x="286102" y="257796"/>
                      </a:cubicBezTo>
                      <a:cubicBezTo>
                        <a:pt x="286102" y="278846"/>
                        <a:pt x="269052" y="295896"/>
                        <a:pt x="248002" y="295896"/>
                      </a:cubicBezTo>
                      <a:lnTo>
                        <a:pt x="248002" y="295896"/>
                      </a:lnTo>
                      <a:lnTo>
                        <a:pt x="171802" y="295896"/>
                      </a:lnTo>
                      <a:lnTo>
                        <a:pt x="171802" y="219696"/>
                      </a:lnTo>
                      <a:lnTo>
                        <a:pt x="248002" y="219696"/>
                      </a:lnTo>
                      <a:close/>
                      <a:moveTo>
                        <a:pt x="428977" y="133971"/>
                      </a:moveTo>
                      <a:lnTo>
                        <a:pt x="314677" y="133971"/>
                      </a:lnTo>
                      <a:lnTo>
                        <a:pt x="313534" y="133876"/>
                      </a:lnTo>
                      <a:cubicBezTo>
                        <a:pt x="308772" y="133304"/>
                        <a:pt x="305152" y="129304"/>
                        <a:pt x="305152" y="124446"/>
                      </a:cubicBezTo>
                      <a:lnTo>
                        <a:pt x="305152" y="124446"/>
                      </a:lnTo>
                      <a:lnTo>
                        <a:pt x="305152" y="10146"/>
                      </a:lnTo>
                      <a:lnTo>
                        <a:pt x="428977" y="133971"/>
                      </a:lnTo>
                      <a:close/>
                    </a:path>
                  </a:pathLst>
                </a:custGeom>
                <a:solidFill>
                  <a:srgbClr val="FFFFFF"/>
                </a:solidFill>
                <a:ln>
                  <a:noFill/>
                </a:ln>
              </p:spPr>
            </p:sp>
          </p:grpSp>
          <p:sp>
            <p:nvSpPr>
              <p:cNvPr id="9" name="椭圆 8"/>
              <p:cNvSpPr/>
              <p:nvPr/>
            </p:nvSpPr>
            <p:spPr>
              <a:xfrm>
                <a:off x="1689282" y="3643506"/>
                <a:ext cx="127000" cy="127000"/>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2" name="组合 11"/>
            <p:cNvGrpSpPr/>
            <p:nvPr/>
          </p:nvGrpSpPr>
          <p:grpSpPr>
            <a:xfrm>
              <a:off x="3756798" y="3653613"/>
              <a:ext cx="1969192" cy="2096333"/>
              <a:chOff x="2936621" y="3643506"/>
              <a:chExt cx="1969192" cy="2096333"/>
            </a:xfrm>
          </p:grpSpPr>
          <p:sp>
            <p:nvSpPr>
              <p:cNvPr id="13" name="矩形 12"/>
              <p:cNvSpPr/>
              <p:nvPr/>
            </p:nvSpPr>
            <p:spPr>
              <a:xfrm>
                <a:off x="2936621" y="4719019"/>
                <a:ext cx="1969192" cy="4279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tIns="90000" bIns="90000" rtlCol="0" anchor="b"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kumimoji="1" lang="en-US" altLang="zh-CN" sz="1600" b="1" dirty="0">
                    <a:solidFill>
                      <a:schemeClr val="tx1"/>
                    </a:solidFill>
                    <a:latin typeface="Arial" panose="020B0604020202090204" pitchFamily="34" charset="0"/>
                    <a:ea typeface="华文楷体" panose="02010600040101010101" pitchFamily="2" charset="-122"/>
                  </a:rPr>
                  <a:t>Text</a:t>
                </a:r>
                <a:r>
                  <a:rPr kumimoji="1" lang="zh-CN" altLang="en-US" sz="1600" b="1" dirty="0">
                    <a:solidFill>
                      <a:schemeClr val="tx1"/>
                    </a:solidFill>
                    <a:latin typeface="Arial" panose="020B0604020202090204" pitchFamily="34" charset="0"/>
                    <a:ea typeface="华文楷体" panose="02010600040101010101" pitchFamily="2" charset="-122"/>
                  </a:rPr>
                  <a:t> </a:t>
                </a:r>
                <a:r>
                  <a:rPr kumimoji="1" lang="en-US" altLang="zh-CN" sz="1600" b="1" dirty="0">
                    <a:solidFill>
                      <a:schemeClr val="tx1"/>
                    </a:solidFill>
                    <a:latin typeface="Arial" panose="020B0604020202090204" pitchFamily="34" charset="0"/>
                    <a:ea typeface="华文楷体" panose="02010600040101010101" pitchFamily="2" charset="-122"/>
                  </a:rPr>
                  <a:t>here</a:t>
                </a:r>
                <a:endParaRPr kumimoji="1" lang="en-US" altLang="zh-CN" sz="1600" b="1" dirty="0">
                  <a:solidFill>
                    <a:schemeClr val="tx1"/>
                  </a:solidFill>
                  <a:latin typeface="Arial" panose="020B0604020202090204" pitchFamily="34" charset="0"/>
                  <a:ea typeface="华文楷体" panose="02010600040101010101" pitchFamily="2" charset="-122"/>
                </a:endParaRPr>
              </a:p>
            </p:txBody>
          </p:sp>
          <p:sp>
            <p:nvSpPr>
              <p:cNvPr id="14" name="矩形 13"/>
              <p:cNvSpPr/>
              <p:nvPr/>
            </p:nvSpPr>
            <p:spPr>
              <a:xfrm>
                <a:off x="2936621" y="5141113"/>
                <a:ext cx="1969192" cy="59872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t"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lnSpc>
                    <a:spcPct val="130000"/>
                  </a:lnSpc>
                </a:pPr>
                <a:r>
                  <a:rPr kumimoji="1" lang="en-US" altLang="zh-CN" sz="1000" dirty="0">
                    <a:solidFill>
                      <a:schemeClr val="tx1"/>
                    </a:solidFill>
                    <a:latin typeface="Arial" panose="020B0604020202090204" pitchFamily="34" charset="0"/>
                    <a:ea typeface="华文楷体" panose="02010600040101010101" pitchFamily="2" charset="-122"/>
                  </a:rPr>
                  <a:t>Theme color makes PPT more convenient to change.</a:t>
                </a:r>
                <a:endParaRPr kumimoji="1" lang="en-US" altLang="zh-CN" sz="1000" dirty="0">
                  <a:solidFill>
                    <a:schemeClr val="tx1"/>
                  </a:solidFill>
                  <a:latin typeface="Arial" panose="020B0604020202090204" pitchFamily="34" charset="0"/>
                  <a:ea typeface="华文楷体" panose="02010600040101010101" pitchFamily="2" charset="-122"/>
                </a:endParaRPr>
              </a:p>
            </p:txBody>
          </p:sp>
          <p:grpSp>
            <p:nvGrpSpPr>
              <p:cNvPr id="15" name="组合 14"/>
              <p:cNvGrpSpPr/>
              <p:nvPr/>
            </p:nvGrpSpPr>
            <p:grpSpPr>
              <a:xfrm>
                <a:off x="3651217" y="4096214"/>
                <a:ext cx="540000" cy="540000"/>
                <a:chOff x="3275695" y="1164217"/>
                <a:chExt cx="454025" cy="454025"/>
              </a:xfrm>
            </p:grpSpPr>
            <p:sp>
              <p:nvSpPr>
                <p:cNvPr id="17" name="椭圆 16"/>
                <p:cNvSpPr/>
                <p:nvPr/>
              </p:nvSpPr>
              <p:spPr>
                <a:xfrm>
                  <a:off x="3275695" y="1164217"/>
                  <a:ext cx="454025" cy="45402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 name="任意多边形: 形状 17"/>
                <p:cNvSpPr/>
                <p:nvPr/>
              </p:nvSpPr>
              <p:spPr bwMode="auto">
                <a:xfrm>
                  <a:off x="3401169" y="1282039"/>
                  <a:ext cx="203077" cy="218380"/>
                </a:xfrm>
                <a:custGeom>
                  <a:avLst/>
                  <a:gdLst>
                    <a:gd name="connsiteX0" fmla="*/ 8774 w 487162"/>
                    <a:gd name="connsiteY0" fmla="*/ 514114 h 523875"/>
                    <a:gd name="connsiteX1" fmla="*/ 8203 w 487162"/>
                    <a:gd name="connsiteY1" fmla="*/ 513447 h 523875"/>
                    <a:gd name="connsiteX2" fmla="*/ 8203 w 487162"/>
                    <a:gd name="connsiteY2" fmla="*/ 513447 h 523875"/>
                    <a:gd name="connsiteX3" fmla="*/ 7727 w 487162"/>
                    <a:gd name="connsiteY3" fmla="*/ 512780 h 523875"/>
                    <a:gd name="connsiteX4" fmla="*/ 5726 w 487162"/>
                    <a:gd name="connsiteY4" fmla="*/ 509732 h 523875"/>
                    <a:gd name="connsiteX5" fmla="*/ 5726 w 487162"/>
                    <a:gd name="connsiteY5" fmla="*/ 509732 h 523875"/>
                    <a:gd name="connsiteX6" fmla="*/ 5250 w 487162"/>
                    <a:gd name="connsiteY6" fmla="*/ 508970 h 523875"/>
                    <a:gd name="connsiteX7" fmla="*/ 4488 w 487162"/>
                    <a:gd name="connsiteY7" fmla="*/ 507446 h 523875"/>
                    <a:gd name="connsiteX8" fmla="*/ 3821 w 487162"/>
                    <a:gd name="connsiteY8" fmla="*/ 505827 h 523875"/>
                    <a:gd name="connsiteX9" fmla="*/ 3726 w 487162"/>
                    <a:gd name="connsiteY9" fmla="*/ 505637 h 523875"/>
                    <a:gd name="connsiteX10" fmla="*/ 3631 w 487162"/>
                    <a:gd name="connsiteY10" fmla="*/ 505351 h 523875"/>
                    <a:gd name="connsiteX11" fmla="*/ 3631 w 487162"/>
                    <a:gd name="connsiteY11" fmla="*/ 505160 h 523875"/>
                    <a:gd name="connsiteX12" fmla="*/ 2964 w 487162"/>
                    <a:gd name="connsiteY12" fmla="*/ 503160 h 523875"/>
                    <a:gd name="connsiteX13" fmla="*/ 2583 w 487162"/>
                    <a:gd name="connsiteY13" fmla="*/ 501826 h 523875"/>
                    <a:gd name="connsiteX14" fmla="*/ 2107 w 487162"/>
                    <a:gd name="connsiteY14" fmla="*/ 499921 h 523875"/>
                    <a:gd name="connsiteX15" fmla="*/ 1250 w 487162"/>
                    <a:gd name="connsiteY15" fmla="*/ 495635 h 523875"/>
                    <a:gd name="connsiteX16" fmla="*/ 964 w 487162"/>
                    <a:gd name="connsiteY16" fmla="*/ 493159 h 523875"/>
                    <a:gd name="connsiteX17" fmla="*/ 773 w 487162"/>
                    <a:gd name="connsiteY17" fmla="*/ 486587 h 523875"/>
                    <a:gd name="connsiteX18" fmla="*/ 5345 w 487162"/>
                    <a:gd name="connsiteY18" fmla="*/ 468298 h 523875"/>
                    <a:gd name="connsiteX19" fmla="*/ 154983 w 487162"/>
                    <a:gd name="connsiteY19" fmla="*/ 151592 h 523875"/>
                    <a:gd name="connsiteX20" fmla="*/ 158603 w 487162"/>
                    <a:gd name="connsiteY20" fmla="*/ 135305 h 523875"/>
                    <a:gd name="connsiteX21" fmla="*/ 158603 w 487162"/>
                    <a:gd name="connsiteY21" fmla="*/ 19671 h 523875"/>
                    <a:gd name="connsiteX22" fmla="*/ 120503 w 487162"/>
                    <a:gd name="connsiteY22" fmla="*/ 19671 h 523875"/>
                    <a:gd name="connsiteX23" fmla="*/ 120503 w 487162"/>
                    <a:gd name="connsiteY23" fmla="*/ 621 h 523875"/>
                    <a:gd name="connsiteX24" fmla="*/ 368153 w 487162"/>
                    <a:gd name="connsiteY24" fmla="*/ 621 h 523875"/>
                    <a:gd name="connsiteX25" fmla="*/ 368153 w 487162"/>
                    <a:gd name="connsiteY25" fmla="*/ 19671 h 523875"/>
                    <a:gd name="connsiteX26" fmla="*/ 330053 w 487162"/>
                    <a:gd name="connsiteY26" fmla="*/ 19671 h 523875"/>
                    <a:gd name="connsiteX27" fmla="*/ 330053 w 487162"/>
                    <a:gd name="connsiteY27" fmla="*/ 135305 h 523875"/>
                    <a:gd name="connsiteX28" fmla="*/ 333672 w 487162"/>
                    <a:gd name="connsiteY28" fmla="*/ 151592 h 523875"/>
                    <a:gd name="connsiteX29" fmla="*/ 483310 w 487162"/>
                    <a:gd name="connsiteY29" fmla="*/ 468298 h 523875"/>
                    <a:gd name="connsiteX30" fmla="*/ 484834 w 487162"/>
                    <a:gd name="connsiteY30" fmla="*/ 505541 h 523875"/>
                    <a:gd name="connsiteX31" fmla="*/ 484739 w 487162"/>
                    <a:gd name="connsiteY31" fmla="*/ 505732 h 523875"/>
                    <a:gd name="connsiteX32" fmla="*/ 484167 w 487162"/>
                    <a:gd name="connsiteY32" fmla="*/ 507160 h 523875"/>
                    <a:gd name="connsiteX33" fmla="*/ 459307 w 487162"/>
                    <a:gd name="connsiteY33" fmla="*/ 524401 h 523875"/>
                    <a:gd name="connsiteX34" fmla="*/ 457497 w 487162"/>
                    <a:gd name="connsiteY34" fmla="*/ 524496 h 523875"/>
                    <a:gd name="connsiteX35" fmla="*/ 31253 w 487162"/>
                    <a:gd name="connsiteY35" fmla="*/ 524496 h 523875"/>
                    <a:gd name="connsiteX36" fmla="*/ 29444 w 487162"/>
                    <a:gd name="connsiteY36" fmla="*/ 524401 h 523875"/>
                    <a:gd name="connsiteX37" fmla="*/ 26967 w 487162"/>
                    <a:gd name="connsiteY37" fmla="*/ 524115 h 523875"/>
                    <a:gd name="connsiteX38" fmla="*/ 23157 w 487162"/>
                    <a:gd name="connsiteY38" fmla="*/ 523258 h 523875"/>
                    <a:gd name="connsiteX39" fmla="*/ 23157 w 487162"/>
                    <a:gd name="connsiteY39" fmla="*/ 523258 h 523875"/>
                    <a:gd name="connsiteX40" fmla="*/ 17633 w 487162"/>
                    <a:gd name="connsiteY40" fmla="*/ 520972 h 523875"/>
                    <a:gd name="connsiteX41" fmla="*/ 16204 w 487162"/>
                    <a:gd name="connsiteY41" fmla="*/ 520210 h 523875"/>
                    <a:gd name="connsiteX42" fmla="*/ 15251 w 487162"/>
                    <a:gd name="connsiteY42" fmla="*/ 519638 h 523875"/>
                    <a:gd name="connsiteX43" fmla="*/ 10298 w 487162"/>
                    <a:gd name="connsiteY43" fmla="*/ 515542 h 523875"/>
                    <a:gd name="connsiteX44" fmla="*/ 8774 w 487162"/>
                    <a:gd name="connsiteY44" fmla="*/ 514114 h 523875"/>
                    <a:gd name="connsiteX45" fmla="*/ 8774 w 487162"/>
                    <a:gd name="connsiteY45" fmla="*/ 514114 h 523875"/>
                    <a:gd name="connsiteX46" fmla="*/ 255377 w 487162"/>
                    <a:gd name="connsiteY46" fmla="*/ 404767 h 523875"/>
                    <a:gd name="connsiteX47" fmla="*/ 252519 w 487162"/>
                    <a:gd name="connsiteY47" fmla="*/ 406576 h 523875"/>
                    <a:gd name="connsiteX48" fmla="*/ 246995 w 487162"/>
                    <a:gd name="connsiteY48" fmla="*/ 410291 h 523875"/>
                    <a:gd name="connsiteX49" fmla="*/ 55161 w 487162"/>
                    <a:gd name="connsiteY49" fmla="*/ 416864 h 523875"/>
                    <a:gd name="connsiteX50" fmla="*/ 51351 w 487162"/>
                    <a:gd name="connsiteY50" fmla="*/ 415339 h 523875"/>
                    <a:gd name="connsiteX51" fmla="*/ 22490 w 487162"/>
                    <a:gd name="connsiteY51" fmla="*/ 476395 h 523875"/>
                    <a:gd name="connsiteX52" fmla="*/ 21633 w 487162"/>
                    <a:gd name="connsiteY52" fmla="*/ 478300 h 523875"/>
                    <a:gd name="connsiteX53" fmla="*/ 21538 w 487162"/>
                    <a:gd name="connsiteY53" fmla="*/ 498778 h 523875"/>
                    <a:gd name="connsiteX54" fmla="*/ 28681 w 487162"/>
                    <a:gd name="connsiteY54" fmla="*/ 505065 h 523875"/>
                    <a:gd name="connsiteX55" fmla="*/ 29920 w 487162"/>
                    <a:gd name="connsiteY55" fmla="*/ 505255 h 523875"/>
                    <a:gd name="connsiteX56" fmla="*/ 31063 w 487162"/>
                    <a:gd name="connsiteY56" fmla="*/ 505351 h 523875"/>
                    <a:gd name="connsiteX57" fmla="*/ 457306 w 487162"/>
                    <a:gd name="connsiteY57" fmla="*/ 505351 h 523875"/>
                    <a:gd name="connsiteX58" fmla="*/ 458450 w 487162"/>
                    <a:gd name="connsiteY58" fmla="*/ 505255 h 523875"/>
                    <a:gd name="connsiteX59" fmla="*/ 466831 w 487162"/>
                    <a:gd name="connsiteY59" fmla="*/ 498683 h 523875"/>
                    <a:gd name="connsiteX60" fmla="*/ 467403 w 487162"/>
                    <a:gd name="connsiteY60" fmla="*/ 480205 h 523875"/>
                    <a:gd name="connsiteX61" fmla="*/ 466736 w 487162"/>
                    <a:gd name="connsiteY61" fmla="*/ 478205 h 523875"/>
                    <a:gd name="connsiteX62" fmla="*/ 465879 w 487162"/>
                    <a:gd name="connsiteY62" fmla="*/ 476300 h 523875"/>
                    <a:gd name="connsiteX63" fmla="*/ 424255 w 487162"/>
                    <a:gd name="connsiteY63" fmla="*/ 388098 h 523875"/>
                    <a:gd name="connsiteX64" fmla="*/ 255377 w 487162"/>
                    <a:gd name="connsiteY64" fmla="*/ 404767 h 523875"/>
                    <a:gd name="connsiteX65" fmla="*/ 306240 w 487162"/>
                    <a:gd name="connsiteY65" fmla="*/ 257796 h 523875"/>
                    <a:gd name="connsiteX66" fmla="*/ 272903 w 487162"/>
                    <a:gd name="connsiteY66" fmla="*/ 291134 h 523875"/>
                    <a:gd name="connsiteX67" fmla="*/ 306240 w 487162"/>
                    <a:gd name="connsiteY67" fmla="*/ 324471 h 523875"/>
                    <a:gd name="connsiteX68" fmla="*/ 339578 w 487162"/>
                    <a:gd name="connsiteY68" fmla="*/ 291134 h 523875"/>
                    <a:gd name="connsiteX69" fmla="*/ 306240 w 487162"/>
                    <a:gd name="connsiteY69" fmla="*/ 257796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487162" h="523875">
                      <a:moveTo>
                        <a:pt x="8774" y="514114"/>
                      </a:moveTo>
                      <a:lnTo>
                        <a:pt x="8203" y="513447"/>
                      </a:lnTo>
                      <a:lnTo>
                        <a:pt x="8203" y="513447"/>
                      </a:lnTo>
                      <a:lnTo>
                        <a:pt x="7727" y="512780"/>
                      </a:lnTo>
                      <a:cubicBezTo>
                        <a:pt x="6964" y="511828"/>
                        <a:pt x="6393" y="510780"/>
                        <a:pt x="5726" y="509732"/>
                      </a:cubicBezTo>
                      <a:lnTo>
                        <a:pt x="5726" y="509732"/>
                      </a:lnTo>
                      <a:lnTo>
                        <a:pt x="5250" y="508970"/>
                      </a:lnTo>
                      <a:lnTo>
                        <a:pt x="4488" y="507446"/>
                      </a:lnTo>
                      <a:lnTo>
                        <a:pt x="3821" y="505827"/>
                      </a:lnTo>
                      <a:lnTo>
                        <a:pt x="3726" y="505637"/>
                      </a:lnTo>
                      <a:lnTo>
                        <a:pt x="3631" y="505351"/>
                      </a:lnTo>
                      <a:lnTo>
                        <a:pt x="3631" y="505160"/>
                      </a:lnTo>
                      <a:lnTo>
                        <a:pt x="2964" y="503160"/>
                      </a:lnTo>
                      <a:cubicBezTo>
                        <a:pt x="2869" y="502684"/>
                        <a:pt x="2678" y="502303"/>
                        <a:pt x="2583" y="501826"/>
                      </a:cubicBezTo>
                      <a:cubicBezTo>
                        <a:pt x="2393" y="501160"/>
                        <a:pt x="2202" y="500588"/>
                        <a:pt x="2107" y="499921"/>
                      </a:cubicBezTo>
                      <a:cubicBezTo>
                        <a:pt x="1726" y="498493"/>
                        <a:pt x="1535" y="497064"/>
                        <a:pt x="1250" y="495635"/>
                      </a:cubicBezTo>
                      <a:lnTo>
                        <a:pt x="964" y="493159"/>
                      </a:lnTo>
                      <a:cubicBezTo>
                        <a:pt x="773" y="490968"/>
                        <a:pt x="678" y="488777"/>
                        <a:pt x="773" y="486587"/>
                      </a:cubicBezTo>
                      <a:cubicBezTo>
                        <a:pt x="1059" y="480300"/>
                        <a:pt x="2583" y="474109"/>
                        <a:pt x="5345" y="468298"/>
                      </a:cubicBezTo>
                      <a:lnTo>
                        <a:pt x="154983" y="151592"/>
                      </a:lnTo>
                      <a:cubicBezTo>
                        <a:pt x="157364" y="146544"/>
                        <a:pt x="158603" y="140924"/>
                        <a:pt x="158603" y="135305"/>
                      </a:cubicBezTo>
                      <a:lnTo>
                        <a:pt x="158603" y="19671"/>
                      </a:lnTo>
                      <a:lnTo>
                        <a:pt x="120503" y="19671"/>
                      </a:lnTo>
                      <a:lnTo>
                        <a:pt x="120503" y="621"/>
                      </a:lnTo>
                      <a:lnTo>
                        <a:pt x="368153" y="621"/>
                      </a:lnTo>
                      <a:lnTo>
                        <a:pt x="368153" y="19671"/>
                      </a:lnTo>
                      <a:lnTo>
                        <a:pt x="330053" y="19671"/>
                      </a:lnTo>
                      <a:lnTo>
                        <a:pt x="330053" y="135305"/>
                      </a:lnTo>
                      <a:cubicBezTo>
                        <a:pt x="330053" y="140924"/>
                        <a:pt x="331291" y="146449"/>
                        <a:pt x="333672" y="151592"/>
                      </a:cubicBezTo>
                      <a:lnTo>
                        <a:pt x="483310" y="468298"/>
                      </a:lnTo>
                      <a:cubicBezTo>
                        <a:pt x="488834" y="480014"/>
                        <a:pt x="489406" y="493444"/>
                        <a:pt x="484834" y="505541"/>
                      </a:cubicBezTo>
                      <a:lnTo>
                        <a:pt x="484739" y="505732"/>
                      </a:lnTo>
                      <a:lnTo>
                        <a:pt x="484167" y="507160"/>
                      </a:lnTo>
                      <a:cubicBezTo>
                        <a:pt x="479690" y="517066"/>
                        <a:pt x="470165" y="523734"/>
                        <a:pt x="459307" y="524401"/>
                      </a:cubicBezTo>
                      <a:lnTo>
                        <a:pt x="457497" y="524496"/>
                      </a:lnTo>
                      <a:lnTo>
                        <a:pt x="31253" y="524496"/>
                      </a:lnTo>
                      <a:lnTo>
                        <a:pt x="29444" y="524401"/>
                      </a:lnTo>
                      <a:cubicBezTo>
                        <a:pt x="28586" y="524305"/>
                        <a:pt x="27824" y="524305"/>
                        <a:pt x="26967" y="524115"/>
                      </a:cubicBezTo>
                      <a:cubicBezTo>
                        <a:pt x="25634" y="523925"/>
                        <a:pt x="24395" y="523639"/>
                        <a:pt x="23157" y="523258"/>
                      </a:cubicBezTo>
                      <a:lnTo>
                        <a:pt x="23157" y="523258"/>
                      </a:lnTo>
                      <a:cubicBezTo>
                        <a:pt x="21252" y="522686"/>
                        <a:pt x="19347" y="521924"/>
                        <a:pt x="17633" y="520972"/>
                      </a:cubicBezTo>
                      <a:lnTo>
                        <a:pt x="16204" y="520210"/>
                      </a:lnTo>
                      <a:cubicBezTo>
                        <a:pt x="15918" y="520020"/>
                        <a:pt x="15632" y="519829"/>
                        <a:pt x="15251" y="519638"/>
                      </a:cubicBezTo>
                      <a:cubicBezTo>
                        <a:pt x="13442" y="518495"/>
                        <a:pt x="11727" y="517066"/>
                        <a:pt x="10298" y="515542"/>
                      </a:cubicBezTo>
                      <a:lnTo>
                        <a:pt x="8774" y="514114"/>
                      </a:lnTo>
                      <a:lnTo>
                        <a:pt x="8774" y="514114"/>
                      </a:lnTo>
                      <a:close/>
                      <a:moveTo>
                        <a:pt x="255377" y="404767"/>
                      </a:moveTo>
                      <a:lnTo>
                        <a:pt x="252519" y="406576"/>
                      </a:lnTo>
                      <a:lnTo>
                        <a:pt x="246995" y="410291"/>
                      </a:lnTo>
                      <a:cubicBezTo>
                        <a:pt x="199751" y="441628"/>
                        <a:pt x="120217" y="442581"/>
                        <a:pt x="55161" y="416864"/>
                      </a:cubicBezTo>
                      <a:lnTo>
                        <a:pt x="51351" y="415339"/>
                      </a:lnTo>
                      <a:lnTo>
                        <a:pt x="22490" y="476395"/>
                      </a:lnTo>
                      <a:lnTo>
                        <a:pt x="21633" y="478300"/>
                      </a:lnTo>
                      <a:cubicBezTo>
                        <a:pt x="19156" y="484872"/>
                        <a:pt x="19061" y="492111"/>
                        <a:pt x="21538" y="498778"/>
                      </a:cubicBezTo>
                      <a:cubicBezTo>
                        <a:pt x="22776" y="502017"/>
                        <a:pt x="25443" y="504303"/>
                        <a:pt x="28681" y="505065"/>
                      </a:cubicBezTo>
                      <a:lnTo>
                        <a:pt x="29920" y="505255"/>
                      </a:lnTo>
                      <a:lnTo>
                        <a:pt x="31063" y="505351"/>
                      </a:lnTo>
                      <a:lnTo>
                        <a:pt x="457306" y="505351"/>
                      </a:lnTo>
                      <a:lnTo>
                        <a:pt x="458450" y="505255"/>
                      </a:lnTo>
                      <a:cubicBezTo>
                        <a:pt x="462260" y="504875"/>
                        <a:pt x="465498" y="502303"/>
                        <a:pt x="466831" y="498683"/>
                      </a:cubicBezTo>
                      <a:cubicBezTo>
                        <a:pt x="469118" y="492778"/>
                        <a:pt x="469308" y="486205"/>
                        <a:pt x="467403" y="480205"/>
                      </a:cubicBezTo>
                      <a:lnTo>
                        <a:pt x="466736" y="478205"/>
                      </a:lnTo>
                      <a:lnTo>
                        <a:pt x="465879" y="476300"/>
                      </a:lnTo>
                      <a:lnTo>
                        <a:pt x="424255" y="388098"/>
                      </a:lnTo>
                      <a:cubicBezTo>
                        <a:pt x="366152" y="373810"/>
                        <a:pt x="296715" y="379335"/>
                        <a:pt x="255377" y="404767"/>
                      </a:cubicBezTo>
                      <a:close/>
                      <a:moveTo>
                        <a:pt x="306240" y="257796"/>
                      </a:moveTo>
                      <a:cubicBezTo>
                        <a:pt x="287857" y="257796"/>
                        <a:pt x="272903" y="272750"/>
                        <a:pt x="272903" y="291134"/>
                      </a:cubicBezTo>
                      <a:cubicBezTo>
                        <a:pt x="272903" y="309517"/>
                        <a:pt x="287857" y="324471"/>
                        <a:pt x="306240" y="324471"/>
                      </a:cubicBezTo>
                      <a:cubicBezTo>
                        <a:pt x="324623" y="324471"/>
                        <a:pt x="339578" y="309517"/>
                        <a:pt x="339578" y="291134"/>
                      </a:cubicBezTo>
                      <a:cubicBezTo>
                        <a:pt x="339578" y="272750"/>
                        <a:pt x="324623" y="257796"/>
                        <a:pt x="306240" y="257796"/>
                      </a:cubicBezTo>
                      <a:close/>
                    </a:path>
                  </a:pathLst>
                </a:custGeom>
                <a:solidFill>
                  <a:srgbClr val="FFFFFF"/>
                </a:solidFill>
                <a:ln>
                  <a:noFill/>
                </a:ln>
              </p:spPr>
            </p:sp>
          </p:grpSp>
          <p:sp>
            <p:nvSpPr>
              <p:cNvPr id="16" name="椭圆 15"/>
              <p:cNvSpPr/>
              <p:nvPr/>
            </p:nvSpPr>
            <p:spPr>
              <a:xfrm>
                <a:off x="3857717" y="3643506"/>
                <a:ext cx="127000" cy="127000"/>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9" name="组合 18"/>
            <p:cNvGrpSpPr/>
            <p:nvPr/>
          </p:nvGrpSpPr>
          <p:grpSpPr>
            <a:xfrm>
              <a:off x="6453310" y="3653613"/>
              <a:ext cx="1969192" cy="2096333"/>
              <a:chOff x="5081332" y="3643506"/>
              <a:chExt cx="1969192" cy="2096333"/>
            </a:xfrm>
          </p:grpSpPr>
          <p:sp>
            <p:nvSpPr>
              <p:cNvPr id="20" name="矩形 19"/>
              <p:cNvSpPr/>
              <p:nvPr/>
            </p:nvSpPr>
            <p:spPr>
              <a:xfrm>
                <a:off x="5081332" y="4719019"/>
                <a:ext cx="1969192" cy="4279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tIns="90000" bIns="90000" rtlCol="0" anchor="b"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kumimoji="1" lang="en-US" altLang="zh-CN" sz="1600" b="1" dirty="0">
                    <a:solidFill>
                      <a:schemeClr val="tx1"/>
                    </a:solidFill>
                    <a:latin typeface="Arial" panose="020B0604020202090204" pitchFamily="34" charset="0"/>
                    <a:ea typeface="华文楷体" panose="02010600040101010101" pitchFamily="2" charset="-122"/>
                  </a:rPr>
                  <a:t>Text</a:t>
                </a:r>
                <a:r>
                  <a:rPr kumimoji="1" lang="zh-CN" altLang="en-US" sz="1600" b="1" dirty="0">
                    <a:solidFill>
                      <a:schemeClr val="tx1"/>
                    </a:solidFill>
                    <a:latin typeface="Arial" panose="020B0604020202090204" pitchFamily="34" charset="0"/>
                    <a:ea typeface="华文楷体" panose="02010600040101010101" pitchFamily="2" charset="-122"/>
                  </a:rPr>
                  <a:t> </a:t>
                </a:r>
                <a:r>
                  <a:rPr kumimoji="1" lang="en-US" altLang="zh-CN" sz="1600" b="1" dirty="0">
                    <a:solidFill>
                      <a:schemeClr val="tx1"/>
                    </a:solidFill>
                    <a:latin typeface="Arial" panose="020B0604020202090204" pitchFamily="34" charset="0"/>
                    <a:ea typeface="华文楷体" panose="02010600040101010101" pitchFamily="2" charset="-122"/>
                  </a:rPr>
                  <a:t>here</a:t>
                </a:r>
                <a:endParaRPr kumimoji="1" lang="en-US" altLang="zh-CN" sz="1600" b="1" dirty="0">
                  <a:solidFill>
                    <a:schemeClr val="tx1"/>
                  </a:solidFill>
                  <a:latin typeface="Arial" panose="020B0604020202090204" pitchFamily="34" charset="0"/>
                  <a:ea typeface="华文楷体" panose="02010600040101010101" pitchFamily="2" charset="-122"/>
                </a:endParaRPr>
              </a:p>
            </p:txBody>
          </p:sp>
          <p:sp>
            <p:nvSpPr>
              <p:cNvPr id="21" name="矩形 20"/>
              <p:cNvSpPr/>
              <p:nvPr/>
            </p:nvSpPr>
            <p:spPr>
              <a:xfrm>
                <a:off x="5081332" y="5141113"/>
                <a:ext cx="1969192" cy="59872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t"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lnSpc>
                    <a:spcPct val="130000"/>
                  </a:lnSpc>
                </a:pPr>
                <a:r>
                  <a:rPr kumimoji="1" lang="en-US" altLang="zh-CN" sz="1000" dirty="0">
                    <a:solidFill>
                      <a:schemeClr val="tx1"/>
                    </a:solidFill>
                    <a:latin typeface="Arial" panose="020B0604020202090204" pitchFamily="34" charset="0"/>
                    <a:ea typeface="华文楷体" panose="02010600040101010101" pitchFamily="2" charset="-122"/>
                  </a:rPr>
                  <a:t>Theme color makes PPT more convenient to change.</a:t>
                </a:r>
                <a:endParaRPr kumimoji="1" lang="en-US" altLang="zh-CN" sz="1000" dirty="0">
                  <a:solidFill>
                    <a:schemeClr val="tx1"/>
                  </a:solidFill>
                  <a:latin typeface="Arial" panose="020B0604020202090204" pitchFamily="34" charset="0"/>
                  <a:ea typeface="华文楷体" panose="02010600040101010101" pitchFamily="2" charset="-122"/>
                </a:endParaRPr>
              </a:p>
            </p:txBody>
          </p:sp>
          <p:grpSp>
            <p:nvGrpSpPr>
              <p:cNvPr id="22" name="组合 21"/>
              <p:cNvGrpSpPr/>
              <p:nvPr/>
            </p:nvGrpSpPr>
            <p:grpSpPr>
              <a:xfrm>
                <a:off x="5795928" y="4096214"/>
                <a:ext cx="540000" cy="540000"/>
                <a:chOff x="3854147" y="1148389"/>
                <a:chExt cx="454025" cy="454025"/>
              </a:xfrm>
            </p:grpSpPr>
            <p:sp>
              <p:nvSpPr>
                <p:cNvPr id="24" name="椭圆 23"/>
                <p:cNvSpPr/>
                <p:nvPr/>
              </p:nvSpPr>
              <p:spPr>
                <a:xfrm>
                  <a:off x="3854147" y="1148389"/>
                  <a:ext cx="454025" cy="45402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任意多边形: 形状 24"/>
                <p:cNvSpPr/>
                <p:nvPr/>
              </p:nvSpPr>
              <p:spPr bwMode="auto">
                <a:xfrm>
                  <a:off x="3971969" y="1288453"/>
                  <a:ext cx="218380" cy="173896"/>
                </a:xfrm>
                <a:custGeom>
                  <a:avLst/>
                  <a:gdLst>
                    <a:gd name="connsiteX0" fmla="*/ 486767 w 514350"/>
                    <a:gd name="connsiteY0" fmla="*/ 621 h 409575"/>
                    <a:gd name="connsiteX1" fmla="*/ 515342 w 514350"/>
                    <a:gd name="connsiteY1" fmla="*/ 29196 h 409575"/>
                    <a:gd name="connsiteX2" fmla="*/ 515342 w 514350"/>
                    <a:gd name="connsiteY2" fmla="*/ 324471 h 409575"/>
                    <a:gd name="connsiteX3" fmla="*/ 486767 w 514350"/>
                    <a:gd name="connsiteY3" fmla="*/ 353046 h 409575"/>
                    <a:gd name="connsiteX4" fmla="*/ 192159 w 514350"/>
                    <a:gd name="connsiteY4" fmla="*/ 353046 h 409575"/>
                    <a:gd name="connsiteX5" fmla="*/ 115387 w 514350"/>
                    <a:gd name="connsiteY5" fmla="*/ 410196 h 409575"/>
                    <a:gd name="connsiteX6" fmla="*/ 115387 w 514350"/>
                    <a:gd name="connsiteY6" fmla="*/ 353046 h 409575"/>
                    <a:gd name="connsiteX7" fmla="*/ 29567 w 514350"/>
                    <a:gd name="connsiteY7" fmla="*/ 353046 h 409575"/>
                    <a:gd name="connsiteX8" fmla="*/ 992 w 514350"/>
                    <a:gd name="connsiteY8" fmla="*/ 324471 h 409575"/>
                    <a:gd name="connsiteX9" fmla="*/ 992 w 514350"/>
                    <a:gd name="connsiteY9" fmla="*/ 29196 h 409575"/>
                    <a:gd name="connsiteX10" fmla="*/ 29567 w 514350"/>
                    <a:gd name="connsiteY10" fmla="*/ 621 h 409575"/>
                    <a:gd name="connsiteX11" fmla="*/ 486767 w 514350"/>
                    <a:gd name="connsiteY11" fmla="*/ 621 h 409575"/>
                    <a:gd name="connsiteX12" fmla="*/ 124817 w 514350"/>
                    <a:gd name="connsiteY12" fmla="*/ 143496 h 409575"/>
                    <a:gd name="connsiteX13" fmla="*/ 91480 w 514350"/>
                    <a:gd name="connsiteY13" fmla="*/ 176834 h 409575"/>
                    <a:gd name="connsiteX14" fmla="*/ 124817 w 514350"/>
                    <a:gd name="connsiteY14" fmla="*/ 210171 h 409575"/>
                    <a:gd name="connsiteX15" fmla="*/ 158155 w 514350"/>
                    <a:gd name="connsiteY15" fmla="*/ 176834 h 409575"/>
                    <a:gd name="connsiteX16" fmla="*/ 124817 w 514350"/>
                    <a:gd name="connsiteY16" fmla="*/ 143496 h 409575"/>
                    <a:gd name="connsiteX17" fmla="*/ 258167 w 514350"/>
                    <a:gd name="connsiteY17" fmla="*/ 143496 h 409575"/>
                    <a:gd name="connsiteX18" fmla="*/ 224830 w 514350"/>
                    <a:gd name="connsiteY18" fmla="*/ 176834 h 409575"/>
                    <a:gd name="connsiteX19" fmla="*/ 258167 w 514350"/>
                    <a:gd name="connsiteY19" fmla="*/ 210171 h 409575"/>
                    <a:gd name="connsiteX20" fmla="*/ 291505 w 514350"/>
                    <a:gd name="connsiteY20" fmla="*/ 176834 h 409575"/>
                    <a:gd name="connsiteX21" fmla="*/ 258167 w 514350"/>
                    <a:gd name="connsiteY21" fmla="*/ 143496 h 409575"/>
                    <a:gd name="connsiteX22" fmla="*/ 391517 w 514350"/>
                    <a:gd name="connsiteY22" fmla="*/ 143496 h 409575"/>
                    <a:gd name="connsiteX23" fmla="*/ 358180 w 514350"/>
                    <a:gd name="connsiteY23" fmla="*/ 176834 h 409575"/>
                    <a:gd name="connsiteX24" fmla="*/ 391517 w 514350"/>
                    <a:gd name="connsiteY24" fmla="*/ 210171 h 409575"/>
                    <a:gd name="connsiteX25" fmla="*/ 424855 w 514350"/>
                    <a:gd name="connsiteY25" fmla="*/ 176834 h 409575"/>
                    <a:gd name="connsiteX26" fmla="*/ 391517 w 514350"/>
                    <a:gd name="connsiteY26" fmla="*/ 143496 h 409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14350" h="409575">
                      <a:moveTo>
                        <a:pt x="486767" y="621"/>
                      </a:moveTo>
                      <a:cubicBezTo>
                        <a:pt x="502579" y="621"/>
                        <a:pt x="515342" y="13385"/>
                        <a:pt x="515342" y="29196"/>
                      </a:cubicBezTo>
                      <a:lnTo>
                        <a:pt x="515342" y="324471"/>
                      </a:lnTo>
                      <a:cubicBezTo>
                        <a:pt x="515342" y="340282"/>
                        <a:pt x="502579" y="353046"/>
                        <a:pt x="486767" y="353046"/>
                      </a:cubicBezTo>
                      <a:lnTo>
                        <a:pt x="192159" y="353046"/>
                      </a:lnTo>
                      <a:lnTo>
                        <a:pt x="115387" y="410196"/>
                      </a:lnTo>
                      <a:lnTo>
                        <a:pt x="115387" y="353046"/>
                      </a:lnTo>
                      <a:lnTo>
                        <a:pt x="29567" y="353046"/>
                      </a:lnTo>
                      <a:cubicBezTo>
                        <a:pt x="13755" y="353046"/>
                        <a:pt x="992" y="340282"/>
                        <a:pt x="992" y="324471"/>
                      </a:cubicBezTo>
                      <a:lnTo>
                        <a:pt x="992" y="29196"/>
                      </a:lnTo>
                      <a:cubicBezTo>
                        <a:pt x="992" y="13385"/>
                        <a:pt x="13755" y="621"/>
                        <a:pt x="29567" y="621"/>
                      </a:cubicBezTo>
                      <a:lnTo>
                        <a:pt x="486767" y="621"/>
                      </a:lnTo>
                      <a:close/>
                      <a:moveTo>
                        <a:pt x="124817" y="143496"/>
                      </a:moveTo>
                      <a:cubicBezTo>
                        <a:pt x="106434" y="143496"/>
                        <a:pt x="91480" y="158450"/>
                        <a:pt x="91480" y="176834"/>
                      </a:cubicBezTo>
                      <a:cubicBezTo>
                        <a:pt x="91480" y="195217"/>
                        <a:pt x="106434" y="210171"/>
                        <a:pt x="124817" y="210171"/>
                      </a:cubicBezTo>
                      <a:cubicBezTo>
                        <a:pt x="143200" y="210171"/>
                        <a:pt x="158155" y="195217"/>
                        <a:pt x="158155" y="176834"/>
                      </a:cubicBezTo>
                      <a:cubicBezTo>
                        <a:pt x="158155" y="158450"/>
                        <a:pt x="143200" y="143496"/>
                        <a:pt x="124817" y="143496"/>
                      </a:cubicBezTo>
                      <a:close/>
                      <a:moveTo>
                        <a:pt x="258167" y="143496"/>
                      </a:moveTo>
                      <a:cubicBezTo>
                        <a:pt x="239784" y="143496"/>
                        <a:pt x="224830" y="158450"/>
                        <a:pt x="224830" y="176834"/>
                      </a:cubicBezTo>
                      <a:cubicBezTo>
                        <a:pt x="224830" y="195217"/>
                        <a:pt x="239784" y="210171"/>
                        <a:pt x="258167" y="210171"/>
                      </a:cubicBezTo>
                      <a:cubicBezTo>
                        <a:pt x="276550" y="210171"/>
                        <a:pt x="291505" y="195217"/>
                        <a:pt x="291505" y="176834"/>
                      </a:cubicBezTo>
                      <a:cubicBezTo>
                        <a:pt x="291505" y="158450"/>
                        <a:pt x="276550" y="143496"/>
                        <a:pt x="258167" y="143496"/>
                      </a:cubicBezTo>
                      <a:close/>
                      <a:moveTo>
                        <a:pt x="391517" y="143496"/>
                      </a:moveTo>
                      <a:cubicBezTo>
                        <a:pt x="373134" y="143496"/>
                        <a:pt x="358180" y="158450"/>
                        <a:pt x="358180" y="176834"/>
                      </a:cubicBezTo>
                      <a:cubicBezTo>
                        <a:pt x="358180" y="195217"/>
                        <a:pt x="373134" y="210171"/>
                        <a:pt x="391517" y="210171"/>
                      </a:cubicBezTo>
                      <a:cubicBezTo>
                        <a:pt x="409900" y="210171"/>
                        <a:pt x="424855" y="195217"/>
                        <a:pt x="424855" y="176834"/>
                      </a:cubicBezTo>
                      <a:cubicBezTo>
                        <a:pt x="424855" y="158450"/>
                        <a:pt x="409900" y="143496"/>
                        <a:pt x="391517" y="143496"/>
                      </a:cubicBezTo>
                      <a:close/>
                    </a:path>
                  </a:pathLst>
                </a:custGeom>
                <a:solidFill>
                  <a:srgbClr val="FFFFFF"/>
                </a:solidFill>
                <a:ln>
                  <a:noFill/>
                </a:ln>
              </p:spPr>
            </p:sp>
          </p:grpSp>
          <p:sp>
            <p:nvSpPr>
              <p:cNvPr id="23" name="椭圆 22"/>
              <p:cNvSpPr/>
              <p:nvPr/>
            </p:nvSpPr>
            <p:spPr>
              <a:xfrm>
                <a:off x="6002428" y="3643506"/>
                <a:ext cx="127000" cy="127000"/>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26" name="组合 25"/>
            <p:cNvGrpSpPr/>
            <p:nvPr/>
          </p:nvGrpSpPr>
          <p:grpSpPr>
            <a:xfrm>
              <a:off x="9149821" y="3653613"/>
              <a:ext cx="1969192" cy="2096333"/>
              <a:chOff x="7273489" y="3643506"/>
              <a:chExt cx="1969192" cy="2096333"/>
            </a:xfrm>
          </p:grpSpPr>
          <p:sp>
            <p:nvSpPr>
              <p:cNvPr id="27" name="矩形 26"/>
              <p:cNvSpPr/>
              <p:nvPr/>
            </p:nvSpPr>
            <p:spPr>
              <a:xfrm>
                <a:off x="7273489" y="4719019"/>
                <a:ext cx="1969192" cy="4279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tIns="90000" bIns="90000" rtlCol="0" anchor="b"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kumimoji="1" lang="en-US" altLang="zh-CN" sz="1600" b="1" dirty="0">
                    <a:solidFill>
                      <a:schemeClr val="tx1"/>
                    </a:solidFill>
                    <a:latin typeface="Arial" panose="020B0604020202090204" pitchFamily="34" charset="0"/>
                    <a:ea typeface="华文楷体" panose="02010600040101010101" pitchFamily="2" charset="-122"/>
                  </a:rPr>
                  <a:t>Text</a:t>
                </a:r>
                <a:r>
                  <a:rPr kumimoji="1" lang="zh-CN" altLang="en-US" sz="1600" b="1" dirty="0">
                    <a:solidFill>
                      <a:schemeClr val="tx1"/>
                    </a:solidFill>
                    <a:latin typeface="Arial" panose="020B0604020202090204" pitchFamily="34" charset="0"/>
                    <a:ea typeface="华文楷体" panose="02010600040101010101" pitchFamily="2" charset="-122"/>
                  </a:rPr>
                  <a:t> </a:t>
                </a:r>
                <a:r>
                  <a:rPr kumimoji="1" lang="en-US" altLang="zh-CN" sz="1600" b="1" dirty="0">
                    <a:solidFill>
                      <a:schemeClr val="tx1"/>
                    </a:solidFill>
                    <a:latin typeface="Arial" panose="020B0604020202090204" pitchFamily="34" charset="0"/>
                    <a:ea typeface="华文楷体" panose="02010600040101010101" pitchFamily="2" charset="-122"/>
                  </a:rPr>
                  <a:t>here</a:t>
                </a:r>
                <a:endParaRPr kumimoji="1" lang="en-US" altLang="zh-CN" sz="1600" b="1" dirty="0">
                  <a:solidFill>
                    <a:schemeClr val="tx1"/>
                  </a:solidFill>
                  <a:latin typeface="Arial" panose="020B0604020202090204" pitchFamily="34" charset="0"/>
                  <a:ea typeface="华文楷体" panose="02010600040101010101" pitchFamily="2" charset="-122"/>
                </a:endParaRPr>
              </a:p>
            </p:txBody>
          </p:sp>
          <p:sp>
            <p:nvSpPr>
              <p:cNvPr id="28" name="矩形 27"/>
              <p:cNvSpPr/>
              <p:nvPr/>
            </p:nvSpPr>
            <p:spPr>
              <a:xfrm>
                <a:off x="7273489" y="5141113"/>
                <a:ext cx="1969192" cy="59872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t"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lnSpc>
                    <a:spcPct val="130000"/>
                  </a:lnSpc>
                </a:pPr>
                <a:r>
                  <a:rPr kumimoji="1" lang="en-US" altLang="zh-CN" sz="1000" dirty="0">
                    <a:solidFill>
                      <a:schemeClr val="tx1"/>
                    </a:solidFill>
                    <a:latin typeface="Arial" panose="020B0604020202090204" pitchFamily="34" charset="0"/>
                    <a:ea typeface="华文楷体" panose="02010600040101010101" pitchFamily="2" charset="-122"/>
                  </a:rPr>
                  <a:t>Theme color makes PPT more convenient to change.</a:t>
                </a:r>
                <a:endParaRPr kumimoji="1" lang="en-US" altLang="zh-CN" sz="1000" dirty="0">
                  <a:solidFill>
                    <a:schemeClr val="tx1"/>
                  </a:solidFill>
                  <a:latin typeface="Arial" panose="020B0604020202090204" pitchFamily="34" charset="0"/>
                  <a:ea typeface="华文楷体" panose="02010600040101010101" pitchFamily="2" charset="-122"/>
                </a:endParaRPr>
              </a:p>
            </p:txBody>
          </p:sp>
          <p:grpSp>
            <p:nvGrpSpPr>
              <p:cNvPr id="29" name="组合 28"/>
              <p:cNvGrpSpPr/>
              <p:nvPr/>
            </p:nvGrpSpPr>
            <p:grpSpPr>
              <a:xfrm>
                <a:off x="7988085" y="4096214"/>
                <a:ext cx="540000" cy="540000"/>
                <a:chOff x="4438007" y="1144791"/>
                <a:chExt cx="454025" cy="454025"/>
              </a:xfrm>
            </p:grpSpPr>
            <p:sp>
              <p:nvSpPr>
                <p:cNvPr id="31" name="椭圆 30"/>
                <p:cNvSpPr/>
                <p:nvPr/>
              </p:nvSpPr>
              <p:spPr>
                <a:xfrm>
                  <a:off x="4438007" y="1144791"/>
                  <a:ext cx="454025" cy="45402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任意多边形: 形状 31"/>
                <p:cNvSpPr/>
                <p:nvPr/>
              </p:nvSpPr>
              <p:spPr bwMode="auto">
                <a:xfrm>
                  <a:off x="4555829" y="1289911"/>
                  <a:ext cx="218380" cy="163785"/>
                </a:xfrm>
                <a:custGeom>
                  <a:avLst/>
                  <a:gdLst>
                    <a:gd name="connsiteX0" fmla="*/ 505433 w 533400"/>
                    <a:gd name="connsiteY0" fmla="*/ 621 h 400050"/>
                    <a:gd name="connsiteX1" fmla="*/ 534008 w 533400"/>
                    <a:gd name="connsiteY1" fmla="*/ 29196 h 400050"/>
                    <a:gd name="connsiteX2" fmla="*/ 534008 w 533400"/>
                    <a:gd name="connsiteY2" fmla="*/ 372096 h 400050"/>
                    <a:gd name="connsiteX3" fmla="*/ 505433 w 533400"/>
                    <a:gd name="connsiteY3" fmla="*/ 400671 h 400050"/>
                    <a:gd name="connsiteX4" fmla="*/ 29183 w 533400"/>
                    <a:gd name="connsiteY4" fmla="*/ 400671 h 400050"/>
                    <a:gd name="connsiteX5" fmla="*/ 608 w 533400"/>
                    <a:gd name="connsiteY5" fmla="*/ 372096 h 400050"/>
                    <a:gd name="connsiteX6" fmla="*/ 608 w 533400"/>
                    <a:gd name="connsiteY6" fmla="*/ 29196 h 400050"/>
                    <a:gd name="connsiteX7" fmla="*/ 29183 w 533400"/>
                    <a:gd name="connsiteY7" fmla="*/ 621 h 400050"/>
                    <a:gd name="connsiteX8" fmla="*/ 505433 w 533400"/>
                    <a:gd name="connsiteY8" fmla="*/ 621 h 400050"/>
                    <a:gd name="connsiteX9" fmla="*/ 391419 w 533400"/>
                    <a:gd name="connsiteY9" fmla="*/ 198646 h 400050"/>
                    <a:gd name="connsiteX10" fmla="*/ 351414 w 533400"/>
                    <a:gd name="connsiteY10" fmla="*/ 204170 h 400050"/>
                    <a:gd name="connsiteX11" fmla="*/ 351414 w 533400"/>
                    <a:gd name="connsiteY11" fmla="*/ 204170 h 400050"/>
                    <a:gd name="connsiteX12" fmla="*/ 267118 w 533400"/>
                    <a:gd name="connsiteY12" fmla="*/ 315613 h 400050"/>
                    <a:gd name="connsiteX13" fmla="*/ 264641 w 533400"/>
                    <a:gd name="connsiteY13" fmla="*/ 318470 h 400050"/>
                    <a:gd name="connsiteX14" fmla="*/ 224255 w 533400"/>
                    <a:gd name="connsiteY14" fmla="*/ 318756 h 400050"/>
                    <a:gd name="connsiteX15" fmla="*/ 224255 w 533400"/>
                    <a:gd name="connsiteY15" fmla="*/ 318756 h 400050"/>
                    <a:gd name="connsiteX16" fmla="*/ 162152 w 533400"/>
                    <a:gd name="connsiteY16" fmla="*/ 257415 h 400050"/>
                    <a:gd name="connsiteX17" fmla="*/ 160247 w 533400"/>
                    <a:gd name="connsiteY17" fmla="*/ 255701 h 400050"/>
                    <a:gd name="connsiteX18" fmla="*/ 120052 w 533400"/>
                    <a:gd name="connsiteY18" fmla="*/ 259606 h 400050"/>
                    <a:gd name="connsiteX19" fmla="*/ 120052 w 533400"/>
                    <a:gd name="connsiteY19" fmla="*/ 259606 h 400050"/>
                    <a:gd name="connsiteX20" fmla="*/ 32517 w 533400"/>
                    <a:gd name="connsiteY20" fmla="*/ 366095 h 400050"/>
                    <a:gd name="connsiteX21" fmla="*/ 30326 w 533400"/>
                    <a:gd name="connsiteY21" fmla="*/ 372096 h 400050"/>
                    <a:gd name="connsiteX22" fmla="*/ 39851 w 533400"/>
                    <a:gd name="connsiteY22" fmla="*/ 381621 h 400050"/>
                    <a:gd name="connsiteX23" fmla="*/ 39851 w 533400"/>
                    <a:gd name="connsiteY23" fmla="*/ 381621 h 400050"/>
                    <a:gd name="connsiteX24" fmla="*/ 497242 w 533400"/>
                    <a:gd name="connsiteY24" fmla="*/ 381621 h 400050"/>
                    <a:gd name="connsiteX25" fmla="*/ 502480 w 533400"/>
                    <a:gd name="connsiteY25" fmla="*/ 380002 h 400050"/>
                    <a:gd name="connsiteX26" fmla="*/ 505147 w 533400"/>
                    <a:gd name="connsiteY26" fmla="*/ 366762 h 400050"/>
                    <a:gd name="connsiteX27" fmla="*/ 505147 w 533400"/>
                    <a:gd name="connsiteY27" fmla="*/ 366762 h 400050"/>
                    <a:gd name="connsiteX28" fmla="*/ 397991 w 533400"/>
                    <a:gd name="connsiteY28" fmla="*/ 205504 h 400050"/>
                    <a:gd name="connsiteX29" fmla="*/ 391419 w 533400"/>
                    <a:gd name="connsiteY29" fmla="*/ 198646 h 400050"/>
                    <a:gd name="connsiteX30" fmla="*/ 95858 w 533400"/>
                    <a:gd name="connsiteY30" fmla="*/ 57771 h 400050"/>
                    <a:gd name="connsiteX31" fmla="*/ 57758 w 533400"/>
                    <a:gd name="connsiteY31" fmla="*/ 95871 h 400050"/>
                    <a:gd name="connsiteX32" fmla="*/ 95858 w 533400"/>
                    <a:gd name="connsiteY32" fmla="*/ 133971 h 400050"/>
                    <a:gd name="connsiteX33" fmla="*/ 133958 w 533400"/>
                    <a:gd name="connsiteY33" fmla="*/ 95871 h 400050"/>
                    <a:gd name="connsiteX34" fmla="*/ 95858 w 533400"/>
                    <a:gd name="connsiteY34" fmla="*/ 57771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33400" h="400050">
                      <a:moveTo>
                        <a:pt x="505433" y="621"/>
                      </a:moveTo>
                      <a:cubicBezTo>
                        <a:pt x="521245" y="621"/>
                        <a:pt x="534008" y="13385"/>
                        <a:pt x="534008" y="29196"/>
                      </a:cubicBezTo>
                      <a:lnTo>
                        <a:pt x="534008" y="372096"/>
                      </a:lnTo>
                      <a:cubicBezTo>
                        <a:pt x="534008" y="387907"/>
                        <a:pt x="521245" y="400671"/>
                        <a:pt x="505433" y="400671"/>
                      </a:cubicBezTo>
                      <a:lnTo>
                        <a:pt x="29183" y="400671"/>
                      </a:lnTo>
                      <a:cubicBezTo>
                        <a:pt x="13371" y="400671"/>
                        <a:pt x="608" y="387907"/>
                        <a:pt x="608" y="372096"/>
                      </a:cubicBezTo>
                      <a:lnTo>
                        <a:pt x="608" y="29196"/>
                      </a:lnTo>
                      <a:cubicBezTo>
                        <a:pt x="608" y="13385"/>
                        <a:pt x="13371" y="621"/>
                        <a:pt x="29183" y="621"/>
                      </a:cubicBezTo>
                      <a:lnTo>
                        <a:pt x="505433" y="621"/>
                      </a:lnTo>
                      <a:close/>
                      <a:moveTo>
                        <a:pt x="391419" y="198646"/>
                      </a:moveTo>
                      <a:cubicBezTo>
                        <a:pt x="378846" y="189121"/>
                        <a:pt x="360939" y="191597"/>
                        <a:pt x="351414" y="204170"/>
                      </a:cubicBezTo>
                      <a:lnTo>
                        <a:pt x="351414" y="204170"/>
                      </a:lnTo>
                      <a:lnTo>
                        <a:pt x="267118" y="315613"/>
                      </a:lnTo>
                      <a:cubicBezTo>
                        <a:pt x="266355" y="316660"/>
                        <a:pt x="265498" y="317518"/>
                        <a:pt x="264641" y="318470"/>
                      </a:cubicBezTo>
                      <a:cubicBezTo>
                        <a:pt x="253592" y="329710"/>
                        <a:pt x="235495" y="329805"/>
                        <a:pt x="224255" y="318756"/>
                      </a:cubicBezTo>
                      <a:lnTo>
                        <a:pt x="224255" y="318756"/>
                      </a:lnTo>
                      <a:lnTo>
                        <a:pt x="162152" y="257415"/>
                      </a:lnTo>
                      <a:cubicBezTo>
                        <a:pt x="161485" y="256844"/>
                        <a:pt x="160914" y="256177"/>
                        <a:pt x="160247" y="255701"/>
                      </a:cubicBezTo>
                      <a:cubicBezTo>
                        <a:pt x="148055" y="245699"/>
                        <a:pt x="130053" y="247414"/>
                        <a:pt x="120052" y="259606"/>
                      </a:cubicBezTo>
                      <a:lnTo>
                        <a:pt x="120052" y="259606"/>
                      </a:lnTo>
                      <a:lnTo>
                        <a:pt x="32517" y="366095"/>
                      </a:lnTo>
                      <a:cubicBezTo>
                        <a:pt x="31088" y="367810"/>
                        <a:pt x="30326" y="369905"/>
                        <a:pt x="30326" y="372096"/>
                      </a:cubicBezTo>
                      <a:cubicBezTo>
                        <a:pt x="30326" y="377335"/>
                        <a:pt x="34612" y="381621"/>
                        <a:pt x="39851" y="381621"/>
                      </a:cubicBezTo>
                      <a:lnTo>
                        <a:pt x="39851" y="381621"/>
                      </a:lnTo>
                      <a:lnTo>
                        <a:pt x="497242" y="381621"/>
                      </a:lnTo>
                      <a:cubicBezTo>
                        <a:pt x="499146" y="381621"/>
                        <a:pt x="500956" y="381050"/>
                        <a:pt x="502480" y="380002"/>
                      </a:cubicBezTo>
                      <a:cubicBezTo>
                        <a:pt x="506862" y="377049"/>
                        <a:pt x="508005" y="371144"/>
                        <a:pt x="505147" y="366762"/>
                      </a:cubicBezTo>
                      <a:lnTo>
                        <a:pt x="505147" y="366762"/>
                      </a:lnTo>
                      <a:lnTo>
                        <a:pt x="397991" y="205504"/>
                      </a:lnTo>
                      <a:cubicBezTo>
                        <a:pt x="396181" y="202932"/>
                        <a:pt x="393990" y="200551"/>
                        <a:pt x="391419" y="198646"/>
                      </a:cubicBezTo>
                      <a:close/>
                      <a:moveTo>
                        <a:pt x="95858" y="57771"/>
                      </a:moveTo>
                      <a:cubicBezTo>
                        <a:pt x="74808" y="57771"/>
                        <a:pt x="57758" y="74821"/>
                        <a:pt x="57758" y="95871"/>
                      </a:cubicBezTo>
                      <a:cubicBezTo>
                        <a:pt x="57758" y="116921"/>
                        <a:pt x="74808" y="133971"/>
                        <a:pt x="95858" y="133971"/>
                      </a:cubicBezTo>
                      <a:cubicBezTo>
                        <a:pt x="116908" y="133971"/>
                        <a:pt x="133958" y="116921"/>
                        <a:pt x="133958" y="95871"/>
                      </a:cubicBezTo>
                      <a:cubicBezTo>
                        <a:pt x="133958" y="74821"/>
                        <a:pt x="116908" y="57771"/>
                        <a:pt x="95858" y="57771"/>
                      </a:cubicBezTo>
                      <a:close/>
                    </a:path>
                  </a:pathLst>
                </a:custGeom>
                <a:solidFill>
                  <a:srgbClr val="FFFFFF"/>
                </a:solidFill>
                <a:ln>
                  <a:noFill/>
                </a:ln>
              </p:spPr>
            </p:sp>
          </p:grpSp>
          <p:sp>
            <p:nvSpPr>
              <p:cNvPr id="30" name="椭圆 29"/>
              <p:cNvSpPr/>
              <p:nvPr/>
            </p:nvSpPr>
            <p:spPr>
              <a:xfrm>
                <a:off x="8194585" y="3643506"/>
                <a:ext cx="127000" cy="127000"/>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spTree>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îŝ1íḑe"/>
        <p:cNvGrpSpPr/>
        <p:nvPr/>
      </p:nvGrpSpPr>
      <p:grpSpPr>
        <a:xfrm>
          <a:off x="0" y="0"/>
          <a:ext cx="0" cy="0"/>
          <a:chOff x="0" y="0"/>
          <a:chExt cx="0" cy="0"/>
        </a:xfrm>
      </p:grpSpPr>
      <p:grpSp>
        <p:nvGrpSpPr>
          <p:cNvPr id="2" name="îśľídê"/>
          <p:cNvGrpSpPr/>
          <p:nvPr/>
        </p:nvGrpSpPr>
        <p:grpSpPr>
          <a:xfrm>
            <a:off x="650695" y="1454036"/>
            <a:ext cx="10407486" cy="4680064"/>
            <a:chOff x="650695" y="1454036"/>
            <a:chExt cx="10407486" cy="4680064"/>
          </a:xfrm>
        </p:grpSpPr>
        <p:sp>
          <p:nvSpPr>
            <p:cNvPr id="43" name="íṩḻîḑe"/>
            <p:cNvSpPr/>
            <p:nvPr/>
          </p:nvSpPr>
          <p:spPr>
            <a:xfrm rot="18900000">
              <a:off x="2854589" y="3793269"/>
              <a:ext cx="1079551" cy="254000"/>
            </a:xfrm>
            <a:prstGeom prst="rightArrow">
              <a:avLst/>
            </a:prstGeom>
            <a:gradFill>
              <a:gsLst>
                <a:gs pos="10000">
                  <a:schemeClr val="tx2">
                    <a:alpha val="0"/>
                  </a:schemeClr>
                </a:gs>
                <a:gs pos="100000">
                  <a:schemeClr val="tx2"/>
                </a:gs>
              </a:gsLst>
              <a:lin ang="0" scaled="0"/>
            </a:gra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fontScale="25000" lnSpcReduction="20000"/>
            </a:bodyPr>
            <a:lstStyle/>
            <a:p>
              <a:pPr algn="ctr" defTabSz="914400"/>
              <a:endParaRPr lang="zh-CN" altLang="en-US" sz="2000" b="1" dirty="0">
                <a:solidFill>
                  <a:schemeClr val="bg1"/>
                </a:solidFill>
              </a:endParaRPr>
            </a:p>
          </p:txBody>
        </p:sp>
        <p:sp>
          <p:nvSpPr>
            <p:cNvPr id="53" name="íslíḍê"/>
            <p:cNvSpPr/>
            <p:nvPr/>
          </p:nvSpPr>
          <p:spPr>
            <a:xfrm rot="2700000" flipV="1">
              <a:off x="8192363" y="3793268"/>
              <a:ext cx="1079551" cy="254000"/>
            </a:xfrm>
            <a:prstGeom prst="rightArrow">
              <a:avLst/>
            </a:prstGeom>
            <a:gradFill>
              <a:gsLst>
                <a:gs pos="10000">
                  <a:schemeClr val="tx2">
                    <a:alpha val="0"/>
                  </a:schemeClr>
                </a:gs>
                <a:gs pos="100000">
                  <a:schemeClr val="tx2"/>
                </a:gs>
              </a:gsLst>
              <a:lin ang="0" scaled="0"/>
            </a:gra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fontScale="25000" lnSpcReduction="20000"/>
            </a:bodyPr>
            <a:lstStyle/>
            <a:p>
              <a:pPr algn="ctr" defTabSz="914400"/>
              <a:endParaRPr lang="zh-CN" altLang="en-US" sz="2000" b="1" dirty="0">
                <a:solidFill>
                  <a:schemeClr val="bg1"/>
                </a:solidFill>
              </a:endParaRPr>
            </a:p>
          </p:txBody>
        </p:sp>
        <p:sp>
          <p:nvSpPr>
            <p:cNvPr id="83" name="íṧlíḋé"/>
            <p:cNvSpPr/>
            <p:nvPr/>
          </p:nvSpPr>
          <p:spPr>
            <a:xfrm rot="10800000" flipV="1">
              <a:off x="5556225" y="5505354"/>
              <a:ext cx="1079551" cy="254000"/>
            </a:xfrm>
            <a:prstGeom prst="rightArrow">
              <a:avLst/>
            </a:prstGeom>
            <a:gradFill>
              <a:gsLst>
                <a:gs pos="10000">
                  <a:schemeClr val="tx2">
                    <a:alpha val="0"/>
                  </a:schemeClr>
                </a:gs>
                <a:gs pos="100000">
                  <a:schemeClr val="tx2"/>
                </a:gs>
              </a:gsLst>
              <a:lin ang="0" scaled="0"/>
            </a:gra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fontScale="25000" lnSpcReduction="20000"/>
            </a:bodyPr>
            <a:lstStyle/>
            <a:p>
              <a:pPr algn="ctr" defTabSz="914400"/>
              <a:endParaRPr lang="zh-CN" altLang="en-US" sz="2000" b="1" dirty="0">
                <a:solidFill>
                  <a:schemeClr val="bg1"/>
                </a:solidFill>
              </a:endParaRPr>
            </a:p>
          </p:txBody>
        </p:sp>
        <p:grpSp>
          <p:nvGrpSpPr>
            <p:cNvPr id="87" name="iṩľiďè"/>
            <p:cNvGrpSpPr/>
            <p:nvPr/>
          </p:nvGrpSpPr>
          <p:grpSpPr>
            <a:xfrm>
              <a:off x="4595513" y="2559352"/>
              <a:ext cx="3000974" cy="1204059"/>
              <a:chOff x="4542067" y="1560084"/>
              <a:chExt cx="3000974" cy="1204059"/>
            </a:xfrm>
          </p:grpSpPr>
          <p:sp>
            <p:nvSpPr>
              <p:cNvPr id="66" name="işlíḑé"/>
              <p:cNvSpPr/>
              <p:nvPr/>
            </p:nvSpPr>
            <p:spPr>
              <a:xfrm>
                <a:off x="4542067" y="1560084"/>
                <a:ext cx="3000974" cy="1204059"/>
              </a:xfrm>
              <a:prstGeom prst="roundRect">
                <a:avLst>
                  <a:gd name="adj" fmla="val 0"/>
                </a:avLst>
              </a:prstGeom>
              <a:solidFill>
                <a:schemeClr val="bg1"/>
              </a:solidFill>
              <a:ln w="12700" cap="rnd">
                <a:noFill/>
                <a:prstDash val="solid"/>
                <a:round/>
              </a:ln>
              <a:effectLst>
                <a:outerShdw blurRad="254000" dist="127000" algn="ctr" rotWithShape="0">
                  <a:schemeClr val="tx1">
                    <a:lumMod val="85000"/>
                    <a:lumOff val="15000"/>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720000" bIns="45720" numCol="1" spcCol="0" rtlCol="0" fromWordArt="0" anchor="ctr" anchorCtr="0" forceAA="0" compatLnSpc="1">
                <a:normAutofit/>
              </a:bodyPr>
              <a:lstStyle/>
              <a:p>
                <a:endParaRPr lang="en-US" altLang="zh-CN" sz="1600" b="1" dirty="0">
                  <a:solidFill>
                    <a:schemeClr val="tx1"/>
                  </a:solidFill>
                </a:endParaRPr>
              </a:p>
            </p:txBody>
          </p:sp>
          <p:sp>
            <p:nvSpPr>
              <p:cNvPr id="45" name="iṡ1ïḑê"/>
              <p:cNvSpPr/>
              <p:nvPr/>
            </p:nvSpPr>
            <p:spPr>
              <a:xfrm>
                <a:off x="4895455" y="1969409"/>
                <a:ext cx="411530" cy="404182"/>
              </a:xfrm>
              <a:custGeom>
                <a:avLst/>
                <a:gdLst>
                  <a:gd name="connsiteX0" fmla="*/ 372339 w 533400"/>
                  <a:gd name="connsiteY0" fmla="*/ 276846 h 523875"/>
                  <a:gd name="connsiteX1" fmla="*/ 372339 w 533400"/>
                  <a:gd name="connsiteY1" fmla="*/ 524496 h 523875"/>
                  <a:gd name="connsiteX2" fmla="*/ 162789 w 533400"/>
                  <a:gd name="connsiteY2" fmla="*/ 524496 h 523875"/>
                  <a:gd name="connsiteX3" fmla="*/ 162789 w 533400"/>
                  <a:gd name="connsiteY3" fmla="*/ 276846 h 523875"/>
                  <a:gd name="connsiteX4" fmla="*/ 372339 w 533400"/>
                  <a:gd name="connsiteY4" fmla="*/ 276846 h 523875"/>
                  <a:gd name="connsiteX5" fmla="*/ 143739 w 533400"/>
                  <a:gd name="connsiteY5" fmla="*/ 114921 h 523875"/>
                  <a:gd name="connsiteX6" fmla="*/ 143739 w 533400"/>
                  <a:gd name="connsiteY6" fmla="*/ 153021 h 523875"/>
                  <a:gd name="connsiteX7" fmla="*/ 391389 w 533400"/>
                  <a:gd name="connsiteY7" fmla="*/ 153021 h 523875"/>
                  <a:gd name="connsiteX8" fmla="*/ 391389 w 533400"/>
                  <a:gd name="connsiteY8" fmla="*/ 114921 h 523875"/>
                  <a:gd name="connsiteX9" fmla="*/ 534264 w 533400"/>
                  <a:gd name="connsiteY9" fmla="*/ 114921 h 523875"/>
                  <a:gd name="connsiteX10" fmla="*/ 534264 w 533400"/>
                  <a:gd name="connsiteY10" fmla="*/ 410196 h 523875"/>
                  <a:gd name="connsiteX11" fmla="*/ 391389 w 533400"/>
                  <a:gd name="connsiteY11" fmla="*/ 410196 h 523875"/>
                  <a:gd name="connsiteX12" fmla="*/ 391389 w 533400"/>
                  <a:gd name="connsiteY12" fmla="*/ 257796 h 523875"/>
                  <a:gd name="connsiteX13" fmla="*/ 143739 w 533400"/>
                  <a:gd name="connsiteY13" fmla="*/ 257796 h 523875"/>
                  <a:gd name="connsiteX14" fmla="*/ 143739 w 533400"/>
                  <a:gd name="connsiteY14" fmla="*/ 410196 h 523875"/>
                  <a:gd name="connsiteX15" fmla="*/ 864 w 533400"/>
                  <a:gd name="connsiteY15" fmla="*/ 410196 h 523875"/>
                  <a:gd name="connsiteX16" fmla="*/ 864 w 533400"/>
                  <a:gd name="connsiteY16" fmla="*/ 186359 h 523875"/>
                  <a:gd name="connsiteX17" fmla="*/ 67539 w 533400"/>
                  <a:gd name="connsiteY17" fmla="*/ 114921 h 523875"/>
                  <a:gd name="connsiteX18" fmla="*/ 143739 w 533400"/>
                  <a:gd name="connsiteY18" fmla="*/ 114921 h 523875"/>
                  <a:gd name="connsiteX19" fmla="*/ 462827 w 533400"/>
                  <a:gd name="connsiteY19" fmla="*/ 172071 h 523875"/>
                  <a:gd name="connsiteX20" fmla="*/ 448539 w 533400"/>
                  <a:gd name="connsiteY20" fmla="*/ 186359 h 523875"/>
                  <a:gd name="connsiteX21" fmla="*/ 462827 w 533400"/>
                  <a:gd name="connsiteY21" fmla="*/ 200646 h 523875"/>
                  <a:gd name="connsiteX22" fmla="*/ 477114 w 533400"/>
                  <a:gd name="connsiteY22" fmla="*/ 186359 h 523875"/>
                  <a:gd name="connsiteX23" fmla="*/ 462827 w 533400"/>
                  <a:gd name="connsiteY23" fmla="*/ 172071 h 523875"/>
                  <a:gd name="connsiteX24" fmla="*/ 372339 w 533400"/>
                  <a:gd name="connsiteY24" fmla="*/ 621 h 523875"/>
                  <a:gd name="connsiteX25" fmla="*/ 372339 w 533400"/>
                  <a:gd name="connsiteY25" fmla="*/ 133971 h 523875"/>
                  <a:gd name="connsiteX26" fmla="*/ 162789 w 533400"/>
                  <a:gd name="connsiteY26" fmla="*/ 133971 h 523875"/>
                  <a:gd name="connsiteX27" fmla="*/ 162789 w 533400"/>
                  <a:gd name="connsiteY27" fmla="*/ 621 h 523875"/>
                  <a:gd name="connsiteX28" fmla="*/ 372339 w 533400"/>
                  <a:gd name="connsiteY28" fmla="*/ 621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33400" h="523875">
                    <a:moveTo>
                      <a:pt x="372339" y="276846"/>
                    </a:moveTo>
                    <a:lnTo>
                      <a:pt x="372339" y="524496"/>
                    </a:lnTo>
                    <a:lnTo>
                      <a:pt x="162789" y="524496"/>
                    </a:lnTo>
                    <a:lnTo>
                      <a:pt x="162789" y="276846"/>
                    </a:lnTo>
                    <a:lnTo>
                      <a:pt x="372339" y="276846"/>
                    </a:lnTo>
                    <a:close/>
                    <a:moveTo>
                      <a:pt x="143739" y="114921"/>
                    </a:moveTo>
                    <a:lnTo>
                      <a:pt x="143739" y="153021"/>
                    </a:lnTo>
                    <a:lnTo>
                      <a:pt x="391389" y="153021"/>
                    </a:lnTo>
                    <a:lnTo>
                      <a:pt x="391389" y="114921"/>
                    </a:lnTo>
                    <a:lnTo>
                      <a:pt x="534264" y="114921"/>
                    </a:lnTo>
                    <a:lnTo>
                      <a:pt x="534264" y="410196"/>
                    </a:lnTo>
                    <a:lnTo>
                      <a:pt x="391389" y="410196"/>
                    </a:lnTo>
                    <a:lnTo>
                      <a:pt x="391389" y="257796"/>
                    </a:lnTo>
                    <a:lnTo>
                      <a:pt x="143739" y="257796"/>
                    </a:lnTo>
                    <a:lnTo>
                      <a:pt x="143739" y="410196"/>
                    </a:lnTo>
                    <a:lnTo>
                      <a:pt x="864" y="410196"/>
                    </a:lnTo>
                    <a:lnTo>
                      <a:pt x="864" y="186359"/>
                    </a:lnTo>
                    <a:lnTo>
                      <a:pt x="67539" y="114921"/>
                    </a:lnTo>
                    <a:lnTo>
                      <a:pt x="143739" y="114921"/>
                    </a:lnTo>
                    <a:close/>
                    <a:moveTo>
                      <a:pt x="462827" y="172071"/>
                    </a:moveTo>
                    <a:cubicBezTo>
                      <a:pt x="455207" y="172071"/>
                      <a:pt x="448539" y="178739"/>
                      <a:pt x="448539" y="186359"/>
                    </a:cubicBezTo>
                    <a:cubicBezTo>
                      <a:pt x="448539" y="193979"/>
                      <a:pt x="455207" y="200646"/>
                      <a:pt x="462827" y="200646"/>
                    </a:cubicBezTo>
                    <a:cubicBezTo>
                      <a:pt x="470446" y="200646"/>
                      <a:pt x="477114" y="193979"/>
                      <a:pt x="477114" y="186359"/>
                    </a:cubicBezTo>
                    <a:cubicBezTo>
                      <a:pt x="477114" y="178739"/>
                      <a:pt x="470446" y="172071"/>
                      <a:pt x="462827" y="172071"/>
                    </a:cubicBezTo>
                    <a:close/>
                    <a:moveTo>
                      <a:pt x="372339" y="621"/>
                    </a:moveTo>
                    <a:lnTo>
                      <a:pt x="372339" y="133971"/>
                    </a:lnTo>
                    <a:lnTo>
                      <a:pt x="162789" y="133971"/>
                    </a:lnTo>
                    <a:lnTo>
                      <a:pt x="162789" y="621"/>
                    </a:lnTo>
                    <a:lnTo>
                      <a:pt x="372339" y="621"/>
                    </a:lnTo>
                    <a:close/>
                  </a:path>
                </a:pathLst>
              </a:custGeom>
              <a:solidFill>
                <a:schemeClr val="accent1"/>
              </a:solidFill>
              <a:ln w="9525" cap="flat">
                <a:noFill/>
                <a:prstDash val="solid"/>
                <a:miter/>
              </a:ln>
            </p:spPr>
            <p:txBody>
              <a:bodyPr rtlCol="0" anchor="ctr"/>
              <a:lstStyle/>
              <a:p>
                <a:endParaRPr lang="zh-CN" altLang="en-US"/>
              </a:p>
            </p:txBody>
          </p:sp>
          <p:sp>
            <p:nvSpPr>
              <p:cNvPr id="67" name="íṩlïḋé"/>
              <p:cNvSpPr/>
              <p:nvPr/>
            </p:nvSpPr>
            <p:spPr>
              <a:xfrm>
                <a:off x="5536441" y="2040654"/>
                <a:ext cx="1841500" cy="609189"/>
              </a:xfrm>
              <a:prstGeom prst="rect">
                <a:avLst/>
              </a:prstGeom>
              <a:ln>
                <a:noFill/>
              </a:ln>
            </p:spPr>
            <p:txBody>
              <a:bodyPr wrap="square" lIns="91440" tIns="45720" rIns="91440" bIns="45720" anchor="t">
                <a:noAutofit/>
              </a:bodyPr>
              <a:lstStyle/>
              <a:p>
                <a:r>
                  <a:rPr lang="en-US" altLang="zh-CN" sz="1100" dirty="0">
                    <a:latin typeface="Arial" panose="020B0604020202090204" pitchFamily="34" charset="0"/>
                    <a:ea typeface="华文楷体" panose="02010600040101010101" pitchFamily="2" charset="-122"/>
                  </a:rPr>
                  <a:t>Copy paste fonts. Choose the only option to retain text……</a:t>
                </a:r>
                <a:endParaRPr lang="en-US" altLang="zh-CN" sz="1100" dirty="0">
                  <a:latin typeface="Arial" panose="020B0604020202090204" pitchFamily="34" charset="0"/>
                  <a:ea typeface="华文楷体" panose="02010600040101010101" pitchFamily="2" charset="-122"/>
                </a:endParaRPr>
              </a:p>
            </p:txBody>
          </p:sp>
          <p:sp>
            <p:nvSpPr>
              <p:cNvPr id="68" name="îŝlíde"/>
              <p:cNvSpPr txBox="1"/>
              <p:nvPr/>
            </p:nvSpPr>
            <p:spPr>
              <a:xfrm>
                <a:off x="5536441" y="1652377"/>
                <a:ext cx="1841500" cy="369332"/>
              </a:xfrm>
              <a:prstGeom prst="rect">
                <a:avLst/>
              </a:prstGeom>
              <a:noFill/>
            </p:spPr>
            <p:txBody>
              <a:bodyPr wrap="square">
                <a:spAutoFit/>
              </a:bodyPr>
              <a:lstStyle/>
              <a:p>
                <a:r>
                  <a:rPr lang="en-US" altLang="zh-CN" sz="1800" b="1" dirty="0">
                    <a:latin typeface="Arial" panose="020B0604020202090204" pitchFamily="34" charset="0"/>
                    <a:ea typeface="华文楷体" panose="02010600040101010101" pitchFamily="2" charset="-122"/>
                  </a:rPr>
                  <a:t>Text here</a:t>
                </a:r>
                <a:endParaRPr lang="en-US" altLang="zh-CN" sz="1800" b="1" dirty="0">
                  <a:latin typeface="Arial" panose="020B0604020202090204" pitchFamily="34" charset="0"/>
                  <a:ea typeface="华文楷体" panose="02010600040101010101" pitchFamily="2" charset="-122"/>
                </a:endParaRPr>
              </a:p>
            </p:txBody>
          </p:sp>
        </p:grpSp>
        <p:grpSp>
          <p:nvGrpSpPr>
            <p:cNvPr id="88" name="iş1ïḓè"/>
            <p:cNvGrpSpPr/>
            <p:nvPr/>
          </p:nvGrpSpPr>
          <p:grpSpPr>
            <a:xfrm>
              <a:off x="1548457" y="4930041"/>
              <a:ext cx="9095086" cy="1204059"/>
              <a:chOff x="1594539" y="4438773"/>
              <a:chExt cx="9095086" cy="1204059"/>
            </a:xfrm>
          </p:grpSpPr>
          <p:grpSp>
            <p:nvGrpSpPr>
              <p:cNvPr id="86" name="îSľïḑé"/>
              <p:cNvGrpSpPr/>
              <p:nvPr/>
            </p:nvGrpSpPr>
            <p:grpSpPr>
              <a:xfrm>
                <a:off x="1594539" y="4438773"/>
                <a:ext cx="3000974" cy="1204059"/>
                <a:chOff x="1508469" y="4093857"/>
                <a:chExt cx="3000974" cy="1204059"/>
              </a:xfrm>
            </p:grpSpPr>
            <p:sp>
              <p:nvSpPr>
                <p:cNvPr id="37" name="iṩľïḓè"/>
                <p:cNvSpPr/>
                <p:nvPr/>
              </p:nvSpPr>
              <p:spPr>
                <a:xfrm>
                  <a:off x="1508469" y="4093857"/>
                  <a:ext cx="3000974" cy="1204059"/>
                </a:xfrm>
                <a:prstGeom prst="roundRect">
                  <a:avLst>
                    <a:gd name="adj" fmla="val 0"/>
                  </a:avLst>
                </a:prstGeom>
                <a:solidFill>
                  <a:schemeClr val="bg1"/>
                </a:solidFill>
                <a:ln w="12700" cap="rnd">
                  <a:noFill/>
                  <a:prstDash val="solid"/>
                  <a:round/>
                </a:ln>
                <a:effectLst>
                  <a:outerShdw blurRad="254000" dist="127000" algn="ctr" rotWithShape="0">
                    <a:schemeClr val="tx1">
                      <a:lumMod val="85000"/>
                      <a:lumOff val="15000"/>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720000" bIns="45720" numCol="1" spcCol="0" rtlCol="0" fromWordArt="0" anchor="ctr" anchorCtr="0" forceAA="0" compatLnSpc="1">
                  <a:normAutofit/>
                </a:bodyPr>
                <a:lstStyle/>
                <a:p>
                  <a:endParaRPr lang="en-US" altLang="zh-CN" sz="1600" b="1" dirty="0">
                    <a:solidFill>
                      <a:schemeClr val="tx1"/>
                    </a:solidFill>
                  </a:endParaRPr>
                </a:p>
              </p:txBody>
            </p:sp>
            <p:sp>
              <p:nvSpPr>
                <p:cNvPr id="39" name="íṥ1îḋê"/>
                <p:cNvSpPr/>
                <p:nvPr/>
              </p:nvSpPr>
              <p:spPr>
                <a:xfrm>
                  <a:off x="2502843" y="4574427"/>
                  <a:ext cx="1841500" cy="609189"/>
                </a:xfrm>
                <a:prstGeom prst="rect">
                  <a:avLst/>
                </a:prstGeom>
                <a:ln>
                  <a:noFill/>
                </a:ln>
              </p:spPr>
              <p:txBody>
                <a:bodyPr wrap="square" lIns="91440" tIns="45720" rIns="91440" bIns="45720" anchor="t">
                  <a:noAutofit/>
                </a:bodyPr>
                <a:lstStyle/>
                <a:p>
                  <a:r>
                    <a:rPr lang="en-US" altLang="zh-CN" sz="1100" dirty="0">
                      <a:latin typeface="Arial" panose="020B0604020202090204" pitchFamily="34" charset="0"/>
                      <a:ea typeface="华文楷体" panose="02010600040101010101" pitchFamily="2" charset="-122"/>
                    </a:rPr>
                    <a:t>Copy paste fonts. Choose the only option to retain text……</a:t>
                  </a:r>
                  <a:endParaRPr lang="en-US" altLang="zh-CN" sz="1100" dirty="0">
                    <a:latin typeface="Arial" panose="020B0604020202090204" pitchFamily="34" charset="0"/>
                    <a:ea typeface="华文楷体" panose="02010600040101010101" pitchFamily="2" charset="-122"/>
                  </a:endParaRPr>
                </a:p>
              </p:txBody>
            </p:sp>
            <p:sp>
              <p:nvSpPr>
                <p:cNvPr id="41" name="í$ļiḓè"/>
                <p:cNvSpPr txBox="1"/>
                <p:nvPr/>
              </p:nvSpPr>
              <p:spPr>
                <a:xfrm>
                  <a:off x="2502843" y="4186150"/>
                  <a:ext cx="1841500" cy="369332"/>
                </a:xfrm>
                <a:prstGeom prst="rect">
                  <a:avLst/>
                </a:prstGeom>
                <a:noFill/>
              </p:spPr>
              <p:txBody>
                <a:bodyPr wrap="square">
                  <a:spAutoFit/>
                </a:bodyPr>
                <a:lstStyle/>
                <a:p>
                  <a:r>
                    <a:rPr lang="en-US" altLang="zh-CN" sz="1800" b="1" dirty="0">
                      <a:latin typeface="Arial" panose="020B0604020202090204" pitchFamily="34" charset="0"/>
                      <a:ea typeface="华文楷体" panose="02010600040101010101" pitchFamily="2" charset="-122"/>
                    </a:rPr>
                    <a:t>Text here</a:t>
                  </a:r>
                  <a:endParaRPr lang="en-US" altLang="zh-CN" sz="1800" b="1" dirty="0">
                    <a:latin typeface="Arial" panose="020B0604020202090204" pitchFamily="34" charset="0"/>
                    <a:ea typeface="华文楷体" panose="02010600040101010101" pitchFamily="2" charset="-122"/>
                  </a:endParaRPr>
                </a:p>
              </p:txBody>
            </p:sp>
            <p:sp>
              <p:nvSpPr>
                <p:cNvPr id="51" name="iṩḷîḋè"/>
                <p:cNvSpPr/>
                <p:nvPr/>
              </p:nvSpPr>
              <p:spPr>
                <a:xfrm>
                  <a:off x="1858726" y="4503184"/>
                  <a:ext cx="382134" cy="404180"/>
                </a:xfrm>
                <a:custGeom>
                  <a:avLst/>
                  <a:gdLst>
                    <a:gd name="connsiteX0" fmla="*/ 372211 w 495300"/>
                    <a:gd name="connsiteY0" fmla="*/ 621 h 523875"/>
                    <a:gd name="connsiteX1" fmla="*/ 372211 w 495300"/>
                    <a:gd name="connsiteY1" fmla="*/ 19671 h 523875"/>
                    <a:gd name="connsiteX2" fmla="*/ 334111 w 495300"/>
                    <a:gd name="connsiteY2" fmla="*/ 19671 h 523875"/>
                    <a:gd name="connsiteX3" fmla="*/ 334111 w 495300"/>
                    <a:gd name="connsiteY3" fmla="*/ 143496 h 523875"/>
                    <a:gd name="connsiteX4" fmla="*/ 496036 w 495300"/>
                    <a:gd name="connsiteY4" fmla="*/ 486396 h 523875"/>
                    <a:gd name="connsiteX5" fmla="*/ 481749 w 495300"/>
                    <a:gd name="connsiteY5" fmla="*/ 524496 h 523875"/>
                    <a:gd name="connsiteX6" fmla="*/ 15024 w 495300"/>
                    <a:gd name="connsiteY6" fmla="*/ 524496 h 523875"/>
                    <a:gd name="connsiteX7" fmla="*/ 736 w 495300"/>
                    <a:gd name="connsiteY7" fmla="*/ 486396 h 523875"/>
                    <a:gd name="connsiteX8" fmla="*/ 162661 w 495300"/>
                    <a:gd name="connsiteY8" fmla="*/ 143496 h 523875"/>
                    <a:gd name="connsiteX9" fmla="*/ 162661 w 495300"/>
                    <a:gd name="connsiteY9" fmla="*/ 19671 h 523875"/>
                    <a:gd name="connsiteX10" fmla="*/ 124561 w 495300"/>
                    <a:gd name="connsiteY10" fmla="*/ 19671 h 523875"/>
                    <a:gd name="connsiteX11" fmla="*/ 124561 w 495300"/>
                    <a:gd name="connsiteY11" fmla="*/ 621 h 523875"/>
                    <a:gd name="connsiteX12" fmla="*/ 372211 w 495300"/>
                    <a:gd name="connsiteY12" fmla="*/ 621 h 523875"/>
                    <a:gd name="connsiteX13" fmla="*/ 259816 w 495300"/>
                    <a:gd name="connsiteY13" fmla="*/ 404481 h 523875"/>
                    <a:gd name="connsiteX14" fmla="*/ 256958 w 495300"/>
                    <a:gd name="connsiteY14" fmla="*/ 406386 h 523875"/>
                    <a:gd name="connsiteX15" fmla="*/ 251243 w 495300"/>
                    <a:gd name="connsiteY15" fmla="*/ 410196 h 523875"/>
                    <a:gd name="connsiteX16" fmla="*/ 59791 w 495300"/>
                    <a:gd name="connsiteY16" fmla="*/ 416864 h 523875"/>
                    <a:gd name="connsiteX17" fmla="*/ 55981 w 495300"/>
                    <a:gd name="connsiteY17" fmla="*/ 414959 h 523875"/>
                    <a:gd name="connsiteX18" fmla="*/ 21691 w 495300"/>
                    <a:gd name="connsiteY18" fmla="*/ 487349 h 523875"/>
                    <a:gd name="connsiteX19" fmla="*/ 28358 w 495300"/>
                    <a:gd name="connsiteY19" fmla="*/ 505446 h 523875"/>
                    <a:gd name="connsiteX20" fmla="*/ 468414 w 495300"/>
                    <a:gd name="connsiteY20" fmla="*/ 505446 h 523875"/>
                    <a:gd name="connsiteX21" fmla="*/ 475081 w 495300"/>
                    <a:gd name="connsiteY21" fmla="*/ 487349 h 523875"/>
                    <a:gd name="connsiteX22" fmla="*/ 428408 w 495300"/>
                    <a:gd name="connsiteY22" fmla="*/ 388289 h 523875"/>
                    <a:gd name="connsiteX23" fmla="*/ 259816 w 495300"/>
                    <a:gd name="connsiteY23" fmla="*/ 404481 h 523875"/>
                    <a:gd name="connsiteX24" fmla="*/ 310299 w 495300"/>
                    <a:gd name="connsiteY24" fmla="*/ 257796 h 523875"/>
                    <a:gd name="connsiteX25" fmla="*/ 276961 w 495300"/>
                    <a:gd name="connsiteY25" fmla="*/ 291134 h 523875"/>
                    <a:gd name="connsiteX26" fmla="*/ 310299 w 495300"/>
                    <a:gd name="connsiteY26" fmla="*/ 324471 h 523875"/>
                    <a:gd name="connsiteX27" fmla="*/ 343636 w 495300"/>
                    <a:gd name="connsiteY27" fmla="*/ 291134 h 523875"/>
                    <a:gd name="connsiteX28" fmla="*/ 310299 w 495300"/>
                    <a:gd name="connsiteY28" fmla="*/ 257796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95300" h="523875">
                      <a:moveTo>
                        <a:pt x="372211" y="621"/>
                      </a:moveTo>
                      <a:lnTo>
                        <a:pt x="372211" y="19671"/>
                      </a:lnTo>
                      <a:lnTo>
                        <a:pt x="334111" y="19671"/>
                      </a:lnTo>
                      <a:lnTo>
                        <a:pt x="334111" y="143496"/>
                      </a:lnTo>
                      <a:lnTo>
                        <a:pt x="496036" y="486396"/>
                      </a:lnTo>
                      <a:lnTo>
                        <a:pt x="481749" y="524496"/>
                      </a:lnTo>
                      <a:lnTo>
                        <a:pt x="15024" y="524496"/>
                      </a:lnTo>
                      <a:lnTo>
                        <a:pt x="736" y="486396"/>
                      </a:lnTo>
                      <a:lnTo>
                        <a:pt x="162661" y="143496"/>
                      </a:lnTo>
                      <a:lnTo>
                        <a:pt x="162661" y="19671"/>
                      </a:lnTo>
                      <a:lnTo>
                        <a:pt x="124561" y="19671"/>
                      </a:lnTo>
                      <a:lnTo>
                        <a:pt x="124561" y="621"/>
                      </a:lnTo>
                      <a:lnTo>
                        <a:pt x="372211" y="621"/>
                      </a:lnTo>
                      <a:close/>
                      <a:moveTo>
                        <a:pt x="259816" y="404481"/>
                      </a:moveTo>
                      <a:lnTo>
                        <a:pt x="256958" y="406386"/>
                      </a:lnTo>
                      <a:lnTo>
                        <a:pt x="251243" y="410196"/>
                      </a:lnTo>
                      <a:cubicBezTo>
                        <a:pt x="203618" y="441629"/>
                        <a:pt x="124561" y="442581"/>
                        <a:pt x="59791" y="416864"/>
                      </a:cubicBezTo>
                      <a:lnTo>
                        <a:pt x="55981" y="414959"/>
                      </a:lnTo>
                      <a:lnTo>
                        <a:pt x="21691" y="487349"/>
                      </a:lnTo>
                      <a:lnTo>
                        <a:pt x="28358" y="505446"/>
                      </a:lnTo>
                      <a:lnTo>
                        <a:pt x="468414" y="505446"/>
                      </a:lnTo>
                      <a:lnTo>
                        <a:pt x="475081" y="487349"/>
                      </a:lnTo>
                      <a:lnTo>
                        <a:pt x="428408" y="388289"/>
                      </a:lnTo>
                      <a:cubicBezTo>
                        <a:pt x="370306" y="374001"/>
                        <a:pt x="300774" y="378764"/>
                        <a:pt x="259816" y="404481"/>
                      </a:cubicBezTo>
                      <a:close/>
                      <a:moveTo>
                        <a:pt x="310299" y="257796"/>
                      </a:moveTo>
                      <a:cubicBezTo>
                        <a:pt x="292201" y="257796"/>
                        <a:pt x="276961" y="273036"/>
                        <a:pt x="276961" y="291134"/>
                      </a:cubicBezTo>
                      <a:cubicBezTo>
                        <a:pt x="276961" y="309231"/>
                        <a:pt x="292201" y="324471"/>
                        <a:pt x="310299" y="324471"/>
                      </a:cubicBezTo>
                      <a:cubicBezTo>
                        <a:pt x="328396" y="324471"/>
                        <a:pt x="343636" y="309231"/>
                        <a:pt x="343636" y="291134"/>
                      </a:cubicBezTo>
                      <a:cubicBezTo>
                        <a:pt x="343636" y="272084"/>
                        <a:pt x="328396" y="257796"/>
                        <a:pt x="310299" y="257796"/>
                      </a:cubicBezTo>
                      <a:close/>
                    </a:path>
                  </a:pathLst>
                </a:custGeom>
                <a:solidFill>
                  <a:schemeClr val="accent1"/>
                </a:solidFill>
                <a:ln w="9525" cap="flat">
                  <a:noFill/>
                  <a:prstDash val="solid"/>
                  <a:miter/>
                </a:ln>
              </p:spPr>
              <p:txBody>
                <a:bodyPr rtlCol="0" anchor="ctr"/>
                <a:lstStyle/>
                <a:p>
                  <a:endParaRPr lang="zh-CN" altLang="en-US"/>
                </a:p>
              </p:txBody>
            </p:sp>
          </p:grpSp>
          <p:grpSp>
            <p:nvGrpSpPr>
              <p:cNvPr id="85" name="iSļîḓe"/>
              <p:cNvGrpSpPr/>
              <p:nvPr/>
            </p:nvGrpSpPr>
            <p:grpSpPr>
              <a:xfrm>
                <a:off x="7688651" y="4438773"/>
                <a:ext cx="3000974" cy="1204059"/>
                <a:chOff x="6853283" y="4093856"/>
                <a:chExt cx="3000974" cy="1204059"/>
              </a:xfrm>
            </p:grpSpPr>
            <p:sp>
              <p:nvSpPr>
                <p:cNvPr id="55" name="iṧlïḓe"/>
                <p:cNvSpPr/>
                <p:nvPr/>
              </p:nvSpPr>
              <p:spPr>
                <a:xfrm>
                  <a:off x="6853283" y="4093856"/>
                  <a:ext cx="3000974" cy="1204059"/>
                </a:xfrm>
                <a:prstGeom prst="roundRect">
                  <a:avLst>
                    <a:gd name="adj" fmla="val 0"/>
                  </a:avLst>
                </a:prstGeom>
                <a:solidFill>
                  <a:schemeClr val="bg1"/>
                </a:solidFill>
                <a:ln w="12700" cap="rnd">
                  <a:noFill/>
                  <a:prstDash val="solid"/>
                  <a:round/>
                </a:ln>
                <a:effectLst>
                  <a:outerShdw blurRad="254000" dist="127000" algn="ctr" rotWithShape="0">
                    <a:schemeClr val="tx1">
                      <a:lumMod val="85000"/>
                      <a:lumOff val="15000"/>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720000" bIns="45720" numCol="1" spcCol="0" rtlCol="0" fromWordArt="0" anchor="ctr" anchorCtr="0" forceAA="0" compatLnSpc="1">
                  <a:normAutofit/>
                </a:bodyPr>
                <a:lstStyle/>
                <a:p>
                  <a:endParaRPr lang="en-US" altLang="zh-CN" sz="1600" b="1" dirty="0">
                    <a:solidFill>
                      <a:schemeClr val="tx1"/>
                    </a:solidFill>
                  </a:endParaRPr>
                </a:p>
              </p:txBody>
            </p:sp>
            <p:sp>
              <p:nvSpPr>
                <p:cNvPr id="56" name="işḻiḋè"/>
                <p:cNvSpPr/>
                <p:nvPr/>
              </p:nvSpPr>
              <p:spPr>
                <a:xfrm>
                  <a:off x="7847657" y="4574426"/>
                  <a:ext cx="1841500" cy="609189"/>
                </a:xfrm>
                <a:prstGeom prst="rect">
                  <a:avLst/>
                </a:prstGeom>
                <a:ln>
                  <a:noFill/>
                </a:ln>
              </p:spPr>
              <p:txBody>
                <a:bodyPr wrap="square" lIns="91440" tIns="45720" rIns="91440" bIns="45720" anchor="t">
                  <a:noAutofit/>
                </a:bodyPr>
                <a:lstStyle/>
                <a:p>
                  <a:r>
                    <a:rPr lang="en-US" altLang="zh-CN" sz="1100" dirty="0">
                      <a:latin typeface="Arial" panose="020B0604020202090204" pitchFamily="34" charset="0"/>
                      <a:ea typeface="华文楷体" panose="02010600040101010101" pitchFamily="2" charset="-122"/>
                    </a:rPr>
                    <a:t>Copy paste fonts. Choose the only option to retain text……</a:t>
                  </a:r>
                  <a:endParaRPr lang="en-US" altLang="zh-CN" sz="1100" dirty="0">
                    <a:latin typeface="Arial" panose="020B0604020202090204" pitchFamily="34" charset="0"/>
                    <a:ea typeface="华文楷体" panose="02010600040101010101" pitchFamily="2" charset="-122"/>
                  </a:endParaRPr>
                </a:p>
              </p:txBody>
            </p:sp>
            <p:sp>
              <p:nvSpPr>
                <p:cNvPr id="57" name="ï$lïḓê"/>
                <p:cNvSpPr txBox="1"/>
                <p:nvPr/>
              </p:nvSpPr>
              <p:spPr>
                <a:xfrm>
                  <a:off x="7847657" y="4186149"/>
                  <a:ext cx="1841500" cy="369332"/>
                </a:xfrm>
                <a:prstGeom prst="rect">
                  <a:avLst/>
                </a:prstGeom>
                <a:noFill/>
              </p:spPr>
              <p:txBody>
                <a:bodyPr wrap="square">
                  <a:spAutoFit/>
                </a:bodyPr>
                <a:lstStyle/>
                <a:p>
                  <a:r>
                    <a:rPr lang="en-US" altLang="zh-CN" sz="1800" b="1" dirty="0">
                      <a:latin typeface="Arial" panose="020B0604020202090204" pitchFamily="34" charset="0"/>
                      <a:ea typeface="华文楷体" panose="02010600040101010101" pitchFamily="2" charset="-122"/>
                    </a:rPr>
                    <a:t>Text here</a:t>
                  </a:r>
                  <a:endParaRPr lang="en-US" altLang="zh-CN" sz="1800" b="1" dirty="0">
                    <a:latin typeface="Arial" panose="020B0604020202090204" pitchFamily="34" charset="0"/>
                    <a:ea typeface="华文楷体" panose="02010600040101010101" pitchFamily="2" charset="-122"/>
                  </a:endParaRPr>
                </a:p>
              </p:txBody>
            </p:sp>
            <p:sp>
              <p:nvSpPr>
                <p:cNvPr id="49" name="íṥḷiďè"/>
                <p:cNvSpPr/>
                <p:nvPr/>
              </p:nvSpPr>
              <p:spPr>
                <a:xfrm>
                  <a:off x="7203540" y="4486446"/>
                  <a:ext cx="382134" cy="418878"/>
                </a:xfrm>
                <a:custGeom>
                  <a:avLst/>
                  <a:gdLst>
                    <a:gd name="connsiteX0" fmla="*/ 248770 w 495300"/>
                    <a:gd name="connsiteY0" fmla="*/ 621 h 542925"/>
                    <a:gd name="connsiteX1" fmla="*/ 496420 w 495300"/>
                    <a:gd name="connsiteY1" fmla="*/ 248271 h 542925"/>
                    <a:gd name="connsiteX2" fmla="*/ 324017 w 495300"/>
                    <a:gd name="connsiteY2" fmla="*/ 484491 h 542925"/>
                    <a:gd name="connsiteX3" fmla="*/ 346877 w 495300"/>
                    <a:gd name="connsiteY3" fmla="*/ 524496 h 542925"/>
                    <a:gd name="connsiteX4" fmla="*/ 420220 w 495300"/>
                    <a:gd name="connsiteY4" fmla="*/ 524496 h 542925"/>
                    <a:gd name="connsiteX5" fmla="*/ 420220 w 495300"/>
                    <a:gd name="connsiteY5" fmla="*/ 543546 h 542925"/>
                    <a:gd name="connsiteX6" fmla="*/ 77320 w 495300"/>
                    <a:gd name="connsiteY6" fmla="*/ 543546 h 542925"/>
                    <a:gd name="connsiteX7" fmla="*/ 77320 w 495300"/>
                    <a:gd name="connsiteY7" fmla="*/ 524496 h 542925"/>
                    <a:gd name="connsiteX8" fmla="*/ 150663 w 495300"/>
                    <a:gd name="connsiteY8" fmla="*/ 524496 h 542925"/>
                    <a:gd name="connsiteX9" fmla="*/ 173523 w 495300"/>
                    <a:gd name="connsiteY9" fmla="*/ 484491 h 542925"/>
                    <a:gd name="connsiteX10" fmla="*/ 1120 w 495300"/>
                    <a:gd name="connsiteY10" fmla="*/ 248271 h 542925"/>
                    <a:gd name="connsiteX11" fmla="*/ 248770 w 495300"/>
                    <a:gd name="connsiteY11" fmla="*/ 621 h 542925"/>
                    <a:gd name="connsiteX12" fmla="*/ 192573 w 495300"/>
                    <a:gd name="connsiteY12" fmla="*/ 489254 h 542925"/>
                    <a:gd name="connsiteX13" fmla="*/ 172570 w 495300"/>
                    <a:gd name="connsiteY13" fmla="*/ 524496 h 542925"/>
                    <a:gd name="connsiteX14" fmla="*/ 324970 w 495300"/>
                    <a:gd name="connsiteY14" fmla="*/ 524496 h 542925"/>
                    <a:gd name="connsiteX15" fmla="*/ 304967 w 495300"/>
                    <a:gd name="connsiteY15" fmla="*/ 489254 h 542925"/>
                    <a:gd name="connsiteX16" fmla="*/ 248770 w 495300"/>
                    <a:gd name="connsiteY16" fmla="*/ 495921 h 542925"/>
                    <a:gd name="connsiteX17" fmla="*/ 192573 w 495300"/>
                    <a:gd name="connsiteY17" fmla="*/ 489254 h 542925"/>
                    <a:gd name="connsiteX18" fmla="*/ 248770 w 495300"/>
                    <a:gd name="connsiteY18" fmla="*/ 143496 h 542925"/>
                    <a:gd name="connsiteX19" fmla="*/ 143995 w 495300"/>
                    <a:gd name="connsiteY19" fmla="*/ 248271 h 542925"/>
                    <a:gd name="connsiteX20" fmla="*/ 248770 w 495300"/>
                    <a:gd name="connsiteY20" fmla="*/ 353046 h 542925"/>
                    <a:gd name="connsiteX21" fmla="*/ 353545 w 495300"/>
                    <a:gd name="connsiteY21" fmla="*/ 248271 h 542925"/>
                    <a:gd name="connsiteX22" fmla="*/ 248770 w 495300"/>
                    <a:gd name="connsiteY22" fmla="*/ 143496 h 542925"/>
                    <a:gd name="connsiteX23" fmla="*/ 367833 w 495300"/>
                    <a:gd name="connsiteY23" fmla="*/ 114921 h 542925"/>
                    <a:gd name="connsiteX24" fmla="*/ 353545 w 495300"/>
                    <a:gd name="connsiteY24" fmla="*/ 129209 h 542925"/>
                    <a:gd name="connsiteX25" fmla="*/ 367833 w 495300"/>
                    <a:gd name="connsiteY25" fmla="*/ 143496 h 542925"/>
                    <a:gd name="connsiteX26" fmla="*/ 382120 w 495300"/>
                    <a:gd name="connsiteY26" fmla="*/ 129209 h 542925"/>
                    <a:gd name="connsiteX27" fmla="*/ 367833 w 495300"/>
                    <a:gd name="connsiteY27" fmla="*/ 114921 h 54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95300" h="542925">
                      <a:moveTo>
                        <a:pt x="248770" y="621"/>
                      </a:moveTo>
                      <a:cubicBezTo>
                        <a:pt x="385930" y="621"/>
                        <a:pt x="496420" y="111111"/>
                        <a:pt x="496420" y="248271"/>
                      </a:cubicBezTo>
                      <a:cubicBezTo>
                        <a:pt x="496420" y="358761"/>
                        <a:pt x="424030" y="452106"/>
                        <a:pt x="324017" y="484491"/>
                      </a:cubicBezTo>
                      <a:lnTo>
                        <a:pt x="346877" y="524496"/>
                      </a:lnTo>
                      <a:lnTo>
                        <a:pt x="420220" y="524496"/>
                      </a:lnTo>
                      <a:lnTo>
                        <a:pt x="420220" y="543546"/>
                      </a:lnTo>
                      <a:lnTo>
                        <a:pt x="77320" y="543546"/>
                      </a:lnTo>
                      <a:lnTo>
                        <a:pt x="77320" y="524496"/>
                      </a:lnTo>
                      <a:lnTo>
                        <a:pt x="150663" y="524496"/>
                      </a:lnTo>
                      <a:lnTo>
                        <a:pt x="173523" y="484491"/>
                      </a:lnTo>
                      <a:cubicBezTo>
                        <a:pt x="73510" y="453059"/>
                        <a:pt x="1120" y="358761"/>
                        <a:pt x="1120" y="248271"/>
                      </a:cubicBezTo>
                      <a:cubicBezTo>
                        <a:pt x="1120" y="111111"/>
                        <a:pt x="111610" y="621"/>
                        <a:pt x="248770" y="621"/>
                      </a:cubicBezTo>
                      <a:close/>
                      <a:moveTo>
                        <a:pt x="192573" y="489254"/>
                      </a:moveTo>
                      <a:lnTo>
                        <a:pt x="172570" y="524496"/>
                      </a:lnTo>
                      <a:lnTo>
                        <a:pt x="324970" y="524496"/>
                      </a:lnTo>
                      <a:lnTo>
                        <a:pt x="304967" y="489254"/>
                      </a:lnTo>
                      <a:cubicBezTo>
                        <a:pt x="286870" y="493064"/>
                        <a:pt x="267820" y="495921"/>
                        <a:pt x="248770" y="495921"/>
                      </a:cubicBezTo>
                      <a:cubicBezTo>
                        <a:pt x="229720" y="495921"/>
                        <a:pt x="210670" y="493064"/>
                        <a:pt x="192573" y="489254"/>
                      </a:cubicBezTo>
                      <a:close/>
                      <a:moveTo>
                        <a:pt x="248770" y="143496"/>
                      </a:moveTo>
                      <a:cubicBezTo>
                        <a:pt x="190667" y="143496"/>
                        <a:pt x="143995" y="190169"/>
                        <a:pt x="143995" y="248271"/>
                      </a:cubicBezTo>
                      <a:cubicBezTo>
                        <a:pt x="143995" y="306374"/>
                        <a:pt x="190667" y="353046"/>
                        <a:pt x="248770" y="353046"/>
                      </a:cubicBezTo>
                      <a:cubicBezTo>
                        <a:pt x="306873" y="353046"/>
                        <a:pt x="353545" y="306374"/>
                        <a:pt x="353545" y="248271"/>
                      </a:cubicBezTo>
                      <a:cubicBezTo>
                        <a:pt x="353545" y="190169"/>
                        <a:pt x="306873" y="143496"/>
                        <a:pt x="248770" y="143496"/>
                      </a:cubicBezTo>
                      <a:close/>
                      <a:moveTo>
                        <a:pt x="367833" y="114921"/>
                      </a:moveTo>
                      <a:cubicBezTo>
                        <a:pt x="360213" y="114921"/>
                        <a:pt x="353545" y="121589"/>
                        <a:pt x="353545" y="129209"/>
                      </a:cubicBezTo>
                      <a:cubicBezTo>
                        <a:pt x="353545" y="136829"/>
                        <a:pt x="360213" y="143496"/>
                        <a:pt x="367833" y="143496"/>
                      </a:cubicBezTo>
                      <a:cubicBezTo>
                        <a:pt x="375452" y="143496"/>
                        <a:pt x="382120" y="136829"/>
                        <a:pt x="382120" y="129209"/>
                      </a:cubicBezTo>
                      <a:cubicBezTo>
                        <a:pt x="382120" y="121589"/>
                        <a:pt x="375452" y="114921"/>
                        <a:pt x="367833" y="114921"/>
                      </a:cubicBezTo>
                      <a:close/>
                    </a:path>
                  </a:pathLst>
                </a:custGeom>
                <a:solidFill>
                  <a:schemeClr val="accent1"/>
                </a:solidFill>
                <a:ln w="9525" cap="flat">
                  <a:noFill/>
                  <a:prstDash val="solid"/>
                  <a:miter/>
                </a:ln>
              </p:spPr>
              <p:txBody>
                <a:bodyPr rtlCol="0" anchor="ctr"/>
                <a:lstStyle/>
                <a:p>
                  <a:endParaRPr lang="zh-CN" altLang="en-US"/>
                </a:p>
              </p:txBody>
            </p:sp>
          </p:grpSp>
        </p:grpSp>
        <p:sp>
          <p:nvSpPr>
            <p:cNvPr id="90" name="í$ļîḍè"/>
            <p:cNvSpPr txBox="1"/>
            <p:nvPr/>
          </p:nvSpPr>
          <p:spPr>
            <a:xfrm>
              <a:off x="650695" y="1454036"/>
              <a:ext cx="10407486" cy="584775"/>
            </a:xfrm>
            <a:prstGeom prst="rect">
              <a:avLst/>
            </a:prstGeom>
            <a:noFill/>
          </p:spPr>
          <p:txBody>
            <a:bodyPr wrap="square" rtlCol="0">
              <a:spAutoFit/>
            </a:bodyPr>
            <a:lstStyle/>
            <a:p>
              <a:pPr algn="ctr"/>
              <a:r>
                <a:rPr lang="en-US" altLang="zh-CN" sz="3200" b="1" dirty="0">
                  <a:latin typeface="Arial" panose="020B0604020202090204" pitchFamily="34" charset="0"/>
                  <a:ea typeface="华文楷体" panose="02010600040101010101" pitchFamily="2" charset="-122"/>
                </a:rPr>
                <a:t>Unified fonts make reading more fluent.</a:t>
              </a:r>
              <a:endParaRPr lang="en-US" altLang="zh-CN" sz="3200" b="1" dirty="0">
                <a:latin typeface="Arial" panose="020B0604020202090204" pitchFamily="34" charset="0"/>
                <a:ea typeface="华文楷体" panose="02010600040101010101" pitchFamily="2" charset="-122"/>
              </a:endParaRPr>
            </a:p>
          </p:txBody>
        </p:sp>
        <p:sp>
          <p:nvSpPr>
            <p:cNvPr id="93" name="î$ļîḍe"/>
            <p:cNvSpPr txBox="1"/>
            <p:nvPr/>
          </p:nvSpPr>
          <p:spPr>
            <a:xfrm>
              <a:off x="4216400" y="4060732"/>
              <a:ext cx="3759200" cy="600164"/>
            </a:xfrm>
            <a:prstGeom prst="rect">
              <a:avLst/>
            </a:prstGeom>
            <a:noFill/>
          </p:spPr>
          <p:txBody>
            <a:bodyPr wrap="square" rtlCol="0">
              <a:spAutoFit/>
            </a:bodyPr>
            <a:lstStyle/>
            <a:p>
              <a:pPr algn="ctr"/>
              <a:r>
                <a:rPr lang="en-US" altLang="zh-CN" sz="1100" dirty="0">
                  <a:solidFill>
                    <a:schemeClr val="bg1">
                      <a:lumMod val="50000"/>
                    </a:schemeClr>
                  </a:solidFill>
                  <a:latin typeface="Arial" panose="020B0604020202090204" pitchFamily="34" charset="0"/>
                  <a:ea typeface="华文楷体" panose="02010600040101010101" pitchFamily="2" charset="-122"/>
                </a:rPr>
                <a:t>Theme color makes PPT more convenient to change. </a:t>
              </a:r>
              <a:endParaRPr lang="en-US" altLang="zh-CN" sz="1100" dirty="0">
                <a:solidFill>
                  <a:schemeClr val="bg1">
                    <a:lumMod val="50000"/>
                  </a:schemeClr>
                </a:solidFill>
                <a:latin typeface="Arial" panose="020B0604020202090204" pitchFamily="34" charset="0"/>
                <a:ea typeface="华文楷体" panose="02010600040101010101" pitchFamily="2" charset="-122"/>
              </a:endParaRPr>
            </a:p>
            <a:p>
              <a:pPr algn="ctr"/>
              <a:r>
                <a:rPr lang="en-US" altLang="zh-CN" sz="1100" dirty="0">
                  <a:solidFill>
                    <a:schemeClr val="bg1">
                      <a:lumMod val="50000"/>
                    </a:schemeClr>
                  </a:solidFill>
                  <a:latin typeface="Arial" panose="020B0604020202090204" pitchFamily="34" charset="0"/>
                  <a:ea typeface="华文楷体" panose="02010600040101010101" pitchFamily="2" charset="-122"/>
                </a:rPr>
                <a:t>Adjust the spacing to adapt to Chinese typesetting, use the reference line in PPT……</a:t>
              </a:r>
              <a:endParaRPr lang="en-US" altLang="zh-CN" sz="1100" dirty="0">
                <a:solidFill>
                  <a:schemeClr val="bg1">
                    <a:lumMod val="50000"/>
                  </a:schemeClr>
                </a:solidFill>
                <a:latin typeface="Arial" panose="020B0604020202090204" pitchFamily="34" charset="0"/>
                <a:ea typeface="华文楷体" panose="02010600040101010101" pitchFamily="2" charset="-122"/>
              </a:endParaRPr>
            </a:p>
          </p:txBody>
        </p:sp>
      </p:grpSp>
      <p:sp>
        <p:nvSpPr>
          <p:cNvPr id="3" name="标题 2"/>
          <p:cNvSpPr>
            <a:spLocks noGrp="1"/>
          </p:cNvSpPr>
          <p:nvPr>
            <p:ph type="title"/>
          </p:nvPr>
        </p:nvSpPr>
        <p:spPr/>
        <p:txBody>
          <a:bodyPr/>
          <a:lstStyle/>
          <a:p>
            <a:endParaRPr lang="zh-CN" altLang="en-US"/>
          </a:p>
        </p:txBody>
      </p:sp>
    </p:spTree>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ï$lide"/>
        <p:cNvGrpSpPr/>
        <p:nvPr/>
      </p:nvGrpSpPr>
      <p:grpSpPr>
        <a:xfrm>
          <a:off x="0" y="0"/>
          <a:ext cx="0" cy="0"/>
          <a:chOff x="0" y="0"/>
          <a:chExt cx="0" cy="0"/>
        </a:xfrm>
      </p:grpSpPr>
      <p:grpSp>
        <p:nvGrpSpPr>
          <p:cNvPr id="2" name="ïṩḷiḓé"/>
          <p:cNvGrpSpPr/>
          <p:nvPr/>
        </p:nvGrpSpPr>
        <p:grpSpPr>
          <a:xfrm>
            <a:off x="782218" y="1736058"/>
            <a:ext cx="10736682" cy="4378163"/>
            <a:chOff x="782218" y="1736058"/>
            <a:chExt cx="10736682" cy="4378163"/>
          </a:xfrm>
        </p:grpSpPr>
        <p:sp>
          <p:nvSpPr>
            <p:cNvPr id="83" name="íṣ1íďè"/>
            <p:cNvSpPr/>
            <p:nvPr/>
          </p:nvSpPr>
          <p:spPr>
            <a:xfrm rot="7229594">
              <a:off x="799554" y="1932763"/>
              <a:ext cx="3847215" cy="3881888"/>
            </a:xfrm>
            <a:prstGeom prst="arc">
              <a:avLst>
                <a:gd name="adj1" fmla="val 16200000"/>
                <a:gd name="adj2" fmla="val 12111527"/>
              </a:avLst>
            </a:prstGeom>
            <a:ln w="114300" cap="rnd">
              <a:gradFill>
                <a:gsLst>
                  <a:gs pos="100000">
                    <a:schemeClr val="accent3">
                      <a:lumMod val="60000"/>
                      <a:lumOff val="40000"/>
                      <a:alpha val="60000"/>
                    </a:schemeClr>
                  </a:gs>
                  <a:gs pos="20000">
                    <a:schemeClr val="accent3"/>
                  </a:gs>
                </a:gsLst>
                <a:lin ang="12000000" scaled="0"/>
              </a:gradFill>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85" name="iṥľîḍê"/>
            <p:cNvSpPr/>
            <p:nvPr/>
          </p:nvSpPr>
          <p:spPr>
            <a:xfrm rot="16200000">
              <a:off x="1191943" y="2331052"/>
              <a:ext cx="3050466" cy="3077959"/>
            </a:xfrm>
            <a:prstGeom prst="arc">
              <a:avLst>
                <a:gd name="adj1" fmla="val 16200000"/>
                <a:gd name="adj2" fmla="val 12111527"/>
              </a:avLst>
            </a:prstGeom>
            <a:ln w="114300" cap="rnd">
              <a:gradFill>
                <a:gsLst>
                  <a:gs pos="100000">
                    <a:schemeClr val="accent4">
                      <a:lumMod val="60000"/>
                      <a:lumOff val="40000"/>
                      <a:alpha val="60000"/>
                    </a:schemeClr>
                  </a:gs>
                  <a:gs pos="20000">
                    <a:schemeClr val="accent4"/>
                  </a:gs>
                </a:gsLst>
                <a:lin ang="12000000" scaled="0"/>
              </a:gradFill>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87" name="ïšlïḋé"/>
            <p:cNvSpPr/>
            <p:nvPr/>
          </p:nvSpPr>
          <p:spPr>
            <a:xfrm rot="21158936">
              <a:off x="1549117" y="2710831"/>
              <a:ext cx="2290266" cy="2290266"/>
            </a:xfrm>
            <a:prstGeom prst="arc">
              <a:avLst>
                <a:gd name="adj1" fmla="val 16200000"/>
                <a:gd name="adj2" fmla="val 10139600"/>
              </a:avLst>
            </a:prstGeom>
            <a:ln w="114300" cap="rnd">
              <a:gradFill>
                <a:gsLst>
                  <a:gs pos="100000">
                    <a:schemeClr val="accent5">
                      <a:lumMod val="60000"/>
                      <a:lumOff val="40000"/>
                      <a:alpha val="60000"/>
                    </a:schemeClr>
                  </a:gs>
                  <a:gs pos="20000">
                    <a:schemeClr val="accent5"/>
                  </a:gs>
                </a:gsLst>
                <a:lin ang="12000000" scaled="0"/>
              </a:gradFill>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89" name="îṡḻiďé"/>
            <p:cNvSpPr/>
            <p:nvPr/>
          </p:nvSpPr>
          <p:spPr>
            <a:xfrm rot="18487588">
              <a:off x="2009570" y="3160982"/>
              <a:ext cx="1390253" cy="1402785"/>
            </a:xfrm>
            <a:prstGeom prst="arc">
              <a:avLst>
                <a:gd name="adj1" fmla="val 16200000"/>
                <a:gd name="adj2" fmla="val 12111527"/>
              </a:avLst>
            </a:prstGeom>
            <a:ln w="114300" cap="rnd">
              <a:gradFill>
                <a:gsLst>
                  <a:gs pos="100000">
                    <a:schemeClr val="accent6">
                      <a:lumMod val="60000"/>
                      <a:lumOff val="40000"/>
                      <a:alpha val="60000"/>
                    </a:schemeClr>
                  </a:gs>
                  <a:gs pos="20000">
                    <a:schemeClr val="accent6"/>
                  </a:gs>
                </a:gsLst>
                <a:lin ang="12000000" scaled="0"/>
              </a:gradFill>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cxnSp>
          <p:nvCxnSpPr>
            <p:cNvPr id="17" name="iSļíḑè"/>
            <p:cNvCxnSpPr/>
            <p:nvPr/>
          </p:nvCxnSpPr>
          <p:spPr>
            <a:xfrm>
              <a:off x="2763820" y="1941255"/>
              <a:ext cx="3860602" cy="0"/>
            </a:xfrm>
            <a:prstGeom prst="line">
              <a:avLst/>
            </a:prstGeom>
            <a:ln w="6350">
              <a:solidFill>
                <a:schemeClr val="bg1">
                  <a:lumMod val="85000"/>
                </a:schemeClr>
              </a:solidFill>
              <a:prstDash val="solid"/>
              <a:headEnd type="oval"/>
              <a:tailEnd type="oval"/>
            </a:ln>
          </p:spPr>
          <p:style>
            <a:lnRef idx="1">
              <a:schemeClr val="accent1"/>
            </a:lnRef>
            <a:fillRef idx="0">
              <a:schemeClr val="accent1"/>
            </a:fillRef>
            <a:effectRef idx="0">
              <a:schemeClr val="accent1"/>
            </a:effectRef>
            <a:fontRef idx="minor">
              <a:schemeClr val="tx1"/>
            </a:fontRef>
          </p:style>
        </p:cxnSp>
        <p:cxnSp>
          <p:nvCxnSpPr>
            <p:cNvPr id="22" name="íšḻiḋè"/>
            <p:cNvCxnSpPr/>
            <p:nvPr/>
          </p:nvCxnSpPr>
          <p:spPr>
            <a:xfrm rot="10800000" flipH="1" flipV="1">
              <a:off x="2763463" y="2339119"/>
              <a:ext cx="3860959" cy="846085"/>
            </a:xfrm>
            <a:prstGeom prst="bentConnector3">
              <a:avLst>
                <a:gd name="adj1" fmla="val 50000"/>
              </a:avLst>
            </a:prstGeom>
            <a:ln w="6350" cmpd="sng">
              <a:solidFill>
                <a:schemeClr val="bg1">
                  <a:lumMod val="85000"/>
                </a:schemeClr>
              </a:solidFill>
              <a:prstDash val="solid"/>
              <a:headEnd type="oval"/>
              <a:tailEnd type="oval"/>
            </a:ln>
          </p:spPr>
          <p:style>
            <a:lnRef idx="1">
              <a:schemeClr val="accent1"/>
            </a:lnRef>
            <a:fillRef idx="0">
              <a:schemeClr val="accent1"/>
            </a:fillRef>
            <a:effectRef idx="0">
              <a:schemeClr val="accent1"/>
            </a:effectRef>
            <a:fontRef idx="minor">
              <a:schemeClr val="tx1"/>
            </a:fontRef>
          </p:style>
        </p:cxnSp>
        <p:cxnSp>
          <p:nvCxnSpPr>
            <p:cNvPr id="23" name="íşḻîḓe"/>
            <p:cNvCxnSpPr/>
            <p:nvPr/>
          </p:nvCxnSpPr>
          <p:spPr>
            <a:xfrm rot="10800000" flipH="1" flipV="1">
              <a:off x="2763820" y="2705222"/>
              <a:ext cx="3860601" cy="1549199"/>
            </a:xfrm>
            <a:prstGeom prst="bentConnector3">
              <a:avLst>
                <a:gd name="adj1" fmla="val 43939"/>
              </a:avLst>
            </a:prstGeom>
            <a:ln w="6350" cmpd="sng">
              <a:solidFill>
                <a:schemeClr val="bg1">
                  <a:lumMod val="85000"/>
                </a:schemeClr>
              </a:solidFill>
              <a:prstDash val="solid"/>
              <a:headEnd type="oval"/>
              <a:tailEnd type="oval"/>
            </a:ln>
          </p:spPr>
          <p:style>
            <a:lnRef idx="1">
              <a:schemeClr val="accent1"/>
            </a:lnRef>
            <a:fillRef idx="0">
              <a:schemeClr val="accent1"/>
            </a:fillRef>
            <a:effectRef idx="0">
              <a:schemeClr val="accent1"/>
            </a:effectRef>
            <a:fontRef idx="minor">
              <a:schemeClr val="tx1"/>
            </a:fontRef>
          </p:style>
        </p:cxnSp>
        <p:cxnSp>
          <p:nvCxnSpPr>
            <p:cNvPr id="24" name="ïşḻïḑe"/>
            <p:cNvCxnSpPr/>
            <p:nvPr/>
          </p:nvCxnSpPr>
          <p:spPr>
            <a:xfrm rot="10800000" flipH="1" flipV="1">
              <a:off x="2763819" y="3161412"/>
              <a:ext cx="3860603" cy="2200979"/>
            </a:xfrm>
            <a:prstGeom prst="bentConnector3">
              <a:avLst>
                <a:gd name="adj1" fmla="val 36296"/>
              </a:avLst>
            </a:prstGeom>
            <a:ln w="6350" cmpd="sng">
              <a:solidFill>
                <a:schemeClr val="bg1">
                  <a:lumMod val="85000"/>
                </a:schemeClr>
              </a:solidFill>
              <a:prstDash val="solid"/>
              <a:headEnd type="oval"/>
              <a:tailEnd type="oval"/>
            </a:ln>
          </p:spPr>
          <p:style>
            <a:lnRef idx="1">
              <a:schemeClr val="accent1"/>
            </a:lnRef>
            <a:fillRef idx="0">
              <a:schemeClr val="accent1"/>
            </a:fillRef>
            <a:effectRef idx="0">
              <a:schemeClr val="accent1"/>
            </a:effectRef>
            <a:fontRef idx="minor">
              <a:schemeClr val="tx1"/>
            </a:fontRef>
          </p:style>
        </p:cxnSp>
        <p:grpSp>
          <p:nvGrpSpPr>
            <p:cNvPr id="104" name="ísļïdê"/>
            <p:cNvGrpSpPr/>
            <p:nvPr/>
          </p:nvGrpSpPr>
          <p:grpSpPr>
            <a:xfrm>
              <a:off x="7008112" y="1736058"/>
              <a:ext cx="4510788" cy="969164"/>
              <a:chOff x="7877083" y="1318786"/>
              <a:chExt cx="3641817" cy="969164"/>
            </a:xfrm>
          </p:grpSpPr>
          <p:sp>
            <p:nvSpPr>
              <p:cNvPr id="25" name="îṩḻïdê"/>
              <p:cNvSpPr txBox="1"/>
              <p:nvPr/>
            </p:nvSpPr>
            <p:spPr>
              <a:xfrm>
                <a:off x="7877083" y="1318786"/>
                <a:ext cx="3641817" cy="392512"/>
              </a:xfrm>
              <a:prstGeom prst="rect">
                <a:avLst/>
              </a:prstGeom>
              <a:noFill/>
              <a:ln>
                <a:noFill/>
              </a:ln>
            </p:spPr>
            <p:txBody>
              <a:bodyPr wrap="square" lIns="91440" tIns="45720" rIns="91440" bIns="45720" anchor="t" anchorCtr="0">
                <a:normAutofit lnSpcReduction="10000"/>
              </a:bodyPr>
              <a:lstStyle/>
              <a:p>
                <a:pPr marL="0" marR="0" lvl="0" indent="0" algn="l" defTabSz="913765" rtl="0" eaLnBrk="1" fontAlgn="auto" latinLnBrk="0" hangingPunct="1">
                  <a:lnSpc>
                    <a:spcPct val="100000"/>
                  </a:lnSpc>
                  <a:spcBef>
                    <a:spcPts val="0"/>
                  </a:spcBef>
                  <a:spcAft>
                    <a:spcPts val="0"/>
                  </a:spcAft>
                  <a:buClrTx/>
                  <a:buSzPct val="25000"/>
                  <a:buFontTx/>
                  <a:buNone/>
                  <a:defRPr/>
                </a:pPr>
                <a:r>
                  <a:rPr kumimoji="0" lang="de-DE" sz="2000" b="1" i="0" u="none" strike="noStrike" kern="1200" cap="none" spc="0" normalizeH="0" baseline="0" noProof="0" dirty="0">
                    <a:ln>
                      <a:noFill/>
                    </a:ln>
                    <a:solidFill>
                      <a:srgbClr val="000000"/>
                    </a:solidFill>
                    <a:effectLst/>
                    <a:uLnTx/>
                    <a:uFillTx/>
                    <a:latin typeface="Arial" panose="020B0604020202090204" pitchFamily="34" charset="0"/>
                    <a:ea typeface="华文楷体" panose="02010600040101010101" pitchFamily="2" charset="-122"/>
                  </a:rPr>
                  <a:t>Te</a:t>
                </a:r>
                <a:r>
                  <a:rPr kumimoji="0" lang="de-DE" sz="100" b="1" i="0" u="none" strike="noStrike" kern="1200" cap="none" spc="0" normalizeH="0" baseline="0" noProof="0" dirty="0">
                    <a:ln>
                      <a:noFill/>
                    </a:ln>
                    <a:solidFill>
                      <a:srgbClr val="000000"/>
                    </a:solidFill>
                    <a:effectLst/>
                    <a:uLnTx/>
                    <a:uFillTx/>
                    <a:latin typeface="Arial" panose="020B0604020202090204" pitchFamily="34" charset="0"/>
                    <a:ea typeface="华文楷体" panose="02010600040101010101" pitchFamily="2" charset="-122"/>
                  </a:rPr>
                  <a:t> </a:t>
                </a:r>
                <a:r>
                  <a:rPr kumimoji="0" lang="de-DE" sz="2000" b="1" i="0" u="none" strike="noStrike" kern="1200" cap="none" spc="0" normalizeH="0" baseline="0" noProof="0" dirty="0">
                    <a:ln>
                      <a:noFill/>
                    </a:ln>
                    <a:solidFill>
                      <a:srgbClr val="000000"/>
                    </a:solidFill>
                    <a:effectLst/>
                    <a:uLnTx/>
                    <a:uFillTx/>
                    <a:latin typeface="Arial" panose="020B0604020202090204" pitchFamily="34" charset="0"/>
                    <a:ea typeface="华文楷体" panose="02010600040101010101" pitchFamily="2" charset="-122"/>
                  </a:rPr>
                  <a:t>xt here</a:t>
                </a:r>
                <a:endParaRPr kumimoji="0" lang="de-DE" sz="2000" b="1" i="0" u="none" strike="noStrike" kern="1200" cap="none" spc="0" normalizeH="0" baseline="0" noProof="0" dirty="0">
                  <a:ln>
                    <a:noFill/>
                  </a:ln>
                  <a:solidFill>
                    <a:srgbClr val="000000"/>
                  </a:solidFill>
                  <a:effectLst/>
                  <a:uLnTx/>
                  <a:uFillTx/>
                  <a:latin typeface="Arial" panose="020B0604020202090204" pitchFamily="34" charset="0"/>
                  <a:ea typeface="华文楷体" panose="02010600040101010101" pitchFamily="2" charset="-122"/>
                </a:endParaRPr>
              </a:p>
            </p:txBody>
          </p:sp>
          <p:sp>
            <p:nvSpPr>
              <p:cNvPr id="26" name="îṩľîďê"/>
              <p:cNvSpPr txBox="1"/>
              <p:nvPr/>
            </p:nvSpPr>
            <p:spPr>
              <a:xfrm>
                <a:off x="7877083" y="1663032"/>
                <a:ext cx="3641817" cy="624918"/>
              </a:xfrm>
              <a:prstGeom prst="rect">
                <a:avLst/>
              </a:prstGeom>
              <a:noFill/>
              <a:ln>
                <a:noFill/>
              </a:ln>
            </p:spPr>
            <p:txBody>
              <a:bodyPr wrap="square" lIns="91440" tIns="45720" rIns="91440" bIns="45720" anchor="t" anchorCtr="0">
                <a:normAutofit/>
              </a:bodyPr>
              <a:lstStyle/>
              <a:p>
                <a:pPr marL="0" marR="0" lvl="0" indent="0" algn="l" defTabSz="913765" rtl="0" eaLnBrk="1" fontAlgn="auto" latinLnBrk="0" hangingPunct="1">
                  <a:lnSpc>
                    <a:spcPct val="150000"/>
                  </a:lnSpc>
                  <a:spcBef>
                    <a:spcPts val="0"/>
                  </a:spcBef>
                  <a:spcAft>
                    <a:spcPts val="0"/>
                  </a:spcAft>
                  <a:buClrTx/>
                  <a:buSzPct val="25000"/>
                  <a:buFontTx/>
                  <a:buNone/>
                  <a:defRPr/>
                </a:pPr>
                <a:r>
                  <a:rPr kumimoji="0" lang="en-US" sz="1000" b="0" i="0" u="none" strike="noStrike" kern="1200" cap="none" spc="0" normalizeH="0" baseline="0" noProof="0" dirty="0">
                    <a:ln>
                      <a:noFill/>
                    </a:ln>
                    <a:solidFill>
                      <a:srgbClr val="000000"/>
                    </a:solidFill>
                    <a:effectLst/>
                    <a:uLnTx/>
                    <a:uFillTx/>
                    <a:latin typeface="Arial" panose="020B0604020202090204" pitchFamily="34" charset="0"/>
                    <a:ea typeface="华文楷体" panose="02010600040101010101" pitchFamily="2" charset="-122"/>
                  </a:rPr>
                  <a:t>Copy past e fonts. Choose the only option to retain text.…</a:t>
                </a:r>
                <a:r>
                  <a:rPr kumimoji="0" lang="de-DE" sz="1000" b="0" i="0" u="none" strike="noStrike" kern="1200" cap="none" spc="0" normalizeH="0" baseline="0" noProof="0" dirty="0">
                    <a:ln>
                      <a:noFill/>
                    </a:ln>
                    <a:solidFill>
                      <a:srgbClr val="000000"/>
                    </a:solidFill>
                    <a:effectLst/>
                    <a:uLnTx/>
                    <a:uFillTx/>
                    <a:latin typeface="Arial" panose="020B0604020202090204" pitchFamily="34" charset="0"/>
                    <a:ea typeface="华文楷体" panose="02010600040101010101" pitchFamily="2" charset="-122"/>
                  </a:rPr>
                  <a:t>.</a:t>
                </a:r>
                <a:endParaRPr kumimoji="0" lang="de-DE" sz="1000" b="0" i="0" u="none" strike="noStrike" kern="1200" cap="none" spc="0" normalizeH="0" baseline="0" noProof="0" dirty="0">
                  <a:ln>
                    <a:noFill/>
                  </a:ln>
                  <a:solidFill>
                    <a:srgbClr val="000000"/>
                  </a:solidFill>
                  <a:effectLst/>
                  <a:uLnTx/>
                  <a:uFillTx/>
                  <a:latin typeface="Arial" panose="020B0604020202090204" pitchFamily="34" charset="0"/>
                  <a:ea typeface="华文楷体" panose="02010600040101010101" pitchFamily="2" charset="-122"/>
                </a:endParaRPr>
              </a:p>
            </p:txBody>
          </p:sp>
        </p:grpSp>
        <p:grpSp>
          <p:nvGrpSpPr>
            <p:cNvPr id="67" name="ïşḷídê"/>
            <p:cNvGrpSpPr/>
            <p:nvPr/>
          </p:nvGrpSpPr>
          <p:grpSpPr>
            <a:xfrm>
              <a:off x="6481812" y="1736058"/>
              <a:ext cx="410200" cy="410198"/>
              <a:chOff x="6844265" y="4734713"/>
              <a:chExt cx="410200" cy="410198"/>
            </a:xfrm>
          </p:grpSpPr>
          <p:sp>
            <p:nvSpPr>
              <p:cNvPr id="68" name="íSľiḋe"/>
              <p:cNvSpPr/>
              <p:nvPr/>
            </p:nvSpPr>
            <p:spPr>
              <a:xfrm>
                <a:off x="6844265" y="4734713"/>
                <a:ext cx="410200" cy="410198"/>
              </a:xfrm>
              <a:prstGeom prst="ellipse">
                <a:avLst/>
              </a:prstGeom>
              <a:gradFill>
                <a:gsLst>
                  <a:gs pos="0">
                    <a:schemeClr val="accent3">
                      <a:lumMod val="60000"/>
                      <a:lumOff val="40000"/>
                    </a:schemeClr>
                  </a:gs>
                  <a:gs pos="60000">
                    <a:schemeClr val="accent3"/>
                  </a:gs>
                </a:gsLst>
                <a:lin ang="2700000" scaled="0"/>
              </a:gradFill>
              <a:ln w="57150" cap="rnd">
                <a:noFill/>
                <a:prstDash val="solid"/>
                <a:round/>
              </a:ln>
              <a:effectLst>
                <a:outerShdw blurRad="50800" dist="50800" dir="5400000" algn="ctr" rotWithShape="0">
                  <a:schemeClr val="accent3">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775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3765"/>
                <a:endParaRPr lang="zh-CN" altLang="en-US" sz="2000" b="1" dirty="0">
                  <a:solidFill>
                    <a:schemeClr val="bg1"/>
                  </a:solidFill>
                </a:endParaRPr>
              </a:p>
            </p:txBody>
          </p:sp>
          <p:sp>
            <p:nvSpPr>
              <p:cNvPr id="69" name="ïṣḻîḋé"/>
              <p:cNvSpPr/>
              <p:nvPr/>
            </p:nvSpPr>
            <p:spPr>
              <a:xfrm>
                <a:off x="6960365" y="4868892"/>
                <a:ext cx="178001" cy="148188"/>
              </a:xfrm>
              <a:custGeom>
                <a:avLst/>
                <a:gdLst>
                  <a:gd name="connsiteX0" fmla="*/ 483573 w 526297"/>
                  <a:gd name="connsiteY0" fmla="*/ 133971 h 438150"/>
                  <a:gd name="connsiteX1" fmla="*/ 527674 w 526297"/>
                  <a:gd name="connsiteY1" fmla="*/ 178072 h 438150"/>
                  <a:gd name="connsiteX2" fmla="*/ 527579 w 526297"/>
                  <a:gd name="connsiteY2" fmla="*/ 181501 h 438150"/>
                  <a:gd name="connsiteX3" fmla="*/ 514244 w 526297"/>
                  <a:gd name="connsiteY3" fmla="*/ 355237 h 438150"/>
                  <a:gd name="connsiteX4" fmla="*/ 485764 w 526297"/>
                  <a:gd name="connsiteY4" fmla="*/ 381621 h 438150"/>
                  <a:gd name="connsiteX5" fmla="*/ 454998 w 526297"/>
                  <a:gd name="connsiteY5" fmla="*/ 381621 h 438150"/>
                  <a:gd name="connsiteX6" fmla="*/ 454998 w 526297"/>
                  <a:gd name="connsiteY6" fmla="*/ 438771 h 438150"/>
                  <a:gd name="connsiteX7" fmla="*/ 435948 w 526297"/>
                  <a:gd name="connsiteY7" fmla="*/ 438771 h 438150"/>
                  <a:gd name="connsiteX8" fmla="*/ 435948 w 526297"/>
                  <a:gd name="connsiteY8" fmla="*/ 381621 h 438150"/>
                  <a:gd name="connsiteX9" fmla="*/ 93048 w 526297"/>
                  <a:gd name="connsiteY9" fmla="*/ 381621 h 438150"/>
                  <a:gd name="connsiteX10" fmla="*/ 93048 w 526297"/>
                  <a:gd name="connsiteY10" fmla="*/ 438771 h 438150"/>
                  <a:gd name="connsiteX11" fmla="*/ 73998 w 526297"/>
                  <a:gd name="connsiteY11" fmla="*/ 438771 h 438150"/>
                  <a:gd name="connsiteX12" fmla="*/ 73998 w 526297"/>
                  <a:gd name="connsiteY12" fmla="*/ 381621 h 438150"/>
                  <a:gd name="connsiteX13" fmla="*/ 43328 w 526297"/>
                  <a:gd name="connsiteY13" fmla="*/ 381621 h 438150"/>
                  <a:gd name="connsiteX14" fmla="*/ 14848 w 526297"/>
                  <a:gd name="connsiteY14" fmla="*/ 355237 h 438150"/>
                  <a:gd name="connsiteX15" fmla="*/ 1513 w 526297"/>
                  <a:gd name="connsiteY15" fmla="*/ 181501 h 438150"/>
                  <a:gd name="connsiteX16" fmla="*/ 42089 w 526297"/>
                  <a:gd name="connsiteY16" fmla="*/ 134162 h 438150"/>
                  <a:gd name="connsiteX17" fmla="*/ 45518 w 526297"/>
                  <a:gd name="connsiteY17" fmla="*/ 134066 h 438150"/>
                  <a:gd name="connsiteX18" fmla="*/ 101906 w 526297"/>
                  <a:gd name="connsiteY18" fmla="*/ 180834 h 438150"/>
                  <a:gd name="connsiteX19" fmla="*/ 121623 w 526297"/>
                  <a:gd name="connsiteY19" fmla="*/ 286371 h 438150"/>
                  <a:gd name="connsiteX20" fmla="*/ 407373 w 526297"/>
                  <a:gd name="connsiteY20" fmla="*/ 286371 h 438150"/>
                  <a:gd name="connsiteX21" fmla="*/ 427185 w 526297"/>
                  <a:gd name="connsiteY21" fmla="*/ 180739 h 438150"/>
                  <a:gd name="connsiteX22" fmla="*/ 483573 w 526297"/>
                  <a:gd name="connsiteY22" fmla="*/ 133971 h 438150"/>
                  <a:gd name="connsiteX23" fmla="*/ 416898 w 526297"/>
                  <a:gd name="connsiteY23" fmla="*/ 621 h 438150"/>
                  <a:gd name="connsiteX24" fmla="*/ 483573 w 526297"/>
                  <a:gd name="connsiteY24" fmla="*/ 67296 h 438150"/>
                  <a:gd name="connsiteX25" fmla="*/ 483573 w 526297"/>
                  <a:gd name="connsiteY25" fmla="*/ 115397 h 438150"/>
                  <a:gd name="connsiteX26" fmla="*/ 476429 w 526297"/>
                  <a:gd name="connsiteY26" fmla="*/ 114921 h 438150"/>
                  <a:gd name="connsiteX27" fmla="*/ 412040 w 526297"/>
                  <a:gd name="connsiteY27" fmla="*/ 166451 h 438150"/>
                  <a:gd name="connsiteX28" fmla="*/ 411564 w 526297"/>
                  <a:gd name="connsiteY28" fmla="*/ 168737 h 438150"/>
                  <a:gd name="connsiteX29" fmla="*/ 393086 w 526297"/>
                  <a:gd name="connsiteY29" fmla="*/ 267321 h 438150"/>
                  <a:gd name="connsiteX30" fmla="*/ 135911 w 526297"/>
                  <a:gd name="connsiteY30" fmla="*/ 267321 h 438150"/>
                  <a:gd name="connsiteX31" fmla="*/ 117432 w 526297"/>
                  <a:gd name="connsiteY31" fmla="*/ 168737 h 438150"/>
                  <a:gd name="connsiteX32" fmla="*/ 52567 w 526297"/>
                  <a:gd name="connsiteY32" fmla="*/ 114921 h 438150"/>
                  <a:gd name="connsiteX33" fmla="*/ 54948 w 526297"/>
                  <a:gd name="connsiteY33" fmla="*/ 67296 h 438150"/>
                  <a:gd name="connsiteX34" fmla="*/ 121623 w 526297"/>
                  <a:gd name="connsiteY34" fmla="*/ 621 h 438150"/>
                  <a:gd name="connsiteX35" fmla="*/ 416898 w 526297"/>
                  <a:gd name="connsiteY35" fmla="*/ 621 h 43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526297" h="438150">
                    <a:moveTo>
                      <a:pt x="483573" y="133971"/>
                    </a:moveTo>
                    <a:cubicBezTo>
                      <a:pt x="507957" y="133971"/>
                      <a:pt x="527674" y="153688"/>
                      <a:pt x="527674" y="178072"/>
                    </a:cubicBezTo>
                    <a:cubicBezTo>
                      <a:pt x="527674" y="179215"/>
                      <a:pt x="527674" y="180358"/>
                      <a:pt x="527579" y="181501"/>
                    </a:cubicBezTo>
                    <a:lnTo>
                      <a:pt x="514244" y="355237"/>
                    </a:lnTo>
                    <a:cubicBezTo>
                      <a:pt x="513101" y="370096"/>
                      <a:pt x="500718" y="381621"/>
                      <a:pt x="485764" y="381621"/>
                    </a:cubicBezTo>
                    <a:lnTo>
                      <a:pt x="454998" y="381621"/>
                    </a:lnTo>
                    <a:lnTo>
                      <a:pt x="454998" y="438771"/>
                    </a:lnTo>
                    <a:lnTo>
                      <a:pt x="435948" y="438771"/>
                    </a:lnTo>
                    <a:lnTo>
                      <a:pt x="435948" y="381621"/>
                    </a:lnTo>
                    <a:lnTo>
                      <a:pt x="93048" y="381621"/>
                    </a:lnTo>
                    <a:lnTo>
                      <a:pt x="93048" y="438771"/>
                    </a:lnTo>
                    <a:lnTo>
                      <a:pt x="73998" y="438771"/>
                    </a:lnTo>
                    <a:lnTo>
                      <a:pt x="73998" y="381621"/>
                    </a:lnTo>
                    <a:lnTo>
                      <a:pt x="43328" y="381621"/>
                    </a:lnTo>
                    <a:cubicBezTo>
                      <a:pt x="28373" y="381621"/>
                      <a:pt x="15991" y="370096"/>
                      <a:pt x="14848" y="355237"/>
                    </a:cubicBezTo>
                    <a:lnTo>
                      <a:pt x="1513" y="181501"/>
                    </a:lnTo>
                    <a:cubicBezTo>
                      <a:pt x="-392" y="157212"/>
                      <a:pt x="17801" y="135971"/>
                      <a:pt x="42089" y="134162"/>
                    </a:cubicBezTo>
                    <a:cubicBezTo>
                      <a:pt x="43232" y="134066"/>
                      <a:pt x="44375" y="134066"/>
                      <a:pt x="45518" y="134066"/>
                    </a:cubicBezTo>
                    <a:cubicBezTo>
                      <a:pt x="73141" y="134066"/>
                      <a:pt x="96858" y="153688"/>
                      <a:pt x="101906" y="180834"/>
                    </a:cubicBezTo>
                    <a:lnTo>
                      <a:pt x="121623" y="286371"/>
                    </a:lnTo>
                    <a:lnTo>
                      <a:pt x="407373" y="286371"/>
                    </a:lnTo>
                    <a:lnTo>
                      <a:pt x="427185" y="180739"/>
                    </a:lnTo>
                    <a:cubicBezTo>
                      <a:pt x="432233" y="153592"/>
                      <a:pt x="455951" y="133971"/>
                      <a:pt x="483573" y="133971"/>
                    </a:cubicBezTo>
                    <a:close/>
                    <a:moveTo>
                      <a:pt x="416898" y="621"/>
                    </a:moveTo>
                    <a:cubicBezTo>
                      <a:pt x="453760" y="621"/>
                      <a:pt x="483573" y="30434"/>
                      <a:pt x="483573" y="67296"/>
                    </a:cubicBezTo>
                    <a:lnTo>
                      <a:pt x="483573" y="115397"/>
                    </a:lnTo>
                    <a:cubicBezTo>
                      <a:pt x="481192" y="115112"/>
                      <a:pt x="478811" y="114921"/>
                      <a:pt x="476429" y="114921"/>
                    </a:cubicBezTo>
                    <a:cubicBezTo>
                      <a:pt x="445473" y="114921"/>
                      <a:pt x="418803" y="136448"/>
                      <a:pt x="412040" y="166451"/>
                    </a:cubicBezTo>
                    <a:lnTo>
                      <a:pt x="411564" y="168737"/>
                    </a:lnTo>
                    <a:lnTo>
                      <a:pt x="393086" y="267321"/>
                    </a:lnTo>
                    <a:lnTo>
                      <a:pt x="135911" y="267321"/>
                    </a:lnTo>
                    <a:lnTo>
                      <a:pt x="117432" y="168737"/>
                    </a:lnTo>
                    <a:cubicBezTo>
                      <a:pt x="111622" y="137495"/>
                      <a:pt x="84285" y="114921"/>
                      <a:pt x="52567" y="114921"/>
                    </a:cubicBezTo>
                    <a:lnTo>
                      <a:pt x="54948" y="67296"/>
                    </a:lnTo>
                    <a:cubicBezTo>
                      <a:pt x="54948" y="30434"/>
                      <a:pt x="84761" y="621"/>
                      <a:pt x="121623" y="621"/>
                    </a:cubicBezTo>
                    <a:lnTo>
                      <a:pt x="416898" y="621"/>
                    </a:lnTo>
                    <a:close/>
                  </a:path>
                </a:pathLst>
              </a:custGeom>
              <a:solidFill>
                <a:schemeClr val="bg1"/>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2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endParaRPr>
              </a:p>
            </p:txBody>
          </p:sp>
        </p:grpSp>
        <p:grpSp>
          <p:nvGrpSpPr>
            <p:cNvPr id="70" name="i$ḷïdé"/>
            <p:cNvGrpSpPr/>
            <p:nvPr/>
          </p:nvGrpSpPr>
          <p:grpSpPr>
            <a:xfrm>
              <a:off x="6481812" y="2980106"/>
              <a:ext cx="410200" cy="410198"/>
              <a:chOff x="6844265" y="4734713"/>
              <a:chExt cx="410200" cy="410198"/>
            </a:xfrm>
          </p:grpSpPr>
          <p:sp>
            <p:nvSpPr>
              <p:cNvPr id="71" name="íŝḷíḓé"/>
              <p:cNvSpPr/>
              <p:nvPr/>
            </p:nvSpPr>
            <p:spPr>
              <a:xfrm>
                <a:off x="6844265" y="4734713"/>
                <a:ext cx="410200" cy="410198"/>
              </a:xfrm>
              <a:prstGeom prst="ellipse">
                <a:avLst/>
              </a:prstGeom>
              <a:gradFill>
                <a:gsLst>
                  <a:gs pos="0">
                    <a:schemeClr val="accent4">
                      <a:lumMod val="60000"/>
                      <a:lumOff val="40000"/>
                    </a:schemeClr>
                  </a:gs>
                  <a:gs pos="60000">
                    <a:schemeClr val="accent4"/>
                  </a:gs>
                </a:gsLst>
                <a:lin ang="2700000" scaled="0"/>
              </a:gradFill>
              <a:ln w="57150" cap="rnd">
                <a:noFill/>
                <a:prstDash val="solid"/>
                <a:round/>
              </a:ln>
              <a:effectLst>
                <a:outerShdw blurRad="50800" dist="50800" dir="5400000" algn="ctr" rotWithShape="0">
                  <a:schemeClr val="accent4">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775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3765"/>
                <a:endParaRPr lang="zh-CN" altLang="en-US" sz="2000" b="1" dirty="0">
                  <a:solidFill>
                    <a:schemeClr val="bg1"/>
                  </a:solidFill>
                </a:endParaRPr>
              </a:p>
            </p:txBody>
          </p:sp>
          <p:sp>
            <p:nvSpPr>
              <p:cNvPr id="72" name="íSḷiḍê"/>
              <p:cNvSpPr/>
              <p:nvPr/>
            </p:nvSpPr>
            <p:spPr>
              <a:xfrm>
                <a:off x="6960365" y="4875291"/>
                <a:ext cx="178001" cy="141741"/>
              </a:xfrm>
              <a:custGeom>
                <a:avLst/>
                <a:gdLst>
                  <a:gd name="connsiteX0" fmla="*/ 486767 w 514350"/>
                  <a:gd name="connsiteY0" fmla="*/ 621 h 409575"/>
                  <a:gd name="connsiteX1" fmla="*/ 515342 w 514350"/>
                  <a:gd name="connsiteY1" fmla="*/ 29196 h 409575"/>
                  <a:gd name="connsiteX2" fmla="*/ 515342 w 514350"/>
                  <a:gd name="connsiteY2" fmla="*/ 324471 h 409575"/>
                  <a:gd name="connsiteX3" fmla="*/ 486767 w 514350"/>
                  <a:gd name="connsiteY3" fmla="*/ 353046 h 409575"/>
                  <a:gd name="connsiteX4" fmla="*/ 192159 w 514350"/>
                  <a:gd name="connsiteY4" fmla="*/ 353046 h 409575"/>
                  <a:gd name="connsiteX5" fmla="*/ 115387 w 514350"/>
                  <a:gd name="connsiteY5" fmla="*/ 410196 h 409575"/>
                  <a:gd name="connsiteX6" fmla="*/ 115387 w 514350"/>
                  <a:gd name="connsiteY6" fmla="*/ 353046 h 409575"/>
                  <a:gd name="connsiteX7" fmla="*/ 29567 w 514350"/>
                  <a:gd name="connsiteY7" fmla="*/ 353046 h 409575"/>
                  <a:gd name="connsiteX8" fmla="*/ 992 w 514350"/>
                  <a:gd name="connsiteY8" fmla="*/ 324471 h 409575"/>
                  <a:gd name="connsiteX9" fmla="*/ 992 w 514350"/>
                  <a:gd name="connsiteY9" fmla="*/ 29196 h 409575"/>
                  <a:gd name="connsiteX10" fmla="*/ 29567 w 514350"/>
                  <a:gd name="connsiteY10" fmla="*/ 621 h 409575"/>
                  <a:gd name="connsiteX11" fmla="*/ 486767 w 514350"/>
                  <a:gd name="connsiteY11" fmla="*/ 621 h 409575"/>
                  <a:gd name="connsiteX12" fmla="*/ 124817 w 514350"/>
                  <a:gd name="connsiteY12" fmla="*/ 143496 h 409575"/>
                  <a:gd name="connsiteX13" fmla="*/ 91480 w 514350"/>
                  <a:gd name="connsiteY13" fmla="*/ 176834 h 409575"/>
                  <a:gd name="connsiteX14" fmla="*/ 124817 w 514350"/>
                  <a:gd name="connsiteY14" fmla="*/ 210171 h 409575"/>
                  <a:gd name="connsiteX15" fmla="*/ 158155 w 514350"/>
                  <a:gd name="connsiteY15" fmla="*/ 176834 h 409575"/>
                  <a:gd name="connsiteX16" fmla="*/ 124817 w 514350"/>
                  <a:gd name="connsiteY16" fmla="*/ 143496 h 409575"/>
                  <a:gd name="connsiteX17" fmla="*/ 258167 w 514350"/>
                  <a:gd name="connsiteY17" fmla="*/ 143496 h 409575"/>
                  <a:gd name="connsiteX18" fmla="*/ 224830 w 514350"/>
                  <a:gd name="connsiteY18" fmla="*/ 176834 h 409575"/>
                  <a:gd name="connsiteX19" fmla="*/ 258167 w 514350"/>
                  <a:gd name="connsiteY19" fmla="*/ 210171 h 409575"/>
                  <a:gd name="connsiteX20" fmla="*/ 291505 w 514350"/>
                  <a:gd name="connsiteY20" fmla="*/ 176834 h 409575"/>
                  <a:gd name="connsiteX21" fmla="*/ 258167 w 514350"/>
                  <a:gd name="connsiteY21" fmla="*/ 143496 h 409575"/>
                  <a:gd name="connsiteX22" fmla="*/ 391517 w 514350"/>
                  <a:gd name="connsiteY22" fmla="*/ 143496 h 409575"/>
                  <a:gd name="connsiteX23" fmla="*/ 358180 w 514350"/>
                  <a:gd name="connsiteY23" fmla="*/ 176834 h 409575"/>
                  <a:gd name="connsiteX24" fmla="*/ 391517 w 514350"/>
                  <a:gd name="connsiteY24" fmla="*/ 210171 h 409575"/>
                  <a:gd name="connsiteX25" fmla="*/ 424855 w 514350"/>
                  <a:gd name="connsiteY25" fmla="*/ 176834 h 409575"/>
                  <a:gd name="connsiteX26" fmla="*/ 391517 w 514350"/>
                  <a:gd name="connsiteY26" fmla="*/ 143496 h 409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14350" h="409575">
                    <a:moveTo>
                      <a:pt x="486767" y="621"/>
                    </a:moveTo>
                    <a:cubicBezTo>
                      <a:pt x="502579" y="621"/>
                      <a:pt x="515342" y="13385"/>
                      <a:pt x="515342" y="29196"/>
                    </a:cubicBezTo>
                    <a:lnTo>
                      <a:pt x="515342" y="324471"/>
                    </a:lnTo>
                    <a:cubicBezTo>
                      <a:pt x="515342" y="340282"/>
                      <a:pt x="502579" y="353046"/>
                      <a:pt x="486767" y="353046"/>
                    </a:cubicBezTo>
                    <a:lnTo>
                      <a:pt x="192159" y="353046"/>
                    </a:lnTo>
                    <a:lnTo>
                      <a:pt x="115387" y="410196"/>
                    </a:lnTo>
                    <a:lnTo>
                      <a:pt x="115387" y="353046"/>
                    </a:lnTo>
                    <a:lnTo>
                      <a:pt x="29567" y="353046"/>
                    </a:lnTo>
                    <a:cubicBezTo>
                      <a:pt x="13755" y="353046"/>
                      <a:pt x="992" y="340282"/>
                      <a:pt x="992" y="324471"/>
                    </a:cubicBezTo>
                    <a:lnTo>
                      <a:pt x="992" y="29196"/>
                    </a:lnTo>
                    <a:cubicBezTo>
                      <a:pt x="992" y="13385"/>
                      <a:pt x="13755" y="621"/>
                      <a:pt x="29567" y="621"/>
                    </a:cubicBezTo>
                    <a:lnTo>
                      <a:pt x="486767" y="621"/>
                    </a:lnTo>
                    <a:close/>
                    <a:moveTo>
                      <a:pt x="124817" y="143496"/>
                    </a:moveTo>
                    <a:cubicBezTo>
                      <a:pt x="106434" y="143496"/>
                      <a:pt x="91480" y="158450"/>
                      <a:pt x="91480" y="176834"/>
                    </a:cubicBezTo>
                    <a:cubicBezTo>
                      <a:pt x="91480" y="195217"/>
                      <a:pt x="106434" y="210171"/>
                      <a:pt x="124817" y="210171"/>
                    </a:cubicBezTo>
                    <a:cubicBezTo>
                      <a:pt x="143200" y="210171"/>
                      <a:pt x="158155" y="195217"/>
                      <a:pt x="158155" y="176834"/>
                    </a:cubicBezTo>
                    <a:cubicBezTo>
                      <a:pt x="158155" y="158450"/>
                      <a:pt x="143200" y="143496"/>
                      <a:pt x="124817" y="143496"/>
                    </a:cubicBezTo>
                    <a:close/>
                    <a:moveTo>
                      <a:pt x="258167" y="143496"/>
                    </a:moveTo>
                    <a:cubicBezTo>
                      <a:pt x="239784" y="143496"/>
                      <a:pt x="224830" y="158450"/>
                      <a:pt x="224830" y="176834"/>
                    </a:cubicBezTo>
                    <a:cubicBezTo>
                      <a:pt x="224830" y="195217"/>
                      <a:pt x="239784" y="210171"/>
                      <a:pt x="258167" y="210171"/>
                    </a:cubicBezTo>
                    <a:cubicBezTo>
                      <a:pt x="276550" y="210171"/>
                      <a:pt x="291505" y="195217"/>
                      <a:pt x="291505" y="176834"/>
                    </a:cubicBezTo>
                    <a:cubicBezTo>
                      <a:pt x="291505" y="158450"/>
                      <a:pt x="276550" y="143496"/>
                      <a:pt x="258167" y="143496"/>
                    </a:cubicBezTo>
                    <a:close/>
                    <a:moveTo>
                      <a:pt x="391517" y="143496"/>
                    </a:moveTo>
                    <a:cubicBezTo>
                      <a:pt x="373134" y="143496"/>
                      <a:pt x="358180" y="158450"/>
                      <a:pt x="358180" y="176834"/>
                    </a:cubicBezTo>
                    <a:cubicBezTo>
                      <a:pt x="358180" y="195217"/>
                      <a:pt x="373134" y="210171"/>
                      <a:pt x="391517" y="210171"/>
                    </a:cubicBezTo>
                    <a:cubicBezTo>
                      <a:pt x="409900" y="210171"/>
                      <a:pt x="424855" y="195217"/>
                      <a:pt x="424855" y="176834"/>
                    </a:cubicBezTo>
                    <a:cubicBezTo>
                      <a:pt x="424855" y="158450"/>
                      <a:pt x="409900" y="143496"/>
                      <a:pt x="391517" y="143496"/>
                    </a:cubicBezTo>
                    <a:close/>
                  </a:path>
                </a:pathLst>
              </a:custGeom>
              <a:solidFill>
                <a:schemeClr val="bg1"/>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2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endParaRPr>
              </a:p>
            </p:txBody>
          </p:sp>
        </p:grpSp>
        <p:grpSp>
          <p:nvGrpSpPr>
            <p:cNvPr id="73" name="íṧľiḍê"/>
            <p:cNvGrpSpPr/>
            <p:nvPr/>
          </p:nvGrpSpPr>
          <p:grpSpPr>
            <a:xfrm>
              <a:off x="6481812" y="4049323"/>
              <a:ext cx="410200" cy="410198"/>
              <a:chOff x="6844265" y="4734713"/>
              <a:chExt cx="410200" cy="410198"/>
            </a:xfrm>
          </p:grpSpPr>
          <p:sp>
            <p:nvSpPr>
              <p:cNvPr id="74" name="iṥ1ïḍè"/>
              <p:cNvSpPr/>
              <p:nvPr/>
            </p:nvSpPr>
            <p:spPr>
              <a:xfrm>
                <a:off x="6844265" y="4734713"/>
                <a:ext cx="410200" cy="410198"/>
              </a:xfrm>
              <a:prstGeom prst="ellipse">
                <a:avLst/>
              </a:prstGeom>
              <a:gradFill>
                <a:gsLst>
                  <a:gs pos="0">
                    <a:schemeClr val="accent5">
                      <a:lumMod val="60000"/>
                      <a:lumOff val="40000"/>
                    </a:schemeClr>
                  </a:gs>
                  <a:gs pos="60000">
                    <a:schemeClr val="accent5"/>
                  </a:gs>
                </a:gsLst>
                <a:lin ang="2700000" scaled="0"/>
              </a:gradFill>
              <a:ln w="57150" cap="rnd">
                <a:noFill/>
                <a:prstDash val="solid"/>
                <a:round/>
              </a:ln>
              <a:effectLst>
                <a:outerShdw blurRad="50800" dist="50800" dir="5400000" algn="ctr" rotWithShape="0">
                  <a:schemeClr val="accent5">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775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3765"/>
                <a:endParaRPr lang="zh-CN" altLang="en-US" sz="2000" b="1" dirty="0">
                  <a:solidFill>
                    <a:schemeClr val="bg1"/>
                  </a:solidFill>
                </a:endParaRPr>
              </a:p>
            </p:txBody>
          </p:sp>
          <p:sp>
            <p:nvSpPr>
              <p:cNvPr id="75" name="íŝ1íḍè"/>
              <p:cNvSpPr/>
              <p:nvPr/>
            </p:nvSpPr>
            <p:spPr>
              <a:xfrm>
                <a:off x="6960364" y="4855575"/>
                <a:ext cx="178001" cy="174822"/>
              </a:xfrm>
              <a:custGeom>
                <a:avLst/>
                <a:gdLst>
                  <a:gd name="connsiteX0" fmla="*/ 343764 w 533400"/>
                  <a:gd name="connsiteY0" fmla="*/ 276846 h 523875"/>
                  <a:gd name="connsiteX1" fmla="*/ 372339 w 533400"/>
                  <a:gd name="connsiteY1" fmla="*/ 305421 h 523875"/>
                  <a:gd name="connsiteX2" fmla="*/ 372339 w 533400"/>
                  <a:gd name="connsiteY2" fmla="*/ 495921 h 523875"/>
                  <a:gd name="connsiteX3" fmla="*/ 343764 w 533400"/>
                  <a:gd name="connsiteY3" fmla="*/ 524496 h 523875"/>
                  <a:gd name="connsiteX4" fmla="*/ 191364 w 533400"/>
                  <a:gd name="connsiteY4" fmla="*/ 524496 h 523875"/>
                  <a:gd name="connsiteX5" fmla="*/ 162789 w 533400"/>
                  <a:gd name="connsiteY5" fmla="*/ 495921 h 523875"/>
                  <a:gd name="connsiteX6" fmla="*/ 162789 w 533400"/>
                  <a:gd name="connsiteY6" fmla="*/ 305421 h 523875"/>
                  <a:gd name="connsiteX7" fmla="*/ 191364 w 533400"/>
                  <a:gd name="connsiteY7" fmla="*/ 276846 h 523875"/>
                  <a:gd name="connsiteX8" fmla="*/ 343764 w 533400"/>
                  <a:gd name="connsiteY8" fmla="*/ 276846 h 523875"/>
                  <a:gd name="connsiteX9" fmla="*/ 143739 w 533400"/>
                  <a:gd name="connsiteY9" fmla="*/ 114921 h 523875"/>
                  <a:gd name="connsiteX10" fmla="*/ 179934 w 533400"/>
                  <a:gd name="connsiteY10" fmla="*/ 153021 h 523875"/>
                  <a:gd name="connsiteX11" fmla="*/ 181839 w 533400"/>
                  <a:gd name="connsiteY11" fmla="*/ 153021 h 523875"/>
                  <a:gd name="connsiteX12" fmla="*/ 353289 w 533400"/>
                  <a:gd name="connsiteY12" fmla="*/ 153021 h 523875"/>
                  <a:gd name="connsiteX13" fmla="*/ 391389 w 533400"/>
                  <a:gd name="connsiteY13" fmla="*/ 116826 h 523875"/>
                  <a:gd name="connsiteX14" fmla="*/ 391389 w 533400"/>
                  <a:gd name="connsiteY14" fmla="*/ 114921 h 523875"/>
                  <a:gd name="connsiteX15" fmla="*/ 505689 w 533400"/>
                  <a:gd name="connsiteY15" fmla="*/ 114921 h 523875"/>
                  <a:gd name="connsiteX16" fmla="*/ 534264 w 533400"/>
                  <a:gd name="connsiteY16" fmla="*/ 143496 h 523875"/>
                  <a:gd name="connsiteX17" fmla="*/ 534264 w 533400"/>
                  <a:gd name="connsiteY17" fmla="*/ 381621 h 523875"/>
                  <a:gd name="connsiteX18" fmla="*/ 505689 w 533400"/>
                  <a:gd name="connsiteY18" fmla="*/ 410196 h 523875"/>
                  <a:gd name="connsiteX19" fmla="*/ 391389 w 533400"/>
                  <a:gd name="connsiteY19" fmla="*/ 410196 h 523875"/>
                  <a:gd name="connsiteX20" fmla="*/ 391389 w 533400"/>
                  <a:gd name="connsiteY20" fmla="*/ 295896 h 523875"/>
                  <a:gd name="connsiteX21" fmla="*/ 355194 w 533400"/>
                  <a:gd name="connsiteY21" fmla="*/ 257796 h 523875"/>
                  <a:gd name="connsiteX22" fmla="*/ 353289 w 533400"/>
                  <a:gd name="connsiteY22" fmla="*/ 257796 h 523875"/>
                  <a:gd name="connsiteX23" fmla="*/ 181839 w 533400"/>
                  <a:gd name="connsiteY23" fmla="*/ 257796 h 523875"/>
                  <a:gd name="connsiteX24" fmla="*/ 143739 w 533400"/>
                  <a:gd name="connsiteY24" fmla="*/ 293991 h 523875"/>
                  <a:gd name="connsiteX25" fmla="*/ 143739 w 533400"/>
                  <a:gd name="connsiteY25" fmla="*/ 295896 h 523875"/>
                  <a:gd name="connsiteX26" fmla="*/ 143739 w 533400"/>
                  <a:gd name="connsiteY26" fmla="*/ 410196 h 523875"/>
                  <a:gd name="connsiteX27" fmla="*/ 29439 w 533400"/>
                  <a:gd name="connsiteY27" fmla="*/ 410196 h 523875"/>
                  <a:gd name="connsiteX28" fmla="*/ 864 w 533400"/>
                  <a:gd name="connsiteY28" fmla="*/ 381621 h 523875"/>
                  <a:gd name="connsiteX29" fmla="*/ 864 w 533400"/>
                  <a:gd name="connsiteY29" fmla="*/ 201408 h 523875"/>
                  <a:gd name="connsiteX30" fmla="*/ 11151 w 533400"/>
                  <a:gd name="connsiteY30" fmla="*/ 175405 h 523875"/>
                  <a:gd name="connsiteX31" fmla="*/ 56300 w 533400"/>
                  <a:gd name="connsiteY31" fmla="*/ 127018 h 523875"/>
                  <a:gd name="connsiteX32" fmla="*/ 84112 w 533400"/>
                  <a:gd name="connsiteY32" fmla="*/ 114921 h 523875"/>
                  <a:gd name="connsiteX33" fmla="*/ 143739 w 533400"/>
                  <a:gd name="connsiteY33" fmla="*/ 114921 h 523875"/>
                  <a:gd name="connsiteX34" fmla="*/ 462827 w 533400"/>
                  <a:gd name="connsiteY34" fmla="*/ 172071 h 523875"/>
                  <a:gd name="connsiteX35" fmla="*/ 448539 w 533400"/>
                  <a:gd name="connsiteY35" fmla="*/ 186359 h 523875"/>
                  <a:gd name="connsiteX36" fmla="*/ 462827 w 533400"/>
                  <a:gd name="connsiteY36" fmla="*/ 200646 h 523875"/>
                  <a:gd name="connsiteX37" fmla="*/ 477114 w 533400"/>
                  <a:gd name="connsiteY37" fmla="*/ 186359 h 523875"/>
                  <a:gd name="connsiteX38" fmla="*/ 462827 w 533400"/>
                  <a:gd name="connsiteY38" fmla="*/ 172071 h 523875"/>
                  <a:gd name="connsiteX39" fmla="*/ 343764 w 533400"/>
                  <a:gd name="connsiteY39" fmla="*/ 621 h 523875"/>
                  <a:gd name="connsiteX40" fmla="*/ 372339 w 533400"/>
                  <a:gd name="connsiteY40" fmla="*/ 29196 h 523875"/>
                  <a:gd name="connsiteX41" fmla="*/ 372339 w 533400"/>
                  <a:gd name="connsiteY41" fmla="*/ 105396 h 523875"/>
                  <a:gd name="connsiteX42" fmla="*/ 343764 w 533400"/>
                  <a:gd name="connsiteY42" fmla="*/ 133971 h 523875"/>
                  <a:gd name="connsiteX43" fmla="*/ 191364 w 533400"/>
                  <a:gd name="connsiteY43" fmla="*/ 133971 h 523875"/>
                  <a:gd name="connsiteX44" fmla="*/ 162789 w 533400"/>
                  <a:gd name="connsiteY44" fmla="*/ 105396 h 523875"/>
                  <a:gd name="connsiteX45" fmla="*/ 162789 w 533400"/>
                  <a:gd name="connsiteY45" fmla="*/ 29196 h 523875"/>
                  <a:gd name="connsiteX46" fmla="*/ 191364 w 533400"/>
                  <a:gd name="connsiteY46" fmla="*/ 621 h 523875"/>
                  <a:gd name="connsiteX47" fmla="*/ 343764 w 533400"/>
                  <a:gd name="connsiteY47" fmla="*/ 621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533400" h="523875">
                    <a:moveTo>
                      <a:pt x="343764" y="276846"/>
                    </a:moveTo>
                    <a:cubicBezTo>
                      <a:pt x="359576" y="276846"/>
                      <a:pt x="372339" y="289610"/>
                      <a:pt x="372339" y="305421"/>
                    </a:cubicBezTo>
                    <a:lnTo>
                      <a:pt x="372339" y="495921"/>
                    </a:lnTo>
                    <a:cubicBezTo>
                      <a:pt x="372339" y="511732"/>
                      <a:pt x="359576" y="524496"/>
                      <a:pt x="343764" y="524496"/>
                    </a:cubicBezTo>
                    <a:lnTo>
                      <a:pt x="191364" y="524496"/>
                    </a:lnTo>
                    <a:cubicBezTo>
                      <a:pt x="175552" y="524496"/>
                      <a:pt x="162789" y="511732"/>
                      <a:pt x="162789" y="495921"/>
                    </a:cubicBezTo>
                    <a:lnTo>
                      <a:pt x="162789" y="305421"/>
                    </a:lnTo>
                    <a:cubicBezTo>
                      <a:pt x="162789" y="289610"/>
                      <a:pt x="175552" y="276846"/>
                      <a:pt x="191364" y="276846"/>
                    </a:cubicBezTo>
                    <a:lnTo>
                      <a:pt x="343764" y="276846"/>
                    </a:lnTo>
                    <a:close/>
                    <a:moveTo>
                      <a:pt x="143739" y="114921"/>
                    </a:moveTo>
                    <a:cubicBezTo>
                      <a:pt x="143739" y="135305"/>
                      <a:pt x="159741" y="151973"/>
                      <a:pt x="179934" y="153021"/>
                    </a:cubicBezTo>
                    <a:lnTo>
                      <a:pt x="181839" y="153021"/>
                    </a:lnTo>
                    <a:lnTo>
                      <a:pt x="353289" y="153021"/>
                    </a:lnTo>
                    <a:cubicBezTo>
                      <a:pt x="373673" y="153021"/>
                      <a:pt x="390341" y="137019"/>
                      <a:pt x="391389" y="116826"/>
                    </a:cubicBezTo>
                    <a:lnTo>
                      <a:pt x="391389" y="114921"/>
                    </a:lnTo>
                    <a:lnTo>
                      <a:pt x="505689" y="114921"/>
                    </a:lnTo>
                    <a:cubicBezTo>
                      <a:pt x="521501" y="114921"/>
                      <a:pt x="534264" y="127685"/>
                      <a:pt x="534264" y="143496"/>
                    </a:cubicBezTo>
                    <a:lnTo>
                      <a:pt x="534264" y="381621"/>
                    </a:lnTo>
                    <a:cubicBezTo>
                      <a:pt x="534264" y="397432"/>
                      <a:pt x="521501" y="410196"/>
                      <a:pt x="505689" y="410196"/>
                    </a:cubicBezTo>
                    <a:lnTo>
                      <a:pt x="391389" y="410196"/>
                    </a:lnTo>
                    <a:lnTo>
                      <a:pt x="391389" y="295896"/>
                    </a:lnTo>
                    <a:cubicBezTo>
                      <a:pt x="391389" y="275512"/>
                      <a:pt x="375387" y="258844"/>
                      <a:pt x="355194" y="257796"/>
                    </a:cubicBezTo>
                    <a:lnTo>
                      <a:pt x="353289" y="257796"/>
                    </a:lnTo>
                    <a:lnTo>
                      <a:pt x="181839" y="257796"/>
                    </a:lnTo>
                    <a:cubicBezTo>
                      <a:pt x="161455" y="257796"/>
                      <a:pt x="144787" y="273798"/>
                      <a:pt x="143739" y="293991"/>
                    </a:cubicBezTo>
                    <a:lnTo>
                      <a:pt x="143739" y="295896"/>
                    </a:lnTo>
                    <a:lnTo>
                      <a:pt x="143739" y="410196"/>
                    </a:lnTo>
                    <a:lnTo>
                      <a:pt x="29439" y="410196"/>
                    </a:lnTo>
                    <a:cubicBezTo>
                      <a:pt x="13627" y="410196"/>
                      <a:pt x="864" y="397432"/>
                      <a:pt x="864" y="381621"/>
                    </a:cubicBezTo>
                    <a:lnTo>
                      <a:pt x="864" y="201408"/>
                    </a:lnTo>
                    <a:cubicBezTo>
                      <a:pt x="864" y="191788"/>
                      <a:pt x="4484" y="182454"/>
                      <a:pt x="11151" y="175405"/>
                    </a:cubicBezTo>
                    <a:lnTo>
                      <a:pt x="56300" y="127018"/>
                    </a:lnTo>
                    <a:cubicBezTo>
                      <a:pt x="63538" y="119303"/>
                      <a:pt x="73635" y="114921"/>
                      <a:pt x="84112" y="114921"/>
                    </a:cubicBezTo>
                    <a:lnTo>
                      <a:pt x="143739" y="114921"/>
                    </a:lnTo>
                    <a:close/>
                    <a:moveTo>
                      <a:pt x="462827" y="172071"/>
                    </a:moveTo>
                    <a:cubicBezTo>
                      <a:pt x="454921" y="172071"/>
                      <a:pt x="448539" y="178453"/>
                      <a:pt x="448539" y="186359"/>
                    </a:cubicBezTo>
                    <a:cubicBezTo>
                      <a:pt x="448539" y="194264"/>
                      <a:pt x="454921" y="200646"/>
                      <a:pt x="462827" y="200646"/>
                    </a:cubicBezTo>
                    <a:cubicBezTo>
                      <a:pt x="470732" y="200646"/>
                      <a:pt x="477114" y="194264"/>
                      <a:pt x="477114" y="186359"/>
                    </a:cubicBezTo>
                    <a:cubicBezTo>
                      <a:pt x="477114" y="178453"/>
                      <a:pt x="470732" y="172071"/>
                      <a:pt x="462827" y="172071"/>
                    </a:cubicBezTo>
                    <a:close/>
                    <a:moveTo>
                      <a:pt x="343764" y="621"/>
                    </a:moveTo>
                    <a:cubicBezTo>
                      <a:pt x="359576" y="621"/>
                      <a:pt x="372339" y="13385"/>
                      <a:pt x="372339" y="29196"/>
                    </a:cubicBezTo>
                    <a:lnTo>
                      <a:pt x="372339" y="105396"/>
                    </a:lnTo>
                    <a:cubicBezTo>
                      <a:pt x="372339" y="121207"/>
                      <a:pt x="359576" y="133971"/>
                      <a:pt x="343764" y="133971"/>
                    </a:cubicBezTo>
                    <a:lnTo>
                      <a:pt x="191364" y="133971"/>
                    </a:lnTo>
                    <a:cubicBezTo>
                      <a:pt x="175552" y="133971"/>
                      <a:pt x="162789" y="121207"/>
                      <a:pt x="162789" y="105396"/>
                    </a:cubicBezTo>
                    <a:lnTo>
                      <a:pt x="162789" y="29196"/>
                    </a:lnTo>
                    <a:cubicBezTo>
                      <a:pt x="162789" y="13385"/>
                      <a:pt x="175552" y="621"/>
                      <a:pt x="191364" y="621"/>
                    </a:cubicBezTo>
                    <a:lnTo>
                      <a:pt x="343764" y="621"/>
                    </a:lnTo>
                    <a:close/>
                  </a:path>
                </a:pathLst>
              </a:custGeom>
              <a:solidFill>
                <a:schemeClr val="bg1"/>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2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endParaRPr>
              </a:p>
            </p:txBody>
          </p:sp>
        </p:grpSp>
        <p:grpSp>
          <p:nvGrpSpPr>
            <p:cNvPr id="76" name="ïSļíḋè"/>
            <p:cNvGrpSpPr/>
            <p:nvPr/>
          </p:nvGrpSpPr>
          <p:grpSpPr>
            <a:xfrm>
              <a:off x="6481812" y="5145057"/>
              <a:ext cx="410200" cy="410198"/>
              <a:chOff x="6844265" y="4734713"/>
              <a:chExt cx="410200" cy="410198"/>
            </a:xfrm>
          </p:grpSpPr>
          <p:sp>
            <p:nvSpPr>
              <p:cNvPr id="77" name="ïṧḷiḋe"/>
              <p:cNvSpPr/>
              <p:nvPr/>
            </p:nvSpPr>
            <p:spPr>
              <a:xfrm>
                <a:off x="6844265" y="4734713"/>
                <a:ext cx="410200" cy="410198"/>
              </a:xfrm>
              <a:prstGeom prst="ellipse">
                <a:avLst/>
              </a:prstGeom>
              <a:gradFill>
                <a:gsLst>
                  <a:gs pos="0">
                    <a:schemeClr val="accent6">
                      <a:lumMod val="60000"/>
                      <a:lumOff val="40000"/>
                    </a:schemeClr>
                  </a:gs>
                  <a:gs pos="60000">
                    <a:schemeClr val="accent6"/>
                  </a:gs>
                </a:gsLst>
                <a:lin ang="2700000" scaled="0"/>
              </a:gradFill>
              <a:ln w="57150" cap="rnd">
                <a:noFill/>
                <a:prstDash val="solid"/>
                <a:round/>
              </a:ln>
              <a:effectLst>
                <a:outerShdw blurRad="50800" dist="50800" dir="5400000" algn="ctr" rotWithShape="0">
                  <a:schemeClr val="accent6">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775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3765"/>
                <a:endParaRPr lang="zh-CN" altLang="en-US" sz="2000" b="1" dirty="0">
                  <a:solidFill>
                    <a:schemeClr val="bg1"/>
                  </a:solidFill>
                </a:endParaRPr>
              </a:p>
            </p:txBody>
          </p:sp>
          <p:sp>
            <p:nvSpPr>
              <p:cNvPr id="78" name="íṩľíďè"/>
              <p:cNvSpPr/>
              <p:nvPr/>
            </p:nvSpPr>
            <p:spPr>
              <a:xfrm>
                <a:off x="6960365" y="4855582"/>
                <a:ext cx="178001" cy="162108"/>
              </a:xfrm>
              <a:custGeom>
                <a:avLst/>
                <a:gdLst>
                  <a:gd name="connsiteX0" fmla="*/ 125329 w 533400"/>
                  <a:gd name="connsiteY0" fmla="*/ 229221 h 485775"/>
                  <a:gd name="connsiteX1" fmla="*/ 125329 w 533400"/>
                  <a:gd name="connsiteY1" fmla="*/ 276846 h 485775"/>
                  <a:gd name="connsiteX2" fmla="*/ 144379 w 533400"/>
                  <a:gd name="connsiteY2" fmla="*/ 276846 h 485775"/>
                  <a:gd name="connsiteX3" fmla="*/ 144379 w 533400"/>
                  <a:gd name="connsiteY3" fmla="*/ 229221 h 485775"/>
                  <a:gd name="connsiteX4" fmla="*/ 392029 w 533400"/>
                  <a:gd name="connsiteY4" fmla="*/ 229221 h 485775"/>
                  <a:gd name="connsiteX5" fmla="*/ 392029 w 533400"/>
                  <a:gd name="connsiteY5" fmla="*/ 276846 h 485775"/>
                  <a:gd name="connsiteX6" fmla="*/ 411079 w 533400"/>
                  <a:gd name="connsiteY6" fmla="*/ 276846 h 485775"/>
                  <a:gd name="connsiteX7" fmla="*/ 411079 w 533400"/>
                  <a:gd name="connsiteY7" fmla="*/ 229221 h 485775"/>
                  <a:gd name="connsiteX8" fmla="*/ 534904 w 533400"/>
                  <a:gd name="connsiteY8" fmla="*/ 229221 h 485775"/>
                  <a:gd name="connsiteX9" fmla="*/ 534904 w 533400"/>
                  <a:gd name="connsiteY9" fmla="*/ 457821 h 485775"/>
                  <a:gd name="connsiteX10" fmla="*/ 506329 w 533400"/>
                  <a:gd name="connsiteY10" fmla="*/ 486396 h 485775"/>
                  <a:gd name="connsiteX11" fmla="*/ 30079 w 533400"/>
                  <a:gd name="connsiteY11" fmla="*/ 486396 h 485775"/>
                  <a:gd name="connsiteX12" fmla="*/ 1504 w 533400"/>
                  <a:gd name="connsiteY12" fmla="*/ 457821 h 485775"/>
                  <a:gd name="connsiteX13" fmla="*/ 1504 w 533400"/>
                  <a:gd name="connsiteY13" fmla="*/ 229221 h 485775"/>
                  <a:gd name="connsiteX14" fmla="*/ 125329 w 533400"/>
                  <a:gd name="connsiteY14" fmla="*/ 229221 h 485775"/>
                  <a:gd name="connsiteX15" fmla="*/ 372979 w 533400"/>
                  <a:gd name="connsiteY15" fmla="*/ 621 h 485775"/>
                  <a:gd name="connsiteX16" fmla="*/ 411079 w 533400"/>
                  <a:gd name="connsiteY16" fmla="*/ 36816 h 485775"/>
                  <a:gd name="connsiteX17" fmla="*/ 411079 w 533400"/>
                  <a:gd name="connsiteY17" fmla="*/ 38721 h 485775"/>
                  <a:gd name="connsiteX18" fmla="*/ 411079 w 533400"/>
                  <a:gd name="connsiteY18" fmla="*/ 114921 h 485775"/>
                  <a:gd name="connsiteX19" fmla="*/ 506329 w 533400"/>
                  <a:gd name="connsiteY19" fmla="*/ 114921 h 485775"/>
                  <a:gd name="connsiteX20" fmla="*/ 534904 w 533400"/>
                  <a:gd name="connsiteY20" fmla="*/ 143496 h 485775"/>
                  <a:gd name="connsiteX21" fmla="*/ 534904 w 533400"/>
                  <a:gd name="connsiteY21" fmla="*/ 210171 h 485775"/>
                  <a:gd name="connsiteX22" fmla="*/ 1504 w 533400"/>
                  <a:gd name="connsiteY22" fmla="*/ 210171 h 485775"/>
                  <a:gd name="connsiteX23" fmla="*/ 1504 w 533400"/>
                  <a:gd name="connsiteY23" fmla="*/ 143496 h 485775"/>
                  <a:gd name="connsiteX24" fmla="*/ 30079 w 533400"/>
                  <a:gd name="connsiteY24" fmla="*/ 114921 h 485775"/>
                  <a:gd name="connsiteX25" fmla="*/ 125329 w 533400"/>
                  <a:gd name="connsiteY25" fmla="*/ 114921 h 485775"/>
                  <a:gd name="connsiteX26" fmla="*/ 125329 w 533400"/>
                  <a:gd name="connsiteY26" fmla="*/ 38721 h 485775"/>
                  <a:gd name="connsiteX27" fmla="*/ 161524 w 533400"/>
                  <a:gd name="connsiteY27" fmla="*/ 621 h 485775"/>
                  <a:gd name="connsiteX28" fmla="*/ 163429 w 533400"/>
                  <a:gd name="connsiteY28" fmla="*/ 621 h 485775"/>
                  <a:gd name="connsiteX29" fmla="*/ 372979 w 533400"/>
                  <a:gd name="connsiteY29" fmla="*/ 621 h 485775"/>
                  <a:gd name="connsiteX30" fmla="*/ 372979 w 533400"/>
                  <a:gd name="connsiteY30" fmla="*/ 19671 h 485775"/>
                  <a:gd name="connsiteX31" fmla="*/ 163429 w 533400"/>
                  <a:gd name="connsiteY31" fmla="*/ 19671 h 485775"/>
                  <a:gd name="connsiteX32" fmla="*/ 144474 w 533400"/>
                  <a:gd name="connsiteY32" fmla="*/ 37292 h 485775"/>
                  <a:gd name="connsiteX33" fmla="*/ 144379 w 533400"/>
                  <a:gd name="connsiteY33" fmla="*/ 38721 h 485775"/>
                  <a:gd name="connsiteX34" fmla="*/ 144379 w 533400"/>
                  <a:gd name="connsiteY34" fmla="*/ 114921 h 485775"/>
                  <a:gd name="connsiteX35" fmla="*/ 392029 w 533400"/>
                  <a:gd name="connsiteY35" fmla="*/ 114921 h 485775"/>
                  <a:gd name="connsiteX36" fmla="*/ 392029 w 533400"/>
                  <a:gd name="connsiteY36" fmla="*/ 38721 h 485775"/>
                  <a:gd name="connsiteX37" fmla="*/ 375836 w 533400"/>
                  <a:gd name="connsiteY37" fmla="*/ 19862 h 485775"/>
                  <a:gd name="connsiteX38" fmla="*/ 374408 w 533400"/>
                  <a:gd name="connsiteY38" fmla="*/ 19671 h 485775"/>
                  <a:gd name="connsiteX39" fmla="*/ 372979 w 533400"/>
                  <a:gd name="connsiteY39" fmla="*/ 19671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533400" h="485775">
                    <a:moveTo>
                      <a:pt x="125329" y="229221"/>
                    </a:moveTo>
                    <a:lnTo>
                      <a:pt x="125329" y="276846"/>
                    </a:lnTo>
                    <a:lnTo>
                      <a:pt x="144379" y="276846"/>
                    </a:lnTo>
                    <a:lnTo>
                      <a:pt x="144379" y="229221"/>
                    </a:lnTo>
                    <a:lnTo>
                      <a:pt x="392029" y="229221"/>
                    </a:lnTo>
                    <a:lnTo>
                      <a:pt x="392029" y="276846"/>
                    </a:lnTo>
                    <a:lnTo>
                      <a:pt x="411079" y="276846"/>
                    </a:lnTo>
                    <a:lnTo>
                      <a:pt x="411079" y="229221"/>
                    </a:lnTo>
                    <a:lnTo>
                      <a:pt x="534904" y="229221"/>
                    </a:lnTo>
                    <a:lnTo>
                      <a:pt x="534904" y="457821"/>
                    </a:lnTo>
                    <a:cubicBezTo>
                      <a:pt x="534904" y="473632"/>
                      <a:pt x="522141" y="486396"/>
                      <a:pt x="506329" y="486396"/>
                    </a:cubicBezTo>
                    <a:lnTo>
                      <a:pt x="30079" y="486396"/>
                    </a:lnTo>
                    <a:cubicBezTo>
                      <a:pt x="14267" y="486396"/>
                      <a:pt x="1504" y="473632"/>
                      <a:pt x="1504" y="457821"/>
                    </a:cubicBezTo>
                    <a:lnTo>
                      <a:pt x="1504" y="229221"/>
                    </a:lnTo>
                    <a:lnTo>
                      <a:pt x="125329" y="229221"/>
                    </a:lnTo>
                    <a:close/>
                    <a:moveTo>
                      <a:pt x="372979" y="621"/>
                    </a:moveTo>
                    <a:cubicBezTo>
                      <a:pt x="393363" y="621"/>
                      <a:pt x="410031" y="16623"/>
                      <a:pt x="411079" y="36816"/>
                    </a:cubicBezTo>
                    <a:lnTo>
                      <a:pt x="411079" y="38721"/>
                    </a:lnTo>
                    <a:lnTo>
                      <a:pt x="411079" y="114921"/>
                    </a:lnTo>
                    <a:lnTo>
                      <a:pt x="506329" y="114921"/>
                    </a:lnTo>
                    <a:cubicBezTo>
                      <a:pt x="522141" y="114921"/>
                      <a:pt x="534904" y="127685"/>
                      <a:pt x="534904" y="143496"/>
                    </a:cubicBezTo>
                    <a:lnTo>
                      <a:pt x="534904" y="210171"/>
                    </a:lnTo>
                    <a:lnTo>
                      <a:pt x="1504" y="210171"/>
                    </a:lnTo>
                    <a:lnTo>
                      <a:pt x="1504" y="143496"/>
                    </a:lnTo>
                    <a:cubicBezTo>
                      <a:pt x="1504" y="127685"/>
                      <a:pt x="14267" y="114921"/>
                      <a:pt x="30079" y="114921"/>
                    </a:cubicBezTo>
                    <a:lnTo>
                      <a:pt x="125329" y="114921"/>
                    </a:lnTo>
                    <a:lnTo>
                      <a:pt x="125329" y="38721"/>
                    </a:lnTo>
                    <a:cubicBezTo>
                      <a:pt x="125329" y="18337"/>
                      <a:pt x="141331" y="1669"/>
                      <a:pt x="161524" y="621"/>
                    </a:cubicBezTo>
                    <a:lnTo>
                      <a:pt x="163429" y="621"/>
                    </a:lnTo>
                    <a:lnTo>
                      <a:pt x="372979" y="621"/>
                    </a:lnTo>
                    <a:close/>
                    <a:moveTo>
                      <a:pt x="372979" y="19671"/>
                    </a:moveTo>
                    <a:lnTo>
                      <a:pt x="163429" y="19671"/>
                    </a:lnTo>
                    <a:cubicBezTo>
                      <a:pt x="153428" y="19671"/>
                      <a:pt x="145141" y="27482"/>
                      <a:pt x="144474" y="37292"/>
                    </a:cubicBezTo>
                    <a:lnTo>
                      <a:pt x="144379" y="38721"/>
                    </a:lnTo>
                    <a:lnTo>
                      <a:pt x="144379" y="114921"/>
                    </a:lnTo>
                    <a:lnTo>
                      <a:pt x="392029" y="114921"/>
                    </a:lnTo>
                    <a:lnTo>
                      <a:pt x="392029" y="38721"/>
                    </a:lnTo>
                    <a:cubicBezTo>
                      <a:pt x="392029" y="29196"/>
                      <a:pt x="384981" y="21290"/>
                      <a:pt x="375836" y="19862"/>
                    </a:cubicBezTo>
                    <a:lnTo>
                      <a:pt x="374408" y="19671"/>
                    </a:lnTo>
                    <a:lnTo>
                      <a:pt x="372979" y="19671"/>
                    </a:lnTo>
                    <a:close/>
                  </a:path>
                </a:pathLst>
              </a:custGeom>
              <a:solidFill>
                <a:schemeClr val="bg1"/>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2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endParaRPr>
              </a:p>
            </p:txBody>
          </p:sp>
        </p:grpSp>
        <p:grpSp>
          <p:nvGrpSpPr>
            <p:cNvPr id="105" name="ïSḻíḍé"/>
            <p:cNvGrpSpPr/>
            <p:nvPr/>
          </p:nvGrpSpPr>
          <p:grpSpPr>
            <a:xfrm>
              <a:off x="7008112" y="2980106"/>
              <a:ext cx="4510788" cy="969164"/>
              <a:chOff x="7877083" y="1318786"/>
              <a:chExt cx="3641817" cy="969164"/>
            </a:xfrm>
          </p:grpSpPr>
          <p:sp>
            <p:nvSpPr>
              <p:cNvPr id="106" name="íşḷíḑé"/>
              <p:cNvSpPr txBox="1"/>
              <p:nvPr/>
            </p:nvSpPr>
            <p:spPr>
              <a:xfrm>
                <a:off x="7877083" y="1318786"/>
                <a:ext cx="3641817" cy="392512"/>
              </a:xfrm>
              <a:prstGeom prst="rect">
                <a:avLst/>
              </a:prstGeom>
              <a:noFill/>
              <a:ln>
                <a:noFill/>
              </a:ln>
            </p:spPr>
            <p:txBody>
              <a:bodyPr wrap="square" lIns="91440" tIns="45720" rIns="91440" bIns="45720" anchor="t" anchorCtr="0">
                <a:normAutofit lnSpcReduction="10000"/>
              </a:bodyPr>
              <a:lstStyle/>
              <a:p>
                <a:pPr marL="0" marR="0" lvl="0" indent="0" algn="l" defTabSz="913765" rtl="0" eaLnBrk="1" fontAlgn="auto" latinLnBrk="0" hangingPunct="1">
                  <a:lnSpc>
                    <a:spcPct val="100000"/>
                  </a:lnSpc>
                  <a:spcBef>
                    <a:spcPts val="0"/>
                  </a:spcBef>
                  <a:spcAft>
                    <a:spcPts val="0"/>
                  </a:spcAft>
                  <a:buClrTx/>
                  <a:buSzPct val="25000"/>
                  <a:buFontTx/>
                  <a:buNone/>
                  <a:defRPr/>
                </a:pPr>
                <a:r>
                  <a:rPr kumimoji="0" lang="de-DE" sz="2000" b="1" i="0" u="none" strike="noStrike" kern="1200" cap="none" spc="0" normalizeH="0" baseline="0" noProof="0" dirty="0">
                    <a:ln>
                      <a:noFill/>
                    </a:ln>
                    <a:solidFill>
                      <a:srgbClr val="000000"/>
                    </a:solidFill>
                    <a:effectLst/>
                    <a:uLnTx/>
                    <a:uFillTx/>
                    <a:latin typeface="Arial" panose="020B0604020202090204" pitchFamily="34" charset="0"/>
                    <a:ea typeface="华文楷体" panose="02010600040101010101" pitchFamily="2" charset="-122"/>
                  </a:rPr>
                  <a:t>Te</a:t>
                </a:r>
                <a:r>
                  <a:rPr kumimoji="0" lang="de-DE" sz="100" b="1" i="0" u="none" strike="noStrike" kern="1200" cap="none" spc="0" normalizeH="0" baseline="0" noProof="0" dirty="0">
                    <a:ln>
                      <a:noFill/>
                    </a:ln>
                    <a:solidFill>
                      <a:srgbClr val="000000"/>
                    </a:solidFill>
                    <a:effectLst/>
                    <a:uLnTx/>
                    <a:uFillTx/>
                    <a:latin typeface="Arial" panose="020B0604020202090204" pitchFamily="34" charset="0"/>
                    <a:ea typeface="华文楷体" panose="02010600040101010101" pitchFamily="2" charset="-122"/>
                  </a:rPr>
                  <a:t> </a:t>
                </a:r>
                <a:r>
                  <a:rPr kumimoji="0" lang="de-DE" sz="2000" b="1" i="0" u="none" strike="noStrike" kern="1200" cap="none" spc="0" normalizeH="0" baseline="0" noProof="0" dirty="0">
                    <a:ln>
                      <a:noFill/>
                    </a:ln>
                    <a:solidFill>
                      <a:srgbClr val="000000"/>
                    </a:solidFill>
                    <a:effectLst/>
                    <a:uLnTx/>
                    <a:uFillTx/>
                    <a:latin typeface="Arial" panose="020B0604020202090204" pitchFamily="34" charset="0"/>
                    <a:ea typeface="华文楷体" panose="02010600040101010101" pitchFamily="2" charset="-122"/>
                  </a:rPr>
                  <a:t>xt here</a:t>
                </a:r>
                <a:endParaRPr kumimoji="0" lang="de-DE" sz="2000" b="1" i="0" u="none" strike="noStrike" kern="1200" cap="none" spc="0" normalizeH="0" baseline="0" noProof="0" dirty="0">
                  <a:ln>
                    <a:noFill/>
                  </a:ln>
                  <a:solidFill>
                    <a:srgbClr val="000000"/>
                  </a:solidFill>
                  <a:effectLst/>
                  <a:uLnTx/>
                  <a:uFillTx/>
                  <a:latin typeface="Arial" panose="020B0604020202090204" pitchFamily="34" charset="0"/>
                  <a:ea typeface="华文楷体" panose="02010600040101010101" pitchFamily="2" charset="-122"/>
                </a:endParaRPr>
              </a:p>
            </p:txBody>
          </p:sp>
          <p:sp>
            <p:nvSpPr>
              <p:cNvPr id="107" name="îşļiďé"/>
              <p:cNvSpPr txBox="1"/>
              <p:nvPr/>
            </p:nvSpPr>
            <p:spPr>
              <a:xfrm>
                <a:off x="7877083" y="1663032"/>
                <a:ext cx="3641817" cy="624918"/>
              </a:xfrm>
              <a:prstGeom prst="rect">
                <a:avLst/>
              </a:prstGeom>
              <a:noFill/>
              <a:ln>
                <a:noFill/>
              </a:ln>
            </p:spPr>
            <p:txBody>
              <a:bodyPr wrap="square" lIns="91440" tIns="45720" rIns="91440" bIns="45720" anchor="t" anchorCtr="0">
                <a:normAutofit/>
              </a:bodyPr>
              <a:lstStyle/>
              <a:p>
                <a:pPr marL="0" marR="0" lvl="0" indent="0" algn="l" defTabSz="913765" rtl="0" eaLnBrk="1" fontAlgn="auto" latinLnBrk="0" hangingPunct="1">
                  <a:lnSpc>
                    <a:spcPct val="150000"/>
                  </a:lnSpc>
                  <a:spcBef>
                    <a:spcPts val="0"/>
                  </a:spcBef>
                  <a:spcAft>
                    <a:spcPts val="0"/>
                  </a:spcAft>
                  <a:buClrTx/>
                  <a:buSzPct val="25000"/>
                  <a:buFontTx/>
                  <a:buNone/>
                  <a:defRPr/>
                </a:pPr>
                <a:r>
                  <a:rPr kumimoji="0" lang="en-US" sz="1000" b="0" i="0" u="none" strike="noStrike" kern="1200" cap="none" spc="0" normalizeH="0" baseline="0" noProof="0" dirty="0">
                    <a:ln>
                      <a:noFill/>
                    </a:ln>
                    <a:solidFill>
                      <a:srgbClr val="000000"/>
                    </a:solidFill>
                    <a:effectLst/>
                    <a:uLnTx/>
                    <a:uFillTx/>
                    <a:latin typeface="Arial" panose="020B0604020202090204" pitchFamily="34" charset="0"/>
                    <a:ea typeface="华文楷体" panose="02010600040101010101" pitchFamily="2" charset="-122"/>
                  </a:rPr>
                  <a:t>Copy past e fonts. Choose the only option to retain text.…</a:t>
                </a:r>
                <a:r>
                  <a:rPr kumimoji="0" lang="de-DE" sz="1000" b="0" i="0" u="none" strike="noStrike" kern="1200" cap="none" spc="0" normalizeH="0" baseline="0" noProof="0" dirty="0">
                    <a:ln>
                      <a:noFill/>
                    </a:ln>
                    <a:solidFill>
                      <a:srgbClr val="000000"/>
                    </a:solidFill>
                    <a:effectLst/>
                    <a:uLnTx/>
                    <a:uFillTx/>
                    <a:latin typeface="Arial" panose="020B0604020202090204" pitchFamily="34" charset="0"/>
                    <a:ea typeface="华文楷体" panose="02010600040101010101" pitchFamily="2" charset="-122"/>
                  </a:rPr>
                  <a:t>.</a:t>
                </a:r>
                <a:endParaRPr kumimoji="0" lang="de-DE" sz="1000" b="0" i="0" u="none" strike="noStrike" kern="1200" cap="none" spc="0" normalizeH="0" baseline="0" noProof="0" dirty="0">
                  <a:ln>
                    <a:noFill/>
                  </a:ln>
                  <a:solidFill>
                    <a:srgbClr val="000000"/>
                  </a:solidFill>
                  <a:effectLst/>
                  <a:uLnTx/>
                  <a:uFillTx/>
                  <a:latin typeface="Arial" panose="020B0604020202090204" pitchFamily="34" charset="0"/>
                  <a:ea typeface="华文楷体" panose="02010600040101010101" pitchFamily="2" charset="-122"/>
                </a:endParaRPr>
              </a:p>
            </p:txBody>
          </p:sp>
        </p:grpSp>
        <p:grpSp>
          <p:nvGrpSpPr>
            <p:cNvPr id="108" name="islïḋé"/>
            <p:cNvGrpSpPr/>
            <p:nvPr/>
          </p:nvGrpSpPr>
          <p:grpSpPr>
            <a:xfrm>
              <a:off x="7008112" y="5145057"/>
              <a:ext cx="4510788" cy="969164"/>
              <a:chOff x="7877083" y="1318786"/>
              <a:chExt cx="3641817" cy="969164"/>
            </a:xfrm>
          </p:grpSpPr>
          <p:sp>
            <p:nvSpPr>
              <p:cNvPr id="109" name="ísḷîḓè"/>
              <p:cNvSpPr txBox="1"/>
              <p:nvPr/>
            </p:nvSpPr>
            <p:spPr>
              <a:xfrm>
                <a:off x="7877083" y="1318786"/>
                <a:ext cx="3641817" cy="392512"/>
              </a:xfrm>
              <a:prstGeom prst="rect">
                <a:avLst/>
              </a:prstGeom>
              <a:noFill/>
              <a:ln>
                <a:noFill/>
              </a:ln>
            </p:spPr>
            <p:txBody>
              <a:bodyPr wrap="square" lIns="91440" tIns="45720" rIns="91440" bIns="45720" anchor="t" anchorCtr="0">
                <a:normAutofit lnSpcReduction="10000"/>
              </a:bodyPr>
              <a:lstStyle/>
              <a:p>
                <a:pPr marL="0" marR="0" lvl="0" indent="0" algn="l" defTabSz="913765" rtl="0" eaLnBrk="1" fontAlgn="auto" latinLnBrk="0" hangingPunct="1">
                  <a:lnSpc>
                    <a:spcPct val="100000"/>
                  </a:lnSpc>
                  <a:spcBef>
                    <a:spcPts val="0"/>
                  </a:spcBef>
                  <a:spcAft>
                    <a:spcPts val="0"/>
                  </a:spcAft>
                  <a:buClrTx/>
                  <a:buSzPct val="25000"/>
                  <a:buFontTx/>
                  <a:buNone/>
                  <a:defRPr/>
                </a:pPr>
                <a:r>
                  <a:rPr kumimoji="0" lang="de-DE" sz="2000" b="1" i="0" u="none" strike="noStrike" kern="1200" cap="none" spc="0" normalizeH="0" baseline="0" noProof="0" dirty="0">
                    <a:ln>
                      <a:noFill/>
                    </a:ln>
                    <a:solidFill>
                      <a:srgbClr val="000000"/>
                    </a:solidFill>
                    <a:effectLst/>
                    <a:uLnTx/>
                    <a:uFillTx/>
                    <a:latin typeface="Arial" panose="020B0604020202090204" pitchFamily="34" charset="0"/>
                    <a:ea typeface="华文楷体" panose="02010600040101010101" pitchFamily="2" charset="-122"/>
                  </a:rPr>
                  <a:t>Te</a:t>
                </a:r>
                <a:r>
                  <a:rPr kumimoji="0" lang="de-DE" sz="100" b="1" i="0" u="none" strike="noStrike" kern="1200" cap="none" spc="0" normalizeH="0" baseline="0" noProof="0" dirty="0">
                    <a:ln>
                      <a:noFill/>
                    </a:ln>
                    <a:solidFill>
                      <a:srgbClr val="000000"/>
                    </a:solidFill>
                    <a:effectLst/>
                    <a:uLnTx/>
                    <a:uFillTx/>
                    <a:latin typeface="Arial" panose="020B0604020202090204" pitchFamily="34" charset="0"/>
                    <a:ea typeface="华文楷体" panose="02010600040101010101" pitchFamily="2" charset="-122"/>
                  </a:rPr>
                  <a:t> </a:t>
                </a:r>
                <a:r>
                  <a:rPr kumimoji="0" lang="de-DE" sz="2000" b="1" i="0" u="none" strike="noStrike" kern="1200" cap="none" spc="0" normalizeH="0" baseline="0" noProof="0" dirty="0">
                    <a:ln>
                      <a:noFill/>
                    </a:ln>
                    <a:solidFill>
                      <a:srgbClr val="000000"/>
                    </a:solidFill>
                    <a:effectLst/>
                    <a:uLnTx/>
                    <a:uFillTx/>
                    <a:latin typeface="Arial" panose="020B0604020202090204" pitchFamily="34" charset="0"/>
                    <a:ea typeface="华文楷体" panose="02010600040101010101" pitchFamily="2" charset="-122"/>
                  </a:rPr>
                  <a:t>xt here</a:t>
                </a:r>
                <a:endParaRPr kumimoji="0" lang="de-DE" sz="2000" b="1" i="0" u="none" strike="noStrike" kern="1200" cap="none" spc="0" normalizeH="0" baseline="0" noProof="0" dirty="0">
                  <a:ln>
                    <a:noFill/>
                  </a:ln>
                  <a:solidFill>
                    <a:srgbClr val="000000"/>
                  </a:solidFill>
                  <a:effectLst/>
                  <a:uLnTx/>
                  <a:uFillTx/>
                  <a:latin typeface="Arial" panose="020B0604020202090204" pitchFamily="34" charset="0"/>
                  <a:ea typeface="华文楷体" panose="02010600040101010101" pitchFamily="2" charset="-122"/>
                </a:endParaRPr>
              </a:p>
            </p:txBody>
          </p:sp>
          <p:sp>
            <p:nvSpPr>
              <p:cNvPr id="110" name="iṩľídè"/>
              <p:cNvSpPr txBox="1"/>
              <p:nvPr/>
            </p:nvSpPr>
            <p:spPr>
              <a:xfrm>
                <a:off x="7877083" y="1663032"/>
                <a:ext cx="3641817" cy="624918"/>
              </a:xfrm>
              <a:prstGeom prst="rect">
                <a:avLst/>
              </a:prstGeom>
              <a:noFill/>
              <a:ln>
                <a:noFill/>
              </a:ln>
            </p:spPr>
            <p:txBody>
              <a:bodyPr wrap="square" lIns="91440" tIns="45720" rIns="91440" bIns="45720" anchor="t" anchorCtr="0">
                <a:normAutofit/>
              </a:bodyPr>
              <a:lstStyle/>
              <a:p>
                <a:pPr marL="0" marR="0" lvl="0" indent="0" algn="l" defTabSz="913765" rtl="0" eaLnBrk="1" fontAlgn="auto" latinLnBrk="0" hangingPunct="1">
                  <a:lnSpc>
                    <a:spcPct val="150000"/>
                  </a:lnSpc>
                  <a:spcBef>
                    <a:spcPts val="0"/>
                  </a:spcBef>
                  <a:spcAft>
                    <a:spcPts val="0"/>
                  </a:spcAft>
                  <a:buClrTx/>
                  <a:buSzPct val="25000"/>
                  <a:buFontTx/>
                  <a:buNone/>
                  <a:defRPr/>
                </a:pPr>
                <a:r>
                  <a:rPr kumimoji="0" lang="en-US" sz="1000" b="0" i="0" u="none" strike="noStrike" kern="1200" cap="none" spc="0" normalizeH="0" baseline="0" noProof="0" dirty="0">
                    <a:ln>
                      <a:noFill/>
                    </a:ln>
                    <a:solidFill>
                      <a:srgbClr val="000000"/>
                    </a:solidFill>
                    <a:effectLst/>
                    <a:uLnTx/>
                    <a:uFillTx/>
                    <a:latin typeface="Arial" panose="020B0604020202090204" pitchFamily="34" charset="0"/>
                    <a:ea typeface="华文楷体" panose="02010600040101010101" pitchFamily="2" charset="-122"/>
                  </a:rPr>
                  <a:t>Copy past e fonts. Choose the only option to retain text.…</a:t>
                </a:r>
                <a:r>
                  <a:rPr kumimoji="0" lang="de-DE" sz="1000" b="0" i="0" u="none" strike="noStrike" kern="1200" cap="none" spc="0" normalizeH="0" baseline="0" noProof="0" dirty="0">
                    <a:ln>
                      <a:noFill/>
                    </a:ln>
                    <a:solidFill>
                      <a:srgbClr val="000000"/>
                    </a:solidFill>
                    <a:effectLst/>
                    <a:uLnTx/>
                    <a:uFillTx/>
                    <a:latin typeface="Arial" panose="020B0604020202090204" pitchFamily="34" charset="0"/>
                    <a:ea typeface="华文楷体" panose="02010600040101010101" pitchFamily="2" charset="-122"/>
                  </a:rPr>
                  <a:t>.</a:t>
                </a:r>
                <a:endParaRPr kumimoji="0" lang="de-DE" sz="1000" b="0" i="0" u="none" strike="noStrike" kern="1200" cap="none" spc="0" normalizeH="0" baseline="0" noProof="0" dirty="0">
                  <a:ln>
                    <a:noFill/>
                  </a:ln>
                  <a:solidFill>
                    <a:srgbClr val="000000"/>
                  </a:solidFill>
                  <a:effectLst/>
                  <a:uLnTx/>
                  <a:uFillTx/>
                  <a:latin typeface="Arial" panose="020B0604020202090204" pitchFamily="34" charset="0"/>
                  <a:ea typeface="华文楷体" panose="02010600040101010101" pitchFamily="2" charset="-122"/>
                </a:endParaRPr>
              </a:p>
            </p:txBody>
          </p:sp>
        </p:grpSp>
        <p:grpSp>
          <p:nvGrpSpPr>
            <p:cNvPr id="111" name="îśliḍé"/>
            <p:cNvGrpSpPr/>
            <p:nvPr/>
          </p:nvGrpSpPr>
          <p:grpSpPr>
            <a:xfrm>
              <a:off x="7008112" y="4049323"/>
              <a:ext cx="4510788" cy="969164"/>
              <a:chOff x="7877083" y="1318786"/>
              <a:chExt cx="3641817" cy="969164"/>
            </a:xfrm>
          </p:grpSpPr>
          <p:sp>
            <p:nvSpPr>
              <p:cNvPr id="112" name="iśḷíḋê"/>
              <p:cNvSpPr txBox="1"/>
              <p:nvPr/>
            </p:nvSpPr>
            <p:spPr>
              <a:xfrm>
                <a:off x="7877083" y="1318786"/>
                <a:ext cx="3641817" cy="392512"/>
              </a:xfrm>
              <a:prstGeom prst="rect">
                <a:avLst/>
              </a:prstGeom>
              <a:noFill/>
              <a:ln>
                <a:noFill/>
              </a:ln>
            </p:spPr>
            <p:txBody>
              <a:bodyPr wrap="square" lIns="91440" tIns="45720" rIns="91440" bIns="45720" anchor="t" anchorCtr="0">
                <a:normAutofit lnSpcReduction="10000"/>
              </a:bodyPr>
              <a:lstStyle/>
              <a:p>
                <a:pPr marL="0" marR="0" lvl="0" indent="0" algn="l" defTabSz="913765" rtl="0" eaLnBrk="1" fontAlgn="auto" latinLnBrk="0" hangingPunct="1">
                  <a:lnSpc>
                    <a:spcPct val="100000"/>
                  </a:lnSpc>
                  <a:spcBef>
                    <a:spcPts val="0"/>
                  </a:spcBef>
                  <a:spcAft>
                    <a:spcPts val="0"/>
                  </a:spcAft>
                  <a:buClrTx/>
                  <a:buSzPct val="25000"/>
                  <a:buFontTx/>
                  <a:buNone/>
                  <a:defRPr/>
                </a:pPr>
                <a:r>
                  <a:rPr kumimoji="0" lang="de-DE" sz="2000" b="1" i="0" u="none" strike="noStrike" kern="1200" cap="none" spc="0" normalizeH="0" baseline="0" noProof="0" dirty="0">
                    <a:ln>
                      <a:noFill/>
                    </a:ln>
                    <a:solidFill>
                      <a:srgbClr val="000000"/>
                    </a:solidFill>
                    <a:effectLst/>
                    <a:uLnTx/>
                    <a:uFillTx/>
                    <a:latin typeface="Arial" panose="020B0604020202090204" pitchFamily="34" charset="0"/>
                    <a:ea typeface="华文楷体" panose="02010600040101010101" pitchFamily="2" charset="-122"/>
                  </a:rPr>
                  <a:t>Te</a:t>
                </a:r>
                <a:r>
                  <a:rPr kumimoji="0" lang="de-DE" sz="100" b="1" i="0" u="none" strike="noStrike" kern="1200" cap="none" spc="0" normalizeH="0" baseline="0" noProof="0" dirty="0">
                    <a:ln>
                      <a:noFill/>
                    </a:ln>
                    <a:solidFill>
                      <a:srgbClr val="000000"/>
                    </a:solidFill>
                    <a:effectLst/>
                    <a:uLnTx/>
                    <a:uFillTx/>
                    <a:latin typeface="Arial" panose="020B0604020202090204" pitchFamily="34" charset="0"/>
                    <a:ea typeface="华文楷体" panose="02010600040101010101" pitchFamily="2" charset="-122"/>
                  </a:rPr>
                  <a:t> </a:t>
                </a:r>
                <a:r>
                  <a:rPr kumimoji="0" lang="de-DE" sz="2000" b="1" i="0" u="none" strike="noStrike" kern="1200" cap="none" spc="0" normalizeH="0" baseline="0" noProof="0" dirty="0">
                    <a:ln>
                      <a:noFill/>
                    </a:ln>
                    <a:solidFill>
                      <a:srgbClr val="000000"/>
                    </a:solidFill>
                    <a:effectLst/>
                    <a:uLnTx/>
                    <a:uFillTx/>
                    <a:latin typeface="Arial" panose="020B0604020202090204" pitchFamily="34" charset="0"/>
                    <a:ea typeface="华文楷体" panose="02010600040101010101" pitchFamily="2" charset="-122"/>
                  </a:rPr>
                  <a:t>xt here</a:t>
                </a:r>
                <a:endParaRPr kumimoji="0" lang="de-DE" sz="2000" b="1" i="0" u="none" strike="noStrike" kern="1200" cap="none" spc="0" normalizeH="0" baseline="0" noProof="0" dirty="0">
                  <a:ln>
                    <a:noFill/>
                  </a:ln>
                  <a:solidFill>
                    <a:srgbClr val="000000"/>
                  </a:solidFill>
                  <a:effectLst/>
                  <a:uLnTx/>
                  <a:uFillTx/>
                  <a:latin typeface="Arial" panose="020B0604020202090204" pitchFamily="34" charset="0"/>
                  <a:ea typeface="华文楷体" panose="02010600040101010101" pitchFamily="2" charset="-122"/>
                </a:endParaRPr>
              </a:p>
            </p:txBody>
          </p:sp>
          <p:sp>
            <p:nvSpPr>
              <p:cNvPr id="113" name="i$1îḍé"/>
              <p:cNvSpPr txBox="1"/>
              <p:nvPr/>
            </p:nvSpPr>
            <p:spPr>
              <a:xfrm>
                <a:off x="7877083" y="1663032"/>
                <a:ext cx="3641817" cy="624918"/>
              </a:xfrm>
              <a:prstGeom prst="rect">
                <a:avLst/>
              </a:prstGeom>
              <a:noFill/>
              <a:ln>
                <a:noFill/>
              </a:ln>
            </p:spPr>
            <p:txBody>
              <a:bodyPr wrap="square" lIns="91440" tIns="45720" rIns="91440" bIns="45720" anchor="t" anchorCtr="0">
                <a:normAutofit/>
              </a:bodyPr>
              <a:lstStyle/>
              <a:p>
                <a:pPr marL="0" marR="0" lvl="0" indent="0" algn="l" defTabSz="913765" rtl="0" eaLnBrk="1" fontAlgn="auto" latinLnBrk="0" hangingPunct="1">
                  <a:lnSpc>
                    <a:spcPct val="150000"/>
                  </a:lnSpc>
                  <a:spcBef>
                    <a:spcPts val="0"/>
                  </a:spcBef>
                  <a:spcAft>
                    <a:spcPts val="0"/>
                  </a:spcAft>
                  <a:buClrTx/>
                  <a:buSzPct val="25000"/>
                  <a:buFontTx/>
                  <a:buNone/>
                  <a:defRPr/>
                </a:pPr>
                <a:r>
                  <a:rPr kumimoji="0" lang="en-US" sz="1000" b="0" i="0" u="none" strike="noStrike" kern="1200" cap="none" spc="0" normalizeH="0" baseline="0" noProof="0" dirty="0">
                    <a:ln>
                      <a:noFill/>
                    </a:ln>
                    <a:solidFill>
                      <a:srgbClr val="000000"/>
                    </a:solidFill>
                    <a:effectLst/>
                    <a:uLnTx/>
                    <a:uFillTx/>
                    <a:latin typeface="Arial" panose="020B0604020202090204" pitchFamily="34" charset="0"/>
                    <a:ea typeface="华文楷体" panose="02010600040101010101" pitchFamily="2" charset="-122"/>
                  </a:rPr>
                  <a:t>Copy past e fonts. Choose the only option to retain text.…</a:t>
                </a:r>
                <a:r>
                  <a:rPr kumimoji="0" lang="de-DE" sz="1000" b="0" i="0" u="none" strike="noStrike" kern="1200" cap="none" spc="0" normalizeH="0" baseline="0" noProof="0" dirty="0">
                    <a:ln>
                      <a:noFill/>
                    </a:ln>
                    <a:solidFill>
                      <a:srgbClr val="000000"/>
                    </a:solidFill>
                    <a:effectLst/>
                    <a:uLnTx/>
                    <a:uFillTx/>
                    <a:latin typeface="Arial" panose="020B0604020202090204" pitchFamily="34" charset="0"/>
                    <a:ea typeface="华文楷体" panose="02010600040101010101" pitchFamily="2" charset="-122"/>
                  </a:rPr>
                  <a:t>.</a:t>
                </a:r>
                <a:endParaRPr kumimoji="0" lang="de-DE" sz="1000" b="0" i="0" u="none" strike="noStrike" kern="1200" cap="none" spc="0" normalizeH="0" baseline="0" noProof="0" dirty="0">
                  <a:ln>
                    <a:noFill/>
                  </a:ln>
                  <a:solidFill>
                    <a:srgbClr val="000000"/>
                  </a:solidFill>
                  <a:effectLst/>
                  <a:uLnTx/>
                  <a:uFillTx/>
                  <a:latin typeface="Arial" panose="020B0604020202090204" pitchFamily="34" charset="0"/>
                  <a:ea typeface="华文楷体" panose="02010600040101010101" pitchFamily="2" charset="-122"/>
                </a:endParaRPr>
              </a:p>
            </p:txBody>
          </p:sp>
        </p:grpSp>
      </p:grpSp>
      <p:sp>
        <p:nvSpPr>
          <p:cNvPr id="3" name="标题 2"/>
          <p:cNvSpPr>
            <a:spLocks noGrp="1"/>
          </p:cNvSpPr>
          <p:nvPr>
            <p:ph type="title"/>
          </p:nvPr>
        </p:nvSpPr>
        <p:spPr/>
        <p:txBody>
          <a:bodyPr/>
          <a:lstStyle/>
          <a:p>
            <a:endParaRPr lang="zh-CN" altLang="en-US"/>
          </a:p>
        </p:txBody>
      </p:sp>
    </p:spTree>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ïṧḻîde"/>
        <p:cNvGrpSpPr/>
        <p:nvPr/>
      </p:nvGrpSpPr>
      <p:grpSpPr>
        <a:xfrm>
          <a:off x="0" y="0"/>
          <a:ext cx="0" cy="0"/>
          <a:chOff x="0" y="0"/>
          <a:chExt cx="0" cy="0"/>
        </a:xfrm>
      </p:grpSpPr>
      <p:grpSp>
        <p:nvGrpSpPr>
          <p:cNvPr id="2" name="iŝlíḑê"/>
          <p:cNvGrpSpPr/>
          <p:nvPr/>
        </p:nvGrpSpPr>
        <p:grpSpPr>
          <a:xfrm>
            <a:off x="804863" y="1435100"/>
            <a:ext cx="10582274" cy="4330700"/>
            <a:chOff x="804863" y="1435100"/>
            <a:chExt cx="10582274" cy="4330700"/>
          </a:xfrm>
        </p:grpSpPr>
        <p:cxnSp>
          <p:nvCxnSpPr>
            <p:cNvPr id="27" name="ïṩ1iḍè"/>
            <p:cNvCxnSpPr>
              <a:stCxn id="5" idx="2"/>
              <a:endCxn id="13" idx="0"/>
            </p:cNvCxnSpPr>
            <p:nvPr/>
          </p:nvCxnSpPr>
          <p:spPr>
            <a:xfrm rot="5400000">
              <a:off x="5749086" y="2216640"/>
              <a:ext cx="693830" cy="1"/>
            </a:xfrm>
            <a:prstGeom prst="bentConnector3">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9" name="îṣlïďe"/>
            <p:cNvCxnSpPr>
              <a:stCxn id="5" idx="2"/>
              <a:endCxn id="11" idx="0"/>
            </p:cNvCxnSpPr>
            <p:nvPr/>
          </p:nvCxnSpPr>
          <p:spPr>
            <a:xfrm rot="5400000">
              <a:off x="4673555" y="1141109"/>
              <a:ext cx="693830" cy="2151063"/>
            </a:xfrm>
            <a:prstGeom prst="bentConnector3">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31" name="i$1ïḑè"/>
            <p:cNvCxnSpPr>
              <a:stCxn id="5" idx="2"/>
              <a:endCxn id="7" idx="0"/>
            </p:cNvCxnSpPr>
            <p:nvPr/>
          </p:nvCxnSpPr>
          <p:spPr>
            <a:xfrm rot="5400000">
              <a:off x="3598024" y="65578"/>
              <a:ext cx="693830" cy="4302125"/>
            </a:xfrm>
            <a:prstGeom prst="bentConnector3">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33" name="ïṥ1ídé"/>
            <p:cNvCxnSpPr>
              <a:stCxn id="5" idx="2"/>
              <a:endCxn id="15" idx="0"/>
            </p:cNvCxnSpPr>
            <p:nvPr/>
          </p:nvCxnSpPr>
          <p:spPr>
            <a:xfrm rot="16200000" flipH="1">
              <a:off x="6824616" y="1141109"/>
              <a:ext cx="693830" cy="2151061"/>
            </a:xfrm>
            <a:prstGeom prst="bentConnector3">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35" name="íš1iḑê"/>
            <p:cNvCxnSpPr>
              <a:stCxn id="5" idx="2"/>
              <a:endCxn id="17" idx="0"/>
            </p:cNvCxnSpPr>
            <p:nvPr/>
          </p:nvCxnSpPr>
          <p:spPr>
            <a:xfrm rot="16200000" flipH="1">
              <a:off x="7900148" y="65578"/>
              <a:ext cx="693830" cy="4302124"/>
            </a:xfrm>
            <a:prstGeom prst="bentConnector3">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5" name="iṥlîďê"/>
            <p:cNvSpPr/>
            <p:nvPr/>
          </p:nvSpPr>
          <p:spPr>
            <a:xfrm>
              <a:off x="5106988" y="1435100"/>
              <a:ext cx="1978025" cy="434625"/>
            </a:xfrm>
            <a:prstGeom prst="roundRect">
              <a:avLst/>
            </a:prstGeom>
            <a:solidFill>
              <a:schemeClr val="accent1"/>
            </a:solidFill>
            <a:ln w="12700" cap="rnd">
              <a:noFill/>
              <a:prstDash val="solid"/>
              <a:round/>
            </a:ln>
            <a:effectLst>
              <a:outerShdw blurRad="254000" dist="127000" algn="ctr" rotWithShape="0">
                <a:schemeClr val="accent1">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p>
              <a:pPr algn="ctr" defTabSz="914400"/>
              <a:r>
                <a:rPr lang="en-US" altLang="zh-CN" sz="1400" b="1" dirty="0">
                  <a:solidFill>
                    <a:schemeClr val="bg1"/>
                  </a:solidFill>
                  <a:latin typeface="Arial" panose="020B0604020202090204" pitchFamily="34" charset="0"/>
                  <a:ea typeface="华文楷体" panose="02010600040101010101" pitchFamily="2" charset="-122"/>
                </a:rPr>
                <a:t>Text here</a:t>
              </a:r>
              <a:endParaRPr lang="en-US" altLang="zh-CN" sz="1400" b="1" dirty="0">
                <a:solidFill>
                  <a:schemeClr val="bg1"/>
                </a:solidFill>
                <a:latin typeface="Arial" panose="020B0604020202090204" pitchFamily="34" charset="0"/>
                <a:ea typeface="华文楷体" panose="02010600040101010101" pitchFamily="2" charset="-122"/>
              </a:endParaRPr>
            </a:p>
          </p:txBody>
        </p:sp>
        <p:grpSp>
          <p:nvGrpSpPr>
            <p:cNvPr id="24" name="iSļîḑe"/>
            <p:cNvGrpSpPr/>
            <p:nvPr/>
          </p:nvGrpSpPr>
          <p:grpSpPr>
            <a:xfrm>
              <a:off x="804863" y="2563555"/>
              <a:ext cx="1978025" cy="3202245"/>
              <a:chOff x="660401" y="2258755"/>
              <a:chExt cx="1978025" cy="3202245"/>
            </a:xfrm>
          </p:grpSpPr>
          <p:sp>
            <p:nvSpPr>
              <p:cNvPr id="7" name="ïśḻiḍê"/>
              <p:cNvSpPr/>
              <p:nvPr/>
            </p:nvSpPr>
            <p:spPr>
              <a:xfrm>
                <a:off x="660401" y="2258755"/>
                <a:ext cx="1978025" cy="434625"/>
              </a:xfrm>
              <a:prstGeom prst="roundRect">
                <a:avLst/>
              </a:prstGeom>
              <a:solidFill>
                <a:schemeClr val="accent3"/>
              </a:solidFill>
              <a:ln w="12700" cap="rnd">
                <a:noFill/>
                <a:prstDash val="solid"/>
                <a:round/>
              </a:ln>
              <a:effectLst>
                <a:outerShdw blurRad="254000" dist="127000" algn="ctr" rotWithShape="0">
                  <a:schemeClr val="accent3">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r>
                  <a:rPr lang="en-US" altLang="zh-CN" sz="1400" b="1" dirty="0">
                    <a:solidFill>
                      <a:schemeClr val="bg1"/>
                    </a:solidFill>
                    <a:latin typeface="Arial" panose="020B0604020202090204" pitchFamily="34" charset="0"/>
                    <a:ea typeface="华文楷体" panose="02010600040101010101" pitchFamily="2" charset="-122"/>
                  </a:rPr>
                  <a:t>Text here</a:t>
                </a:r>
                <a:endParaRPr lang="en-US" altLang="zh-CN" sz="1400" b="1" dirty="0">
                  <a:solidFill>
                    <a:schemeClr val="bg1"/>
                  </a:solidFill>
                  <a:latin typeface="Arial" panose="020B0604020202090204" pitchFamily="34" charset="0"/>
                  <a:ea typeface="华文楷体" panose="02010600040101010101" pitchFamily="2" charset="-122"/>
                </a:endParaRPr>
              </a:p>
            </p:txBody>
          </p:sp>
          <p:sp>
            <p:nvSpPr>
              <p:cNvPr id="8" name="íṥ1iḍè"/>
              <p:cNvSpPr/>
              <p:nvPr/>
            </p:nvSpPr>
            <p:spPr>
              <a:xfrm>
                <a:off x="660401" y="2791175"/>
                <a:ext cx="1978025" cy="2669825"/>
              </a:xfrm>
              <a:prstGeom prst="roundRect">
                <a:avLst>
                  <a:gd name="adj" fmla="val 3665"/>
                </a:avLst>
              </a:prstGeom>
              <a:solidFill>
                <a:schemeClr val="bg1">
                  <a:lumMod val="95000"/>
                </a:schemeClr>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noAutofit/>
              </a:bodyPr>
              <a:lstStyle/>
              <a:p>
                <a:pPr marL="171450" indent="-171450">
                  <a:lnSpc>
                    <a:spcPct val="150000"/>
                  </a:lnSpc>
                  <a:spcBef>
                    <a:spcPts val="1000"/>
                  </a:spcBef>
                  <a:buFont typeface="Arial" panose="020B0604020202090204" pitchFamily="34" charset="0"/>
                  <a:buChar char="•"/>
                </a:pPr>
                <a:r>
                  <a:rPr lang="en-US" altLang="zh-CN" sz="1000" dirty="0">
                    <a:solidFill>
                      <a:schemeClr val="tx1">
                        <a:lumMod val="65000"/>
                        <a:lumOff val="35000"/>
                      </a:schemeClr>
                    </a:solidFill>
                    <a:latin typeface="Arial" panose="020B0604020202090204" pitchFamily="34" charset="0"/>
                    <a:ea typeface="华文楷体" panose="02010600040101010101" pitchFamily="2" charset="-122"/>
                  </a:rPr>
                  <a:t>Theme color makes PPT more convenient to change.</a:t>
                </a:r>
                <a:endParaRPr lang="en-US" altLang="zh-CN" sz="1000" dirty="0">
                  <a:solidFill>
                    <a:schemeClr val="tx1">
                      <a:lumMod val="65000"/>
                      <a:lumOff val="35000"/>
                    </a:schemeClr>
                  </a:solidFill>
                  <a:latin typeface="Arial" panose="020B0604020202090204" pitchFamily="34" charset="0"/>
                  <a:ea typeface="华文楷体" panose="02010600040101010101" pitchFamily="2" charset="-122"/>
                </a:endParaRPr>
              </a:p>
              <a:p>
                <a:pPr marL="171450" indent="-171450">
                  <a:lnSpc>
                    <a:spcPct val="150000"/>
                  </a:lnSpc>
                  <a:spcBef>
                    <a:spcPts val="1000"/>
                  </a:spcBef>
                  <a:buFont typeface="Arial" panose="020B0604020202090204" pitchFamily="34" charset="0"/>
                  <a:buChar char="•"/>
                </a:pPr>
                <a:r>
                  <a:rPr lang="en-US" altLang="zh-CN" sz="1000" dirty="0">
                    <a:solidFill>
                      <a:schemeClr val="tx1">
                        <a:lumMod val="65000"/>
                        <a:lumOff val="35000"/>
                      </a:schemeClr>
                    </a:solidFill>
                    <a:latin typeface="Arial" panose="020B0604020202090204" pitchFamily="34" charset="0"/>
                    <a:ea typeface="华文楷体" panose="02010600040101010101" pitchFamily="2" charset="-122"/>
                  </a:rPr>
                  <a:t>Adjust the spacing to adapt to Chinese typesetting.</a:t>
                </a:r>
                <a:endParaRPr lang="en-US" altLang="zh-CN" sz="1000" dirty="0">
                  <a:solidFill>
                    <a:schemeClr val="tx1">
                      <a:lumMod val="65000"/>
                      <a:lumOff val="35000"/>
                    </a:schemeClr>
                  </a:solidFill>
                  <a:latin typeface="Arial" panose="020B0604020202090204" pitchFamily="34" charset="0"/>
                  <a:ea typeface="华文楷体" panose="02010600040101010101" pitchFamily="2" charset="-122"/>
                </a:endParaRPr>
              </a:p>
              <a:p>
                <a:pPr marL="171450" indent="-171450">
                  <a:lnSpc>
                    <a:spcPct val="150000"/>
                  </a:lnSpc>
                  <a:spcBef>
                    <a:spcPts val="1000"/>
                  </a:spcBef>
                  <a:buFont typeface="Arial" panose="020B0604020202090204" pitchFamily="34" charset="0"/>
                  <a:buChar char="•"/>
                </a:pPr>
                <a:r>
                  <a:rPr lang="en-US" altLang="zh-CN" sz="1000" dirty="0">
                    <a:solidFill>
                      <a:schemeClr val="tx1">
                        <a:lumMod val="65000"/>
                        <a:lumOff val="35000"/>
                      </a:schemeClr>
                    </a:solidFill>
                    <a:latin typeface="Arial" panose="020B0604020202090204" pitchFamily="34" charset="0"/>
                    <a:ea typeface="华文楷体" panose="02010600040101010101" pitchFamily="2" charset="-122"/>
                  </a:rPr>
                  <a:t>use the reference line in PPT.</a:t>
                </a:r>
                <a:endParaRPr lang="en-US" altLang="zh-CN" sz="1000" dirty="0">
                  <a:solidFill>
                    <a:schemeClr val="tx1">
                      <a:lumMod val="65000"/>
                      <a:lumOff val="35000"/>
                    </a:schemeClr>
                  </a:solidFill>
                  <a:latin typeface="Arial" panose="020B0604020202090204" pitchFamily="34" charset="0"/>
                  <a:ea typeface="华文楷体" panose="02010600040101010101" pitchFamily="2" charset="-122"/>
                </a:endParaRPr>
              </a:p>
              <a:p>
                <a:pPr marL="171450" indent="-171450">
                  <a:lnSpc>
                    <a:spcPct val="150000"/>
                  </a:lnSpc>
                  <a:spcBef>
                    <a:spcPts val="1000"/>
                  </a:spcBef>
                  <a:buFont typeface="Arial" panose="020B0604020202090204" pitchFamily="34" charset="0"/>
                  <a:buChar char="•"/>
                </a:pPr>
                <a:r>
                  <a:rPr lang="en-US" altLang="zh-CN" sz="1000" dirty="0">
                    <a:solidFill>
                      <a:schemeClr val="tx1">
                        <a:lumMod val="65000"/>
                        <a:lumOff val="35000"/>
                      </a:schemeClr>
                    </a:solidFill>
                    <a:latin typeface="Arial" panose="020B0604020202090204" pitchFamily="34" charset="0"/>
                    <a:ea typeface="华文楷体" panose="02010600040101010101" pitchFamily="2" charset="-122"/>
                  </a:rPr>
                  <a:t>… … </a:t>
                </a:r>
                <a:endParaRPr lang="en-US" altLang="zh-CN" sz="1000" dirty="0">
                  <a:solidFill>
                    <a:schemeClr val="tx1">
                      <a:lumMod val="65000"/>
                      <a:lumOff val="35000"/>
                    </a:schemeClr>
                  </a:solidFill>
                  <a:latin typeface="Arial" panose="020B0604020202090204" pitchFamily="34" charset="0"/>
                  <a:ea typeface="华文楷体" panose="02010600040101010101" pitchFamily="2" charset="-122"/>
                </a:endParaRPr>
              </a:p>
            </p:txBody>
          </p:sp>
        </p:grpSp>
        <p:grpSp>
          <p:nvGrpSpPr>
            <p:cNvPr id="23" name="iṧḻiḓê"/>
            <p:cNvGrpSpPr/>
            <p:nvPr/>
          </p:nvGrpSpPr>
          <p:grpSpPr>
            <a:xfrm>
              <a:off x="2955925" y="2563555"/>
              <a:ext cx="1978025" cy="3202245"/>
              <a:chOff x="2794001" y="2258755"/>
              <a:chExt cx="1978025" cy="3202245"/>
            </a:xfrm>
          </p:grpSpPr>
          <p:sp>
            <p:nvSpPr>
              <p:cNvPr id="11" name="iṩlïḑe"/>
              <p:cNvSpPr/>
              <p:nvPr/>
            </p:nvSpPr>
            <p:spPr>
              <a:xfrm>
                <a:off x="2794001" y="2258755"/>
                <a:ext cx="1978025" cy="434625"/>
              </a:xfrm>
              <a:prstGeom prst="roundRect">
                <a:avLst/>
              </a:prstGeom>
              <a:solidFill>
                <a:schemeClr val="accent4"/>
              </a:solidFill>
              <a:ln w="12700" cap="rnd">
                <a:noFill/>
                <a:prstDash val="solid"/>
                <a:round/>
              </a:ln>
              <a:effectLst>
                <a:outerShdw blurRad="254000" dist="127000" algn="ctr" rotWithShape="0">
                  <a:schemeClr val="accent4">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r>
                  <a:rPr lang="en-US" altLang="zh-CN" sz="1400" b="1" dirty="0">
                    <a:solidFill>
                      <a:schemeClr val="bg1"/>
                    </a:solidFill>
                    <a:latin typeface="Arial" panose="020B0604020202090204" pitchFamily="34" charset="0"/>
                    <a:ea typeface="华文楷体" panose="02010600040101010101" pitchFamily="2" charset="-122"/>
                  </a:rPr>
                  <a:t>Text here</a:t>
                </a:r>
                <a:endParaRPr lang="en-US" altLang="zh-CN" sz="1400" b="1" dirty="0">
                  <a:solidFill>
                    <a:schemeClr val="bg1"/>
                  </a:solidFill>
                  <a:latin typeface="Arial" panose="020B0604020202090204" pitchFamily="34" charset="0"/>
                  <a:ea typeface="华文楷体" panose="02010600040101010101" pitchFamily="2" charset="-122"/>
                </a:endParaRPr>
              </a:p>
            </p:txBody>
          </p:sp>
          <p:sp>
            <p:nvSpPr>
              <p:cNvPr id="12" name="iSľiḓe"/>
              <p:cNvSpPr/>
              <p:nvPr/>
            </p:nvSpPr>
            <p:spPr>
              <a:xfrm>
                <a:off x="2794001" y="2791175"/>
                <a:ext cx="1978025" cy="2669825"/>
              </a:xfrm>
              <a:prstGeom prst="roundRect">
                <a:avLst>
                  <a:gd name="adj" fmla="val 3665"/>
                </a:avLst>
              </a:prstGeom>
              <a:solidFill>
                <a:schemeClr val="bg1">
                  <a:lumMod val="95000"/>
                </a:schemeClr>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noAutofit/>
              </a:bodyPr>
              <a:lstStyle/>
              <a:p>
                <a:pPr marL="171450" indent="-171450">
                  <a:lnSpc>
                    <a:spcPct val="150000"/>
                  </a:lnSpc>
                  <a:spcBef>
                    <a:spcPts val="1000"/>
                  </a:spcBef>
                  <a:buFont typeface="Arial" panose="020B0604020202090204" pitchFamily="34" charset="0"/>
                  <a:buChar char="•"/>
                </a:pPr>
                <a:r>
                  <a:rPr lang="en-US" altLang="zh-CN" sz="1000" dirty="0">
                    <a:solidFill>
                      <a:schemeClr val="tx1">
                        <a:lumMod val="65000"/>
                        <a:lumOff val="35000"/>
                      </a:schemeClr>
                    </a:solidFill>
                    <a:latin typeface="Arial" panose="020B0604020202090204" pitchFamily="34" charset="0"/>
                    <a:ea typeface="华文楷体" panose="02010600040101010101" pitchFamily="2" charset="-122"/>
                  </a:rPr>
                  <a:t>Theme color makes PPT more convenient to change.</a:t>
                </a:r>
                <a:endParaRPr lang="en-US" altLang="zh-CN" sz="1000" dirty="0">
                  <a:solidFill>
                    <a:schemeClr val="tx1">
                      <a:lumMod val="65000"/>
                      <a:lumOff val="35000"/>
                    </a:schemeClr>
                  </a:solidFill>
                  <a:latin typeface="Arial" panose="020B0604020202090204" pitchFamily="34" charset="0"/>
                  <a:ea typeface="华文楷体" panose="02010600040101010101" pitchFamily="2" charset="-122"/>
                </a:endParaRPr>
              </a:p>
              <a:p>
                <a:pPr marL="171450" indent="-171450">
                  <a:lnSpc>
                    <a:spcPct val="150000"/>
                  </a:lnSpc>
                  <a:spcBef>
                    <a:spcPts val="1000"/>
                  </a:spcBef>
                  <a:buFont typeface="Arial" panose="020B0604020202090204" pitchFamily="34" charset="0"/>
                  <a:buChar char="•"/>
                </a:pPr>
                <a:r>
                  <a:rPr lang="en-US" altLang="zh-CN" sz="1000" dirty="0">
                    <a:solidFill>
                      <a:schemeClr val="tx1">
                        <a:lumMod val="65000"/>
                        <a:lumOff val="35000"/>
                      </a:schemeClr>
                    </a:solidFill>
                    <a:latin typeface="Arial" panose="020B0604020202090204" pitchFamily="34" charset="0"/>
                    <a:ea typeface="华文楷体" panose="02010600040101010101" pitchFamily="2" charset="-122"/>
                  </a:rPr>
                  <a:t>Adjust the spacing to adapt to Chinese typesetting.</a:t>
                </a:r>
                <a:endParaRPr lang="en-US" altLang="zh-CN" sz="1000" dirty="0">
                  <a:solidFill>
                    <a:schemeClr val="tx1">
                      <a:lumMod val="65000"/>
                      <a:lumOff val="35000"/>
                    </a:schemeClr>
                  </a:solidFill>
                  <a:latin typeface="Arial" panose="020B0604020202090204" pitchFamily="34" charset="0"/>
                  <a:ea typeface="华文楷体" panose="02010600040101010101" pitchFamily="2" charset="-122"/>
                </a:endParaRPr>
              </a:p>
              <a:p>
                <a:pPr marL="171450" indent="-171450">
                  <a:lnSpc>
                    <a:spcPct val="150000"/>
                  </a:lnSpc>
                  <a:spcBef>
                    <a:spcPts val="1000"/>
                  </a:spcBef>
                  <a:buFont typeface="Arial" panose="020B0604020202090204" pitchFamily="34" charset="0"/>
                  <a:buChar char="•"/>
                </a:pPr>
                <a:r>
                  <a:rPr lang="en-US" altLang="zh-CN" sz="1000" dirty="0">
                    <a:solidFill>
                      <a:schemeClr val="tx1">
                        <a:lumMod val="65000"/>
                        <a:lumOff val="35000"/>
                      </a:schemeClr>
                    </a:solidFill>
                    <a:latin typeface="Arial" panose="020B0604020202090204" pitchFamily="34" charset="0"/>
                    <a:ea typeface="华文楷体" panose="02010600040101010101" pitchFamily="2" charset="-122"/>
                  </a:rPr>
                  <a:t>use the reference line in PPT.</a:t>
                </a:r>
                <a:endParaRPr lang="en-US" altLang="zh-CN" sz="1000" dirty="0">
                  <a:solidFill>
                    <a:schemeClr val="tx1">
                      <a:lumMod val="65000"/>
                      <a:lumOff val="35000"/>
                    </a:schemeClr>
                  </a:solidFill>
                  <a:latin typeface="Arial" panose="020B0604020202090204" pitchFamily="34" charset="0"/>
                  <a:ea typeface="华文楷体" panose="02010600040101010101" pitchFamily="2" charset="-122"/>
                </a:endParaRPr>
              </a:p>
              <a:p>
                <a:pPr marL="171450" indent="-171450">
                  <a:lnSpc>
                    <a:spcPct val="150000"/>
                  </a:lnSpc>
                  <a:spcBef>
                    <a:spcPts val="1000"/>
                  </a:spcBef>
                  <a:buFont typeface="Arial" panose="020B0604020202090204" pitchFamily="34" charset="0"/>
                  <a:buChar char="•"/>
                </a:pPr>
                <a:r>
                  <a:rPr lang="en-US" altLang="zh-CN" sz="1000" dirty="0">
                    <a:solidFill>
                      <a:schemeClr val="tx1">
                        <a:lumMod val="65000"/>
                        <a:lumOff val="35000"/>
                      </a:schemeClr>
                    </a:solidFill>
                    <a:latin typeface="Arial" panose="020B0604020202090204" pitchFamily="34" charset="0"/>
                    <a:ea typeface="华文楷体" panose="02010600040101010101" pitchFamily="2" charset="-122"/>
                  </a:rPr>
                  <a:t>… … </a:t>
                </a:r>
                <a:endParaRPr lang="en-US" altLang="zh-CN" sz="1000" dirty="0">
                  <a:solidFill>
                    <a:schemeClr val="tx1">
                      <a:lumMod val="65000"/>
                      <a:lumOff val="35000"/>
                    </a:schemeClr>
                  </a:solidFill>
                  <a:latin typeface="Arial" panose="020B0604020202090204" pitchFamily="34" charset="0"/>
                  <a:ea typeface="华文楷体" panose="02010600040101010101" pitchFamily="2" charset="-122"/>
                </a:endParaRPr>
              </a:p>
            </p:txBody>
          </p:sp>
        </p:grpSp>
        <p:grpSp>
          <p:nvGrpSpPr>
            <p:cNvPr id="22" name="işḻïḍe"/>
            <p:cNvGrpSpPr/>
            <p:nvPr/>
          </p:nvGrpSpPr>
          <p:grpSpPr>
            <a:xfrm>
              <a:off x="5106987" y="2563555"/>
              <a:ext cx="1978025" cy="3202245"/>
              <a:chOff x="4927601" y="2258755"/>
              <a:chExt cx="1978025" cy="3202245"/>
            </a:xfrm>
          </p:grpSpPr>
          <p:sp>
            <p:nvSpPr>
              <p:cNvPr id="13" name="islïdé"/>
              <p:cNvSpPr/>
              <p:nvPr/>
            </p:nvSpPr>
            <p:spPr>
              <a:xfrm>
                <a:off x="4927601" y="2258755"/>
                <a:ext cx="1978025" cy="434625"/>
              </a:xfrm>
              <a:prstGeom prst="roundRect">
                <a:avLst/>
              </a:prstGeom>
              <a:solidFill>
                <a:schemeClr val="accent6"/>
              </a:solidFill>
              <a:ln w="12700" cap="rnd">
                <a:noFill/>
                <a:prstDash val="solid"/>
                <a:round/>
              </a:ln>
              <a:effectLst>
                <a:outerShdw blurRad="254000" dist="127000" algn="ctr" rotWithShape="0">
                  <a:schemeClr val="accent6">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p>
                <a:pPr algn="ctr" defTabSz="914400"/>
                <a:r>
                  <a:rPr lang="en-US" altLang="zh-CN" sz="1400" b="1" dirty="0">
                    <a:solidFill>
                      <a:schemeClr val="bg1"/>
                    </a:solidFill>
                    <a:latin typeface="Arial" panose="020B0604020202090204" pitchFamily="34" charset="0"/>
                    <a:ea typeface="华文楷体" panose="02010600040101010101" pitchFamily="2" charset="-122"/>
                  </a:rPr>
                  <a:t>Text here</a:t>
                </a:r>
                <a:endParaRPr lang="en-US" altLang="zh-CN" sz="1400" b="1" dirty="0">
                  <a:solidFill>
                    <a:schemeClr val="bg1"/>
                  </a:solidFill>
                  <a:latin typeface="Arial" panose="020B0604020202090204" pitchFamily="34" charset="0"/>
                  <a:ea typeface="华文楷体" panose="02010600040101010101" pitchFamily="2" charset="-122"/>
                </a:endParaRPr>
              </a:p>
            </p:txBody>
          </p:sp>
          <p:sp>
            <p:nvSpPr>
              <p:cNvPr id="14" name="iś1iḑê"/>
              <p:cNvSpPr/>
              <p:nvPr/>
            </p:nvSpPr>
            <p:spPr>
              <a:xfrm>
                <a:off x="4927601" y="2791175"/>
                <a:ext cx="1978025" cy="2669825"/>
              </a:xfrm>
              <a:prstGeom prst="roundRect">
                <a:avLst>
                  <a:gd name="adj" fmla="val 3665"/>
                </a:avLst>
              </a:prstGeom>
              <a:solidFill>
                <a:schemeClr val="bg1">
                  <a:lumMod val="95000"/>
                </a:schemeClr>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noAutofit/>
              </a:bodyPr>
              <a:lstStyle/>
              <a:p>
                <a:pPr marL="171450" indent="-171450">
                  <a:lnSpc>
                    <a:spcPct val="150000"/>
                  </a:lnSpc>
                  <a:spcBef>
                    <a:spcPts val="1000"/>
                  </a:spcBef>
                  <a:buFont typeface="Arial" panose="020B0604020202090204" pitchFamily="34" charset="0"/>
                  <a:buChar char="•"/>
                </a:pPr>
                <a:r>
                  <a:rPr lang="en-US" altLang="zh-CN" sz="1000" dirty="0">
                    <a:solidFill>
                      <a:schemeClr val="tx1">
                        <a:lumMod val="65000"/>
                        <a:lumOff val="35000"/>
                      </a:schemeClr>
                    </a:solidFill>
                    <a:latin typeface="Arial" panose="020B0604020202090204" pitchFamily="34" charset="0"/>
                    <a:ea typeface="华文楷体" panose="02010600040101010101" pitchFamily="2" charset="-122"/>
                  </a:rPr>
                  <a:t>Theme color makes PPT more convenient to change.</a:t>
                </a:r>
                <a:endParaRPr lang="en-US" altLang="zh-CN" sz="1000" dirty="0">
                  <a:solidFill>
                    <a:schemeClr val="tx1">
                      <a:lumMod val="65000"/>
                      <a:lumOff val="35000"/>
                    </a:schemeClr>
                  </a:solidFill>
                  <a:latin typeface="Arial" panose="020B0604020202090204" pitchFamily="34" charset="0"/>
                  <a:ea typeface="华文楷体" panose="02010600040101010101" pitchFamily="2" charset="-122"/>
                </a:endParaRPr>
              </a:p>
              <a:p>
                <a:pPr marL="171450" indent="-171450">
                  <a:lnSpc>
                    <a:spcPct val="150000"/>
                  </a:lnSpc>
                  <a:spcBef>
                    <a:spcPts val="1000"/>
                  </a:spcBef>
                  <a:buFont typeface="Arial" panose="020B0604020202090204" pitchFamily="34" charset="0"/>
                  <a:buChar char="•"/>
                </a:pPr>
                <a:r>
                  <a:rPr lang="en-US" altLang="zh-CN" sz="1000" dirty="0">
                    <a:solidFill>
                      <a:schemeClr val="tx1">
                        <a:lumMod val="65000"/>
                        <a:lumOff val="35000"/>
                      </a:schemeClr>
                    </a:solidFill>
                    <a:latin typeface="Arial" panose="020B0604020202090204" pitchFamily="34" charset="0"/>
                    <a:ea typeface="华文楷体" panose="02010600040101010101" pitchFamily="2" charset="-122"/>
                  </a:rPr>
                  <a:t>Adjust the spacing to adapt to Chinese typesetting.</a:t>
                </a:r>
                <a:endParaRPr lang="en-US" altLang="zh-CN" sz="1000" dirty="0">
                  <a:solidFill>
                    <a:schemeClr val="tx1">
                      <a:lumMod val="65000"/>
                      <a:lumOff val="35000"/>
                    </a:schemeClr>
                  </a:solidFill>
                  <a:latin typeface="Arial" panose="020B0604020202090204" pitchFamily="34" charset="0"/>
                  <a:ea typeface="华文楷体" panose="02010600040101010101" pitchFamily="2" charset="-122"/>
                </a:endParaRPr>
              </a:p>
              <a:p>
                <a:pPr marL="171450" indent="-171450">
                  <a:lnSpc>
                    <a:spcPct val="150000"/>
                  </a:lnSpc>
                  <a:spcBef>
                    <a:spcPts val="1000"/>
                  </a:spcBef>
                  <a:buFont typeface="Arial" panose="020B0604020202090204" pitchFamily="34" charset="0"/>
                  <a:buChar char="•"/>
                </a:pPr>
                <a:r>
                  <a:rPr lang="en-US" altLang="zh-CN" sz="1000" dirty="0">
                    <a:solidFill>
                      <a:schemeClr val="tx1">
                        <a:lumMod val="65000"/>
                        <a:lumOff val="35000"/>
                      </a:schemeClr>
                    </a:solidFill>
                    <a:latin typeface="Arial" panose="020B0604020202090204" pitchFamily="34" charset="0"/>
                    <a:ea typeface="华文楷体" panose="02010600040101010101" pitchFamily="2" charset="-122"/>
                  </a:rPr>
                  <a:t>use the reference line in PPT.</a:t>
                </a:r>
                <a:endParaRPr lang="en-US" altLang="zh-CN" sz="1000" dirty="0">
                  <a:solidFill>
                    <a:schemeClr val="tx1">
                      <a:lumMod val="65000"/>
                      <a:lumOff val="35000"/>
                    </a:schemeClr>
                  </a:solidFill>
                  <a:latin typeface="Arial" panose="020B0604020202090204" pitchFamily="34" charset="0"/>
                  <a:ea typeface="华文楷体" panose="02010600040101010101" pitchFamily="2" charset="-122"/>
                </a:endParaRPr>
              </a:p>
              <a:p>
                <a:pPr marL="171450" indent="-171450">
                  <a:lnSpc>
                    <a:spcPct val="150000"/>
                  </a:lnSpc>
                  <a:spcBef>
                    <a:spcPts val="1000"/>
                  </a:spcBef>
                  <a:buFont typeface="Arial" panose="020B0604020202090204" pitchFamily="34" charset="0"/>
                  <a:buChar char="•"/>
                </a:pPr>
                <a:r>
                  <a:rPr lang="en-US" altLang="zh-CN" sz="1000" dirty="0">
                    <a:solidFill>
                      <a:schemeClr val="tx1">
                        <a:lumMod val="65000"/>
                        <a:lumOff val="35000"/>
                      </a:schemeClr>
                    </a:solidFill>
                    <a:latin typeface="Arial" panose="020B0604020202090204" pitchFamily="34" charset="0"/>
                    <a:ea typeface="华文楷体" panose="02010600040101010101" pitchFamily="2" charset="-122"/>
                  </a:rPr>
                  <a:t>… … </a:t>
                </a:r>
                <a:endParaRPr lang="en-US" altLang="zh-CN" sz="1000" dirty="0">
                  <a:solidFill>
                    <a:schemeClr val="tx1">
                      <a:lumMod val="65000"/>
                      <a:lumOff val="35000"/>
                    </a:schemeClr>
                  </a:solidFill>
                  <a:latin typeface="Arial" panose="020B0604020202090204" pitchFamily="34" charset="0"/>
                  <a:ea typeface="华文楷体" panose="02010600040101010101" pitchFamily="2" charset="-122"/>
                </a:endParaRPr>
              </a:p>
            </p:txBody>
          </p:sp>
        </p:grpSp>
        <p:grpSp>
          <p:nvGrpSpPr>
            <p:cNvPr id="21" name="îṡḻïḑè"/>
            <p:cNvGrpSpPr/>
            <p:nvPr/>
          </p:nvGrpSpPr>
          <p:grpSpPr>
            <a:xfrm>
              <a:off x="7258049" y="2563555"/>
              <a:ext cx="1978025" cy="3202245"/>
              <a:chOff x="7050088" y="2258755"/>
              <a:chExt cx="1978025" cy="3202245"/>
            </a:xfrm>
          </p:grpSpPr>
          <p:sp>
            <p:nvSpPr>
              <p:cNvPr id="15" name="iŝļiḍe"/>
              <p:cNvSpPr/>
              <p:nvPr/>
            </p:nvSpPr>
            <p:spPr>
              <a:xfrm>
                <a:off x="7050088" y="2258755"/>
                <a:ext cx="1978025" cy="434625"/>
              </a:xfrm>
              <a:prstGeom prst="roundRect">
                <a:avLst/>
              </a:prstGeom>
              <a:solidFill>
                <a:schemeClr val="accent5"/>
              </a:solidFill>
              <a:ln w="12700" cap="rnd">
                <a:noFill/>
                <a:prstDash val="solid"/>
                <a:round/>
              </a:ln>
              <a:effectLst>
                <a:outerShdw blurRad="254000" dist="127000" algn="ctr" rotWithShape="0">
                  <a:schemeClr val="accent5">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r>
                  <a:rPr lang="en-US" altLang="zh-CN" sz="1400" b="1" dirty="0">
                    <a:solidFill>
                      <a:schemeClr val="bg1"/>
                    </a:solidFill>
                    <a:latin typeface="Arial" panose="020B0604020202090204" pitchFamily="34" charset="0"/>
                    <a:ea typeface="华文楷体" panose="02010600040101010101" pitchFamily="2" charset="-122"/>
                  </a:rPr>
                  <a:t>Text here</a:t>
                </a:r>
                <a:endParaRPr lang="en-US" altLang="zh-CN" sz="1400" b="1" dirty="0">
                  <a:solidFill>
                    <a:schemeClr val="bg1"/>
                  </a:solidFill>
                  <a:latin typeface="Arial" panose="020B0604020202090204" pitchFamily="34" charset="0"/>
                  <a:ea typeface="华文楷体" panose="02010600040101010101" pitchFamily="2" charset="-122"/>
                </a:endParaRPr>
              </a:p>
            </p:txBody>
          </p:sp>
          <p:sp>
            <p:nvSpPr>
              <p:cNvPr id="16" name="iṩḻïďé"/>
              <p:cNvSpPr/>
              <p:nvPr/>
            </p:nvSpPr>
            <p:spPr>
              <a:xfrm>
                <a:off x="7050088" y="2791175"/>
                <a:ext cx="1978025" cy="2669825"/>
              </a:xfrm>
              <a:prstGeom prst="roundRect">
                <a:avLst>
                  <a:gd name="adj" fmla="val 3665"/>
                </a:avLst>
              </a:prstGeom>
              <a:solidFill>
                <a:schemeClr val="bg1">
                  <a:lumMod val="95000"/>
                </a:schemeClr>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noAutofit/>
              </a:bodyPr>
              <a:lstStyle/>
              <a:p>
                <a:pPr marL="171450" indent="-171450">
                  <a:lnSpc>
                    <a:spcPct val="150000"/>
                  </a:lnSpc>
                  <a:spcBef>
                    <a:spcPts val="1000"/>
                  </a:spcBef>
                  <a:buFont typeface="Arial" panose="020B0604020202090204" pitchFamily="34" charset="0"/>
                  <a:buChar char="•"/>
                </a:pPr>
                <a:r>
                  <a:rPr lang="en-US" altLang="zh-CN" sz="1000" dirty="0">
                    <a:solidFill>
                      <a:schemeClr val="tx1">
                        <a:lumMod val="65000"/>
                        <a:lumOff val="35000"/>
                      </a:schemeClr>
                    </a:solidFill>
                    <a:latin typeface="Arial" panose="020B0604020202090204" pitchFamily="34" charset="0"/>
                    <a:ea typeface="华文楷体" panose="02010600040101010101" pitchFamily="2" charset="-122"/>
                  </a:rPr>
                  <a:t>Theme color makes PPT more convenient to change.</a:t>
                </a:r>
                <a:endParaRPr lang="en-US" altLang="zh-CN" sz="1000" dirty="0">
                  <a:solidFill>
                    <a:schemeClr val="tx1">
                      <a:lumMod val="65000"/>
                      <a:lumOff val="35000"/>
                    </a:schemeClr>
                  </a:solidFill>
                  <a:latin typeface="Arial" panose="020B0604020202090204" pitchFamily="34" charset="0"/>
                  <a:ea typeface="华文楷体" panose="02010600040101010101" pitchFamily="2" charset="-122"/>
                </a:endParaRPr>
              </a:p>
              <a:p>
                <a:pPr marL="171450" indent="-171450">
                  <a:lnSpc>
                    <a:spcPct val="150000"/>
                  </a:lnSpc>
                  <a:spcBef>
                    <a:spcPts val="1000"/>
                  </a:spcBef>
                  <a:buFont typeface="Arial" panose="020B0604020202090204" pitchFamily="34" charset="0"/>
                  <a:buChar char="•"/>
                </a:pPr>
                <a:r>
                  <a:rPr lang="en-US" altLang="zh-CN" sz="1000" dirty="0">
                    <a:solidFill>
                      <a:schemeClr val="tx1">
                        <a:lumMod val="65000"/>
                        <a:lumOff val="35000"/>
                      </a:schemeClr>
                    </a:solidFill>
                    <a:latin typeface="Arial" panose="020B0604020202090204" pitchFamily="34" charset="0"/>
                    <a:ea typeface="华文楷体" panose="02010600040101010101" pitchFamily="2" charset="-122"/>
                  </a:rPr>
                  <a:t>Adjust the spacing to adapt to Chinese typesetting.</a:t>
                </a:r>
                <a:endParaRPr lang="en-US" altLang="zh-CN" sz="1000" dirty="0">
                  <a:solidFill>
                    <a:schemeClr val="tx1">
                      <a:lumMod val="65000"/>
                      <a:lumOff val="35000"/>
                    </a:schemeClr>
                  </a:solidFill>
                  <a:latin typeface="Arial" panose="020B0604020202090204" pitchFamily="34" charset="0"/>
                  <a:ea typeface="华文楷体" panose="02010600040101010101" pitchFamily="2" charset="-122"/>
                </a:endParaRPr>
              </a:p>
              <a:p>
                <a:pPr marL="171450" indent="-171450">
                  <a:lnSpc>
                    <a:spcPct val="150000"/>
                  </a:lnSpc>
                  <a:spcBef>
                    <a:spcPts val="1000"/>
                  </a:spcBef>
                  <a:buFont typeface="Arial" panose="020B0604020202090204" pitchFamily="34" charset="0"/>
                  <a:buChar char="•"/>
                </a:pPr>
                <a:r>
                  <a:rPr lang="en-US" altLang="zh-CN" sz="1000" dirty="0">
                    <a:solidFill>
                      <a:schemeClr val="tx1">
                        <a:lumMod val="65000"/>
                        <a:lumOff val="35000"/>
                      </a:schemeClr>
                    </a:solidFill>
                    <a:latin typeface="Arial" panose="020B0604020202090204" pitchFamily="34" charset="0"/>
                    <a:ea typeface="华文楷体" panose="02010600040101010101" pitchFamily="2" charset="-122"/>
                  </a:rPr>
                  <a:t>use the reference line in PPT.</a:t>
                </a:r>
                <a:endParaRPr lang="en-US" altLang="zh-CN" sz="1000" dirty="0">
                  <a:solidFill>
                    <a:schemeClr val="tx1">
                      <a:lumMod val="65000"/>
                      <a:lumOff val="35000"/>
                    </a:schemeClr>
                  </a:solidFill>
                  <a:latin typeface="Arial" panose="020B0604020202090204" pitchFamily="34" charset="0"/>
                  <a:ea typeface="华文楷体" panose="02010600040101010101" pitchFamily="2" charset="-122"/>
                </a:endParaRPr>
              </a:p>
              <a:p>
                <a:pPr marL="171450" indent="-171450">
                  <a:lnSpc>
                    <a:spcPct val="150000"/>
                  </a:lnSpc>
                  <a:spcBef>
                    <a:spcPts val="1000"/>
                  </a:spcBef>
                  <a:buFont typeface="Arial" panose="020B0604020202090204" pitchFamily="34" charset="0"/>
                  <a:buChar char="•"/>
                </a:pPr>
                <a:r>
                  <a:rPr lang="en-US" altLang="zh-CN" sz="1000" dirty="0">
                    <a:solidFill>
                      <a:schemeClr val="tx1">
                        <a:lumMod val="65000"/>
                        <a:lumOff val="35000"/>
                      </a:schemeClr>
                    </a:solidFill>
                    <a:latin typeface="Arial" panose="020B0604020202090204" pitchFamily="34" charset="0"/>
                    <a:ea typeface="华文楷体" panose="02010600040101010101" pitchFamily="2" charset="-122"/>
                  </a:rPr>
                  <a:t>… … </a:t>
                </a:r>
                <a:endParaRPr lang="en-US" altLang="zh-CN" sz="1000" dirty="0">
                  <a:solidFill>
                    <a:schemeClr val="tx1">
                      <a:lumMod val="65000"/>
                      <a:lumOff val="35000"/>
                    </a:schemeClr>
                  </a:solidFill>
                  <a:latin typeface="Arial" panose="020B0604020202090204" pitchFamily="34" charset="0"/>
                  <a:ea typeface="华文楷体" panose="02010600040101010101" pitchFamily="2" charset="-122"/>
                </a:endParaRPr>
              </a:p>
            </p:txBody>
          </p:sp>
        </p:grpSp>
        <p:grpSp>
          <p:nvGrpSpPr>
            <p:cNvPr id="20" name="îSľïďè"/>
            <p:cNvGrpSpPr/>
            <p:nvPr/>
          </p:nvGrpSpPr>
          <p:grpSpPr>
            <a:xfrm>
              <a:off x="9409112" y="2563555"/>
              <a:ext cx="1978025" cy="3202245"/>
              <a:chOff x="9150350" y="2258755"/>
              <a:chExt cx="1978025" cy="3202245"/>
            </a:xfrm>
          </p:grpSpPr>
          <p:sp>
            <p:nvSpPr>
              <p:cNvPr id="17" name="ïṡļîḋé"/>
              <p:cNvSpPr/>
              <p:nvPr/>
            </p:nvSpPr>
            <p:spPr>
              <a:xfrm>
                <a:off x="9150350" y="2258755"/>
                <a:ext cx="1978025" cy="434625"/>
              </a:xfrm>
              <a:prstGeom prst="roundRect">
                <a:avLst/>
              </a:prstGeom>
              <a:solidFill>
                <a:schemeClr val="accent2"/>
              </a:solidFill>
              <a:ln w="12700" cap="rnd">
                <a:noFill/>
                <a:prstDash val="solid"/>
                <a:round/>
              </a:ln>
              <a:effectLst>
                <a:outerShdw blurRad="254000" dist="127000" algn="ctr" rotWithShape="0">
                  <a:schemeClr val="accent2">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r>
                  <a:rPr lang="en-US" altLang="zh-CN" sz="1400" b="1" dirty="0">
                    <a:solidFill>
                      <a:schemeClr val="bg1"/>
                    </a:solidFill>
                    <a:latin typeface="Arial" panose="020B0604020202090204" pitchFamily="34" charset="0"/>
                    <a:ea typeface="华文楷体" panose="02010600040101010101" pitchFamily="2" charset="-122"/>
                  </a:rPr>
                  <a:t>Text here</a:t>
                </a:r>
                <a:endParaRPr lang="en-US" altLang="zh-CN" sz="1400" b="1" dirty="0">
                  <a:solidFill>
                    <a:schemeClr val="bg1"/>
                  </a:solidFill>
                  <a:latin typeface="Arial" panose="020B0604020202090204" pitchFamily="34" charset="0"/>
                  <a:ea typeface="华文楷体" panose="02010600040101010101" pitchFamily="2" charset="-122"/>
                </a:endParaRPr>
              </a:p>
            </p:txBody>
          </p:sp>
          <p:sp>
            <p:nvSpPr>
              <p:cNvPr id="18" name="îś1iḋè"/>
              <p:cNvSpPr/>
              <p:nvPr/>
            </p:nvSpPr>
            <p:spPr>
              <a:xfrm>
                <a:off x="9150350" y="2791175"/>
                <a:ext cx="1978025" cy="2669825"/>
              </a:xfrm>
              <a:prstGeom prst="roundRect">
                <a:avLst>
                  <a:gd name="adj" fmla="val 3665"/>
                </a:avLst>
              </a:prstGeom>
              <a:solidFill>
                <a:schemeClr val="bg1">
                  <a:lumMod val="95000"/>
                </a:schemeClr>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noAutofit/>
              </a:bodyPr>
              <a:lstStyle/>
              <a:p>
                <a:pPr marL="171450" indent="-171450">
                  <a:lnSpc>
                    <a:spcPct val="150000"/>
                  </a:lnSpc>
                  <a:spcBef>
                    <a:spcPts val="1000"/>
                  </a:spcBef>
                  <a:buFont typeface="Arial" panose="020B0604020202090204" pitchFamily="34" charset="0"/>
                  <a:buChar char="•"/>
                </a:pPr>
                <a:r>
                  <a:rPr lang="en-US" altLang="zh-CN" sz="1000" dirty="0">
                    <a:solidFill>
                      <a:schemeClr val="tx1">
                        <a:lumMod val="65000"/>
                        <a:lumOff val="35000"/>
                      </a:schemeClr>
                    </a:solidFill>
                    <a:latin typeface="Arial" panose="020B0604020202090204" pitchFamily="34" charset="0"/>
                    <a:ea typeface="华文楷体" panose="02010600040101010101" pitchFamily="2" charset="-122"/>
                  </a:rPr>
                  <a:t>Theme color makes PPT more convenient to change.</a:t>
                </a:r>
                <a:endParaRPr lang="en-US" altLang="zh-CN" sz="1000" dirty="0">
                  <a:solidFill>
                    <a:schemeClr val="tx1">
                      <a:lumMod val="65000"/>
                      <a:lumOff val="35000"/>
                    </a:schemeClr>
                  </a:solidFill>
                  <a:latin typeface="Arial" panose="020B0604020202090204" pitchFamily="34" charset="0"/>
                  <a:ea typeface="华文楷体" panose="02010600040101010101" pitchFamily="2" charset="-122"/>
                </a:endParaRPr>
              </a:p>
              <a:p>
                <a:pPr marL="171450" indent="-171450">
                  <a:lnSpc>
                    <a:spcPct val="150000"/>
                  </a:lnSpc>
                  <a:spcBef>
                    <a:spcPts val="1000"/>
                  </a:spcBef>
                  <a:buFont typeface="Arial" panose="020B0604020202090204" pitchFamily="34" charset="0"/>
                  <a:buChar char="•"/>
                </a:pPr>
                <a:r>
                  <a:rPr lang="en-US" altLang="zh-CN" sz="1000" dirty="0">
                    <a:solidFill>
                      <a:schemeClr val="tx1">
                        <a:lumMod val="65000"/>
                        <a:lumOff val="35000"/>
                      </a:schemeClr>
                    </a:solidFill>
                    <a:latin typeface="Arial" panose="020B0604020202090204" pitchFamily="34" charset="0"/>
                    <a:ea typeface="华文楷体" panose="02010600040101010101" pitchFamily="2" charset="-122"/>
                  </a:rPr>
                  <a:t>Adjust the spacing to adapt to Chinese typesetting.</a:t>
                </a:r>
                <a:endParaRPr lang="en-US" altLang="zh-CN" sz="1000" dirty="0">
                  <a:solidFill>
                    <a:schemeClr val="tx1">
                      <a:lumMod val="65000"/>
                      <a:lumOff val="35000"/>
                    </a:schemeClr>
                  </a:solidFill>
                  <a:latin typeface="Arial" panose="020B0604020202090204" pitchFamily="34" charset="0"/>
                  <a:ea typeface="华文楷体" panose="02010600040101010101" pitchFamily="2" charset="-122"/>
                </a:endParaRPr>
              </a:p>
              <a:p>
                <a:pPr marL="171450" indent="-171450">
                  <a:lnSpc>
                    <a:spcPct val="150000"/>
                  </a:lnSpc>
                  <a:spcBef>
                    <a:spcPts val="1000"/>
                  </a:spcBef>
                  <a:buFont typeface="Arial" panose="020B0604020202090204" pitchFamily="34" charset="0"/>
                  <a:buChar char="•"/>
                </a:pPr>
                <a:r>
                  <a:rPr lang="en-US" altLang="zh-CN" sz="1000" dirty="0">
                    <a:solidFill>
                      <a:schemeClr val="tx1">
                        <a:lumMod val="65000"/>
                        <a:lumOff val="35000"/>
                      </a:schemeClr>
                    </a:solidFill>
                    <a:latin typeface="Arial" panose="020B0604020202090204" pitchFamily="34" charset="0"/>
                    <a:ea typeface="华文楷体" panose="02010600040101010101" pitchFamily="2" charset="-122"/>
                  </a:rPr>
                  <a:t>use the reference line in PPT.</a:t>
                </a:r>
                <a:endParaRPr lang="en-US" altLang="zh-CN" sz="1000" dirty="0">
                  <a:solidFill>
                    <a:schemeClr val="tx1">
                      <a:lumMod val="65000"/>
                      <a:lumOff val="35000"/>
                    </a:schemeClr>
                  </a:solidFill>
                  <a:latin typeface="Arial" panose="020B0604020202090204" pitchFamily="34" charset="0"/>
                  <a:ea typeface="华文楷体" panose="02010600040101010101" pitchFamily="2" charset="-122"/>
                </a:endParaRPr>
              </a:p>
              <a:p>
                <a:pPr marL="171450" indent="-171450">
                  <a:lnSpc>
                    <a:spcPct val="150000"/>
                  </a:lnSpc>
                  <a:spcBef>
                    <a:spcPts val="1000"/>
                  </a:spcBef>
                  <a:buFont typeface="Arial" panose="020B0604020202090204" pitchFamily="34" charset="0"/>
                  <a:buChar char="•"/>
                </a:pPr>
                <a:r>
                  <a:rPr lang="en-US" altLang="zh-CN" sz="1000" dirty="0">
                    <a:solidFill>
                      <a:schemeClr val="tx1">
                        <a:lumMod val="65000"/>
                        <a:lumOff val="35000"/>
                      </a:schemeClr>
                    </a:solidFill>
                    <a:latin typeface="Arial" panose="020B0604020202090204" pitchFamily="34" charset="0"/>
                    <a:ea typeface="华文楷体" panose="02010600040101010101" pitchFamily="2" charset="-122"/>
                  </a:rPr>
                  <a:t>… … </a:t>
                </a:r>
                <a:endParaRPr lang="en-US" altLang="zh-CN" sz="1000" dirty="0">
                  <a:solidFill>
                    <a:schemeClr val="tx1">
                      <a:lumMod val="65000"/>
                      <a:lumOff val="35000"/>
                    </a:schemeClr>
                  </a:solidFill>
                  <a:latin typeface="Arial" panose="020B0604020202090204" pitchFamily="34" charset="0"/>
                  <a:ea typeface="华文楷体" panose="02010600040101010101" pitchFamily="2" charset="-122"/>
                </a:endParaRPr>
              </a:p>
            </p:txBody>
          </p:sp>
        </p:grpSp>
      </p:grpSp>
    </p:spTree>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1811948" y="2423157"/>
            <a:ext cx="8555405" cy="2182505"/>
            <a:chOff x="1811948" y="2423157"/>
            <a:chExt cx="8555405" cy="2182505"/>
          </a:xfrm>
        </p:grpSpPr>
        <p:grpSp>
          <p:nvGrpSpPr>
            <p:cNvPr id="18" name="组合 17"/>
            <p:cNvGrpSpPr/>
            <p:nvPr/>
          </p:nvGrpSpPr>
          <p:grpSpPr>
            <a:xfrm>
              <a:off x="6073140" y="3665781"/>
              <a:ext cx="45719" cy="939881"/>
              <a:chOff x="6073140" y="3823494"/>
              <a:chExt cx="45719" cy="939881"/>
            </a:xfrm>
          </p:grpSpPr>
          <p:cxnSp>
            <p:nvCxnSpPr>
              <p:cNvPr id="59" name="直接连接符 58"/>
              <p:cNvCxnSpPr/>
              <p:nvPr/>
            </p:nvCxnSpPr>
            <p:spPr>
              <a:xfrm>
                <a:off x="6095999" y="3823494"/>
                <a:ext cx="0" cy="895431"/>
              </a:xfrm>
              <a:prstGeom prst="line">
                <a:avLst/>
              </a:prstGeom>
            </p:spPr>
            <p:style>
              <a:lnRef idx="1">
                <a:schemeClr val="accent1"/>
              </a:lnRef>
              <a:fillRef idx="0">
                <a:schemeClr val="accent1"/>
              </a:fillRef>
              <a:effectRef idx="0">
                <a:schemeClr val="accent1"/>
              </a:effectRef>
              <a:fontRef idx="minor">
                <a:schemeClr val="tx1"/>
              </a:fontRef>
            </p:style>
          </p:cxnSp>
          <p:sp>
            <p:nvSpPr>
              <p:cNvPr id="60" name="椭圆 59"/>
              <p:cNvSpPr/>
              <p:nvPr/>
            </p:nvSpPr>
            <p:spPr>
              <a:xfrm flipH="1">
                <a:off x="6073140" y="4717656"/>
                <a:ext cx="45719" cy="4571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20" name="组合 19"/>
            <p:cNvGrpSpPr/>
            <p:nvPr/>
          </p:nvGrpSpPr>
          <p:grpSpPr>
            <a:xfrm>
              <a:off x="1811948" y="2423157"/>
              <a:ext cx="8555405" cy="1218843"/>
              <a:chOff x="1811948" y="2423157"/>
              <a:chExt cx="8555405" cy="1218843"/>
            </a:xfrm>
          </p:grpSpPr>
          <p:cxnSp>
            <p:nvCxnSpPr>
              <p:cNvPr id="42" name="直接连接符 41"/>
              <p:cNvCxnSpPr/>
              <p:nvPr/>
            </p:nvCxnSpPr>
            <p:spPr>
              <a:xfrm>
                <a:off x="3258387" y="3642000"/>
                <a:ext cx="5666383"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4" name="直接连接符 43"/>
              <p:cNvCxnSpPr/>
              <p:nvPr/>
            </p:nvCxnSpPr>
            <p:spPr>
              <a:xfrm flipV="1">
                <a:off x="3261292" y="2446017"/>
                <a:ext cx="0" cy="1195983"/>
              </a:xfrm>
              <a:prstGeom prst="line">
                <a:avLst/>
              </a:prstGeom>
            </p:spPr>
            <p:style>
              <a:lnRef idx="1">
                <a:schemeClr val="accent1"/>
              </a:lnRef>
              <a:fillRef idx="0">
                <a:schemeClr val="accent1"/>
              </a:fillRef>
              <a:effectRef idx="0">
                <a:schemeClr val="accent1"/>
              </a:effectRef>
              <a:fontRef idx="minor">
                <a:schemeClr val="tx1"/>
              </a:fontRef>
            </p:style>
          </p:cxnSp>
          <p:cxnSp>
            <p:nvCxnSpPr>
              <p:cNvPr id="46" name="直接连接符 45"/>
              <p:cNvCxnSpPr/>
              <p:nvPr/>
            </p:nvCxnSpPr>
            <p:spPr>
              <a:xfrm flipH="1">
                <a:off x="1843039" y="2446017"/>
                <a:ext cx="1415348" cy="0"/>
              </a:xfrm>
              <a:prstGeom prst="line">
                <a:avLst/>
              </a:prstGeom>
            </p:spPr>
            <p:style>
              <a:lnRef idx="1">
                <a:schemeClr val="accent1"/>
              </a:lnRef>
              <a:fillRef idx="0">
                <a:schemeClr val="accent1"/>
              </a:fillRef>
              <a:effectRef idx="0">
                <a:schemeClr val="accent1"/>
              </a:effectRef>
              <a:fontRef idx="minor">
                <a:schemeClr val="tx1"/>
              </a:fontRef>
            </p:style>
          </p:cxnSp>
          <p:sp>
            <p:nvSpPr>
              <p:cNvPr id="52" name="椭圆 51"/>
              <p:cNvSpPr/>
              <p:nvPr/>
            </p:nvSpPr>
            <p:spPr>
              <a:xfrm>
                <a:off x="1811948" y="2423157"/>
                <a:ext cx="45719" cy="4571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53" name="直接连接符 52"/>
              <p:cNvCxnSpPr/>
              <p:nvPr/>
            </p:nvCxnSpPr>
            <p:spPr>
              <a:xfrm flipV="1">
                <a:off x="8918009" y="2446017"/>
                <a:ext cx="0" cy="1195983"/>
              </a:xfrm>
              <a:prstGeom prst="line">
                <a:avLst/>
              </a:prstGeom>
            </p:spPr>
            <p:style>
              <a:lnRef idx="1">
                <a:schemeClr val="accent1"/>
              </a:lnRef>
              <a:fillRef idx="0">
                <a:schemeClr val="accent1"/>
              </a:fillRef>
              <a:effectRef idx="0">
                <a:schemeClr val="accent1"/>
              </a:effectRef>
              <a:fontRef idx="minor">
                <a:schemeClr val="tx1"/>
              </a:fontRef>
            </p:style>
          </p:cxnSp>
          <p:cxnSp>
            <p:nvCxnSpPr>
              <p:cNvPr id="54" name="直接连接符 53"/>
              <p:cNvCxnSpPr/>
              <p:nvPr/>
            </p:nvCxnSpPr>
            <p:spPr>
              <a:xfrm>
                <a:off x="8920914" y="2446017"/>
                <a:ext cx="1415348" cy="0"/>
              </a:xfrm>
              <a:prstGeom prst="line">
                <a:avLst/>
              </a:prstGeom>
            </p:spPr>
            <p:style>
              <a:lnRef idx="1">
                <a:schemeClr val="accent1"/>
              </a:lnRef>
              <a:fillRef idx="0">
                <a:schemeClr val="accent1"/>
              </a:fillRef>
              <a:effectRef idx="0">
                <a:schemeClr val="accent1"/>
              </a:effectRef>
              <a:fontRef idx="minor">
                <a:schemeClr val="tx1"/>
              </a:fontRef>
            </p:style>
          </p:cxnSp>
          <p:sp>
            <p:nvSpPr>
              <p:cNvPr id="55" name="椭圆 54"/>
              <p:cNvSpPr/>
              <p:nvPr/>
            </p:nvSpPr>
            <p:spPr>
              <a:xfrm flipH="1">
                <a:off x="10321634" y="2423157"/>
                <a:ext cx="45719" cy="4571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sp>
        <p:nvSpPr>
          <p:cNvPr id="2" name="灯片编号占位符 1"/>
          <p:cNvSpPr>
            <a:spLocks noGrp="1"/>
          </p:cNvSpPr>
          <p:nvPr>
            <p:ph type="sldNum" sz="quarter" idx="12"/>
          </p:nvPr>
        </p:nvSpPr>
        <p:spPr/>
        <p:txBody>
          <a:bodyPr/>
          <a:lstStyle/>
          <a:p>
            <a:fld id="{7F65B630-C7FF-41C0-9923-C5E5E29EED81}" type="slidenum">
              <a:rPr lang="zh-CN" altLang="en-US" smtClean="0">
                <a:latin typeface="Arial" panose="020B0604020202090204" pitchFamily="34" charset="0"/>
                <a:ea typeface="华文楷体" panose="02010600040101010101" pitchFamily="2" charset="-122"/>
              </a:rPr>
            </a:fld>
            <a:endParaRPr lang="zh-CN" altLang="en-US">
              <a:latin typeface="Arial" panose="020B0604020202090204" pitchFamily="34" charset="0"/>
              <a:ea typeface="华文楷体" panose="02010600040101010101" pitchFamily="2" charset="-122"/>
            </a:endParaRPr>
          </a:p>
        </p:txBody>
      </p:sp>
      <p:sp>
        <p:nvSpPr>
          <p:cNvPr id="40" name="文本框 39"/>
          <p:cNvSpPr txBox="1"/>
          <p:nvPr/>
        </p:nvSpPr>
        <p:spPr>
          <a:xfrm>
            <a:off x="665163" y="1150680"/>
            <a:ext cx="10848974" cy="584775"/>
          </a:xfrm>
          <a:prstGeom prst="rect">
            <a:avLst/>
          </a:prstGeom>
          <a:noFill/>
        </p:spPr>
        <p:txBody>
          <a:bodyPr wrap="square">
            <a:spAutoFit/>
          </a:bodyPr>
          <a:lstStyle/>
          <a:p>
            <a:pPr algn="ctr"/>
            <a:r>
              <a:rPr lang="en-US" altLang="zh-CN" sz="3200" b="1" dirty="0">
                <a:latin typeface="Arial" panose="020B0604020202090204" pitchFamily="34" charset="0"/>
                <a:ea typeface="华文楷体" panose="02010600040101010101" pitchFamily="2" charset="-122"/>
              </a:rPr>
              <a:t>Unified fonts make reading </a:t>
            </a:r>
            <a:r>
              <a:rPr lang="en-US" altLang="zh-CN" sz="3200" b="1" dirty="0">
                <a:solidFill>
                  <a:schemeClr val="accent1"/>
                </a:solidFill>
                <a:latin typeface="Arial" panose="020B0604020202090204" pitchFamily="34" charset="0"/>
                <a:ea typeface="华文楷体" panose="02010600040101010101" pitchFamily="2" charset="-122"/>
              </a:rPr>
              <a:t>more fluent.</a:t>
            </a:r>
            <a:endParaRPr lang="en-US" altLang="zh-CN" sz="3200" b="1" dirty="0">
              <a:solidFill>
                <a:schemeClr val="accent1"/>
              </a:solidFill>
              <a:latin typeface="Arial" panose="020B0604020202090204" pitchFamily="34" charset="0"/>
              <a:ea typeface="华文楷体" panose="02010600040101010101" pitchFamily="2" charset="-122"/>
            </a:endParaRPr>
          </a:p>
        </p:txBody>
      </p:sp>
      <p:grpSp>
        <p:nvGrpSpPr>
          <p:cNvPr id="15" name="组合 14"/>
          <p:cNvGrpSpPr/>
          <p:nvPr/>
        </p:nvGrpSpPr>
        <p:grpSpPr>
          <a:xfrm>
            <a:off x="8958704" y="2964745"/>
            <a:ext cx="2560196" cy="1354510"/>
            <a:chOff x="8958704" y="2691735"/>
            <a:chExt cx="2560196" cy="1354510"/>
          </a:xfrm>
        </p:grpSpPr>
        <p:grpSp>
          <p:nvGrpSpPr>
            <p:cNvPr id="74" name="组合 73"/>
            <p:cNvGrpSpPr/>
            <p:nvPr/>
          </p:nvGrpSpPr>
          <p:grpSpPr>
            <a:xfrm>
              <a:off x="8958704" y="3179752"/>
              <a:ext cx="2560196" cy="866493"/>
              <a:chOff x="660400" y="4362608"/>
              <a:chExt cx="2560196" cy="866493"/>
            </a:xfrm>
          </p:grpSpPr>
          <p:sp>
            <p:nvSpPr>
              <p:cNvPr id="75" name="矩形 74"/>
              <p:cNvSpPr/>
              <p:nvPr/>
            </p:nvSpPr>
            <p:spPr>
              <a:xfrm>
                <a:off x="940856" y="4362608"/>
                <a:ext cx="1999285"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kumimoji="1" lang="en-US" altLang="zh-CN" b="1" dirty="0">
                    <a:solidFill>
                      <a:schemeClr val="tx1"/>
                    </a:solidFill>
                    <a:latin typeface="Arial" panose="020B0604020202090204" pitchFamily="34" charset="0"/>
                    <a:ea typeface="华文楷体" panose="02010600040101010101" pitchFamily="2" charset="-122"/>
                  </a:rPr>
                  <a:t>Texthere</a:t>
                </a:r>
                <a:endParaRPr kumimoji="1" lang="en-US" altLang="zh-CN" b="1" dirty="0">
                  <a:solidFill>
                    <a:schemeClr val="tx1"/>
                  </a:solidFill>
                  <a:latin typeface="Arial" panose="020B0604020202090204" pitchFamily="34" charset="0"/>
                  <a:ea typeface="华文楷体" panose="02010600040101010101" pitchFamily="2" charset="-122"/>
                </a:endParaRPr>
              </a:p>
            </p:txBody>
          </p:sp>
          <p:sp>
            <p:nvSpPr>
              <p:cNvPr id="76" name="矩形 75"/>
              <p:cNvSpPr/>
              <p:nvPr/>
            </p:nvSpPr>
            <p:spPr>
              <a:xfrm>
                <a:off x="660400" y="4757497"/>
                <a:ext cx="2560196" cy="4716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lnSpc>
                    <a:spcPct val="130000"/>
                  </a:lnSpc>
                </a:pPr>
                <a:r>
                  <a:rPr kumimoji="1" lang="en-US" altLang="zh-CN" sz="1000" dirty="0">
                    <a:solidFill>
                      <a:schemeClr val="tx1"/>
                    </a:solidFill>
                    <a:latin typeface="Arial" panose="020B0604020202090204" pitchFamily="34" charset="0"/>
                    <a:ea typeface="华文楷体" panose="02010600040101010101" pitchFamily="2" charset="-122"/>
                  </a:rPr>
                  <a:t>Lorem ipsum dolor sit amet, consectetuer adipiscing elit</a:t>
                </a:r>
                <a:r>
                  <a:rPr kumimoji="1" lang="en-US" altLang="zh-CN" sz="1000">
                    <a:solidFill>
                      <a:schemeClr val="tx1"/>
                    </a:solidFill>
                    <a:latin typeface="Arial" panose="020B0604020202090204" pitchFamily="34" charset="0"/>
                    <a:ea typeface="华文楷体" panose="02010600040101010101" pitchFamily="2" charset="-122"/>
                  </a:rPr>
                  <a:t>. Maecenas porttitor congue</a:t>
                </a:r>
                <a:endParaRPr kumimoji="1" lang="en-US" altLang="zh-CN" sz="1000" dirty="0">
                  <a:solidFill>
                    <a:schemeClr val="tx1"/>
                  </a:solidFill>
                  <a:latin typeface="Arial" panose="020B0604020202090204" pitchFamily="34" charset="0"/>
                  <a:ea typeface="华文楷体" panose="02010600040101010101" pitchFamily="2" charset="-122"/>
                </a:endParaRPr>
              </a:p>
            </p:txBody>
          </p:sp>
        </p:grpSp>
        <p:sp>
          <p:nvSpPr>
            <p:cNvPr id="78" name="任意多边形: 形状 77"/>
            <p:cNvSpPr/>
            <p:nvPr/>
          </p:nvSpPr>
          <p:spPr>
            <a:xfrm>
              <a:off x="10037812" y="2691735"/>
              <a:ext cx="401981" cy="425172"/>
            </a:xfrm>
            <a:custGeom>
              <a:avLst/>
              <a:gdLst>
                <a:gd name="connsiteX0" fmla="*/ 371955 w 495300"/>
                <a:gd name="connsiteY0" fmla="*/ 621 h 523875"/>
                <a:gd name="connsiteX1" fmla="*/ 400530 w 495300"/>
                <a:gd name="connsiteY1" fmla="*/ 29196 h 523875"/>
                <a:gd name="connsiteX2" fmla="*/ 400530 w 495300"/>
                <a:gd name="connsiteY2" fmla="*/ 133971 h 523875"/>
                <a:gd name="connsiteX3" fmla="*/ 371955 w 495300"/>
                <a:gd name="connsiteY3" fmla="*/ 162546 h 523875"/>
                <a:gd name="connsiteX4" fmla="*/ 257655 w 495300"/>
                <a:gd name="connsiteY4" fmla="*/ 162546 h 523875"/>
                <a:gd name="connsiteX5" fmla="*/ 257655 w 495300"/>
                <a:gd name="connsiteY5" fmla="*/ 286371 h 523875"/>
                <a:gd name="connsiteX6" fmla="*/ 419580 w 495300"/>
                <a:gd name="connsiteY6" fmla="*/ 286371 h 523875"/>
                <a:gd name="connsiteX7" fmla="*/ 457680 w 495300"/>
                <a:gd name="connsiteY7" fmla="*/ 322566 h 523875"/>
                <a:gd name="connsiteX8" fmla="*/ 457680 w 495300"/>
                <a:gd name="connsiteY8" fmla="*/ 324471 h 523875"/>
                <a:gd name="connsiteX9" fmla="*/ 457680 w 495300"/>
                <a:gd name="connsiteY9" fmla="*/ 429246 h 523875"/>
                <a:gd name="connsiteX10" fmla="*/ 476730 w 495300"/>
                <a:gd name="connsiteY10" fmla="*/ 429246 h 523875"/>
                <a:gd name="connsiteX11" fmla="*/ 495780 w 495300"/>
                <a:gd name="connsiteY11" fmla="*/ 448296 h 523875"/>
                <a:gd name="connsiteX12" fmla="*/ 495780 w 495300"/>
                <a:gd name="connsiteY12" fmla="*/ 505446 h 523875"/>
                <a:gd name="connsiteX13" fmla="*/ 476730 w 495300"/>
                <a:gd name="connsiteY13" fmla="*/ 524496 h 523875"/>
                <a:gd name="connsiteX14" fmla="*/ 419580 w 495300"/>
                <a:gd name="connsiteY14" fmla="*/ 524496 h 523875"/>
                <a:gd name="connsiteX15" fmla="*/ 400530 w 495300"/>
                <a:gd name="connsiteY15" fmla="*/ 505446 h 523875"/>
                <a:gd name="connsiteX16" fmla="*/ 400530 w 495300"/>
                <a:gd name="connsiteY16" fmla="*/ 448296 h 523875"/>
                <a:gd name="connsiteX17" fmla="*/ 419580 w 495300"/>
                <a:gd name="connsiteY17" fmla="*/ 429246 h 523875"/>
                <a:gd name="connsiteX18" fmla="*/ 438630 w 495300"/>
                <a:gd name="connsiteY18" fmla="*/ 429246 h 523875"/>
                <a:gd name="connsiteX19" fmla="*/ 438630 w 495300"/>
                <a:gd name="connsiteY19" fmla="*/ 324471 h 523875"/>
                <a:gd name="connsiteX20" fmla="*/ 420533 w 495300"/>
                <a:gd name="connsiteY20" fmla="*/ 305421 h 523875"/>
                <a:gd name="connsiteX21" fmla="*/ 419580 w 495300"/>
                <a:gd name="connsiteY21" fmla="*/ 305421 h 523875"/>
                <a:gd name="connsiteX22" fmla="*/ 257655 w 495300"/>
                <a:gd name="connsiteY22" fmla="*/ 305421 h 523875"/>
                <a:gd name="connsiteX23" fmla="*/ 257655 w 495300"/>
                <a:gd name="connsiteY23" fmla="*/ 429246 h 523875"/>
                <a:gd name="connsiteX24" fmla="*/ 276705 w 495300"/>
                <a:gd name="connsiteY24" fmla="*/ 429246 h 523875"/>
                <a:gd name="connsiteX25" fmla="*/ 295755 w 495300"/>
                <a:gd name="connsiteY25" fmla="*/ 448296 h 523875"/>
                <a:gd name="connsiteX26" fmla="*/ 295755 w 495300"/>
                <a:gd name="connsiteY26" fmla="*/ 505446 h 523875"/>
                <a:gd name="connsiteX27" fmla="*/ 276705 w 495300"/>
                <a:gd name="connsiteY27" fmla="*/ 524496 h 523875"/>
                <a:gd name="connsiteX28" fmla="*/ 219555 w 495300"/>
                <a:gd name="connsiteY28" fmla="*/ 524496 h 523875"/>
                <a:gd name="connsiteX29" fmla="*/ 200505 w 495300"/>
                <a:gd name="connsiteY29" fmla="*/ 505446 h 523875"/>
                <a:gd name="connsiteX30" fmla="*/ 200505 w 495300"/>
                <a:gd name="connsiteY30" fmla="*/ 448296 h 523875"/>
                <a:gd name="connsiteX31" fmla="*/ 219555 w 495300"/>
                <a:gd name="connsiteY31" fmla="*/ 429246 h 523875"/>
                <a:gd name="connsiteX32" fmla="*/ 238605 w 495300"/>
                <a:gd name="connsiteY32" fmla="*/ 429246 h 523875"/>
                <a:gd name="connsiteX33" fmla="*/ 238605 w 495300"/>
                <a:gd name="connsiteY33" fmla="*/ 305421 h 523875"/>
                <a:gd name="connsiteX34" fmla="*/ 76680 w 495300"/>
                <a:gd name="connsiteY34" fmla="*/ 305421 h 523875"/>
                <a:gd name="connsiteX35" fmla="*/ 57630 w 495300"/>
                <a:gd name="connsiteY35" fmla="*/ 323519 h 523875"/>
                <a:gd name="connsiteX36" fmla="*/ 57630 w 495300"/>
                <a:gd name="connsiteY36" fmla="*/ 324471 h 523875"/>
                <a:gd name="connsiteX37" fmla="*/ 57630 w 495300"/>
                <a:gd name="connsiteY37" fmla="*/ 429246 h 523875"/>
                <a:gd name="connsiteX38" fmla="*/ 76680 w 495300"/>
                <a:gd name="connsiteY38" fmla="*/ 429246 h 523875"/>
                <a:gd name="connsiteX39" fmla="*/ 95730 w 495300"/>
                <a:gd name="connsiteY39" fmla="*/ 448296 h 523875"/>
                <a:gd name="connsiteX40" fmla="*/ 95730 w 495300"/>
                <a:gd name="connsiteY40" fmla="*/ 505446 h 523875"/>
                <a:gd name="connsiteX41" fmla="*/ 76680 w 495300"/>
                <a:gd name="connsiteY41" fmla="*/ 524496 h 523875"/>
                <a:gd name="connsiteX42" fmla="*/ 19530 w 495300"/>
                <a:gd name="connsiteY42" fmla="*/ 524496 h 523875"/>
                <a:gd name="connsiteX43" fmla="*/ 480 w 495300"/>
                <a:gd name="connsiteY43" fmla="*/ 505446 h 523875"/>
                <a:gd name="connsiteX44" fmla="*/ 480 w 495300"/>
                <a:gd name="connsiteY44" fmla="*/ 448296 h 523875"/>
                <a:gd name="connsiteX45" fmla="*/ 19530 w 495300"/>
                <a:gd name="connsiteY45" fmla="*/ 429246 h 523875"/>
                <a:gd name="connsiteX46" fmla="*/ 38580 w 495300"/>
                <a:gd name="connsiteY46" fmla="*/ 429246 h 523875"/>
                <a:gd name="connsiteX47" fmla="*/ 38580 w 495300"/>
                <a:gd name="connsiteY47" fmla="*/ 324471 h 523875"/>
                <a:gd name="connsiteX48" fmla="*/ 74775 w 495300"/>
                <a:gd name="connsiteY48" fmla="*/ 286371 h 523875"/>
                <a:gd name="connsiteX49" fmla="*/ 76680 w 495300"/>
                <a:gd name="connsiteY49" fmla="*/ 286371 h 523875"/>
                <a:gd name="connsiteX50" fmla="*/ 238605 w 495300"/>
                <a:gd name="connsiteY50" fmla="*/ 286371 h 523875"/>
                <a:gd name="connsiteX51" fmla="*/ 238605 w 495300"/>
                <a:gd name="connsiteY51" fmla="*/ 162546 h 523875"/>
                <a:gd name="connsiteX52" fmla="*/ 124305 w 495300"/>
                <a:gd name="connsiteY52" fmla="*/ 162546 h 523875"/>
                <a:gd name="connsiteX53" fmla="*/ 95730 w 495300"/>
                <a:gd name="connsiteY53" fmla="*/ 133971 h 523875"/>
                <a:gd name="connsiteX54" fmla="*/ 95730 w 495300"/>
                <a:gd name="connsiteY54" fmla="*/ 29196 h 523875"/>
                <a:gd name="connsiteX55" fmla="*/ 124305 w 495300"/>
                <a:gd name="connsiteY55" fmla="*/ 621 h 523875"/>
                <a:gd name="connsiteX56" fmla="*/ 371955 w 495300"/>
                <a:gd name="connsiteY56" fmla="*/ 621 h 523875"/>
                <a:gd name="connsiteX57" fmla="*/ 148118 w 495300"/>
                <a:gd name="connsiteY57" fmla="*/ 95871 h 523875"/>
                <a:gd name="connsiteX58" fmla="*/ 133830 w 495300"/>
                <a:gd name="connsiteY58" fmla="*/ 110159 h 523875"/>
                <a:gd name="connsiteX59" fmla="*/ 148118 w 495300"/>
                <a:gd name="connsiteY59" fmla="*/ 124446 h 523875"/>
                <a:gd name="connsiteX60" fmla="*/ 162405 w 495300"/>
                <a:gd name="connsiteY60" fmla="*/ 110159 h 523875"/>
                <a:gd name="connsiteX61" fmla="*/ 148118 w 495300"/>
                <a:gd name="connsiteY61" fmla="*/ 95871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95300" h="523875">
                  <a:moveTo>
                    <a:pt x="371955" y="621"/>
                  </a:moveTo>
                  <a:cubicBezTo>
                    <a:pt x="388148" y="621"/>
                    <a:pt x="400530" y="13004"/>
                    <a:pt x="400530" y="29196"/>
                  </a:cubicBezTo>
                  <a:lnTo>
                    <a:pt x="400530" y="133971"/>
                  </a:lnTo>
                  <a:cubicBezTo>
                    <a:pt x="400530" y="150164"/>
                    <a:pt x="388148" y="162546"/>
                    <a:pt x="371955" y="162546"/>
                  </a:cubicBezTo>
                  <a:lnTo>
                    <a:pt x="257655" y="162546"/>
                  </a:lnTo>
                  <a:lnTo>
                    <a:pt x="257655" y="286371"/>
                  </a:lnTo>
                  <a:lnTo>
                    <a:pt x="419580" y="286371"/>
                  </a:lnTo>
                  <a:cubicBezTo>
                    <a:pt x="439583" y="286371"/>
                    <a:pt x="456727" y="302564"/>
                    <a:pt x="457680" y="322566"/>
                  </a:cubicBezTo>
                  <a:lnTo>
                    <a:pt x="457680" y="324471"/>
                  </a:lnTo>
                  <a:lnTo>
                    <a:pt x="457680" y="429246"/>
                  </a:lnTo>
                  <a:lnTo>
                    <a:pt x="476730" y="429246"/>
                  </a:lnTo>
                  <a:cubicBezTo>
                    <a:pt x="487208" y="429246"/>
                    <a:pt x="495780" y="437819"/>
                    <a:pt x="495780" y="448296"/>
                  </a:cubicBezTo>
                  <a:lnTo>
                    <a:pt x="495780" y="505446"/>
                  </a:lnTo>
                  <a:cubicBezTo>
                    <a:pt x="495780" y="515924"/>
                    <a:pt x="487208" y="524496"/>
                    <a:pt x="476730" y="524496"/>
                  </a:cubicBezTo>
                  <a:lnTo>
                    <a:pt x="419580" y="524496"/>
                  </a:lnTo>
                  <a:cubicBezTo>
                    <a:pt x="409102" y="524496"/>
                    <a:pt x="400530" y="515924"/>
                    <a:pt x="400530" y="505446"/>
                  </a:cubicBezTo>
                  <a:lnTo>
                    <a:pt x="400530" y="448296"/>
                  </a:lnTo>
                  <a:cubicBezTo>
                    <a:pt x="400530" y="437819"/>
                    <a:pt x="409102" y="429246"/>
                    <a:pt x="419580" y="429246"/>
                  </a:cubicBezTo>
                  <a:lnTo>
                    <a:pt x="438630" y="429246"/>
                  </a:lnTo>
                  <a:lnTo>
                    <a:pt x="438630" y="324471"/>
                  </a:lnTo>
                  <a:cubicBezTo>
                    <a:pt x="438630" y="313994"/>
                    <a:pt x="431010" y="306374"/>
                    <a:pt x="420533" y="305421"/>
                  </a:cubicBezTo>
                  <a:lnTo>
                    <a:pt x="419580" y="305421"/>
                  </a:lnTo>
                  <a:lnTo>
                    <a:pt x="257655" y="305421"/>
                  </a:lnTo>
                  <a:lnTo>
                    <a:pt x="257655" y="429246"/>
                  </a:lnTo>
                  <a:lnTo>
                    <a:pt x="276705" y="429246"/>
                  </a:lnTo>
                  <a:cubicBezTo>
                    <a:pt x="287183" y="429246"/>
                    <a:pt x="295755" y="437819"/>
                    <a:pt x="295755" y="448296"/>
                  </a:cubicBezTo>
                  <a:lnTo>
                    <a:pt x="295755" y="505446"/>
                  </a:lnTo>
                  <a:cubicBezTo>
                    <a:pt x="295755" y="515924"/>
                    <a:pt x="287183" y="524496"/>
                    <a:pt x="276705" y="524496"/>
                  </a:cubicBezTo>
                  <a:lnTo>
                    <a:pt x="219555" y="524496"/>
                  </a:lnTo>
                  <a:cubicBezTo>
                    <a:pt x="209077" y="524496"/>
                    <a:pt x="200505" y="515924"/>
                    <a:pt x="200505" y="505446"/>
                  </a:cubicBezTo>
                  <a:lnTo>
                    <a:pt x="200505" y="448296"/>
                  </a:lnTo>
                  <a:cubicBezTo>
                    <a:pt x="200505" y="437819"/>
                    <a:pt x="209077" y="429246"/>
                    <a:pt x="219555" y="429246"/>
                  </a:cubicBezTo>
                  <a:lnTo>
                    <a:pt x="238605" y="429246"/>
                  </a:lnTo>
                  <a:lnTo>
                    <a:pt x="238605" y="305421"/>
                  </a:lnTo>
                  <a:lnTo>
                    <a:pt x="76680" y="305421"/>
                  </a:lnTo>
                  <a:cubicBezTo>
                    <a:pt x="66202" y="305421"/>
                    <a:pt x="58583" y="313041"/>
                    <a:pt x="57630" y="323519"/>
                  </a:cubicBezTo>
                  <a:lnTo>
                    <a:pt x="57630" y="324471"/>
                  </a:lnTo>
                  <a:lnTo>
                    <a:pt x="57630" y="429246"/>
                  </a:lnTo>
                  <a:lnTo>
                    <a:pt x="76680" y="429246"/>
                  </a:lnTo>
                  <a:cubicBezTo>
                    <a:pt x="87158" y="429246"/>
                    <a:pt x="95730" y="437819"/>
                    <a:pt x="95730" y="448296"/>
                  </a:cubicBezTo>
                  <a:lnTo>
                    <a:pt x="95730" y="505446"/>
                  </a:lnTo>
                  <a:cubicBezTo>
                    <a:pt x="95730" y="515924"/>
                    <a:pt x="87158" y="524496"/>
                    <a:pt x="76680" y="524496"/>
                  </a:cubicBezTo>
                  <a:lnTo>
                    <a:pt x="19530" y="524496"/>
                  </a:lnTo>
                  <a:cubicBezTo>
                    <a:pt x="9052" y="524496"/>
                    <a:pt x="480" y="515924"/>
                    <a:pt x="480" y="505446"/>
                  </a:cubicBezTo>
                  <a:lnTo>
                    <a:pt x="480" y="448296"/>
                  </a:lnTo>
                  <a:cubicBezTo>
                    <a:pt x="480" y="437819"/>
                    <a:pt x="9052" y="429246"/>
                    <a:pt x="19530" y="429246"/>
                  </a:cubicBezTo>
                  <a:lnTo>
                    <a:pt x="38580" y="429246"/>
                  </a:lnTo>
                  <a:lnTo>
                    <a:pt x="38580" y="324471"/>
                  </a:lnTo>
                  <a:cubicBezTo>
                    <a:pt x="38580" y="304469"/>
                    <a:pt x="54773" y="287324"/>
                    <a:pt x="74775" y="286371"/>
                  </a:cubicBezTo>
                  <a:lnTo>
                    <a:pt x="76680" y="286371"/>
                  </a:lnTo>
                  <a:lnTo>
                    <a:pt x="238605" y="286371"/>
                  </a:lnTo>
                  <a:lnTo>
                    <a:pt x="238605" y="162546"/>
                  </a:lnTo>
                  <a:lnTo>
                    <a:pt x="124305" y="162546"/>
                  </a:lnTo>
                  <a:cubicBezTo>
                    <a:pt x="108112" y="162546"/>
                    <a:pt x="95730" y="150164"/>
                    <a:pt x="95730" y="133971"/>
                  </a:cubicBezTo>
                  <a:lnTo>
                    <a:pt x="95730" y="29196"/>
                  </a:lnTo>
                  <a:cubicBezTo>
                    <a:pt x="95730" y="13004"/>
                    <a:pt x="108112" y="621"/>
                    <a:pt x="124305" y="621"/>
                  </a:cubicBezTo>
                  <a:lnTo>
                    <a:pt x="371955" y="621"/>
                  </a:lnTo>
                  <a:close/>
                  <a:moveTo>
                    <a:pt x="148118" y="95871"/>
                  </a:moveTo>
                  <a:cubicBezTo>
                    <a:pt x="140498" y="95871"/>
                    <a:pt x="133830" y="102539"/>
                    <a:pt x="133830" y="110159"/>
                  </a:cubicBezTo>
                  <a:cubicBezTo>
                    <a:pt x="133830" y="117779"/>
                    <a:pt x="140498" y="124446"/>
                    <a:pt x="148118" y="124446"/>
                  </a:cubicBezTo>
                  <a:cubicBezTo>
                    <a:pt x="155737" y="124446"/>
                    <a:pt x="162405" y="117779"/>
                    <a:pt x="162405" y="110159"/>
                  </a:cubicBezTo>
                  <a:cubicBezTo>
                    <a:pt x="162405" y="102539"/>
                    <a:pt x="155737" y="95871"/>
                    <a:pt x="148118" y="95871"/>
                  </a:cubicBezTo>
                  <a:close/>
                </a:path>
              </a:pathLst>
            </a:custGeom>
            <a:solidFill>
              <a:schemeClr val="accent1"/>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grpSp>
      <p:grpSp>
        <p:nvGrpSpPr>
          <p:cNvPr id="17" name="组合 16"/>
          <p:cNvGrpSpPr/>
          <p:nvPr/>
        </p:nvGrpSpPr>
        <p:grpSpPr>
          <a:xfrm>
            <a:off x="4809552" y="4874200"/>
            <a:ext cx="2560196" cy="1280259"/>
            <a:chOff x="4809552" y="4874200"/>
            <a:chExt cx="2560196" cy="1280259"/>
          </a:xfrm>
        </p:grpSpPr>
        <p:grpSp>
          <p:nvGrpSpPr>
            <p:cNvPr id="70" name="组合 69"/>
            <p:cNvGrpSpPr/>
            <p:nvPr/>
          </p:nvGrpSpPr>
          <p:grpSpPr>
            <a:xfrm>
              <a:off x="4809552" y="5287966"/>
              <a:ext cx="2560196" cy="866493"/>
              <a:chOff x="660400" y="4362608"/>
              <a:chExt cx="2560196" cy="866493"/>
            </a:xfrm>
          </p:grpSpPr>
          <p:sp>
            <p:nvSpPr>
              <p:cNvPr id="63" name="矩形 62"/>
              <p:cNvSpPr/>
              <p:nvPr/>
            </p:nvSpPr>
            <p:spPr>
              <a:xfrm>
                <a:off x="940856" y="4362608"/>
                <a:ext cx="1999285"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kumimoji="1" lang="en-US" altLang="zh-CN" b="1" dirty="0">
                    <a:solidFill>
                      <a:schemeClr val="tx1"/>
                    </a:solidFill>
                    <a:latin typeface="Arial" panose="020B0604020202090204" pitchFamily="34" charset="0"/>
                    <a:ea typeface="华文楷体" panose="02010600040101010101" pitchFamily="2" charset="-122"/>
                  </a:rPr>
                  <a:t>Texthere</a:t>
                </a:r>
                <a:endParaRPr kumimoji="1" lang="en-US" altLang="zh-CN" b="1" dirty="0">
                  <a:solidFill>
                    <a:schemeClr val="tx1"/>
                  </a:solidFill>
                  <a:latin typeface="Arial" panose="020B0604020202090204" pitchFamily="34" charset="0"/>
                  <a:ea typeface="华文楷体" panose="02010600040101010101" pitchFamily="2" charset="-122"/>
                </a:endParaRPr>
              </a:p>
            </p:txBody>
          </p:sp>
          <p:sp>
            <p:nvSpPr>
              <p:cNvPr id="65" name="矩形 64"/>
              <p:cNvSpPr/>
              <p:nvPr/>
            </p:nvSpPr>
            <p:spPr>
              <a:xfrm>
                <a:off x="660400" y="4757497"/>
                <a:ext cx="2560196" cy="4716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lnSpc>
                    <a:spcPct val="130000"/>
                  </a:lnSpc>
                </a:pPr>
                <a:r>
                  <a:rPr kumimoji="1" lang="en-US" altLang="zh-CN" sz="1000" dirty="0">
                    <a:solidFill>
                      <a:schemeClr val="tx1"/>
                    </a:solidFill>
                    <a:latin typeface="Arial" panose="020B0604020202090204" pitchFamily="34" charset="0"/>
                    <a:ea typeface="华文楷体" panose="02010600040101010101" pitchFamily="2" charset="-122"/>
                  </a:rPr>
                  <a:t>Lorem ipsum dolor sit amet, consectetuer adipiscing elit. Maecenas </a:t>
                </a:r>
                <a:r>
                  <a:rPr kumimoji="1" lang="en-US" altLang="zh-CN" sz="1000" dirty="0" err="1">
                    <a:solidFill>
                      <a:schemeClr val="tx1"/>
                    </a:solidFill>
                    <a:latin typeface="Arial" panose="020B0604020202090204" pitchFamily="34" charset="0"/>
                    <a:ea typeface="华文楷体" panose="02010600040101010101" pitchFamily="2" charset="-122"/>
                  </a:rPr>
                  <a:t>porttitorcongue</a:t>
                </a:r>
                <a:endParaRPr kumimoji="1" lang="en-US" altLang="zh-CN" sz="1000" dirty="0">
                  <a:solidFill>
                    <a:schemeClr val="tx1"/>
                  </a:solidFill>
                  <a:latin typeface="Arial" panose="020B0604020202090204" pitchFamily="34" charset="0"/>
                  <a:ea typeface="华文楷体" panose="02010600040101010101" pitchFamily="2" charset="-122"/>
                </a:endParaRPr>
              </a:p>
            </p:txBody>
          </p:sp>
        </p:grpSp>
        <p:sp>
          <p:nvSpPr>
            <p:cNvPr id="80" name="任意多边形: 形状 79"/>
            <p:cNvSpPr/>
            <p:nvPr/>
          </p:nvSpPr>
          <p:spPr>
            <a:xfrm>
              <a:off x="5873199" y="4874200"/>
              <a:ext cx="432903" cy="324677"/>
            </a:xfrm>
            <a:custGeom>
              <a:avLst/>
              <a:gdLst>
                <a:gd name="connsiteX0" fmla="*/ 505433 w 533400"/>
                <a:gd name="connsiteY0" fmla="*/ 621 h 400050"/>
                <a:gd name="connsiteX1" fmla="*/ 534008 w 533400"/>
                <a:gd name="connsiteY1" fmla="*/ 29196 h 400050"/>
                <a:gd name="connsiteX2" fmla="*/ 534008 w 533400"/>
                <a:gd name="connsiteY2" fmla="*/ 372096 h 400050"/>
                <a:gd name="connsiteX3" fmla="*/ 505433 w 533400"/>
                <a:gd name="connsiteY3" fmla="*/ 400671 h 400050"/>
                <a:gd name="connsiteX4" fmla="*/ 29183 w 533400"/>
                <a:gd name="connsiteY4" fmla="*/ 400671 h 400050"/>
                <a:gd name="connsiteX5" fmla="*/ 608 w 533400"/>
                <a:gd name="connsiteY5" fmla="*/ 372096 h 400050"/>
                <a:gd name="connsiteX6" fmla="*/ 608 w 533400"/>
                <a:gd name="connsiteY6" fmla="*/ 29196 h 400050"/>
                <a:gd name="connsiteX7" fmla="*/ 29183 w 533400"/>
                <a:gd name="connsiteY7" fmla="*/ 621 h 400050"/>
                <a:gd name="connsiteX8" fmla="*/ 505433 w 533400"/>
                <a:gd name="connsiteY8" fmla="*/ 621 h 400050"/>
                <a:gd name="connsiteX9" fmla="*/ 391133 w 533400"/>
                <a:gd name="connsiteY9" fmla="*/ 198741 h 400050"/>
                <a:gd name="connsiteX10" fmla="*/ 351128 w 533400"/>
                <a:gd name="connsiteY10" fmla="*/ 204456 h 400050"/>
                <a:gd name="connsiteX11" fmla="*/ 351128 w 533400"/>
                <a:gd name="connsiteY11" fmla="*/ 204456 h 400050"/>
                <a:gd name="connsiteX12" fmla="*/ 267308 w 533400"/>
                <a:gd name="connsiteY12" fmla="*/ 315899 h 400050"/>
                <a:gd name="connsiteX13" fmla="*/ 264451 w 533400"/>
                <a:gd name="connsiteY13" fmla="*/ 318756 h 400050"/>
                <a:gd name="connsiteX14" fmla="*/ 224446 w 533400"/>
                <a:gd name="connsiteY14" fmla="*/ 318756 h 400050"/>
                <a:gd name="connsiteX15" fmla="*/ 224446 w 533400"/>
                <a:gd name="connsiteY15" fmla="*/ 318756 h 400050"/>
                <a:gd name="connsiteX16" fmla="*/ 162533 w 533400"/>
                <a:gd name="connsiteY16" fmla="*/ 257796 h 400050"/>
                <a:gd name="connsiteX17" fmla="*/ 160628 w 533400"/>
                <a:gd name="connsiteY17" fmla="*/ 255891 h 400050"/>
                <a:gd name="connsiteX18" fmla="*/ 120623 w 533400"/>
                <a:gd name="connsiteY18" fmla="*/ 259701 h 400050"/>
                <a:gd name="connsiteX19" fmla="*/ 120623 w 533400"/>
                <a:gd name="connsiteY19" fmla="*/ 259701 h 400050"/>
                <a:gd name="connsiteX20" fmla="*/ 32993 w 533400"/>
                <a:gd name="connsiteY20" fmla="*/ 366381 h 400050"/>
                <a:gd name="connsiteX21" fmla="*/ 31088 w 533400"/>
                <a:gd name="connsiteY21" fmla="*/ 372096 h 400050"/>
                <a:gd name="connsiteX22" fmla="*/ 40613 w 533400"/>
                <a:gd name="connsiteY22" fmla="*/ 381621 h 400050"/>
                <a:gd name="connsiteX23" fmla="*/ 40613 w 533400"/>
                <a:gd name="connsiteY23" fmla="*/ 381621 h 400050"/>
                <a:gd name="connsiteX24" fmla="*/ 497813 w 533400"/>
                <a:gd name="connsiteY24" fmla="*/ 381621 h 400050"/>
                <a:gd name="connsiteX25" fmla="*/ 503528 w 533400"/>
                <a:gd name="connsiteY25" fmla="*/ 379716 h 400050"/>
                <a:gd name="connsiteX26" fmla="*/ 506386 w 533400"/>
                <a:gd name="connsiteY26" fmla="*/ 366381 h 400050"/>
                <a:gd name="connsiteX27" fmla="*/ 506386 w 533400"/>
                <a:gd name="connsiteY27" fmla="*/ 366381 h 400050"/>
                <a:gd name="connsiteX28" fmla="*/ 398753 w 533400"/>
                <a:gd name="connsiteY28" fmla="*/ 205409 h 400050"/>
                <a:gd name="connsiteX29" fmla="*/ 391133 w 533400"/>
                <a:gd name="connsiteY29" fmla="*/ 198741 h 400050"/>
                <a:gd name="connsiteX30" fmla="*/ 95858 w 533400"/>
                <a:gd name="connsiteY30" fmla="*/ 57771 h 400050"/>
                <a:gd name="connsiteX31" fmla="*/ 57758 w 533400"/>
                <a:gd name="connsiteY31" fmla="*/ 95871 h 400050"/>
                <a:gd name="connsiteX32" fmla="*/ 95858 w 533400"/>
                <a:gd name="connsiteY32" fmla="*/ 133971 h 400050"/>
                <a:gd name="connsiteX33" fmla="*/ 133958 w 533400"/>
                <a:gd name="connsiteY33" fmla="*/ 95871 h 400050"/>
                <a:gd name="connsiteX34" fmla="*/ 95858 w 533400"/>
                <a:gd name="connsiteY34" fmla="*/ 57771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33400" h="400050">
                  <a:moveTo>
                    <a:pt x="505433" y="621"/>
                  </a:moveTo>
                  <a:cubicBezTo>
                    <a:pt x="521626" y="621"/>
                    <a:pt x="534008" y="13004"/>
                    <a:pt x="534008" y="29196"/>
                  </a:cubicBezTo>
                  <a:lnTo>
                    <a:pt x="534008" y="372096"/>
                  </a:lnTo>
                  <a:cubicBezTo>
                    <a:pt x="534008" y="388289"/>
                    <a:pt x="521626" y="400671"/>
                    <a:pt x="505433" y="400671"/>
                  </a:cubicBezTo>
                  <a:lnTo>
                    <a:pt x="29183" y="400671"/>
                  </a:lnTo>
                  <a:cubicBezTo>
                    <a:pt x="12990" y="400671"/>
                    <a:pt x="608" y="388289"/>
                    <a:pt x="608" y="372096"/>
                  </a:cubicBezTo>
                  <a:lnTo>
                    <a:pt x="608" y="29196"/>
                  </a:lnTo>
                  <a:cubicBezTo>
                    <a:pt x="608" y="13004"/>
                    <a:pt x="12990" y="621"/>
                    <a:pt x="29183" y="621"/>
                  </a:cubicBezTo>
                  <a:lnTo>
                    <a:pt x="505433" y="621"/>
                  </a:lnTo>
                  <a:close/>
                  <a:moveTo>
                    <a:pt x="391133" y="198741"/>
                  </a:moveTo>
                  <a:cubicBezTo>
                    <a:pt x="378751" y="189216"/>
                    <a:pt x="360653" y="192074"/>
                    <a:pt x="351128" y="204456"/>
                  </a:cubicBezTo>
                  <a:lnTo>
                    <a:pt x="351128" y="204456"/>
                  </a:lnTo>
                  <a:lnTo>
                    <a:pt x="267308" y="315899"/>
                  </a:lnTo>
                  <a:cubicBezTo>
                    <a:pt x="266355" y="316851"/>
                    <a:pt x="265403" y="317804"/>
                    <a:pt x="264451" y="318756"/>
                  </a:cubicBezTo>
                  <a:cubicBezTo>
                    <a:pt x="253021" y="330186"/>
                    <a:pt x="234923" y="330186"/>
                    <a:pt x="224446" y="318756"/>
                  </a:cubicBezTo>
                  <a:lnTo>
                    <a:pt x="224446" y="318756"/>
                  </a:lnTo>
                  <a:lnTo>
                    <a:pt x="162533" y="257796"/>
                  </a:lnTo>
                  <a:cubicBezTo>
                    <a:pt x="161580" y="256844"/>
                    <a:pt x="161580" y="256844"/>
                    <a:pt x="160628" y="255891"/>
                  </a:cubicBezTo>
                  <a:cubicBezTo>
                    <a:pt x="148246" y="245414"/>
                    <a:pt x="130148" y="247319"/>
                    <a:pt x="120623" y="259701"/>
                  </a:cubicBezTo>
                  <a:lnTo>
                    <a:pt x="120623" y="259701"/>
                  </a:lnTo>
                  <a:lnTo>
                    <a:pt x="32993" y="366381"/>
                  </a:lnTo>
                  <a:cubicBezTo>
                    <a:pt x="32040" y="368286"/>
                    <a:pt x="31088" y="370191"/>
                    <a:pt x="31088" y="372096"/>
                  </a:cubicBezTo>
                  <a:cubicBezTo>
                    <a:pt x="31088" y="377811"/>
                    <a:pt x="34898" y="381621"/>
                    <a:pt x="40613" y="381621"/>
                  </a:cubicBezTo>
                  <a:lnTo>
                    <a:pt x="40613" y="381621"/>
                  </a:lnTo>
                  <a:lnTo>
                    <a:pt x="497813" y="381621"/>
                  </a:lnTo>
                  <a:cubicBezTo>
                    <a:pt x="499718" y="381621"/>
                    <a:pt x="501623" y="380669"/>
                    <a:pt x="503528" y="379716"/>
                  </a:cubicBezTo>
                  <a:cubicBezTo>
                    <a:pt x="508290" y="376859"/>
                    <a:pt x="509243" y="371144"/>
                    <a:pt x="506386" y="366381"/>
                  </a:cubicBezTo>
                  <a:lnTo>
                    <a:pt x="506386" y="366381"/>
                  </a:lnTo>
                  <a:lnTo>
                    <a:pt x="398753" y="205409"/>
                  </a:lnTo>
                  <a:cubicBezTo>
                    <a:pt x="395896" y="202551"/>
                    <a:pt x="393990" y="200646"/>
                    <a:pt x="391133" y="198741"/>
                  </a:cubicBezTo>
                  <a:close/>
                  <a:moveTo>
                    <a:pt x="95858" y="57771"/>
                  </a:moveTo>
                  <a:cubicBezTo>
                    <a:pt x="74903" y="57771"/>
                    <a:pt x="57758" y="74916"/>
                    <a:pt x="57758" y="95871"/>
                  </a:cubicBezTo>
                  <a:cubicBezTo>
                    <a:pt x="57758" y="116826"/>
                    <a:pt x="74903" y="133971"/>
                    <a:pt x="95858" y="133971"/>
                  </a:cubicBezTo>
                  <a:cubicBezTo>
                    <a:pt x="116813" y="133971"/>
                    <a:pt x="133958" y="116826"/>
                    <a:pt x="133958" y="95871"/>
                  </a:cubicBezTo>
                  <a:cubicBezTo>
                    <a:pt x="133958" y="74916"/>
                    <a:pt x="116813" y="57771"/>
                    <a:pt x="95858" y="57771"/>
                  </a:cubicBezTo>
                  <a:close/>
                </a:path>
              </a:pathLst>
            </a:custGeom>
            <a:solidFill>
              <a:schemeClr val="accent1"/>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grpSp>
      <p:grpSp>
        <p:nvGrpSpPr>
          <p:cNvPr id="16" name="组合 15"/>
          <p:cNvGrpSpPr/>
          <p:nvPr/>
        </p:nvGrpSpPr>
        <p:grpSpPr>
          <a:xfrm>
            <a:off x="660400" y="2962813"/>
            <a:ext cx="2560196" cy="1358375"/>
            <a:chOff x="660400" y="3044605"/>
            <a:chExt cx="2560196" cy="1358375"/>
          </a:xfrm>
        </p:grpSpPr>
        <p:grpSp>
          <p:nvGrpSpPr>
            <p:cNvPr id="71" name="组合 70"/>
            <p:cNvGrpSpPr/>
            <p:nvPr/>
          </p:nvGrpSpPr>
          <p:grpSpPr>
            <a:xfrm>
              <a:off x="660400" y="3536487"/>
              <a:ext cx="2560196" cy="866493"/>
              <a:chOff x="660400" y="4362608"/>
              <a:chExt cx="2560196" cy="866493"/>
            </a:xfrm>
          </p:grpSpPr>
          <p:sp>
            <p:nvSpPr>
              <p:cNvPr id="72" name="矩形 71"/>
              <p:cNvSpPr/>
              <p:nvPr/>
            </p:nvSpPr>
            <p:spPr>
              <a:xfrm>
                <a:off x="940856" y="4362608"/>
                <a:ext cx="1999285"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kumimoji="1" lang="en-US" altLang="zh-CN" b="1" dirty="0">
                    <a:solidFill>
                      <a:schemeClr val="tx1"/>
                    </a:solidFill>
                    <a:latin typeface="Arial" panose="020B0604020202090204" pitchFamily="34" charset="0"/>
                    <a:ea typeface="华文楷体" panose="02010600040101010101" pitchFamily="2" charset="-122"/>
                  </a:rPr>
                  <a:t>Texthere</a:t>
                </a:r>
                <a:endParaRPr kumimoji="1" lang="en-US" altLang="zh-CN" b="1" dirty="0">
                  <a:solidFill>
                    <a:schemeClr val="tx1"/>
                  </a:solidFill>
                  <a:latin typeface="Arial" panose="020B0604020202090204" pitchFamily="34" charset="0"/>
                  <a:ea typeface="华文楷体" panose="02010600040101010101" pitchFamily="2" charset="-122"/>
                </a:endParaRPr>
              </a:p>
            </p:txBody>
          </p:sp>
          <p:sp>
            <p:nvSpPr>
              <p:cNvPr id="73" name="矩形 72"/>
              <p:cNvSpPr/>
              <p:nvPr/>
            </p:nvSpPr>
            <p:spPr>
              <a:xfrm>
                <a:off x="660400" y="4757497"/>
                <a:ext cx="2560196" cy="4716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lnSpc>
                    <a:spcPct val="130000"/>
                  </a:lnSpc>
                </a:pPr>
                <a:r>
                  <a:rPr kumimoji="1" lang="en-US" altLang="zh-CN" sz="1000" dirty="0">
                    <a:solidFill>
                      <a:schemeClr val="tx1"/>
                    </a:solidFill>
                    <a:latin typeface="Arial" panose="020B0604020202090204" pitchFamily="34" charset="0"/>
                    <a:ea typeface="华文楷体" panose="02010600040101010101" pitchFamily="2" charset="-122"/>
                  </a:rPr>
                  <a:t>Lorem ipsum dolor sit amet, consectetuer adipiscing elit</a:t>
                </a:r>
                <a:r>
                  <a:rPr kumimoji="1" lang="en-US" altLang="zh-CN" sz="1000">
                    <a:solidFill>
                      <a:schemeClr val="tx1"/>
                    </a:solidFill>
                    <a:latin typeface="Arial" panose="020B0604020202090204" pitchFamily="34" charset="0"/>
                    <a:ea typeface="华文楷体" panose="02010600040101010101" pitchFamily="2" charset="-122"/>
                  </a:rPr>
                  <a:t>. Maecenas porttitor congue</a:t>
                </a:r>
                <a:endParaRPr kumimoji="1" lang="en-US" altLang="zh-CN" sz="1000" dirty="0">
                  <a:solidFill>
                    <a:schemeClr val="tx1"/>
                  </a:solidFill>
                  <a:latin typeface="Arial" panose="020B0604020202090204" pitchFamily="34" charset="0"/>
                  <a:ea typeface="华文楷体" panose="02010600040101010101" pitchFamily="2" charset="-122"/>
                </a:endParaRPr>
              </a:p>
            </p:txBody>
          </p:sp>
        </p:grpSp>
        <p:sp>
          <p:nvSpPr>
            <p:cNvPr id="82" name="任意多边形: 形状 81"/>
            <p:cNvSpPr/>
            <p:nvPr/>
          </p:nvSpPr>
          <p:spPr>
            <a:xfrm>
              <a:off x="1762699" y="3044605"/>
              <a:ext cx="355599" cy="432903"/>
            </a:xfrm>
            <a:custGeom>
              <a:avLst/>
              <a:gdLst>
                <a:gd name="connsiteX0" fmla="*/ 284197 w 438150"/>
                <a:gd name="connsiteY0" fmla="*/ 621 h 533400"/>
                <a:gd name="connsiteX1" fmla="*/ 286102 w 438150"/>
                <a:gd name="connsiteY1" fmla="*/ 621 h 533400"/>
                <a:gd name="connsiteX2" fmla="*/ 286102 w 438150"/>
                <a:gd name="connsiteY2" fmla="*/ 124446 h 533400"/>
                <a:gd name="connsiteX3" fmla="*/ 286102 w 438150"/>
                <a:gd name="connsiteY3" fmla="*/ 126351 h 533400"/>
                <a:gd name="connsiteX4" fmla="*/ 314677 w 438150"/>
                <a:gd name="connsiteY4" fmla="*/ 153021 h 533400"/>
                <a:gd name="connsiteX5" fmla="*/ 314677 w 438150"/>
                <a:gd name="connsiteY5" fmla="*/ 153021 h 533400"/>
                <a:gd name="connsiteX6" fmla="*/ 438502 w 438150"/>
                <a:gd name="connsiteY6" fmla="*/ 153021 h 533400"/>
                <a:gd name="connsiteX7" fmla="*/ 438502 w 438150"/>
                <a:gd name="connsiteY7" fmla="*/ 154926 h 533400"/>
                <a:gd name="connsiteX8" fmla="*/ 438502 w 438150"/>
                <a:gd name="connsiteY8" fmla="*/ 505446 h 533400"/>
                <a:gd name="connsiteX9" fmla="*/ 409927 w 438150"/>
                <a:gd name="connsiteY9" fmla="*/ 534021 h 533400"/>
                <a:gd name="connsiteX10" fmla="*/ 28927 w 438150"/>
                <a:gd name="connsiteY10" fmla="*/ 534021 h 533400"/>
                <a:gd name="connsiteX11" fmla="*/ 352 w 438150"/>
                <a:gd name="connsiteY11" fmla="*/ 505446 h 533400"/>
                <a:gd name="connsiteX12" fmla="*/ 352 w 438150"/>
                <a:gd name="connsiteY12" fmla="*/ 29196 h 533400"/>
                <a:gd name="connsiteX13" fmla="*/ 28927 w 438150"/>
                <a:gd name="connsiteY13" fmla="*/ 621 h 533400"/>
                <a:gd name="connsiteX14" fmla="*/ 284197 w 438150"/>
                <a:gd name="connsiteY14" fmla="*/ 621 h 533400"/>
                <a:gd name="connsiteX15" fmla="*/ 248002 w 438150"/>
                <a:gd name="connsiteY15" fmla="*/ 200646 h 533400"/>
                <a:gd name="connsiteX16" fmla="*/ 152752 w 438150"/>
                <a:gd name="connsiteY16" fmla="*/ 200646 h 533400"/>
                <a:gd name="connsiteX17" fmla="*/ 152752 w 438150"/>
                <a:gd name="connsiteY17" fmla="*/ 410196 h 533400"/>
                <a:gd name="connsiteX18" fmla="*/ 171802 w 438150"/>
                <a:gd name="connsiteY18" fmla="*/ 410196 h 533400"/>
                <a:gd name="connsiteX19" fmla="*/ 171802 w 438150"/>
                <a:gd name="connsiteY19" fmla="*/ 314946 h 533400"/>
                <a:gd name="connsiteX20" fmla="*/ 248002 w 438150"/>
                <a:gd name="connsiteY20" fmla="*/ 314946 h 533400"/>
                <a:gd name="connsiteX21" fmla="*/ 249907 w 438150"/>
                <a:gd name="connsiteY21" fmla="*/ 314946 h 533400"/>
                <a:gd name="connsiteX22" fmla="*/ 305152 w 438150"/>
                <a:gd name="connsiteY22" fmla="*/ 257796 h 533400"/>
                <a:gd name="connsiteX23" fmla="*/ 248002 w 438150"/>
                <a:gd name="connsiteY23" fmla="*/ 200646 h 533400"/>
                <a:gd name="connsiteX24" fmla="*/ 248002 w 438150"/>
                <a:gd name="connsiteY24" fmla="*/ 200646 h 533400"/>
                <a:gd name="connsiteX25" fmla="*/ 248002 w 438150"/>
                <a:gd name="connsiteY25" fmla="*/ 219696 h 533400"/>
                <a:gd name="connsiteX26" fmla="*/ 286102 w 438150"/>
                <a:gd name="connsiteY26" fmla="*/ 257796 h 533400"/>
                <a:gd name="connsiteX27" fmla="*/ 248002 w 438150"/>
                <a:gd name="connsiteY27" fmla="*/ 295896 h 533400"/>
                <a:gd name="connsiteX28" fmla="*/ 248002 w 438150"/>
                <a:gd name="connsiteY28" fmla="*/ 295896 h 533400"/>
                <a:gd name="connsiteX29" fmla="*/ 171802 w 438150"/>
                <a:gd name="connsiteY29" fmla="*/ 295896 h 533400"/>
                <a:gd name="connsiteX30" fmla="*/ 171802 w 438150"/>
                <a:gd name="connsiteY30" fmla="*/ 219696 h 533400"/>
                <a:gd name="connsiteX31" fmla="*/ 248002 w 438150"/>
                <a:gd name="connsiteY31" fmla="*/ 219696 h 533400"/>
                <a:gd name="connsiteX32" fmla="*/ 428977 w 438150"/>
                <a:gd name="connsiteY32" fmla="*/ 133971 h 533400"/>
                <a:gd name="connsiteX33" fmla="*/ 314677 w 438150"/>
                <a:gd name="connsiteY33" fmla="*/ 133971 h 533400"/>
                <a:gd name="connsiteX34" fmla="*/ 313724 w 438150"/>
                <a:gd name="connsiteY34" fmla="*/ 133971 h 533400"/>
                <a:gd name="connsiteX35" fmla="*/ 305152 w 438150"/>
                <a:gd name="connsiteY35" fmla="*/ 124446 h 533400"/>
                <a:gd name="connsiteX36" fmla="*/ 305152 w 438150"/>
                <a:gd name="connsiteY36" fmla="*/ 124446 h 533400"/>
                <a:gd name="connsiteX37" fmla="*/ 305152 w 438150"/>
                <a:gd name="connsiteY37" fmla="*/ 10146 h 533400"/>
                <a:gd name="connsiteX38" fmla="*/ 428977 w 438150"/>
                <a:gd name="connsiteY38" fmla="*/ 133971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38150" h="533400">
                  <a:moveTo>
                    <a:pt x="284197" y="621"/>
                  </a:moveTo>
                  <a:cubicBezTo>
                    <a:pt x="285149" y="621"/>
                    <a:pt x="286102" y="621"/>
                    <a:pt x="286102" y="621"/>
                  </a:cubicBezTo>
                  <a:lnTo>
                    <a:pt x="286102" y="124446"/>
                  </a:lnTo>
                  <a:lnTo>
                    <a:pt x="286102" y="126351"/>
                  </a:lnTo>
                  <a:cubicBezTo>
                    <a:pt x="287055" y="141591"/>
                    <a:pt x="299437" y="153021"/>
                    <a:pt x="314677" y="153021"/>
                  </a:cubicBezTo>
                  <a:lnTo>
                    <a:pt x="314677" y="153021"/>
                  </a:lnTo>
                  <a:lnTo>
                    <a:pt x="438502" y="153021"/>
                  </a:lnTo>
                  <a:cubicBezTo>
                    <a:pt x="438502" y="153974"/>
                    <a:pt x="438502" y="154926"/>
                    <a:pt x="438502" y="154926"/>
                  </a:cubicBezTo>
                  <a:lnTo>
                    <a:pt x="438502" y="505446"/>
                  </a:lnTo>
                  <a:cubicBezTo>
                    <a:pt x="438502" y="521639"/>
                    <a:pt x="426120" y="534021"/>
                    <a:pt x="409927" y="534021"/>
                  </a:cubicBezTo>
                  <a:lnTo>
                    <a:pt x="28927" y="534021"/>
                  </a:lnTo>
                  <a:cubicBezTo>
                    <a:pt x="12734" y="534021"/>
                    <a:pt x="352" y="521639"/>
                    <a:pt x="352" y="505446"/>
                  </a:cubicBezTo>
                  <a:lnTo>
                    <a:pt x="352" y="29196"/>
                  </a:lnTo>
                  <a:cubicBezTo>
                    <a:pt x="352" y="13004"/>
                    <a:pt x="12734" y="621"/>
                    <a:pt x="28927" y="621"/>
                  </a:cubicBezTo>
                  <a:lnTo>
                    <a:pt x="284197" y="621"/>
                  </a:lnTo>
                  <a:close/>
                  <a:moveTo>
                    <a:pt x="248002" y="200646"/>
                  </a:moveTo>
                  <a:lnTo>
                    <a:pt x="152752" y="200646"/>
                  </a:lnTo>
                  <a:lnTo>
                    <a:pt x="152752" y="410196"/>
                  </a:lnTo>
                  <a:lnTo>
                    <a:pt x="171802" y="410196"/>
                  </a:lnTo>
                  <a:lnTo>
                    <a:pt x="171802" y="314946"/>
                  </a:lnTo>
                  <a:lnTo>
                    <a:pt x="248002" y="314946"/>
                  </a:lnTo>
                  <a:lnTo>
                    <a:pt x="249907" y="314946"/>
                  </a:lnTo>
                  <a:cubicBezTo>
                    <a:pt x="280387" y="313994"/>
                    <a:pt x="305152" y="288276"/>
                    <a:pt x="305152" y="257796"/>
                  </a:cubicBezTo>
                  <a:cubicBezTo>
                    <a:pt x="305152" y="226364"/>
                    <a:pt x="279434" y="200646"/>
                    <a:pt x="248002" y="200646"/>
                  </a:cubicBezTo>
                  <a:lnTo>
                    <a:pt x="248002" y="200646"/>
                  </a:lnTo>
                  <a:close/>
                  <a:moveTo>
                    <a:pt x="248002" y="219696"/>
                  </a:moveTo>
                  <a:cubicBezTo>
                    <a:pt x="268957" y="219696"/>
                    <a:pt x="286102" y="236841"/>
                    <a:pt x="286102" y="257796"/>
                  </a:cubicBezTo>
                  <a:cubicBezTo>
                    <a:pt x="286102" y="278751"/>
                    <a:pt x="268957" y="295896"/>
                    <a:pt x="248002" y="295896"/>
                  </a:cubicBezTo>
                  <a:lnTo>
                    <a:pt x="248002" y="295896"/>
                  </a:lnTo>
                  <a:lnTo>
                    <a:pt x="171802" y="295896"/>
                  </a:lnTo>
                  <a:lnTo>
                    <a:pt x="171802" y="219696"/>
                  </a:lnTo>
                  <a:lnTo>
                    <a:pt x="248002" y="219696"/>
                  </a:lnTo>
                  <a:close/>
                  <a:moveTo>
                    <a:pt x="428977" y="133971"/>
                  </a:moveTo>
                  <a:lnTo>
                    <a:pt x="314677" y="133971"/>
                  </a:lnTo>
                  <a:lnTo>
                    <a:pt x="313724" y="133971"/>
                  </a:lnTo>
                  <a:cubicBezTo>
                    <a:pt x="308962" y="133019"/>
                    <a:pt x="305152" y="129209"/>
                    <a:pt x="305152" y="124446"/>
                  </a:cubicBezTo>
                  <a:lnTo>
                    <a:pt x="305152" y="124446"/>
                  </a:lnTo>
                  <a:lnTo>
                    <a:pt x="305152" y="10146"/>
                  </a:lnTo>
                  <a:lnTo>
                    <a:pt x="428977" y="133971"/>
                  </a:lnTo>
                  <a:close/>
                </a:path>
              </a:pathLst>
            </a:custGeom>
            <a:solidFill>
              <a:schemeClr val="accent1"/>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grpSp>
      <p:grpSp>
        <p:nvGrpSpPr>
          <p:cNvPr id="84" name="组合 83"/>
          <p:cNvGrpSpPr/>
          <p:nvPr/>
        </p:nvGrpSpPr>
        <p:grpSpPr>
          <a:xfrm>
            <a:off x="4788100" y="2112729"/>
            <a:ext cx="2603100" cy="2206526"/>
            <a:chOff x="4117976" y="1727201"/>
            <a:chExt cx="3990975" cy="3382963"/>
          </a:xfrm>
        </p:grpSpPr>
        <p:sp>
          <p:nvSpPr>
            <p:cNvPr id="85" name="任意多边形: 形状 84"/>
            <p:cNvSpPr/>
            <p:nvPr/>
          </p:nvSpPr>
          <p:spPr bwMode="auto">
            <a:xfrm>
              <a:off x="5824538" y="3538538"/>
              <a:ext cx="1565275" cy="1562100"/>
            </a:xfrm>
            <a:custGeom>
              <a:avLst/>
              <a:gdLst>
                <a:gd name="T0" fmla="*/ 306 w 314"/>
                <a:gd name="T1" fmla="*/ 222 h 313"/>
                <a:gd name="T2" fmla="*/ 304 w 314"/>
                <a:gd name="T3" fmla="*/ 220 h 313"/>
                <a:gd name="T4" fmla="*/ 264 w 314"/>
                <a:gd name="T5" fmla="*/ 0 h 313"/>
                <a:gd name="T6" fmla="*/ 132 w 314"/>
                <a:gd name="T7" fmla="*/ 84 h 313"/>
                <a:gd name="T8" fmla="*/ 0 w 314"/>
                <a:gd name="T9" fmla="*/ 167 h 313"/>
                <a:gd name="T10" fmla="*/ 182 w 314"/>
                <a:gd name="T11" fmla="*/ 298 h 313"/>
                <a:gd name="T12" fmla="*/ 183 w 314"/>
                <a:gd name="T13" fmla="*/ 300 h 313"/>
                <a:gd name="T14" fmla="*/ 183 w 314"/>
                <a:gd name="T15" fmla="*/ 300 h 313"/>
                <a:gd name="T16" fmla="*/ 183 w 314"/>
                <a:gd name="T17" fmla="*/ 300 h 313"/>
                <a:gd name="T18" fmla="*/ 183 w 314"/>
                <a:gd name="T19" fmla="*/ 300 h 313"/>
                <a:gd name="T20" fmla="*/ 260 w 314"/>
                <a:gd name="T21" fmla="*/ 285 h 313"/>
                <a:gd name="T22" fmla="*/ 306 w 314"/>
                <a:gd name="T23" fmla="*/ 222 h 313"/>
                <a:gd name="T24" fmla="*/ 306 w 314"/>
                <a:gd name="T25" fmla="*/ 222 h 313"/>
                <a:gd name="T26" fmla="*/ 306 w 314"/>
                <a:gd name="T27" fmla="*/ 222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4" h="313">
                  <a:moveTo>
                    <a:pt x="306" y="222"/>
                  </a:moveTo>
                  <a:cubicBezTo>
                    <a:pt x="305" y="221"/>
                    <a:pt x="305" y="221"/>
                    <a:pt x="304" y="220"/>
                  </a:cubicBezTo>
                  <a:cubicBezTo>
                    <a:pt x="245" y="145"/>
                    <a:pt x="264" y="0"/>
                    <a:pt x="264" y="0"/>
                  </a:cubicBezTo>
                  <a:cubicBezTo>
                    <a:pt x="132" y="84"/>
                    <a:pt x="132" y="84"/>
                    <a:pt x="132" y="84"/>
                  </a:cubicBezTo>
                  <a:cubicBezTo>
                    <a:pt x="0" y="167"/>
                    <a:pt x="0" y="167"/>
                    <a:pt x="0" y="167"/>
                  </a:cubicBezTo>
                  <a:cubicBezTo>
                    <a:pt x="0" y="167"/>
                    <a:pt x="139" y="212"/>
                    <a:pt x="182" y="298"/>
                  </a:cubicBezTo>
                  <a:cubicBezTo>
                    <a:pt x="182" y="299"/>
                    <a:pt x="182" y="299"/>
                    <a:pt x="183" y="300"/>
                  </a:cubicBezTo>
                  <a:cubicBezTo>
                    <a:pt x="183" y="300"/>
                    <a:pt x="183" y="300"/>
                    <a:pt x="183" y="300"/>
                  </a:cubicBezTo>
                  <a:cubicBezTo>
                    <a:pt x="183" y="300"/>
                    <a:pt x="183" y="300"/>
                    <a:pt x="183" y="300"/>
                  </a:cubicBezTo>
                  <a:cubicBezTo>
                    <a:pt x="183" y="300"/>
                    <a:pt x="183" y="300"/>
                    <a:pt x="183" y="300"/>
                  </a:cubicBezTo>
                  <a:cubicBezTo>
                    <a:pt x="191" y="313"/>
                    <a:pt x="226" y="306"/>
                    <a:pt x="260" y="285"/>
                  </a:cubicBezTo>
                  <a:cubicBezTo>
                    <a:pt x="293" y="263"/>
                    <a:pt x="314" y="235"/>
                    <a:pt x="306" y="222"/>
                  </a:cubicBezTo>
                  <a:cubicBezTo>
                    <a:pt x="306" y="222"/>
                    <a:pt x="306" y="222"/>
                    <a:pt x="306" y="222"/>
                  </a:cubicBezTo>
                  <a:cubicBezTo>
                    <a:pt x="306" y="222"/>
                    <a:pt x="306" y="222"/>
                    <a:pt x="306" y="222"/>
                  </a:cubicBezTo>
                  <a:close/>
                </a:path>
              </a:pathLst>
            </a:custGeom>
            <a:solidFill>
              <a:schemeClr val="tx2">
                <a:alpha val="50000"/>
              </a:schemeClr>
            </a:solidFill>
            <a:ln>
              <a:noFill/>
            </a:ln>
          </p:spPr>
          <p:txBody>
            <a:bodyPr vert="horz" wrap="square" lIns="91440" tIns="45720" rIns="91440" bIns="45720" numCol="1" anchor="t" anchorCtr="0" compatLnSpc="1"/>
            <a:lstStyle/>
            <a:p>
              <a:endParaRPr lang="zh-CN" altLang="en-US"/>
            </a:p>
          </p:txBody>
        </p:sp>
        <p:sp>
          <p:nvSpPr>
            <p:cNvPr id="86" name="任意多边形: 形状 85"/>
            <p:cNvSpPr/>
            <p:nvPr/>
          </p:nvSpPr>
          <p:spPr bwMode="auto">
            <a:xfrm>
              <a:off x="6353176" y="4127500"/>
              <a:ext cx="827087" cy="603250"/>
            </a:xfrm>
            <a:custGeom>
              <a:avLst/>
              <a:gdLst>
                <a:gd name="T0" fmla="*/ 71 w 166"/>
                <a:gd name="T1" fmla="*/ 38 h 121"/>
                <a:gd name="T2" fmla="*/ 0 w 166"/>
                <a:gd name="T3" fmla="*/ 101 h 121"/>
                <a:gd name="T4" fmla="*/ 27 w 166"/>
                <a:gd name="T5" fmla="*/ 121 h 121"/>
                <a:gd name="T6" fmla="*/ 102 w 166"/>
                <a:gd name="T7" fmla="*/ 86 h 121"/>
                <a:gd name="T8" fmla="*/ 166 w 166"/>
                <a:gd name="T9" fmla="*/ 33 h 121"/>
                <a:gd name="T10" fmla="*/ 159 w 166"/>
                <a:gd name="T11" fmla="*/ 0 h 121"/>
                <a:gd name="T12" fmla="*/ 71 w 166"/>
                <a:gd name="T13" fmla="*/ 38 h 121"/>
              </a:gdLst>
              <a:ahLst/>
              <a:cxnLst>
                <a:cxn ang="0">
                  <a:pos x="T0" y="T1"/>
                </a:cxn>
                <a:cxn ang="0">
                  <a:pos x="T2" y="T3"/>
                </a:cxn>
                <a:cxn ang="0">
                  <a:pos x="T4" y="T5"/>
                </a:cxn>
                <a:cxn ang="0">
                  <a:pos x="T6" y="T7"/>
                </a:cxn>
                <a:cxn ang="0">
                  <a:pos x="T8" y="T9"/>
                </a:cxn>
                <a:cxn ang="0">
                  <a:pos x="T10" y="T11"/>
                </a:cxn>
                <a:cxn ang="0">
                  <a:pos x="T12" y="T13"/>
                </a:cxn>
              </a:cxnLst>
              <a:rect l="0" t="0" r="r" b="b"/>
              <a:pathLst>
                <a:path w="166" h="121">
                  <a:moveTo>
                    <a:pt x="71" y="38"/>
                  </a:moveTo>
                  <a:cubicBezTo>
                    <a:pt x="37" y="60"/>
                    <a:pt x="10" y="84"/>
                    <a:pt x="0" y="101"/>
                  </a:cubicBezTo>
                  <a:cubicBezTo>
                    <a:pt x="9" y="107"/>
                    <a:pt x="18" y="114"/>
                    <a:pt x="27" y="121"/>
                  </a:cubicBezTo>
                  <a:cubicBezTo>
                    <a:pt x="47" y="116"/>
                    <a:pt x="74" y="103"/>
                    <a:pt x="102" y="86"/>
                  </a:cubicBezTo>
                  <a:cubicBezTo>
                    <a:pt x="130" y="68"/>
                    <a:pt x="153" y="48"/>
                    <a:pt x="166" y="33"/>
                  </a:cubicBezTo>
                  <a:cubicBezTo>
                    <a:pt x="163" y="22"/>
                    <a:pt x="161" y="11"/>
                    <a:pt x="159" y="0"/>
                  </a:cubicBezTo>
                  <a:cubicBezTo>
                    <a:pt x="139" y="2"/>
                    <a:pt x="106" y="16"/>
                    <a:pt x="71" y="38"/>
                  </a:cubicBezTo>
                  <a:close/>
                </a:path>
              </a:pathLst>
            </a:custGeom>
            <a:solidFill>
              <a:schemeClr val="tx2">
                <a:alpha val="50000"/>
              </a:schemeClr>
            </a:solidFill>
            <a:ln>
              <a:noFill/>
            </a:ln>
          </p:spPr>
          <p:txBody>
            <a:bodyPr vert="horz" wrap="square" lIns="91440" tIns="45720" rIns="91440" bIns="45720" numCol="1" anchor="t" anchorCtr="0" compatLnSpc="1"/>
            <a:lstStyle/>
            <a:p>
              <a:endParaRPr lang="zh-CN" altLang="en-US"/>
            </a:p>
          </p:txBody>
        </p:sp>
        <p:sp>
          <p:nvSpPr>
            <p:cNvPr id="87" name="任意多边形: 形状 86"/>
            <p:cNvSpPr/>
            <p:nvPr/>
          </p:nvSpPr>
          <p:spPr bwMode="auto">
            <a:xfrm>
              <a:off x="6257926" y="3987801"/>
              <a:ext cx="887413" cy="638175"/>
            </a:xfrm>
            <a:custGeom>
              <a:avLst/>
              <a:gdLst>
                <a:gd name="T0" fmla="*/ 76 w 178"/>
                <a:gd name="T1" fmla="*/ 43 h 128"/>
                <a:gd name="T2" fmla="*/ 0 w 178"/>
                <a:gd name="T3" fmla="*/ 117 h 128"/>
                <a:gd name="T4" fmla="*/ 18 w 178"/>
                <a:gd name="T5" fmla="*/ 128 h 128"/>
                <a:gd name="T6" fmla="*/ 106 w 178"/>
                <a:gd name="T7" fmla="*/ 91 h 128"/>
                <a:gd name="T8" fmla="*/ 178 w 178"/>
                <a:gd name="T9" fmla="*/ 27 h 128"/>
                <a:gd name="T10" fmla="*/ 176 w 178"/>
                <a:gd name="T11" fmla="*/ 6 h 128"/>
                <a:gd name="T12" fmla="*/ 76 w 178"/>
                <a:gd name="T13" fmla="*/ 43 h 128"/>
              </a:gdLst>
              <a:ahLst/>
              <a:cxnLst>
                <a:cxn ang="0">
                  <a:pos x="T0" y="T1"/>
                </a:cxn>
                <a:cxn ang="0">
                  <a:pos x="T2" y="T3"/>
                </a:cxn>
                <a:cxn ang="0">
                  <a:pos x="T4" y="T5"/>
                </a:cxn>
                <a:cxn ang="0">
                  <a:pos x="T6" y="T7"/>
                </a:cxn>
                <a:cxn ang="0">
                  <a:pos x="T8" y="T9"/>
                </a:cxn>
                <a:cxn ang="0">
                  <a:pos x="T10" y="T11"/>
                </a:cxn>
                <a:cxn ang="0">
                  <a:pos x="T12" y="T13"/>
                </a:cxn>
              </a:cxnLst>
              <a:rect l="0" t="0" r="r" b="b"/>
              <a:pathLst>
                <a:path w="178" h="128">
                  <a:moveTo>
                    <a:pt x="76" y="43"/>
                  </a:moveTo>
                  <a:cubicBezTo>
                    <a:pt x="33" y="70"/>
                    <a:pt x="2" y="101"/>
                    <a:pt x="0" y="117"/>
                  </a:cubicBezTo>
                  <a:cubicBezTo>
                    <a:pt x="6" y="121"/>
                    <a:pt x="12" y="125"/>
                    <a:pt x="18" y="128"/>
                  </a:cubicBezTo>
                  <a:cubicBezTo>
                    <a:pt x="38" y="127"/>
                    <a:pt x="71" y="113"/>
                    <a:pt x="106" y="91"/>
                  </a:cubicBezTo>
                  <a:cubicBezTo>
                    <a:pt x="141" y="68"/>
                    <a:pt x="168" y="44"/>
                    <a:pt x="178" y="27"/>
                  </a:cubicBezTo>
                  <a:cubicBezTo>
                    <a:pt x="177" y="20"/>
                    <a:pt x="176" y="12"/>
                    <a:pt x="176" y="6"/>
                  </a:cubicBezTo>
                  <a:cubicBezTo>
                    <a:pt x="160" y="0"/>
                    <a:pt x="119" y="15"/>
                    <a:pt x="76" y="43"/>
                  </a:cubicBezTo>
                  <a:close/>
                </a:path>
              </a:pathLst>
            </a:custGeom>
            <a:solidFill>
              <a:schemeClr val="tx2">
                <a:alpha val="70000"/>
              </a:schemeClr>
            </a:solidFill>
            <a:ln>
              <a:noFill/>
            </a:ln>
          </p:spPr>
          <p:txBody>
            <a:bodyPr vert="horz" wrap="square" lIns="91440" tIns="45720" rIns="91440" bIns="45720" numCol="1" anchor="t" anchorCtr="0" compatLnSpc="1"/>
            <a:lstStyle/>
            <a:p>
              <a:endParaRPr lang="zh-CN" altLang="en-US"/>
            </a:p>
          </p:txBody>
        </p:sp>
        <p:sp>
          <p:nvSpPr>
            <p:cNvPr id="88" name="任意多边形: 形状 87"/>
            <p:cNvSpPr/>
            <p:nvPr/>
          </p:nvSpPr>
          <p:spPr bwMode="auto">
            <a:xfrm>
              <a:off x="5824538" y="3538538"/>
              <a:ext cx="1316038" cy="1031875"/>
            </a:xfrm>
            <a:custGeom>
              <a:avLst/>
              <a:gdLst>
                <a:gd name="T0" fmla="*/ 264 w 264"/>
                <a:gd name="T1" fmla="*/ 0 h 207"/>
                <a:gd name="T2" fmla="*/ 132 w 264"/>
                <a:gd name="T3" fmla="*/ 84 h 207"/>
                <a:gd name="T4" fmla="*/ 0 w 264"/>
                <a:gd name="T5" fmla="*/ 167 h 207"/>
                <a:gd name="T6" fmla="*/ 87 w 264"/>
                <a:gd name="T7" fmla="*/ 207 h 207"/>
                <a:gd name="T8" fmla="*/ 179 w 264"/>
                <a:gd name="T9" fmla="*/ 158 h 207"/>
                <a:gd name="T10" fmla="*/ 263 w 264"/>
                <a:gd name="T11" fmla="*/ 96 h 207"/>
                <a:gd name="T12" fmla="*/ 263 w 264"/>
                <a:gd name="T13" fmla="*/ 96 h 207"/>
                <a:gd name="T14" fmla="*/ 264 w 264"/>
                <a:gd name="T15" fmla="*/ 0 h 20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4" h="207">
                  <a:moveTo>
                    <a:pt x="264" y="0"/>
                  </a:moveTo>
                  <a:cubicBezTo>
                    <a:pt x="132" y="84"/>
                    <a:pt x="132" y="84"/>
                    <a:pt x="132" y="84"/>
                  </a:cubicBezTo>
                  <a:cubicBezTo>
                    <a:pt x="0" y="167"/>
                    <a:pt x="0" y="167"/>
                    <a:pt x="0" y="167"/>
                  </a:cubicBezTo>
                  <a:cubicBezTo>
                    <a:pt x="0" y="167"/>
                    <a:pt x="42" y="181"/>
                    <a:pt x="87" y="207"/>
                  </a:cubicBezTo>
                  <a:cubicBezTo>
                    <a:pt x="114" y="196"/>
                    <a:pt x="146" y="179"/>
                    <a:pt x="179" y="158"/>
                  </a:cubicBezTo>
                  <a:cubicBezTo>
                    <a:pt x="212" y="137"/>
                    <a:pt x="241" y="115"/>
                    <a:pt x="263" y="96"/>
                  </a:cubicBezTo>
                  <a:cubicBezTo>
                    <a:pt x="263" y="96"/>
                    <a:pt x="263" y="96"/>
                    <a:pt x="263" y="96"/>
                  </a:cubicBezTo>
                  <a:cubicBezTo>
                    <a:pt x="258" y="44"/>
                    <a:pt x="264" y="0"/>
                    <a:pt x="264" y="0"/>
                  </a:cubicBezTo>
                  <a:close/>
                </a:path>
              </a:pathLst>
            </a:custGeom>
            <a:solidFill>
              <a:schemeClr val="tx2"/>
            </a:solidFill>
            <a:ln>
              <a:noFill/>
            </a:ln>
          </p:spPr>
          <p:txBody>
            <a:bodyPr vert="horz" wrap="square" lIns="91440" tIns="45720" rIns="91440" bIns="45720" numCol="1" anchor="t" anchorCtr="0" compatLnSpc="1"/>
            <a:lstStyle/>
            <a:p>
              <a:endParaRPr lang="zh-CN" altLang="en-US"/>
            </a:p>
          </p:txBody>
        </p:sp>
        <p:sp>
          <p:nvSpPr>
            <p:cNvPr id="89" name="任意多边形: 形状 88"/>
            <p:cNvSpPr/>
            <p:nvPr/>
          </p:nvSpPr>
          <p:spPr bwMode="auto">
            <a:xfrm>
              <a:off x="4632326" y="1827213"/>
              <a:ext cx="2727325" cy="2728913"/>
            </a:xfrm>
            <a:custGeom>
              <a:avLst/>
              <a:gdLst>
                <a:gd name="T0" fmla="*/ 476 w 547"/>
                <a:gd name="T1" fmla="*/ 145 h 547"/>
                <a:gd name="T2" fmla="*/ 402 w 547"/>
                <a:gd name="T3" fmla="*/ 476 h 547"/>
                <a:gd name="T4" fmla="*/ 71 w 547"/>
                <a:gd name="T5" fmla="*/ 402 h 547"/>
                <a:gd name="T6" fmla="*/ 145 w 547"/>
                <a:gd name="T7" fmla="*/ 71 h 547"/>
                <a:gd name="T8" fmla="*/ 476 w 547"/>
                <a:gd name="T9" fmla="*/ 145 h 547"/>
              </a:gdLst>
              <a:ahLst/>
              <a:cxnLst>
                <a:cxn ang="0">
                  <a:pos x="T0" y="T1"/>
                </a:cxn>
                <a:cxn ang="0">
                  <a:pos x="T2" y="T3"/>
                </a:cxn>
                <a:cxn ang="0">
                  <a:pos x="T4" y="T5"/>
                </a:cxn>
                <a:cxn ang="0">
                  <a:pos x="T6" y="T7"/>
                </a:cxn>
                <a:cxn ang="0">
                  <a:pos x="T8" y="T9"/>
                </a:cxn>
              </a:cxnLst>
              <a:rect l="0" t="0" r="r" b="b"/>
              <a:pathLst>
                <a:path w="547" h="547">
                  <a:moveTo>
                    <a:pt x="476" y="145"/>
                  </a:moveTo>
                  <a:cubicBezTo>
                    <a:pt x="547" y="256"/>
                    <a:pt x="514" y="405"/>
                    <a:pt x="402" y="476"/>
                  </a:cubicBezTo>
                  <a:cubicBezTo>
                    <a:pt x="290" y="547"/>
                    <a:pt x="142" y="514"/>
                    <a:pt x="71" y="402"/>
                  </a:cubicBezTo>
                  <a:cubicBezTo>
                    <a:pt x="0" y="290"/>
                    <a:pt x="33" y="142"/>
                    <a:pt x="145" y="71"/>
                  </a:cubicBezTo>
                  <a:cubicBezTo>
                    <a:pt x="257" y="0"/>
                    <a:pt x="405" y="33"/>
                    <a:pt x="476" y="145"/>
                  </a:cubicBezTo>
                  <a:close/>
                </a:path>
              </a:pathLst>
            </a:custGeom>
            <a:solidFill>
              <a:schemeClr val="accent1"/>
            </a:solidFill>
            <a:ln>
              <a:noFill/>
            </a:ln>
          </p:spPr>
          <p:txBody>
            <a:bodyPr vert="horz" wrap="square" lIns="91440" tIns="45720" rIns="91440" bIns="45720" numCol="1" anchor="t" anchorCtr="0" compatLnSpc="1"/>
            <a:lstStyle/>
            <a:p>
              <a:endParaRPr lang="zh-CN" altLang="en-US"/>
            </a:p>
          </p:txBody>
        </p:sp>
        <p:sp>
          <p:nvSpPr>
            <p:cNvPr id="90" name="任意多边形: 形状 89"/>
            <p:cNvSpPr/>
            <p:nvPr/>
          </p:nvSpPr>
          <p:spPr bwMode="auto">
            <a:xfrm>
              <a:off x="5419726" y="2460626"/>
              <a:ext cx="893763" cy="1557338"/>
            </a:xfrm>
            <a:custGeom>
              <a:avLst/>
              <a:gdLst>
                <a:gd name="T0" fmla="*/ 35 w 563"/>
                <a:gd name="T1" fmla="*/ 0 h 981"/>
                <a:gd name="T2" fmla="*/ 0 w 563"/>
                <a:gd name="T3" fmla="*/ 758 h 981"/>
                <a:gd name="T4" fmla="*/ 434 w 563"/>
                <a:gd name="T5" fmla="*/ 431 h 981"/>
                <a:gd name="T6" fmla="*/ 563 w 563"/>
                <a:gd name="T7" fmla="*/ 981 h 981"/>
                <a:gd name="T8" fmla="*/ 563 w 563"/>
                <a:gd name="T9" fmla="*/ 54 h 981"/>
                <a:gd name="T10" fmla="*/ 170 w 563"/>
                <a:gd name="T11" fmla="*/ 415 h 981"/>
                <a:gd name="T12" fmla="*/ 35 w 563"/>
                <a:gd name="T13" fmla="*/ 0 h 981"/>
              </a:gdLst>
              <a:ahLst/>
              <a:cxnLst>
                <a:cxn ang="0">
                  <a:pos x="T0" y="T1"/>
                </a:cxn>
                <a:cxn ang="0">
                  <a:pos x="T2" y="T3"/>
                </a:cxn>
                <a:cxn ang="0">
                  <a:pos x="T4" y="T5"/>
                </a:cxn>
                <a:cxn ang="0">
                  <a:pos x="T6" y="T7"/>
                </a:cxn>
                <a:cxn ang="0">
                  <a:pos x="T8" y="T9"/>
                </a:cxn>
                <a:cxn ang="0">
                  <a:pos x="T10" y="T11"/>
                </a:cxn>
                <a:cxn ang="0">
                  <a:pos x="T12" y="T13"/>
                </a:cxn>
              </a:cxnLst>
              <a:rect l="0" t="0" r="r" b="b"/>
              <a:pathLst>
                <a:path w="563" h="981">
                  <a:moveTo>
                    <a:pt x="35" y="0"/>
                  </a:moveTo>
                  <a:lnTo>
                    <a:pt x="0" y="758"/>
                  </a:lnTo>
                  <a:lnTo>
                    <a:pt x="434" y="431"/>
                  </a:lnTo>
                  <a:lnTo>
                    <a:pt x="563" y="981"/>
                  </a:lnTo>
                  <a:lnTo>
                    <a:pt x="563" y="54"/>
                  </a:lnTo>
                  <a:lnTo>
                    <a:pt x="170" y="415"/>
                  </a:lnTo>
                  <a:lnTo>
                    <a:pt x="35" y="0"/>
                  </a:lnTo>
                  <a:close/>
                </a:path>
              </a:pathLst>
            </a:custGeom>
            <a:solidFill>
              <a:srgbClr val="FFFFFF"/>
            </a:solidFill>
            <a:ln>
              <a:noFill/>
            </a:ln>
          </p:spPr>
          <p:txBody>
            <a:bodyPr vert="horz" wrap="square" lIns="91440" tIns="45720" rIns="91440" bIns="45720" numCol="1" anchor="t" anchorCtr="0" compatLnSpc="1"/>
            <a:lstStyle/>
            <a:p>
              <a:endParaRPr lang="zh-CN" altLang="en-US"/>
            </a:p>
          </p:txBody>
        </p:sp>
        <p:sp>
          <p:nvSpPr>
            <p:cNvPr id="91" name="任意多边形: 形状 90"/>
            <p:cNvSpPr/>
            <p:nvPr/>
          </p:nvSpPr>
          <p:spPr bwMode="auto">
            <a:xfrm>
              <a:off x="4117976" y="2311401"/>
              <a:ext cx="3990975" cy="2224088"/>
            </a:xfrm>
            <a:custGeom>
              <a:avLst/>
              <a:gdLst>
                <a:gd name="T0" fmla="*/ 574 w 800"/>
                <a:gd name="T1" fmla="*/ 40 h 446"/>
                <a:gd name="T2" fmla="*/ 777 w 800"/>
                <a:gd name="T3" fmla="*/ 30 h 446"/>
                <a:gd name="T4" fmla="*/ 437 w 800"/>
                <a:gd name="T5" fmla="*/ 300 h 446"/>
                <a:gd name="T6" fmla="*/ 14 w 800"/>
                <a:gd name="T7" fmla="*/ 399 h 446"/>
                <a:gd name="T8" fmla="*/ 147 w 800"/>
                <a:gd name="T9" fmla="*/ 247 h 446"/>
              </a:gdLst>
              <a:ahLst/>
              <a:cxnLst>
                <a:cxn ang="0">
                  <a:pos x="T0" y="T1"/>
                </a:cxn>
                <a:cxn ang="0">
                  <a:pos x="T2" y="T3"/>
                </a:cxn>
                <a:cxn ang="0">
                  <a:pos x="T4" y="T5"/>
                </a:cxn>
                <a:cxn ang="0">
                  <a:pos x="T6" y="T7"/>
                </a:cxn>
                <a:cxn ang="0">
                  <a:pos x="T8" y="T9"/>
                </a:cxn>
              </a:cxnLst>
              <a:rect l="0" t="0" r="r" b="b"/>
              <a:pathLst>
                <a:path w="800" h="446">
                  <a:moveTo>
                    <a:pt x="574" y="40"/>
                  </a:moveTo>
                  <a:cubicBezTo>
                    <a:pt x="683" y="6"/>
                    <a:pt x="763" y="0"/>
                    <a:pt x="777" y="30"/>
                  </a:cubicBezTo>
                  <a:cubicBezTo>
                    <a:pt x="800" y="77"/>
                    <a:pt x="648" y="198"/>
                    <a:pt x="437" y="300"/>
                  </a:cubicBezTo>
                  <a:cubicBezTo>
                    <a:pt x="226" y="402"/>
                    <a:pt x="37" y="446"/>
                    <a:pt x="14" y="399"/>
                  </a:cubicBezTo>
                  <a:cubicBezTo>
                    <a:pt x="0" y="370"/>
                    <a:pt x="54" y="312"/>
                    <a:pt x="147" y="247"/>
                  </a:cubicBezTo>
                </a:path>
              </a:pathLst>
            </a:custGeom>
            <a:noFill/>
            <a:ln w="20638" cap="flat">
              <a:solidFill>
                <a:schemeClr val="tx2"/>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zh-CN" altLang="en-US"/>
            </a:p>
          </p:txBody>
        </p:sp>
        <p:sp>
          <p:nvSpPr>
            <p:cNvPr id="92" name="任意多边形: 形状 91"/>
            <p:cNvSpPr/>
            <p:nvPr/>
          </p:nvSpPr>
          <p:spPr bwMode="auto">
            <a:xfrm>
              <a:off x="4527551" y="1727201"/>
              <a:ext cx="3192463" cy="3382963"/>
            </a:xfrm>
            <a:custGeom>
              <a:avLst/>
              <a:gdLst>
                <a:gd name="T0" fmla="*/ 102 w 640"/>
                <a:gd name="T1" fmla="*/ 438 h 678"/>
                <a:gd name="T2" fmla="*/ 24 w 640"/>
                <a:gd name="T3" fmla="*/ 642 h 678"/>
                <a:gd name="T4" fmla="*/ 382 w 640"/>
                <a:gd name="T5" fmla="*/ 397 h 678"/>
                <a:gd name="T6" fmla="*/ 602 w 640"/>
                <a:gd name="T7" fmla="*/ 22 h 678"/>
                <a:gd name="T8" fmla="*/ 430 w 640"/>
                <a:gd name="T9" fmla="*/ 95 h 678"/>
              </a:gdLst>
              <a:ahLst/>
              <a:cxnLst>
                <a:cxn ang="0">
                  <a:pos x="T0" y="T1"/>
                </a:cxn>
                <a:cxn ang="0">
                  <a:pos x="T2" y="T3"/>
                </a:cxn>
                <a:cxn ang="0">
                  <a:pos x="T4" y="T5"/>
                </a:cxn>
                <a:cxn ang="0">
                  <a:pos x="T6" y="T7"/>
                </a:cxn>
                <a:cxn ang="0">
                  <a:pos x="T8" y="T9"/>
                </a:cxn>
              </a:cxnLst>
              <a:rect l="0" t="0" r="r" b="b"/>
              <a:pathLst>
                <a:path w="640" h="678">
                  <a:moveTo>
                    <a:pt x="102" y="438"/>
                  </a:moveTo>
                  <a:cubicBezTo>
                    <a:pt x="37" y="532"/>
                    <a:pt x="0" y="619"/>
                    <a:pt x="24" y="642"/>
                  </a:cubicBezTo>
                  <a:cubicBezTo>
                    <a:pt x="62" y="678"/>
                    <a:pt x="222" y="568"/>
                    <a:pt x="382" y="397"/>
                  </a:cubicBezTo>
                  <a:cubicBezTo>
                    <a:pt x="542" y="226"/>
                    <a:pt x="640" y="58"/>
                    <a:pt x="602" y="22"/>
                  </a:cubicBezTo>
                  <a:cubicBezTo>
                    <a:pt x="578" y="0"/>
                    <a:pt x="519" y="25"/>
                    <a:pt x="430" y="95"/>
                  </a:cubicBezTo>
                </a:path>
              </a:pathLst>
            </a:custGeom>
            <a:noFill/>
            <a:ln w="20638" cap="flat">
              <a:solidFill>
                <a:schemeClr val="tx2"/>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zh-CN" altLang="en-US"/>
            </a:p>
          </p:txBody>
        </p:sp>
      </p:grpSp>
    </p:spTree>
    <p:custDataLst>
      <p:tags r:id="rId1"/>
    </p:custData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600590" y="1033619"/>
            <a:ext cx="10581112" cy="4790762"/>
            <a:chOff x="600590" y="1033619"/>
            <a:chExt cx="10581112" cy="4790762"/>
          </a:xfrm>
        </p:grpSpPr>
        <p:grpSp>
          <p:nvGrpSpPr>
            <p:cNvPr id="2" name="组合 1"/>
            <p:cNvGrpSpPr/>
            <p:nvPr/>
          </p:nvGrpSpPr>
          <p:grpSpPr>
            <a:xfrm>
              <a:off x="660400" y="3086810"/>
              <a:ext cx="6594474" cy="2737571"/>
              <a:chOff x="1039530" y="2571749"/>
              <a:chExt cx="7798264" cy="3237301"/>
            </a:xfrm>
          </p:grpSpPr>
          <p:sp>
            <p:nvSpPr>
              <p:cNvPr id="3" name="文本框 2"/>
              <p:cNvSpPr txBox="1"/>
              <p:nvPr/>
            </p:nvSpPr>
            <p:spPr>
              <a:xfrm>
                <a:off x="1039530" y="3069872"/>
                <a:ext cx="2241056" cy="2241056"/>
              </a:xfrm>
              <a:prstGeom prst="roundRect">
                <a:avLst>
                  <a:gd name="adj" fmla="val 50000"/>
                </a:avLst>
              </a:prstGeom>
              <a:solidFill>
                <a:schemeClr val="accent1"/>
              </a:solidFill>
              <a:ln w="508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defPPr>
                  <a:defRPr lang="zh-CN"/>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zh-CN" altLang="en-US" dirty="0"/>
              </a:p>
            </p:txBody>
          </p:sp>
          <p:sp>
            <p:nvSpPr>
              <p:cNvPr id="4" name="文本框 3"/>
              <p:cNvSpPr txBox="1"/>
              <p:nvPr/>
            </p:nvSpPr>
            <p:spPr>
              <a:xfrm>
                <a:off x="1309432" y="3339774"/>
                <a:ext cx="1701255" cy="1701252"/>
              </a:xfrm>
              <a:prstGeom prst="roundRect">
                <a:avLst>
                  <a:gd name="adj" fmla="val 50000"/>
                </a:avLst>
              </a:prstGeom>
              <a:pattFill prst="pct5">
                <a:fgClr>
                  <a:srgbClr val="E4E6EA"/>
                </a:fgClr>
                <a:bgClr>
                  <a:srgbClr val="ADB5BF"/>
                </a:bgClr>
              </a:pattFill>
              <a:ln w="25400" cap="flat"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defPPr>
                  <a:defRPr lang="zh-CN"/>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zh-CN" altLang="en-US" dirty="0"/>
              </a:p>
            </p:txBody>
          </p:sp>
          <p:cxnSp>
            <p:nvCxnSpPr>
              <p:cNvPr id="5" name="直接箭头连接符 4"/>
              <p:cNvCxnSpPr/>
              <p:nvPr/>
            </p:nvCxnSpPr>
            <p:spPr>
              <a:xfrm>
                <a:off x="3773074" y="2964882"/>
                <a:ext cx="0" cy="2451035"/>
              </a:xfrm>
              <a:prstGeom prst="straightConnector1">
                <a:avLst/>
              </a:prstGeom>
              <a:ln w="12700">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6" name="直接箭头连接符 5"/>
              <p:cNvCxnSpPr/>
              <p:nvPr/>
            </p:nvCxnSpPr>
            <p:spPr>
              <a:xfrm flipH="1">
                <a:off x="3773074" y="2964882"/>
                <a:ext cx="492489" cy="0"/>
              </a:xfrm>
              <a:prstGeom prst="straightConnector1">
                <a:avLst/>
              </a:prstGeom>
              <a:ln w="12700">
                <a:solidFill>
                  <a:schemeClr val="accent1"/>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7" name="直接箭头连接符 6"/>
              <p:cNvCxnSpPr/>
              <p:nvPr/>
            </p:nvCxnSpPr>
            <p:spPr>
              <a:xfrm flipH="1">
                <a:off x="3280584" y="4190400"/>
                <a:ext cx="492490" cy="0"/>
              </a:xfrm>
              <a:prstGeom prst="straightConnector1">
                <a:avLst/>
              </a:prstGeom>
              <a:ln w="12700">
                <a:solidFill>
                  <a:schemeClr val="accent1"/>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13" name="直接箭头连接符 12"/>
              <p:cNvCxnSpPr/>
              <p:nvPr/>
            </p:nvCxnSpPr>
            <p:spPr>
              <a:xfrm flipH="1">
                <a:off x="3773074" y="5415918"/>
                <a:ext cx="492489" cy="0"/>
              </a:xfrm>
              <a:prstGeom prst="straightConnector1">
                <a:avLst/>
              </a:prstGeom>
              <a:ln w="12700">
                <a:solidFill>
                  <a:schemeClr val="accent1"/>
                </a:solidFill>
                <a:headEnd type="oval"/>
                <a:tailEnd type="none"/>
              </a:ln>
            </p:spPr>
            <p:style>
              <a:lnRef idx="1">
                <a:schemeClr val="accent1"/>
              </a:lnRef>
              <a:fillRef idx="0">
                <a:schemeClr val="accent1"/>
              </a:fillRef>
              <a:effectRef idx="0">
                <a:schemeClr val="accent1"/>
              </a:effectRef>
              <a:fontRef idx="minor">
                <a:schemeClr val="tx1"/>
              </a:fontRef>
            </p:style>
          </p:cxnSp>
          <p:sp>
            <p:nvSpPr>
              <p:cNvPr id="18" name="矩形: 圆角 17"/>
              <p:cNvSpPr/>
              <p:nvPr/>
            </p:nvSpPr>
            <p:spPr>
              <a:xfrm>
                <a:off x="4265562" y="2571749"/>
                <a:ext cx="4572232" cy="766823"/>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r>
                  <a:rPr kumimoji="1" lang="en-US" altLang="zh-CN" sz="1000" dirty="0">
                    <a:solidFill>
                      <a:srgbClr val="FFFFFF"/>
                    </a:solidFill>
                    <a:latin typeface="Arial" panose="020B0604020202090204" pitchFamily="34" charset="0"/>
                    <a:ea typeface="华文楷体" panose="02010600040101010101" pitchFamily="2" charset="-122"/>
                  </a:rPr>
                  <a:t>Lorem ipsum dolor sit </a:t>
                </a:r>
                <a:r>
                  <a:rPr kumimoji="1" lang="en-US" altLang="zh-CN" sz="1000" dirty="0" err="1">
                    <a:solidFill>
                      <a:srgbClr val="FFFFFF"/>
                    </a:solidFill>
                    <a:latin typeface="Arial" panose="020B0604020202090204" pitchFamily="34" charset="0"/>
                    <a:ea typeface="华文楷体" panose="02010600040101010101" pitchFamily="2" charset="-122"/>
                  </a:rPr>
                  <a:t>amet</a:t>
                </a:r>
                <a:r>
                  <a:rPr kumimoji="1" lang="en-US" altLang="zh-CN" sz="1000" dirty="0">
                    <a:solidFill>
                      <a:srgbClr val="FFFFFF"/>
                    </a:solidFill>
                    <a:latin typeface="Arial" panose="020B0604020202090204" pitchFamily="34" charset="0"/>
                    <a:ea typeface="华文楷体" panose="02010600040101010101" pitchFamily="2" charset="-122"/>
                  </a:rPr>
                  <a:t>, </a:t>
                </a:r>
                <a:r>
                  <a:rPr kumimoji="1" lang="en-US" altLang="zh-CN" sz="1000" dirty="0" err="1">
                    <a:solidFill>
                      <a:srgbClr val="FFFFFF"/>
                    </a:solidFill>
                    <a:latin typeface="Arial" panose="020B0604020202090204" pitchFamily="34" charset="0"/>
                    <a:ea typeface="华文楷体" panose="02010600040101010101" pitchFamily="2" charset="-122"/>
                  </a:rPr>
                  <a:t>consectetueradipiscingelit</a:t>
                </a:r>
                <a:r>
                  <a:rPr kumimoji="1" lang="en-US" altLang="zh-CN" sz="1000" dirty="0">
                    <a:solidFill>
                      <a:srgbClr val="FFFFFF"/>
                    </a:solidFill>
                    <a:latin typeface="Arial" panose="020B0604020202090204" pitchFamily="34" charset="0"/>
                    <a:ea typeface="华文楷体" panose="02010600040101010101" pitchFamily="2" charset="-122"/>
                  </a:rPr>
                  <a:t>. </a:t>
                </a:r>
                <a:endParaRPr kumimoji="1" lang="en-US" altLang="zh-CN" sz="1000" dirty="0">
                  <a:solidFill>
                    <a:srgbClr val="FFFFFF"/>
                  </a:solidFill>
                  <a:latin typeface="Arial" panose="020B0604020202090204" pitchFamily="34" charset="0"/>
                  <a:ea typeface="华文楷体" panose="02010600040101010101" pitchFamily="2" charset="-122"/>
                </a:endParaRPr>
              </a:p>
            </p:txBody>
          </p:sp>
          <p:sp>
            <p:nvSpPr>
              <p:cNvPr id="27" name="矩形: 圆角 26"/>
              <p:cNvSpPr/>
              <p:nvPr/>
            </p:nvSpPr>
            <p:spPr>
              <a:xfrm>
                <a:off x="4265562" y="5042227"/>
                <a:ext cx="4572232" cy="766823"/>
              </a:xfrm>
              <a:prstGeom prst="roundRect">
                <a:avLst>
                  <a:gd name="adj" fmla="val 50000"/>
                </a:avLst>
              </a:prstGeom>
              <a:solidFill>
                <a:schemeClr val="tx2">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r>
                  <a:rPr kumimoji="1" lang="en-US" altLang="zh-CN" sz="1000" dirty="0">
                    <a:solidFill>
                      <a:schemeClr val="tx1"/>
                    </a:solidFill>
                    <a:latin typeface="Arial" panose="020B0604020202090204" pitchFamily="34" charset="0"/>
                    <a:ea typeface="华文楷体" panose="02010600040101010101" pitchFamily="2" charset="-122"/>
                  </a:rPr>
                  <a:t>Lorem ipsum dolor sit </a:t>
                </a:r>
                <a:r>
                  <a:rPr kumimoji="1" lang="en-US" altLang="zh-CN" sz="1000" dirty="0" err="1">
                    <a:solidFill>
                      <a:schemeClr val="tx1"/>
                    </a:solidFill>
                    <a:latin typeface="Arial" panose="020B0604020202090204" pitchFamily="34" charset="0"/>
                    <a:ea typeface="华文楷体" panose="02010600040101010101" pitchFamily="2" charset="-122"/>
                  </a:rPr>
                  <a:t>amet</a:t>
                </a:r>
                <a:r>
                  <a:rPr kumimoji="1" lang="en-US" altLang="zh-CN" sz="1000" dirty="0">
                    <a:solidFill>
                      <a:schemeClr val="tx1"/>
                    </a:solidFill>
                    <a:latin typeface="Arial" panose="020B0604020202090204" pitchFamily="34" charset="0"/>
                    <a:ea typeface="华文楷体" panose="02010600040101010101" pitchFamily="2" charset="-122"/>
                  </a:rPr>
                  <a:t>, </a:t>
                </a:r>
                <a:r>
                  <a:rPr kumimoji="1" lang="en-US" altLang="zh-CN" sz="1000" dirty="0" err="1">
                    <a:solidFill>
                      <a:schemeClr val="tx1"/>
                    </a:solidFill>
                    <a:latin typeface="Arial" panose="020B0604020202090204" pitchFamily="34" charset="0"/>
                    <a:ea typeface="华文楷体" panose="02010600040101010101" pitchFamily="2" charset="-122"/>
                  </a:rPr>
                  <a:t>consectetueradipiscingelit</a:t>
                </a:r>
                <a:r>
                  <a:rPr kumimoji="1" lang="en-US" altLang="zh-CN" sz="1000" dirty="0">
                    <a:solidFill>
                      <a:schemeClr val="tx1"/>
                    </a:solidFill>
                    <a:latin typeface="Arial" panose="020B0604020202090204" pitchFamily="34" charset="0"/>
                    <a:ea typeface="华文楷体" panose="02010600040101010101" pitchFamily="2" charset="-122"/>
                  </a:rPr>
                  <a:t>. </a:t>
                </a:r>
                <a:endParaRPr kumimoji="1" lang="en-US" altLang="zh-CN" sz="1000" dirty="0">
                  <a:solidFill>
                    <a:schemeClr val="tx1"/>
                  </a:solidFill>
                  <a:latin typeface="Arial" panose="020B0604020202090204" pitchFamily="34" charset="0"/>
                  <a:ea typeface="华文楷体" panose="02010600040101010101" pitchFamily="2" charset="-122"/>
                </a:endParaRPr>
              </a:p>
            </p:txBody>
          </p:sp>
        </p:grpSp>
        <p:grpSp>
          <p:nvGrpSpPr>
            <p:cNvPr id="47" name="组合 46"/>
            <p:cNvGrpSpPr/>
            <p:nvPr/>
          </p:nvGrpSpPr>
          <p:grpSpPr>
            <a:xfrm>
              <a:off x="7258343" y="2050471"/>
              <a:ext cx="3923359" cy="2737571"/>
              <a:chOff x="7380003" y="1240019"/>
              <a:chExt cx="3923359" cy="2737571"/>
            </a:xfrm>
          </p:grpSpPr>
          <p:cxnSp>
            <p:nvCxnSpPr>
              <p:cNvPr id="40" name="直接箭头连接符 39"/>
              <p:cNvCxnSpPr/>
              <p:nvPr/>
            </p:nvCxnSpPr>
            <p:spPr>
              <a:xfrm>
                <a:off x="7796469" y="1572466"/>
                <a:ext cx="0" cy="2072678"/>
              </a:xfrm>
              <a:prstGeom prst="straightConnector1">
                <a:avLst/>
              </a:prstGeom>
              <a:ln w="12700">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41" name="直接箭头连接符 40"/>
              <p:cNvCxnSpPr/>
              <p:nvPr/>
            </p:nvCxnSpPr>
            <p:spPr>
              <a:xfrm flipH="1">
                <a:off x="7796469" y="1572466"/>
                <a:ext cx="416465" cy="0"/>
              </a:xfrm>
              <a:prstGeom prst="straightConnector1">
                <a:avLst/>
              </a:prstGeom>
              <a:ln w="12700">
                <a:solidFill>
                  <a:schemeClr val="accent1"/>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42" name="直接箭头连接符 41"/>
              <p:cNvCxnSpPr/>
              <p:nvPr/>
            </p:nvCxnSpPr>
            <p:spPr>
              <a:xfrm flipH="1">
                <a:off x="7380003" y="2608805"/>
                <a:ext cx="832931" cy="0"/>
              </a:xfrm>
              <a:prstGeom prst="straightConnector1">
                <a:avLst/>
              </a:prstGeom>
              <a:ln w="12700">
                <a:solidFill>
                  <a:schemeClr val="accent1"/>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43" name="直接箭头连接符 42"/>
              <p:cNvCxnSpPr/>
              <p:nvPr/>
            </p:nvCxnSpPr>
            <p:spPr>
              <a:xfrm flipH="1">
                <a:off x="7796469" y="3645144"/>
                <a:ext cx="416465" cy="0"/>
              </a:xfrm>
              <a:prstGeom prst="straightConnector1">
                <a:avLst/>
              </a:prstGeom>
              <a:ln w="12700">
                <a:solidFill>
                  <a:schemeClr val="accent1"/>
                </a:solidFill>
                <a:headEnd type="oval"/>
                <a:tailEnd type="none"/>
              </a:ln>
            </p:spPr>
            <p:style>
              <a:lnRef idx="1">
                <a:schemeClr val="accent1"/>
              </a:lnRef>
              <a:fillRef idx="0">
                <a:schemeClr val="accent1"/>
              </a:fillRef>
              <a:effectRef idx="0">
                <a:schemeClr val="accent1"/>
              </a:effectRef>
              <a:fontRef idx="minor">
                <a:schemeClr val="tx1"/>
              </a:fontRef>
            </p:style>
          </p:cxnSp>
          <p:sp>
            <p:nvSpPr>
              <p:cNvPr id="44" name="矩形: 圆角 43"/>
              <p:cNvSpPr/>
              <p:nvPr/>
            </p:nvSpPr>
            <p:spPr>
              <a:xfrm>
                <a:off x="8212934" y="1240019"/>
                <a:ext cx="3090428" cy="648451"/>
              </a:xfrm>
              <a:prstGeom prst="roundRect">
                <a:avLst>
                  <a:gd name="adj" fmla="val 50000"/>
                </a:avLst>
              </a:prstGeom>
              <a:solidFill>
                <a:schemeClr val="tx2">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r>
                  <a:rPr kumimoji="1" lang="en-US" altLang="zh-CN" sz="1000" dirty="0">
                    <a:solidFill>
                      <a:schemeClr val="tx1"/>
                    </a:solidFill>
                    <a:latin typeface="Arial" panose="020B0604020202090204" pitchFamily="34" charset="0"/>
                    <a:ea typeface="华文楷体" panose="02010600040101010101" pitchFamily="2" charset="-122"/>
                  </a:rPr>
                  <a:t>Lorem ipsum dolor sit </a:t>
                </a:r>
                <a:r>
                  <a:rPr kumimoji="1" lang="en-US" altLang="zh-CN" sz="1000" dirty="0" err="1">
                    <a:solidFill>
                      <a:schemeClr val="tx1"/>
                    </a:solidFill>
                    <a:latin typeface="Arial" panose="020B0604020202090204" pitchFamily="34" charset="0"/>
                    <a:ea typeface="华文楷体" panose="02010600040101010101" pitchFamily="2" charset="-122"/>
                  </a:rPr>
                  <a:t>amet</a:t>
                </a:r>
                <a:r>
                  <a:rPr kumimoji="1" lang="en-US" altLang="zh-CN" sz="1000" dirty="0">
                    <a:solidFill>
                      <a:schemeClr val="tx1"/>
                    </a:solidFill>
                    <a:latin typeface="Arial" panose="020B0604020202090204" pitchFamily="34" charset="0"/>
                    <a:ea typeface="华文楷体" panose="02010600040101010101" pitchFamily="2" charset="-122"/>
                  </a:rPr>
                  <a:t>, </a:t>
                </a:r>
                <a:r>
                  <a:rPr kumimoji="1" lang="en-US" altLang="zh-CN" sz="1000" dirty="0" err="1">
                    <a:solidFill>
                      <a:schemeClr val="tx1"/>
                    </a:solidFill>
                    <a:latin typeface="Arial" panose="020B0604020202090204" pitchFamily="34" charset="0"/>
                    <a:ea typeface="华文楷体" panose="02010600040101010101" pitchFamily="2" charset="-122"/>
                  </a:rPr>
                  <a:t>consectetueradipiscingelit</a:t>
                </a:r>
                <a:r>
                  <a:rPr kumimoji="1" lang="en-US" altLang="zh-CN" sz="1000" dirty="0">
                    <a:solidFill>
                      <a:schemeClr val="tx1"/>
                    </a:solidFill>
                    <a:latin typeface="Arial" panose="020B0604020202090204" pitchFamily="34" charset="0"/>
                    <a:ea typeface="华文楷体" panose="02010600040101010101" pitchFamily="2" charset="-122"/>
                  </a:rPr>
                  <a:t>. </a:t>
                </a:r>
                <a:endParaRPr kumimoji="1" lang="en-US" altLang="zh-CN" sz="1000" dirty="0">
                  <a:solidFill>
                    <a:schemeClr val="tx1"/>
                  </a:solidFill>
                  <a:latin typeface="Arial" panose="020B0604020202090204" pitchFamily="34" charset="0"/>
                  <a:ea typeface="华文楷体" panose="02010600040101010101" pitchFamily="2" charset="-122"/>
                </a:endParaRPr>
              </a:p>
            </p:txBody>
          </p:sp>
          <p:sp>
            <p:nvSpPr>
              <p:cNvPr id="45" name="矩形: 圆角 44"/>
              <p:cNvSpPr/>
              <p:nvPr/>
            </p:nvSpPr>
            <p:spPr>
              <a:xfrm>
                <a:off x="8212934" y="2284579"/>
                <a:ext cx="3090428" cy="648451"/>
              </a:xfrm>
              <a:prstGeom prst="roundRect">
                <a:avLst>
                  <a:gd name="adj" fmla="val 50000"/>
                </a:avLst>
              </a:prstGeom>
              <a:solidFill>
                <a:schemeClr val="tx2">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r>
                  <a:rPr kumimoji="1" lang="en-US" altLang="zh-CN" sz="1000" dirty="0">
                    <a:solidFill>
                      <a:schemeClr val="tx1"/>
                    </a:solidFill>
                    <a:latin typeface="Arial" panose="020B0604020202090204" pitchFamily="34" charset="0"/>
                    <a:ea typeface="华文楷体" panose="02010600040101010101" pitchFamily="2" charset="-122"/>
                  </a:rPr>
                  <a:t>Lorem ipsum dolor sit </a:t>
                </a:r>
                <a:r>
                  <a:rPr kumimoji="1" lang="en-US" altLang="zh-CN" sz="1000" dirty="0" err="1">
                    <a:solidFill>
                      <a:schemeClr val="tx1"/>
                    </a:solidFill>
                    <a:latin typeface="Arial" panose="020B0604020202090204" pitchFamily="34" charset="0"/>
                    <a:ea typeface="华文楷体" panose="02010600040101010101" pitchFamily="2" charset="-122"/>
                  </a:rPr>
                  <a:t>amet</a:t>
                </a:r>
                <a:r>
                  <a:rPr kumimoji="1" lang="en-US" altLang="zh-CN" sz="1000" dirty="0">
                    <a:solidFill>
                      <a:schemeClr val="tx1"/>
                    </a:solidFill>
                    <a:latin typeface="Arial" panose="020B0604020202090204" pitchFamily="34" charset="0"/>
                    <a:ea typeface="华文楷体" panose="02010600040101010101" pitchFamily="2" charset="-122"/>
                  </a:rPr>
                  <a:t>, </a:t>
                </a:r>
                <a:r>
                  <a:rPr kumimoji="1" lang="en-US" altLang="zh-CN" sz="1000" dirty="0" err="1">
                    <a:solidFill>
                      <a:schemeClr val="tx1"/>
                    </a:solidFill>
                    <a:latin typeface="Arial" panose="020B0604020202090204" pitchFamily="34" charset="0"/>
                    <a:ea typeface="华文楷体" panose="02010600040101010101" pitchFamily="2" charset="-122"/>
                  </a:rPr>
                  <a:t>consectetueradipiscingelit</a:t>
                </a:r>
                <a:r>
                  <a:rPr kumimoji="1" lang="en-US" altLang="zh-CN" sz="1000" dirty="0">
                    <a:solidFill>
                      <a:schemeClr val="tx1"/>
                    </a:solidFill>
                    <a:latin typeface="Arial" panose="020B0604020202090204" pitchFamily="34" charset="0"/>
                    <a:ea typeface="华文楷体" panose="02010600040101010101" pitchFamily="2" charset="-122"/>
                  </a:rPr>
                  <a:t>. </a:t>
                </a:r>
                <a:endParaRPr kumimoji="1" lang="en-US" altLang="zh-CN" sz="1000" dirty="0">
                  <a:solidFill>
                    <a:schemeClr val="tx1"/>
                  </a:solidFill>
                  <a:latin typeface="Arial" panose="020B0604020202090204" pitchFamily="34" charset="0"/>
                  <a:ea typeface="华文楷体" panose="02010600040101010101" pitchFamily="2" charset="-122"/>
                </a:endParaRPr>
              </a:p>
            </p:txBody>
          </p:sp>
          <p:sp>
            <p:nvSpPr>
              <p:cNvPr id="46" name="矩形: 圆角 45"/>
              <p:cNvSpPr/>
              <p:nvPr/>
            </p:nvSpPr>
            <p:spPr>
              <a:xfrm>
                <a:off x="8212934" y="3329139"/>
                <a:ext cx="3090428" cy="648451"/>
              </a:xfrm>
              <a:prstGeom prst="roundRect">
                <a:avLst>
                  <a:gd name="adj" fmla="val 50000"/>
                </a:avLst>
              </a:prstGeom>
              <a:solidFill>
                <a:schemeClr val="tx2">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r>
                  <a:rPr kumimoji="1" lang="en-US" altLang="zh-CN" sz="1000" dirty="0">
                    <a:solidFill>
                      <a:schemeClr val="tx1"/>
                    </a:solidFill>
                    <a:latin typeface="Arial" panose="020B0604020202090204" pitchFamily="34" charset="0"/>
                    <a:ea typeface="华文楷体" panose="02010600040101010101" pitchFamily="2" charset="-122"/>
                  </a:rPr>
                  <a:t>Lorem ipsum dolor sit </a:t>
                </a:r>
                <a:r>
                  <a:rPr kumimoji="1" lang="en-US" altLang="zh-CN" sz="1000" dirty="0" err="1">
                    <a:solidFill>
                      <a:schemeClr val="tx1"/>
                    </a:solidFill>
                    <a:latin typeface="Arial" panose="020B0604020202090204" pitchFamily="34" charset="0"/>
                    <a:ea typeface="华文楷体" panose="02010600040101010101" pitchFamily="2" charset="-122"/>
                  </a:rPr>
                  <a:t>amet</a:t>
                </a:r>
                <a:r>
                  <a:rPr kumimoji="1" lang="en-US" altLang="zh-CN" sz="1000" dirty="0">
                    <a:solidFill>
                      <a:schemeClr val="tx1"/>
                    </a:solidFill>
                    <a:latin typeface="Arial" panose="020B0604020202090204" pitchFamily="34" charset="0"/>
                    <a:ea typeface="华文楷体" panose="02010600040101010101" pitchFamily="2" charset="-122"/>
                  </a:rPr>
                  <a:t>, </a:t>
                </a:r>
                <a:r>
                  <a:rPr kumimoji="1" lang="en-US" altLang="zh-CN" sz="1000" dirty="0" err="1">
                    <a:solidFill>
                      <a:schemeClr val="tx1"/>
                    </a:solidFill>
                    <a:latin typeface="Arial" panose="020B0604020202090204" pitchFamily="34" charset="0"/>
                    <a:ea typeface="华文楷体" panose="02010600040101010101" pitchFamily="2" charset="-122"/>
                  </a:rPr>
                  <a:t>consectetueradipiscingelit</a:t>
                </a:r>
                <a:r>
                  <a:rPr kumimoji="1" lang="en-US" altLang="zh-CN" sz="1000" dirty="0">
                    <a:solidFill>
                      <a:schemeClr val="tx1"/>
                    </a:solidFill>
                    <a:latin typeface="Arial" panose="020B0604020202090204" pitchFamily="34" charset="0"/>
                    <a:ea typeface="华文楷体" panose="02010600040101010101" pitchFamily="2" charset="-122"/>
                  </a:rPr>
                  <a:t>. </a:t>
                </a:r>
                <a:endParaRPr kumimoji="1" lang="en-US" altLang="zh-CN" sz="1000" dirty="0">
                  <a:solidFill>
                    <a:schemeClr val="tx1"/>
                  </a:solidFill>
                  <a:latin typeface="Arial" panose="020B0604020202090204" pitchFamily="34" charset="0"/>
                  <a:ea typeface="华文楷体" panose="02010600040101010101" pitchFamily="2" charset="-122"/>
                </a:endParaRPr>
              </a:p>
            </p:txBody>
          </p:sp>
        </p:grpSp>
        <p:sp>
          <p:nvSpPr>
            <p:cNvPr id="49" name="矩形 48"/>
            <p:cNvSpPr/>
            <p:nvPr/>
          </p:nvSpPr>
          <p:spPr>
            <a:xfrm>
              <a:off x="600590" y="1033619"/>
              <a:ext cx="6616541" cy="1079500"/>
            </a:xfrm>
            <a:prstGeom prst="rect">
              <a:avLst/>
            </a:prstGeom>
          </p:spPr>
          <p:txBody>
            <a:bodyPr anchor="t" anchorCtr="0">
              <a:noAutofit/>
            </a:bodyPr>
            <a:lstStyle/>
            <a:p>
              <a:pPr>
                <a:buSzPct val="25000"/>
              </a:pPr>
              <a:r>
                <a:rPr lang="en-US" altLang="zh-CN" sz="3200" b="1" dirty="0">
                  <a:latin typeface="Arial" panose="020B0604020202090204" pitchFamily="34" charset="0"/>
                  <a:ea typeface="华文楷体" panose="02010600040101010101" pitchFamily="2" charset="-122"/>
                </a:rPr>
                <a:t>Unified fonts make Reading </a:t>
              </a:r>
              <a:r>
                <a:rPr lang="en-US" altLang="zh-CN" sz="3200" b="1" dirty="0">
                  <a:solidFill>
                    <a:schemeClr val="accent1"/>
                  </a:solidFill>
                  <a:latin typeface="Arial" panose="020B0604020202090204" pitchFamily="34" charset="0"/>
                  <a:ea typeface="华文楷体" panose="02010600040101010101" pitchFamily="2" charset="-122"/>
                </a:rPr>
                <a:t>more fluent.</a:t>
              </a:r>
              <a:endParaRPr lang="en-US" altLang="zh-CN" sz="3200" b="1" dirty="0">
                <a:solidFill>
                  <a:schemeClr val="accent1"/>
                </a:solidFill>
                <a:latin typeface="Arial" panose="020B0604020202090204" pitchFamily="34" charset="0"/>
                <a:ea typeface="华文楷体" panose="02010600040101010101" pitchFamily="2" charset="-122"/>
              </a:endParaRPr>
            </a:p>
          </p:txBody>
        </p:sp>
      </p:grpSp>
    </p:spTree>
    <p:custDataLst>
      <p:tags r:id="rId1"/>
    </p:custData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639639" y="1675645"/>
            <a:ext cx="10900022" cy="3913110"/>
            <a:chOff x="639639" y="1675645"/>
            <a:chExt cx="10900022" cy="3913110"/>
          </a:xfrm>
        </p:grpSpPr>
        <p:grpSp>
          <p:nvGrpSpPr>
            <p:cNvPr id="52" name="组合 51"/>
            <p:cNvGrpSpPr/>
            <p:nvPr/>
          </p:nvGrpSpPr>
          <p:grpSpPr>
            <a:xfrm>
              <a:off x="7112985" y="3346629"/>
              <a:ext cx="4426676" cy="528731"/>
              <a:chOff x="6567426" y="1894389"/>
              <a:chExt cx="4043914" cy="483013"/>
            </a:xfrm>
          </p:grpSpPr>
          <p:cxnSp>
            <p:nvCxnSpPr>
              <p:cNvPr id="53" name="直接箭头连接符 52"/>
              <p:cNvCxnSpPr/>
              <p:nvPr/>
            </p:nvCxnSpPr>
            <p:spPr>
              <a:xfrm>
                <a:off x="6567426" y="2152471"/>
                <a:ext cx="692191" cy="0"/>
              </a:xfrm>
              <a:prstGeom prst="straightConnector1">
                <a:avLst/>
              </a:prstGeom>
              <a:ln>
                <a:solidFill>
                  <a:schemeClr val="tx1">
                    <a:lumMod val="50000"/>
                    <a:lumOff val="50000"/>
                    <a:alpha val="50000"/>
                  </a:schemeClr>
                </a:solidFill>
                <a:tailEnd type="triangle" w="sm" len="sm"/>
              </a:ln>
            </p:spPr>
            <p:style>
              <a:lnRef idx="1">
                <a:schemeClr val="accent1"/>
              </a:lnRef>
              <a:fillRef idx="0">
                <a:schemeClr val="accent1"/>
              </a:fillRef>
              <a:effectRef idx="0">
                <a:schemeClr val="accent1"/>
              </a:effectRef>
              <a:fontRef idx="minor">
                <a:schemeClr val="tx1"/>
              </a:fontRef>
            </p:style>
          </p:cxnSp>
          <p:sp>
            <p:nvSpPr>
              <p:cNvPr id="54" name="文本框 53"/>
              <p:cNvSpPr txBox="1"/>
              <p:nvPr/>
            </p:nvSpPr>
            <p:spPr>
              <a:xfrm>
                <a:off x="7398978" y="1894389"/>
                <a:ext cx="3212362" cy="281164"/>
              </a:xfrm>
              <a:prstGeom prst="rect">
                <a:avLst/>
              </a:prstGeom>
              <a:noFill/>
            </p:spPr>
            <p:txBody>
              <a:bodyPr wrap="square" rtlCol="0">
                <a:spAutoFit/>
              </a:bodyPr>
              <a:lstStyle/>
              <a:p>
                <a:r>
                  <a:rPr lang="en-US" altLang="zh-CN" sz="1400" b="1" dirty="0">
                    <a:latin typeface="Arial" panose="020B0604020202090204" pitchFamily="34" charset="0"/>
                    <a:ea typeface="华文楷体" panose="02010600040101010101" pitchFamily="2" charset="-122"/>
                  </a:rPr>
                  <a:t>Text here</a:t>
                </a:r>
                <a:endParaRPr lang="zh-CN" altLang="en-US" sz="1400" b="1" dirty="0">
                  <a:latin typeface="Arial" panose="020B0604020202090204" pitchFamily="34" charset="0"/>
                  <a:ea typeface="华文楷体" panose="02010600040101010101" pitchFamily="2" charset="-122"/>
                </a:endParaRPr>
              </a:p>
            </p:txBody>
          </p:sp>
          <p:sp>
            <p:nvSpPr>
              <p:cNvPr id="55" name="文本框 54"/>
              <p:cNvSpPr txBox="1"/>
              <p:nvPr/>
            </p:nvSpPr>
            <p:spPr>
              <a:xfrm>
                <a:off x="7398977" y="2152471"/>
                <a:ext cx="3212362" cy="224931"/>
              </a:xfrm>
              <a:prstGeom prst="rect">
                <a:avLst/>
              </a:prstGeom>
              <a:noFill/>
            </p:spPr>
            <p:txBody>
              <a:bodyPr wrap="square" rtlCol="0">
                <a:spAutoFit/>
              </a:bodyPr>
              <a:lstStyle/>
              <a:p>
                <a:r>
                  <a:rPr lang="en-US" altLang="zh-CN" sz="1000" dirty="0">
                    <a:latin typeface="Arial" panose="020B0604020202090204" pitchFamily="34" charset="0"/>
                    <a:ea typeface="华文楷体" panose="02010600040101010101" pitchFamily="2" charset="-122"/>
                  </a:rPr>
                  <a:t>Theme  color makes PPT more convenient to change.</a:t>
                </a:r>
                <a:endParaRPr lang="en-US" altLang="zh-CN" sz="1000" dirty="0">
                  <a:latin typeface="Arial" panose="020B0604020202090204" pitchFamily="34" charset="0"/>
                  <a:ea typeface="华文楷体" panose="02010600040101010101" pitchFamily="2" charset="-122"/>
                </a:endParaRPr>
              </a:p>
            </p:txBody>
          </p:sp>
        </p:grpSp>
        <p:grpSp>
          <p:nvGrpSpPr>
            <p:cNvPr id="44" name="组合 43"/>
            <p:cNvGrpSpPr/>
            <p:nvPr/>
          </p:nvGrpSpPr>
          <p:grpSpPr>
            <a:xfrm>
              <a:off x="639639" y="1675645"/>
              <a:ext cx="6473346" cy="3913110"/>
              <a:chOff x="861396" y="2660946"/>
              <a:chExt cx="5913614" cy="3574754"/>
            </a:xfrm>
          </p:grpSpPr>
          <p:grpSp>
            <p:nvGrpSpPr>
              <p:cNvPr id="36" name="组合 35"/>
              <p:cNvGrpSpPr/>
              <p:nvPr/>
            </p:nvGrpSpPr>
            <p:grpSpPr>
              <a:xfrm>
                <a:off x="861396" y="2660946"/>
                <a:ext cx="5913614" cy="3574754"/>
                <a:chOff x="5426947" y="2589513"/>
                <a:chExt cx="5913614" cy="3574754"/>
              </a:xfrm>
            </p:grpSpPr>
            <p:grpSp>
              <p:nvGrpSpPr>
                <p:cNvPr id="4" name="组合 3"/>
                <p:cNvGrpSpPr/>
                <p:nvPr/>
              </p:nvGrpSpPr>
              <p:grpSpPr>
                <a:xfrm flipH="1">
                  <a:off x="6767268" y="2883726"/>
                  <a:ext cx="725153" cy="2987575"/>
                  <a:chOff x="4698124" y="1929879"/>
                  <a:chExt cx="725153" cy="2987575"/>
                </a:xfrm>
              </p:grpSpPr>
              <p:cxnSp>
                <p:nvCxnSpPr>
                  <p:cNvPr id="28" name="直接连接符 27"/>
                  <p:cNvCxnSpPr/>
                  <p:nvPr/>
                </p:nvCxnSpPr>
                <p:spPr>
                  <a:xfrm>
                    <a:off x="4703321" y="1929879"/>
                    <a:ext cx="320373" cy="0"/>
                  </a:xfrm>
                  <a:prstGeom prst="line">
                    <a:avLst/>
                  </a:prstGeom>
                  <a:ln w="12700">
                    <a:solidFill>
                      <a:schemeClr val="tx2">
                        <a:alpha val="50000"/>
                      </a:schemeClr>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a:endCxn id="39" idx="1"/>
                  </p:cNvCxnSpPr>
                  <p:nvPr/>
                </p:nvCxnSpPr>
                <p:spPr>
                  <a:xfrm flipH="1">
                    <a:off x="4703321" y="3429001"/>
                    <a:ext cx="719956" cy="0"/>
                  </a:xfrm>
                  <a:prstGeom prst="line">
                    <a:avLst/>
                  </a:prstGeom>
                  <a:ln w="12700">
                    <a:solidFill>
                      <a:schemeClr val="tx2">
                        <a:alpha val="50000"/>
                      </a:schemeClr>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p:nvPr/>
                </p:nvCxnSpPr>
                <p:spPr>
                  <a:xfrm>
                    <a:off x="5012678" y="1929879"/>
                    <a:ext cx="8582" cy="2987575"/>
                  </a:xfrm>
                  <a:prstGeom prst="line">
                    <a:avLst/>
                  </a:prstGeom>
                  <a:ln w="12700">
                    <a:solidFill>
                      <a:schemeClr val="tx2">
                        <a:alpha val="50000"/>
                      </a:schemeClr>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p:nvPr/>
                </p:nvCxnSpPr>
                <p:spPr>
                  <a:xfrm>
                    <a:off x="4698124" y="4917454"/>
                    <a:ext cx="334153" cy="0"/>
                  </a:xfrm>
                  <a:prstGeom prst="line">
                    <a:avLst/>
                  </a:prstGeom>
                  <a:ln w="12700">
                    <a:solidFill>
                      <a:schemeClr val="tx2">
                        <a:alpha val="50000"/>
                      </a:schemeClr>
                    </a:solidFill>
                  </a:ln>
                </p:spPr>
                <p:style>
                  <a:lnRef idx="1">
                    <a:schemeClr val="accent1"/>
                  </a:lnRef>
                  <a:fillRef idx="0">
                    <a:schemeClr val="accent1"/>
                  </a:fillRef>
                  <a:effectRef idx="0">
                    <a:schemeClr val="accent1"/>
                  </a:effectRef>
                  <a:fontRef idx="minor">
                    <a:schemeClr val="tx1"/>
                  </a:fontRef>
                </p:style>
              </p:cxnSp>
            </p:grpSp>
            <p:sp>
              <p:nvSpPr>
                <p:cNvPr id="5" name="矩形: 圆角 4"/>
                <p:cNvSpPr/>
                <p:nvPr/>
              </p:nvSpPr>
              <p:spPr>
                <a:xfrm>
                  <a:off x="5426947" y="3975750"/>
                  <a:ext cx="1391069" cy="797959"/>
                </a:xfrm>
                <a:prstGeom prst="roundRect">
                  <a:avLst>
                    <a:gd name="adj" fmla="val 16700"/>
                  </a:avLst>
                </a:prstGeom>
                <a:solidFill>
                  <a:schemeClr val="accent1"/>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p>
                  <a:pPr algn="ctr" defTabSz="914400"/>
                  <a:r>
                    <a:rPr lang="en-US" altLang="zh-CN" sz="1600" b="1" dirty="0">
                      <a:solidFill>
                        <a:srgbClr val="FFFFFF"/>
                      </a:solidFill>
                      <a:latin typeface="Arial" panose="020B0604020202090204" pitchFamily="34" charset="0"/>
                      <a:ea typeface="华文楷体" panose="02010600040101010101" pitchFamily="2" charset="-122"/>
                    </a:rPr>
                    <a:t>Text here</a:t>
                  </a:r>
                  <a:endParaRPr lang="zh-CN" altLang="en-US" sz="1600" b="1" dirty="0">
                    <a:solidFill>
                      <a:srgbClr val="FFFFFF"/>
                    </a:solidFill>
                    <a:latin typeface="Arial" panose="020B0604020202090204" pitchFamily="34" charset="0"/>
                    <a:ea typeface="华文楷体" panose="02010600040101010101" pitchFamily="2" charset="-122"/>
                  </a:endParaRPr>
                </a:p>
              </p:txBody>
            </p:sp>
            <p:grpSp>
              <p:nvGrpSpPr>
                <p:cNvPr id="10" name="组合 9"/>
                <p:cNvGrpSpPr/>
                <p:nvPr/>
              </p:nvGrpSpPr>
              <p:grpSpPr>
                <a:xfrm>
                  <a:off x="7490143" y="2589513"/>
                  <a:ext cx="3846749" cy="631532"/>
                  <a:chOff x="7496494" y="2526503"/>
                  <a:chExt cx="3846749" cy="631532"/>
                </a:xfrm>
              </p:grpSpPr>
              <p:sp>
                <p:nvSpPr>
                  <p:cNvPr id="16" name="矩形: 圆角 15"/>
                  <p:cNvSpPr/>
                  <p:nvPr/>
                </p:nvSpPr>
                <p:spPr>
                  <a:xfrm>
                    <a:off x="7496494" y="2526503"/>
                    <a:ext cx="3846749" cy="631532"/>
                  </a:xfrm>
                  <a:prstGeom prst="roundRect">
                    <a:avLst>
                      <a:gd name="adj" fmla="val 50000"/>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a:solidFill>
                        <a:schemeClr val="tx1"/>
                      </a:solidFill>
                    </a:endParaRPr>
                  </a:p>
                </p:txBody>
              </p:sp>
              <p:sp>
                <p:nvSpPr>
                  <p:cNvPr id="17" name="椭圆 16"/>
                  <p:cNvSpPr/>
                  <p:nvPr/>
                </p:nvSpPr>
                <p:spPr>
                  <a:xfrm>
                    <a:off x="7625548" y="2622485"/>
                    <a:ext cx="410200" cy="410198"/>
                  </a:xfrm>
                  <a:prstGeom prst="ellipse">
                    <a:avLst/>
                  </a:prstGeom>
                  <a:solidFill>
                    <a:schemeClr val="accent1"/>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r>
                      <a:rPr lang="en-US" altLang="zh-CN" sz="1600" b="1" dirty="0">
                        <a:solidFill>
                          <a:schemeClr val="bg1"/>
                        </a:solidFill>
                        <a:latin typeface="Arial" panose="020B0604020202090204" pitchFamily="34" charset="0"/>
                        <a:ea typeface="华文楷体" panose="02010600040101010101" pitchFamily="2" charset="-122"/>
                      </a:rPr>
                      <a:t>01</a:t>
                    </a:r>
                    <a:endParaRPr lang="zh-CN" altLang="en-US" sz="1600" b="1" dirty="0">
                      <a:solidFill>
                        <a:schemeClr val="bg1"/>
                      </a:solidFill>
                      <a:latin typeface="Arial" panose="020B0604020202090204" pitchFamily="34" charset="0"/>
                      <a:ea typeface="华文楷体" panose="02010600040101010101" pitchFamily="2" charset="-122"/>
                    </a:endParaRPr>
                  </a:p>
                </p:txBody>
              </p:sp>
              <p:sp>
                <p:nvSpPr>
                  <p:cNvPr id="18" name="文本框 17"/>
                  <p:cNvSpPr txBox="1"/>
                  <p:nvPr/>
                </p:nvSpPr>
                <p:spPr>
                  <a:xfrm>
                    <a:off x="8076528" y="2576069"/>
                    <a:ext cx="3212362" cy="281165"/>
                  </a:xfrm>
                  <a:prstGeom prst="rect">
                    <a:avLst/>
                  </a:prstGeom>
                  <a:noFill/>
                </p:spPr>
                <p:txBody>
                  <a:bodyPr wrap="square" rtlCol="0">
                    <a:spAutoFit/>
                  </a:bodyPr>
                  <a:lstStyle/>
                  <a:p>
                    <a:r>
                      <a:rPr lang="en-US" altLang="zh-CN" sz="1400" b="1" dirty="0">
                        <a:latin typeface="Arial" panose="020B0604020202090204" pitchFamily="34" charset="0"/>
                        <a:ea typeface="华文楷体" panose="02010600040101010101" pitchFamily="2" charset="-122"/>
                      </a:rPr>
                      <a:t>Text here</a:t>
                    </a:r>
                    <a:endParaRPr lang="zh-CN" altLang="en-US" sz="1400" b="1" dirty="0">
                      <a:latin typeface="Arial" panose="020B0604020202090204" pitchFamily="34" charset="0"/>
                      <a:ea typeface="华文楷体" panose="02010600040101010101" pitchFamily="2" charset="-122"/>
                    </a:endParaRPr>
                  </a:p>
                </p:txBody>
              </p:sp>
              <p:sp>
                <p:nvSpPr>
                  <p:cNvPr id="19" name="文本框 18"/>
                  <p:cNvSpPr txBox="1"/>
                  <p:nvPr/>
                </p:nvSpPr>
                <p:spPr>
                  <a:xfrm>
                    <a:off x="8076527" y="2834151"/>
                    <a:ext cx="3212362" cy="224931"/>
                  </a:xfrm>
                  <a:prstGeom prst="rect">
                    <a:avLst/>
                  </a:prstGeom>
                  <a:noFill/>
                </p:spPr>
                <p:txBody>
                  <a:bodyPr wrap="square" rtlCol="0">
                    <a:spAutoFit/>
                  </a:bodyPr>
                  <a:lstStyle/>
                  <a:p>
                    <a:r>
                      <a:rPr lang="en-US" altLang="zh-CN" sz="1000" dirty="0">
                        <a:latin typeface="Arial" panose="020B0604020202090204" pitchFamily="34" charset="0"/>
                        <a:ea typeface="华文楷体" panose="02010600040101010101" pitchFamily="2" charset="-122"/>
                      </a:rPr>
                      <a:t>Theme  color makes PPT more convenient to change.</a:t>
                    </a:r>
                    <a:endParaRPr lang="en-US" altLang="zh-CN" sz="1000" dirty="0">
                      <a:latin typeface="Arial" panose="020B0604020202090204" pitchFamily="34" charset="0"/>
                      <a:ea typeface="华文楷体" panose="02010600040101010101" pitchFamily="2" charset="-122"/>
                    </a:endParaRPr>
                  </a:p>
                </p:txBody>
              </p:sp>
            </p:grpSp>
            <p:grpSp>
              <p:nvGrpSpPr>
                <p:cNvPr id="11" name="组合 10"/>
                <p:cNvGrpSpPr/>
                <p:nvPr/>
              </p:nvGrpSpPr>
              <p:grpSpPr>
                <a:xfrm>
                  <a:off x="7493812" y="5532735"/>
                  <a:ext cx="3846749" cy="631532"/>
                  <a:chOff x="7500163" y="5469725"/>
                  <a:chExt cx="3846749" cy="631532"/>
                </a:xfrm>
              </p:grpSpPr>
              <p:sp>
                <p:nvSpPr>
                  <p:cNvPr id="12" name="矩形: 圆角 11"/>
                  <p:cNvSpPr/>
                  <p:nvPr/>
                </p:nvSpPr>
                <p:spPr>
                  <a:xfrm>
                    <a:off x="7500163" y="5469725"/>
                    <a:ext cx="3846749" cy="631532"/>
                  </a:xfrm>
                  <a:prstGeom prst="roundRect">
                    <a:avLst>
                      <a:gd name="adj" fmla="val 50000"/>
                    </a:avLst>
                  </a:prstGeom>
                  <a:solidFill>
                    <a:schemeClr val="tx2">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a:solidFill>
                        <a:schemeClr val="tx1"/>
                      </a:solidFill>
                    </a:endParaRPr>
                  </a:p>
                </p:txBody>
              </p:sp>
              <p:sp>
                <p:nvSpPr>
                  <p:cNvPr id="13" name="椭圆 12"/>
                  <p:cNvSpPr/>
                  <p:nvPr/>
                </p:nvSpPr>
                <p:spPr>
                  <a:xfrm>
                    <a:off x="7629217" y="5565707"/>
                    <a:ext cx="410200" cy="410198"/>
                  </a:xfrm>
                  <a:prstGeom prst="ellipse">
                    <a:avLst/>
                  </a:prstGeom>
                  <a:solidFill>
                    <a:schemeClr val="tx2"/>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r>
                      <a:rPr lang="en-US" altLang="zh-CN" sz="1600" b="1" dirty="0">
                        <a:solidFill>
                          <a:schemeClr val="bg1"/>
                        </a:solidFill>
                        <a:latin typeface="Arial" panose="020B0604020202090204" pitchFamily="34" charset="0"/>
                        <a:ea typeface="华文楷体" panose="02010600040101010101" pitchFamily="2" charset="-122"/>
                      </a:rPr>
                      <a:t>03</a:t>
                    </a:r>
                    <a:endParaRPr lang="zh-CN" altLang="en-US" sz="1600" b="1" dirty="0">
                      <a:solidFill>
                        <a:schemeClr val="bg1"/>
                      </a:solidFill>
                      <a:latin typeface="Arial" panose="020B0604020202090204" pitchFamily="34" charset="0"/>
                      <a:ea typeface="华文楷体" panose="02010600040101010101" pitchFamily="2" charset="-122"/>
                    </a:endParaRPr>
                  </a:p>
                </p:txBody>
              </p:sp>
              <p:sp>
                <p:nvSpPr>
                  <p:cNvPr id="14" name="文本框 13"/>
                  <p:cNvSpPr txBox="1"/>
                  <p:nvPr/>
                </p:nvSpPr>
                <p:spPr>
                  <a:xfrm>
                    <a:off x="8080197" y="5519291"/>
                    <a:ext cx="3208693" cy="281165"/>
                  </a:xfrm>
                  <a:prstGeom prst="rect">
                    <a:avLst/>
                  </a:prstGeom>
                  <a:noFill/>
                </p:spPr>
                <p:txBody>
                  <a:bodyPr wrap="square" rtlCol="0">
                    <a:spAutoFit/>
                  </a:bodyPr>
                  <a:lstStyle/>
                  <a:p>
                    <a:r>
                      <a:rPr lang="en-US" altLang="zh-CN" sz="1400" b="1" dirty="0">
                        <a:latin typeface="Arial" panose="020B0604020202090204" pitchFamily="34" charset="0"/>
                        <a:ea typeface="华文楷体" panose="02010600040101010101" pitchFamily="2" charset="-122"/>
                      </a:rPr>
                      <a:t>Text here</a:t>
                    </a:r>
                    <a:endParaRPr lang="zh-CN" altLang="en-US" sz="1400" b="1" dirty="0">
                      <a:latin typeface="Arial" panose="020B0604020202090204" pitchFamily="34" charset="0"/>
                      <a:ea typeface="华文楷体" panose="02010600040101010101" pitchFamily="2" charset="-122"/>
                    </a:endParaRPr>
                  </a:p>
                </p:txBody>
              </p:sp>
              <p:sp>
                <p:nvSpPr>
                  <p:cNvPr id="15" name="文本框 14"/>
                  <p:cNvSpPr txBox="1"/>
                  <p:nvPr/>
                </p:nvSpPr>
                <p:spPr>
                  <a:xfrm>
                    <a:off x="8080197" y="5777373"/>
                    <a:ext cx="3208693" cy="224931"/>
                  </a:xfrm>
                  <a:prstGeom prst="rect">
                    <a:avLst/>
                  </a:prstGeom>
                  <a:noFill/>
                </p:spPr>
                <p:txBody>
                  <a:bodyPr wrap="square" rtlCol="0">
                    <a:spAutoFit/>
                  </a:bodyPr>
                  <a:lstStyle/>
                  <a:p>
                    <a:r>
                      <a:rPr lang="en-US" altLang="zh-CN" sz="1000" dirty="0">
                        <a:latin typeface="Arial" panose="020B0604020202090204" pitchFamily="34" charset="0"/>
                        <a:ea typeface="华文楷体" panose="02010600040101010101" pitchFamily="2" charset="-122"/>
                      </a:rPr>
                      <a:t>Theme  color makes PPT more convenient to change.</a:t>
                    </a:r>
                    <a:endParaRPr lang="en-US" altLang="zh-CN" sz="1000" dirty="0">
                      <a:latin typeface="Arial" panose="020B0604020202090204" pitchFamily="34" charset="0"/>
                      <a:ea typeface="华文楷体" panose="02010600040101010101" pitchFamily="2" charset="-122"/>
                    </a:endParaRPr>
                  </a:p>
                </p:txBody>
              </p:sp>
            </p:grpSp>
          </p:grpSp>
          <p:sp>
            <p:nvSpPr>
              <p:cNvPr id="39" name="矩形: 圆角 38"/>
              <p:cNvSpPr/>
              <p:nvPr/>
            </p:nvSpPr>
            <p:spPr>
              <a:xfrm>
                <a:off x="2921673" y="4138515"/>
                <a:ext cx="3846749" cy="631532"/>
              </a:xfrm>
              <a:prstGeom prst="roundRect">
                <a:avLst>
                  <a:gd name="adj" fmla="val 50000"/>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a:solidFill>
                    <a:schemeClr val="tx1"/>
                  </a:solidFill>
                </a:endParaRPr>
              </a:p>
            </p:txBody>
          </p:sp>
          <p:sp>
            <p:nvSpPr>
              <p:cNvPr id="40" name="椭圆 39"/>
              <p:cNvSpPr/>
              <p:nvPr/>
            </p:nvSpPr>
            <p:spPr>
              <a:xfrm>
                <a:off x="3050727" y="4234497"/>
                <a:ext cx="410200" cy="410198"/>
              </a:xfrm>
              <a:prstGeom prst="ellipse">
                <a:avLst/>
              </a:prstGeom>
              <a:solidFill>
                <a:schemeClr val="accent1"/>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r>
                  <a:rPr lang="en-US" altLang="zh-CN" sz="1600" b="1" dirty="0">
                    <a:solidFill>
                      <a:schemeClr val="bg1"/>
                    </a:solidFill>
                    <a:latin typeface="Arial" panose="020B0604020202090204" pitchFamily="34" charset="0"/>
                    <a:ea typeface="华文楷体" panose="02010600040101010101" pitchFamily="2" charset="-122"/>
                  </a:rPr>
                  <a:t>02</a:t>
                </a:r>
                <a:endParaRPr lang="zh-CN" altLang="en-US" sz="1600" b="1" dirty="0">
                  <a:solidFill>
                    <a:schemeClr val="bg1"/>
                  </a:solidFill>
                  <a:latin typeface="Arial" panose="020B0604020202090204" pitchFamily="34" charset="0"/>
                  <a:ea typeface="华文楷体" panose="02010600040101010101" pitchFamily="2" charset="-122"/>
                </a:endParaRPr>
              </a:p>
            </p:txBody>
          </p:sp>
          <p:sp>
            <p:nvSpPr>
              <p:cNvPr id="41" name="文本框 40"/>
              <p:cNvSpPr txBox="1"/>
              <p:nvPr/>
            </p:nvSpPr>
            <p:spPr>
              <a:xfrm>
                <a:off x="3501707" y="4188081"/>
                <a:ext cx="3215281" cy="281164"/>
              </a:xfrm>
              <a:prstGeom prst="rect">
                <a:avLst/>
              </a:prstGeom>
              <a:noFill/>
            </p:spPr>
            <p:txBody>
              <a:bodyPr wrap="square" rtlCol="0">
                <a:spAutoFit/>
              </a:bodyPr>
              <a:lstStyle/>
              <a:p>
                <a:r>
                  <a:rPr lang="en-US" altLang="zh-CN" sz="1400" b="1" dirty="0">
                    <a:latin typeface="Arial" panose="020B0604020202090204" pitchFamily="34" charset="0"/>
                    <a:ea typeface="华文楷体" panose="02010600040101010101" pitchFamily="2" charset="-122"/>
                  </a:rPr>
                  <a:t>Text here</a:t>
                </a:r>
                <a:endParaRPr lang="zh-CN" altLang="en-US" sz="1400" b="1" dirty="0">
                  <a:latin typeface="Arial" panose="020B0604020202090204" pitchFamily="34" charset="0"/>
                  <a:ea typeface="华文楷体" panose="02010600040101010101" pitchFamily="2" charset="-122"/>
                </a:endParaRPr>
              </a:p>
            </p:txBody>
          </p:sp>
          <p:sp>
            <p:nvSpPr>
              <p:cNvPr id="42" name="文本框 41"/>
              <p:cNvSpPr txBox="1"/>
              <p:nvPr/>
            </p:nvSpPr>
            <p:spPr>
              <a:xfrm>
                <a:off x="3501707" y="4446163"/>
                <a:ext cx="3215281" cy="224931"/>
              </a:xfrm>
              <a:prstGeom prst="rect">
                <a:avLst/>
              </a:prstGeom>
              <a:noFill/>
            </p:spPr>
            <p:txBody>
              <a:bodyPr wrap="square" rtlCol="0">
                <a:spAutoFit/>
              </a:bodyPr>
              <a:lstStyle/>
              <a:p>
                <a:r>
                  <a:rPr lang="en-US" altLang="zh-CN" sz="1000" dirty="0">
                    <a:latin typeface="Arial" panose="020B0604020202090204" pitchFamily="34" charset="0"/>
                    <a:ea typeface="华文楷体" panose="02010600040101010101" pitchFamily="2" charset="-122"/>
                  </a:rPr>
                  <a:t>Theme  color makes PPT more convenient to change.</a:t>
                </a:r>
                <a:endParaRPr lang="en-US" altLang="zh-CN" sz="1000" dirty="0">
                  <a:latin typeface="Arial" panose="020B0604020202090204" pitchFamily="34" charset="0"/>
                  <a:ea typeface="华文楷体" panose="02010600040101010101" pitchFamily="2" charset="-122"/>
                </a:endParaRPr>
              </a:p>
            </p:txBody>
          </p:sp>
        </p:grpSp>
        <p:grpSp>
          <p:nvGrpSpPr>
            <p:cNvPr id="51" name="组合 50"/>
            <p:cNvGrpSpPr/>
            <p:nvPr/>
          </p:nvGrpSpPr>
          <p:grpSpPr>
            <a:xfrm>
              <a:off x="7105773" y="1729903"/>
              <a:ext cx="4426676" cy="528731"/>
              <a:chOff x="6567426" y="1894389"/>
              <a:chExt cx="4043914" cy="483013"/>
            </a:xfrm>
          </p:grpSpPr>
          <p:cxnSp>
            <p:nvCxnSpPr>
              <p:cNvPr id="45" name="直接箭头连接符 44"/>
              <p:cNvCxnSpPr/>
              <p:nvPr/>
            </p:nvCxnSpPr>
            <p:spPr>
              <a:xfrm>
                <a:off x="6567426" y="2152471"/>
                <a:ext cx="692191" cy="0"/>
              </a:xfrm>
              <a:prstGeom prst="straightConnector1">
                <a:avLst/>
              </a:prstGeom>
              <a:ln>
                <a:solidFill>
                  <a:schemeClr val="tx1">
                    <a:lumMod val="50000"/>
                    <a:lumOff val="50000"/>
                    <a:alpha val="50000"/>
                  </a:schemeClr>
                </a:solidFill>
                <a:tailEnd type="triangle" w="sm" len="sm"/>
              </a:ln>
            </p:spPr>
            <p:style>
              <a:lnRef idx="1">
                <a:schemeClr val="accent1"/>
              </a:lnRef>
              <a:fillRef idx="0">
                <a:schemeClr val="accent1"/>
              </a:fillRef>
              <a:effectRef idx="0">
                <a:schemeClr val="accent1"/>
              </a:effectRef>
              <a:fontRef idx="minor">
                <a:schemeClr val="tx1"/>
              </a:fontRef>
            </p:style>
          </p:cxnSp>
          <p:sp>
            <p:nvSpPr>
              <p:cNvPr id="49" name="文本框 48"/>
              <p:cNvSpPr txBox="1"/>
              <p:nvPr/>
            </p:nvSpPr>
            <p:spPr>
              <a:xfrm>
                <a:off x="7398978" y="1894389"/>
                <a:ext cx="3212362" cy="281164"/>
              </a:xfrm>
              <a:prstGeom prst="rect">
                <a:avLst/>
              </a:prstGeom>
              <a:noFill/>
            </p:spPr>
            <p:txBody>
              <a:bodyPr wrap="square" rtlCol="0">
                <a:spAutoFit/>
              </a:bodyPr>
              <a:lstStyle/>
              <a:p>
                <a:r>
                  <a:rPr lang="en-US" altLang="zh-CN" sz="1400" b="1" dirty="0">
                    <a:latin typeface="Arial" panose="020B0604020202090204" pitchFamily="34" charset="0"/>
                    <a:ea typeface="华文楷体" panose="02010600040101010101" pitchFamily="2" charset="-122"/>
                  </a:rPr>
                  <a:t>Text here</a:t>
                </a:r>
                <a:endParaRPr lang="zh-CN" altLang="en-US" sz="1400" b="1" dirty="0">
                  <a:latin typeface="Arial" panose="020B0604020202090204" pitchFamily="34" charset="0"/>
                  <a:ea typeface="华文楷体" panose="02010600040101010101" pitchFamily="2" charset="-122"/>
                </a:endParaRPr>
              </a:p>
            </p:txBody>
          </p:sp>
          <p:sp>
            <p:nvSpPr>
              <p:cNvPr id="50" name="文本框 49"/>
              <p:cNvSpPr txBox="1"/>
              <p:nvPr/>
            </p:nvSpPr>
            <p:spPr>
              <a:xfrm>
                <a:off x="7398977" y="2152471"/>
                <a:ext cx="3212362" cy="224931"/>
              </a:xfrm>
              <a:prstGeom prst="rect">
                <a:avLst/>
              </a:prstGeom>
              <a:noFill/>
            </p:spPr>
            <p:txBody>
              <a:bodyPr wrap="square" rtlCol="0">
                <a:spAutoFit/>
              </a:bodyPr>
              <a:lstStyle/>
              <a:p>
                <a:r>
                  <a:rPr lang="en-US" altLang="zh-CN" sz="1000" dirty="0">
                    <a:latin typeface="Arial" panose="020B0604020202090204" pitchFamily="34" charset="0"/>
                    <a:ea typeface="华文楷体" panose="02010600040101010101" pitchFamily="2" charset="-122"/>
                  </a:rPr>
                  <a:t>Theme  color makes PPT more convenient to change.</a:t>
                </a:r>
                <a:endParaRPr lang="en-US" altLang="zh-CN" sz="1000" dirty="0">
                  <a:latin typeface="Arial" panose="020B0604020202090204" pitchFamily="34" charset="0"/>
                  <a:ea typeface="华文楷体" panose="02010600040101010101" pitchFamily="2" charset="-122"/>
                </a:endParaRPr>
              </a:p>
            </p:txBody>
          </p:sp>
        </p:grpSp>
        <p:grpSp>
          <p:nvGrpSpPr>
            <p:cNvPr id="56" name="组合 55"/>
            <p:cNvGrpSpPr/>
            <p:nvPr/>
          </p:nvGrpSpPr>
          <p:grpSpPr>
            <a:xfrm>
              <a:off x="7105772" y="4963355"/>
              <a:ext cx="4426676" cy="528731"/>
              <a:chOff x="6567426" y="1894389"/>
              <a:chExt cx="4043914" cy="483013"/>
            </a:xfrm>
          </p:grpSpPr>
          <p:cxnSp>
            <p:nvCxnSpPr>
              <p:cNvPr id="57" name="直接箭头连接符 56"/>
              <p:cNvCxnSpPr/>
              <p:nvPr/>
            </p:nvCxnSpPr>
            <p:spPr>
              <a:xfrm>
                <a:off x="6567426" y="2152471"/>
                <a:ext cx="692191" cy="0"/>
              </a:xfrm>
              <a:prstGeom prst="straightConnector1">
                <a:avLst/>
              </a:prstGeom>
              <a:ln>
                <a:solidFill>
                  <a:schemeClr val="tx1">
                    <a:lumMod val="50000"/>
                    <a:lumOff val="50000"/>
                    <a:alpha val="50000"/>
                  </a:schemeClr>
                </a:solidFill>
                <a:tailEnd type="triangle" w="sm" len="sm"/>
              </a:ln>
            </p:spPr>
            <p:style>
              <a:lnRef idx="1">
                <a:schemeClr val="accent1"/>
              </a:lnRef>
              <a:fillRef idx="0">
                <a:schemeClr val="accent1"/>
              </a:fillRef>
              <a:effectRef idx="0">
                <a:schemeClr val="accent1"/>
              </a:effectRef>
              <a:fontRef idx="minor">
                <a:schemeClr val="tx1"/>
              </a:fontRef>
            </p:style>
          </p:cxnSp>
          <p:sp>
            <p:nvSpPr>
              <p:cNvPr id="58" name="文本框 57"/>
              <p:cNvSpPr txBox="1"/>
              <p:nvPr/>
            </p:nvSpPr>
            <p:spPr>
              <a:xfrm>
                <a:off x="7398978" y="1894389"/>
                <a:ext cx="3212362" cy="281164"/>
              </a:xfrm>
              <a:prstGeom prst="rect">
                <a:avLst/>
              </a:prstGeom>
              <a:noFill/>
            </p:spPr>
            <p:txBody>
              <a:bodyPr wrap="square" rtlCol="0">
                <a:spAutoFit/>
              </a:bodyPr>
              <a:lstStyle/>
              <a:p>
                <a:r>
                  <a:rPr lang="en-US" altLang="zh-CN" sz="1400" b="1" dirty="0">
                    <a:latin typeface="Arial" panose="020B0604020202090204" pitchFamily="34" charset="0"/>
                    <a:ea typeface="华文楷体" panose="02010600040101010101" pitchFamily="2" charset="-122"/>
                  </a:rPr>
                  <a:t>Text here</a:t>
                </a:r>
                <a:endParaRPr lang="zh-CN" altLang="en-US" sz="1400" b="1" dirty="0">
                  <a:latin typeface="Arial" panose="020B0604020202090204" pitchFamily="34" charset="0"/>
                  <a:ea typeface="华文楷体" panose="02010600040101010101" pitchFamily="2" charset="-122"/>
                </a:endParaRPr>
              </a:p>
            </p:txBody>
          </p:sp>
          <p:sp>
            <p:nvSpPr>
              <p:cNvPr id="59" name="文本框 58"/>
              <p:cNvSpPr txBox="1"/>
              <p:nvPr/>
            </p:nvSpPr>
            <p:spPr>
              <a:xfrm>
                <a:off x="7398977" y="2152471"/>
                <a:ext cx="3212362" cy="224931"/>
              </a:xfrm>
              <a:prstGeom prst="rect">
                <a:avLst/>
              </a:prstGeom>
              <a:noFill/>
            </p:spPr>
            <p:txBody>
              <a:bodyPr wrap="square" rtlCol="0">
                <a:spAutoFit/>
              </a:bodyPr>
              <a:lstStyle/>
              <a:p>
                <a:r>
                  <a:rPr lang="en-US" altLang="zh-CN" sz="1000" dirty="0">
                    <a:latin typeface="Arial" panose="020B0604020202090204" pitchFamily="34" charset="0"/>
                    <a:ea typeface="华文楷体" panose="02010600040101010101" pitchFamily="2" charset="-122"/>
                  </a:rPr>
                  <a:t>Theme  color makes PPT more convenient to change.</a:t>
                </a:r>
                <a:endParaRPr lang="en-US" altLang="zh-CN" sz="1000" dirty="0">
                  <a:latin typeface="Arial" panose="020B0604020202090204" pitchFamily="34" charset="0"/>
                  <a:ea typeface="华文楷体" panose="02010600040101010101" pitchFamily="2" charset="-122"/>
                </a:endParaRPr>
              </a:p>
            </p:txBody>
          </p:sp>
        </p:grpSp>
      </p:grpSp>
    </p:spTree>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组合 11"/>
          <p:cNvGrpSpPr/>
          <p:nvPr/>
        </p:nvGrpSpPr>
        <p:grpSpPr>
          <a:xfrm>
            <a:off x="1096507" y="1130300"/>
            <a:ext cx="9986285" cy="5003800"/>
            <a:chOff x="1096507" y="1130300"/>
            <a:chExt cx="9986285" cy="5003800"/>
          </a:xfrm>
        </p:grpSpPr>
        <p:grpSp>
          <p:nvGrpSpPr>
            <p:cNvPr id="2" name="组合 1"/>
            <p:cNvGrpSpPr/>
            <p:nvPr/>
          </p:nvGrpSpPr>
          <p:grpSpPr>
            <a:xfrm>
              <a:off x="1282979" y="2575500"/>
              <a:ext cx="9760382" cy="3558600"/>
              <a:chOff x="1766481" y="3076777"/>
              <a:chExt cx="6153653" cy="2243600"/>
            </a:xfrm>
          </p:grpSpPr>
          <p:sp>
            <p:nvSpPr>
              <p:cNvPr id="3" name="文本框 2"/>
              <p:cNvSpPr txBox="1"/>
              <p:nvPr/>
            </p:nvSpPr>
            <p:spPr>
              <a:xfrm>
                <a:off x="1766481" y="3439655"/>
                <a:ext cx="1513532" cy="1513532"/>
              </a:xfrm>
              <a:prstGeom prst="roundRect">
                <a:avLst>
                  <a:gd name="adj" fmla="val 50000"/>
                </a:avLst>
              </a:prstGeom>
              <a:solidFill>
                <a:schemeClr val="tx2">
                  <a:alpha val="15000"/>
                </a:schemeClr>
              </a:solidFill>
              <a:ln w="508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defPPr>
                  <a:defRPr lang="zh-CN"/>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zh-CN" altLang="en-US" dirty="0"/>
              </a:p>
            </p:txBody>
          </p:sp>
          <p:sp>
            <p:nvSpPr>
              <p:cNvPr id="4" name="文本框 3"/>
              <p:cNvSpPr txBox="1"/>
              <p:nvPr/>
            </p:nvSpPr>
            <p:spPr>
              <a:xfrm>
                <a:off x="1948763" y="3621938"/>
                <a:ext cx="1148968" cy="1148966"/>
              </a:xfrm>
              <a:prstGeom prst="roundRect">
                <a:avLst>
                  <a:gd name="adj" fmla="val 50000"/>
                </a:avLst>
              </a:prstGeom>
              <a:solidFill>
                <a:schemeClr val="accent1"/>
              </a:solidFill>
              <a:ln w="76200" cap="flat"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noAutofit/>
              </a:bodyPr>
              <a:lstStyle>
                <a:defPPr>
                  <a:defRPr lang="zh-CN"/>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ltLang="zh-CN" sz="2000" b="1" dirty="0">
                    <a:latin typeface="Arial" panose="020B0604020202090204" pitchFamily="34" charset="0"/>
                    <a:ea typeface="华文楷体" panose="02010600040101010101" pitchFamily="2" charset="-122"/>
                  </a:rPr>
                  <a:t>Text here</a:t>
                </a:r>
                <a:endParaRPr lang="zh-CN" altLang="en-US" sz="2000" b="1" dirty="0">
                  <a:latin typeface="Arial" panose="020B0604020202090204" pitchFamily="34" charset="0"/>
                  <a:ea typeface="华文楷体" panose="02010600040101010101" pitchFamily="2" charset="-122"/>
                </a:endParaRPr>
              </a:p>
            </p:txBody>
          </p:sp>
          <p:cxnSp>
            <p:nvCxnSpPr>
              <p:cNvPr id="5" name="直接箭头连接符 4"/>
              <p:cNvCxnSpPr/>
              <p:nvPr/>
            </p:nvCxnSpPr>
            <p:spPr>
              <a:xfrm>
                <a:off x="3773074" y="3280070"/>
                <a:ext cx="0" cy="1820662"/>
              </a:xfrm>
              <a:prstGeom prst="straightConnector1">
                <a:avLst/>
              </a:prstGeom>
              <a:ln w="12700">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6" name="直接箭头连接符 5"/>
              <p:cNvCxnSpPr/>
              <p:nvPr/>
            </p:nvCxnSpPr>
            <p:spPr>
              <a:xfrm flipH="1">
                <a:off x="3773074" y="3280070"/>
                <a:ext cx="492489" cy="0"/>
              </a:xfrm>
              <a:prstGeom prst="straightConnector1">
                <a:avLst/>
              </a:prstGeom>
              <a:ln w="12700">
                <a:solidFill>
                  <a:schemeClr val="accent1"/>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7" name="直接箭头连接符 6"/>
              <p:cNvCxnSpPr/>
              <p:nvPr/>
            </p:nvCxnSpPr>
            <p:spPr>
              <a:xfrm flipH="1">
                <a:off x="3280585" y="4190400"/>
                <a:ext cx="984978" cy="0"/>
              </a:xfrm>
              <a:prstGeom prst="straightConnector1">
                <a:avLst/>
              </a:prstGeom>
              <a:ln w="12700">
                <a:solidFill>
                  <a:schemeClr val="accent1"/>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8" name="直接箭头连接符 7"/>
              <p:cNvCxnSpPr/>
              <p:nvPr/>
            </p:nvCxnSpPr>
            <p:spPr>
              <a:xfrm flipH="1">
                <a:off x="3773074" y="5100732"/>
                <a:ext cx="492489" cy="0"/>
              </a:xfrm>
              <a:prstGeom prst="straightConnector1">
                <a:avLst/>
              </a:prstGeom>
              <a:ln w="12700">
                <a:solidFill>
                  <a:schemeClr val="accent1"/>
                </a:solidFill>
                <a:headEnd type="oval"/>
                <a:tailEnd type="none"/>
              </a:ln>
            </p:spPr>
            <p:style>
              <a:lnRef idx="1">
                <a:schemeClr val="accent1"/>
              </a:lnRef>
              <a:fillRef idx="0">
                <a:schemeClr val="accent1"/>
              </a:fillRef>
              <a:effectRef idx="0">
                <a:schemeClr val="accent1"/>
              </a:effectRef>
              <a:fontRef idx="minor">
                <a:schemeClr val="tx1"/>
              </a:fontRef>
            </p:style>
          </p:cxnSp>
          <p:sp>
            <p:nvSpPr>
              <p:cNvPr id="9" name="矩形: 圆角 8"/>
              <p:cNvSpPr/>
              <p:nvPr/>
            </p:nvSpPr>
            <p:spPr>
              <a:xfrm>
                <a:off x="4265563" y="3076777"/>
                <a:ext cx="3654571" cy="403496"/>
              </a:xfrm>
              <a:prstGeom prst="roundRect">
                <a:avLst>
                  <a:gd name="adj" fmla="val 50000"/>
                </a:avLst>
              </a:prstGeom>
              <a:solidFill>
                <a:schemeClr val="tx2">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r>
                  <a:rPr kumimoji="1" lang="en-US" altLang="zh-CN" sz="1100" dirty="0">
                    <a:solidFill>
                      <a:schemeClr val="tx1"/>
                    </a:solidFill>
                    <a:latin typeface="Arial" panose="020B0604020202090204" pitchFamily="34" charset="0"/>
                    <a:ea typeface="华文楷体" panose="02010600040101010101" pitchFamily="2" charset="-122"/>
                  </a:rPr>
                  <a:t>Lorem ipsum dolor sit </a:t>
                </a:r>
                <a:r>
                  <a:rPr kumimoji="1" lang="en-US" altLang="zh-CN" sz="1100" dirty="0" err="1">
                    <a:solidFill>
                      <a:schemeClr val="tx1"/>
                    </a:solidFill>
                    <a:latin typeface="Arial" panose="020B0604020202090204" pitchFamily="34" charset="0"/>
                    <a:ea typeface="华文楷体" panose="02010600040101010101" pitchFamily="2" charset="-122"/>
                  </a:rPr>
                  <a:t>amet</a:t>
                </a:r>
                <a:r>
                  <a:rPr kumimoji="1" lang="en-US" altLang="zh-CN" sz="1100" dirty="0">
                    <a:solidFill>
                      <a:schemeClr val="tx1"/>
                    </a:solidFill>
                    <a:latin typeface="Arial" panose="020B0604020202090204" pitchFamily="34" charset="0"/>
                    <a:ea typeface="华文楷体" panose="02010600040101010101" pitchFamily="2" charset="-122"/>
                  </a:rPr>
                  <a:t>, </a:t>
                </a:r>
                <a:r>
                  <a:rPr kumimoji="1" lang="en-US" altLang="zh-CN" sz="1100" dirty="0" err="1">
                    <a:solidFill>
                      <a:schemeClr val="tx1"/>
                    </a:solidFill>
                    <a:latin typeface="Arial" panose="020B0604020202090204" pitchFamily="34" charset="0"/>
                    <a:ea typeface="华文楷体" panose="02010600040101010101" pitchFamily="2" charset="-122"/>
                  </a:rPr>
                  <a:t>consectetueradipiscingelit</a:t>
                </a:r>
                <a:r>
                  <a:rPr kumimoji="1" lang="en-US" altLang="zh-CN" sz="1100" dirty="0">
                    <a:solidFill>
                      <a:schemeClr val="tx1"/>
                    </a:solidFill>
                    <a:latin typeface="Arial" panose="020B0604020202090204" pitchFamily="34" charset="0"/>
                    <a:ea typeface="华文楷体" panose="02010600040101010101" pitchFamily="2" charset="-122"/>
                  </a:rPr>
                  <a:t>. </a:t>
                </a:r>
                <a:endParaRPr kumimoji="1" lang="en-US" altLang="zh-CN" sz="1100" dirty="0">
                  <a:solidFill>
                    <a:schemeClr val="tx1"/>
                  </a:solidFill>
                  <a:latin typeface="Arial" panose="020B0604020202090204" pitchFamily="34" charset="0"/>
                  <a:ea typeface="华文楷体" panose="02010600040101010101" pitchFamily="2" charset="-122"/>
                </a:endParaRPr>
              </a:p>
            </p:txBody>
          </p:sp>
          <p:sp>
            <p:nvSpPr>
              <p:cNvPr id="10" name="矩形: 圆角 9"/>
              <p:cNvSpPr/>
              <p:nvPr/>
            </p:nvSpPr>
            <p:spPr>
              <a:xfrm>
                <a:off x="4265563" y="3996829"/>
                <a:ext cx="3654571" cy="403496"/>
              </a:xfrm>
              <a:prstGeom prst="roundRect">
                <a:avLst>
                  <a:gd name="adj" fmla="val 50000"/>
                </a:avLst>
              </a:prstGeom>
              <a:solidFill>
                <a:schemeClr val="tx2">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r>
                  <a:rPr kumimoji="1" lang="en-US" altLang="zh-CN" sz="1100" dirty="0">
                    <a:solidFill>
                      <a:schemeClr val="tx1"/>
                    </a:solidFill>
                    <a:latin typeface="Arial" panose="020B0604020202090204" pitchFamily="34" charset="0"/>
                    <a:ea typeface="华文楷体" panose="02010600040101010101" pitchFamily="2" charset="-122"/>
                  </a:rPr>
                  <a:t>Lorem ipsum dolor sit </a:t>
                </a:r>
                <a:r>
                  <a:rPr kumimoji="1" lang="en-US" altLang="zh-CN" sz="1100" dirty="0" err="1">
                    <a:solidFill>
                      <a:schemeClr val="tx1"/>
                    </a:solidFill>
                    <a:latin typeface="Arial" panose="020B0604020202090204" pitchFamily="34" charset="0"/>
                    <a:ea typeface="华文楷体" panose="02010600040101010101" pitchFamily="2" charset="-122"/>
                  </a:rPr>
                  <a:t>amet</a:t>
                </a:r>
                <a:r>
                  <a:rPr kumimoji="1" lang="en-US" altLang="zh-CN" sz="1100" dirty="0">
                    <a:solidFill>
                      <a:schemeClr val="tx1"/>
                    </a:solidFill>
                    <a:latin typeface="Arial" panose="020B0604020202090204" pitchFamily="34" charset="0"/>
                    <a:ea typeface="华文楷体" panose="02010600040101010101" pitchFamily="2" charset="-122"/>
                  </a:rPr>
                  <a:t>, </a:t>
                </a:r>
                <a:r>
                  <a:rPr kumimoji="1" lang="en-US" altLang="zh-CN" sz="1100" dirty="0" err="1">
                    <a:solidFill>
                      <a:schemeClr val="tx1"/>
                    </a:solidFill>
                    <a:latin typeface="Arial" panose="020B0604020202090204" pitchFamily="34" charset="0"/>
                    <a:ea typeface="华文楷体" panose="02010600040101010101" pitchFamily="2" charset="-122"/>
                  </a:rPr>
                  <a:t>consectetueradipiscingelit</a:t>
                </a:r>
                <a:r>
                  <a:rPr kumimoji="1" lang="en-US" altLang="zh-CN" sz="1100" dirty="0">
                    <a:solidFill>
                      <a:schemeClr val="tx1"/>
                    </a:solidFill>
                    <a:latin typeface="Arial" panose="020B0604020202090204" pitchFamily="34" charset="0"/>
                    <a:ea typeface="华文楷体" panose="02010600040101010101" pitchFamily="2" charset="-122"/>
                  </a:rPr>
                  <a:t>. </a:t>
                </a:r>
                <a:endParaRPr kumimoji="1" lang="en-US" altLang="zh-CN" sz="1100" dirty="0">
                  <a:solidFill>
                    <a:schemeClr val="tx1"/>
                  </a:solidFill>
                  <a:latin typeface="Arial" panose="020B0604020202090204" pitchFamily="34" charset="0"/>
                  <a:ea typeface="华文楷体" panose="02010600040101010101" pitchFamily="2" charset="-122"/>
                </a:endParaRPr>
              </a:p>
            </p:txBody>
          </p:sp>
          <p:sp>
            <p:nvSpPr>
              <p:cNvPr id="11" name="矩形: 圆角 10"/>
              <p:cNvSpPr/>
              <p:nvPr/>
            </p:nvSpPr>
            <p:spPr>
              <a:xfrm>
                <a:off x="4265563" y="4916881"/>
                <a:ext cx="3654571" cy="403496"/>
              </a:xfrm>
              <a:prstGeom prst="roundRect">
                <a:avLst>
                  <a:gd name="adj" fmla="val 50000"/>
                </a:avLst>
              </a:prstGeom>
              <a:solidFill>
                <a:schemeClr val="tx2">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r>
                  <a:rPr kumimoji="1" lang="en-US" altLang="zh-CN" sz="1100" dirty="0">
                    <a:solidFill>
                      <a:schemeClr val="tx1"/>
                    </a:solidFill>
                    <a:latin typeface="Arial" panose="020B0604020202090204" pitchFamily="34" charset="0"/>
                    <a:ea typeface="华文楷体" panose="02010600040101010101" pitchFamily="2" charset="-122"/>
                  </a:rPr>
                  <a:t>Lorem ipsum dolor sit </a:t>
                </a:r>
                <a:r>
                  <a:rPr kumimoji="1" lang="en-US" altLang="zh-CN" sz="1100" dirty="0" err="1">
                    <a:solidFill>
                      <a:schemeClr val="tx1"/>
                    </a:solidFill>
                    <a:latin typeface="Arial" panose="020B0604020202090204" pitchFamily="34" charset="0"/>
                    <a:ea typeface="华文楷体" panose="02010600040101010101" pitchFamily="2" charset="-122"/>
                  </a:rPr>
                  <a:t>amet</a:t>
                </a:r>
                <a:r>
                  <a:rPr kumimoji="1" lang="en-US" altLang="zh-CN" sz="1100" dirty="0">
                    <a:solidFill>
                      <a:schemeClr val="tx1"/>
                    </a:solidFill>
                    <a:latin typeface="Arial" panose="020B0604020202090204" pitchFamily="34" charset="0"/>
                    <a:ea typeface="华文楷体" panose="02010600040101010101" pitchFamily="2" charset="-122"/>
                  </a:rPr>
                  <a:t>, </a:t>
                </a:r>
                <a:r>
                  <a:rPr kumimoji="1" lang="en-US" altLang="zh-CN" sz="1100" dirty="0" err="1">
                    <a:solidFill>
                      <a:schemeClr val="tx1"/>
                    </a:solidFill>
                    <a:latin typeface="Arial" panose="020B0604020202090204" pitchFamily="34" charset="0"/>
                    <a:ea typeface="华文楷体" panose="02010600040101010101" pitchFamily="2" charset="-122"/>
                  </a:rPr>
                  <a:t>consectetueradipiscingelit</a:t>
                </a:r>
                <a:r>
                  <a:rPr kumimoji="1" lang="en-US" altLang="zh-CN" sz="1100" dirty="0">
                    <a:solidFill>
                      <a:schemeClr val="tx1"/>
                    </a:solidFill>
                    <a:latin typeface="Arial" panose="020B0604020202090204" pitchFamily="34" charset="0"/>
                    <a:ea typeface="华文楷体" panose="02010600040101010101" pitchFamily="2" charset="-122"/>
                  </a:rPr>
                  <a:t>. </a:t>
                </a:r>
                <a:endParaRPr kumimoji="1" lang="en-US" altLang="zh-CN" sz="1100" dirty="0">
                  <a:solidFill>
                    <a:schemeClr val="tx1"/>
                  </a:solidFill>
                  <a:latin typeface="Arial" panose="020B0604020202090204" pitchFamily="34" charset="0"/>
                  <a:ea typeface="华文楷体" panose="02010600040101010101" pitchFamily="2" charset="-122"/>
                </a:endParaRPr>
              </a:p>
            </p:txBody>
          </p:sp>
        </p:grpSp>
        <p:sp>
          <p:nvSpPr>
            <p:cNvPr id="21" name="文本框 20"/>
            <p:cNvSpPr txBox="1"/>
            <p:nvPr/>
          </p:nvSpPr>
          <p:spPr>
            <a:xfrm>
              <a:off x="1096507" y="1130300"/>
              <a:ext cx="9986285" cy="523220"/>
            </a:xfrm>
            <a:prstGeom prst="rect">
              <a:avLst/>
            </a:prstGeom>
            <a:noFill/>
            <a:ln>
              <a:noFill/>
            </a:ln>
          </p:spPr>
          <p:txBody>
            <a:bodyPr wrap="square" lIns="91440" tIns="45720" rIns="91440" bIns="45720" anchor="ctr" anchorCtr="0">
              <a:spAutoFit/>
            </a:bodyPr>
            <a:lstStyle/>
            <a:p>
              <a:pPr marL="0" marR="0" lvl="0" indent="0" algn="ctr" defTabSz="913765" rtl="0" eaLnBrk="1" fontAlgn="auto" latinLnBrk="0" hangingPunct="1">
                <a:lnSpc>
                  <a:spcPct val="100000"/>
                </a:lnSpc>
                <a:spcBef>
                  <a:spcPts val="0"/>
                </a:spcBef>
                <a:spcAft>
                  <a:spcPts val="0"/>
                </a:spcAft>
                <a:buClrTx/>
                <a:buSzPct val="25000"/>
                <a:buFontTx/>
                <a:buNone/>
                <a:defRPr/>
              </a:pPr>
              <a:r>
                <a:rPr kumimoji="0" lang="en-US" altLang="zh-CN" sz="2800" b="1" i="0" u="none" strike="noStrike" kern="1200" cap="none" spc="0" normalizeH="0" baseline="0" noProof="0" dirty="0">
                  <a:ln>
                    <a:noFill/>
                  </a:ln>
                  <a:effectLst/>
                  <a:uLnTx/>
                  <a:uFillTx/>
                  <a:latin typeface="Arial" panose="020B0604020202090204" pitchFamily="34" charset="0"/>
                  <a:ea typeface="华文楷体" panose="02010600040101010101" pitchFamily="2" charset="-122"/>
                </a:rPr>
                <a:t>Unified fonts make reading more fluent</a:t>
              </a:r>
              <a:endParaRPr kumimoji="0" lang="en-US" altLang="zh-CN" sz="2800" b="1" i="0" u="none" strike="noStrike" kern="1200" cap="none" spc="0" normalizeH="0" baseline="0" noProof="0" dirty="0">
                <a:ln>
                  <a:noFill/>
                </a:ln>
                <a:effectLst/>
                <a:uLnTx/>
                <a:uFillTx/>
                <a:latin typeface="Arial" panose="020B0604020202090204" pitchFamily="34" charset="0"/>
                <a:ea typeface="华文楷体" panose="02010600040101010101" pitchFamily="2" charset="-122"/>
              </a:endParaRPr>
            </a:p>
          </p:txBody>
        </p:sp>
        <p:sp>
          <p:nvSpPr>
            <p:cNvPr id="22" name="文本框 21"/>
            <p:cNvSpPr txBox="1"/>
            <p:nvPr/>
          </p:nvSpPr>
          <p:spPr>
            <a:xfrm>
              <a:off x="1096507" y="1595426"/>
              <a:ext cx="9986285" cy="525465"/>
            </a:xfrm>
            <a:prstGeom prst="rect">
              <a:avLst/>
            </a:prstGeom>
            <a:noFill/>
          </p:spPr>
          <p:txBody>
            <a:bodyPr wrap="square">
              <a:spAutoFit/>
            </a:bodyPr>
            <a:lstStyle/>
            <a:p>
              <a:pPr marL="0" marR="0" lvl="0" indent="0" algn="ctr" defTabSz="913765" rtl="0" eaLnBrk="1" fontAlgn="auto" latinLnBrk="0" hangingPunct="1">
                <a:lnSpc>
                  <a:spcPct val="150000"/>
                </a:lnSpc>
                <a:spcBef>
                  <a:spcPts val="0"/>
                </a:spcBef>
                <a:spcAft>
                  <a:spcPts val="0"/>
                </a:spcAft>
                <a:buClrTx/>
                <a:buSzPct val="25000"/>
                <a:buFontTx/>
                <a:buNone/>
                <a:defRPr/>
              </a:pPr>
              <a:r>
                <a:rPr kumimoji="0" lang="en-US" altLang="zh-CN" sz="1000" b="0" i="0" u="none" strike="noStrike" kern="1200" cap="none" spc="0" normalizeH="0" baseline="0" noProof="0" dirty="0">
                  <a:ln>
                    <a:noFill/>
                  </a:ln>
                  <a:effectLst/>
                  <a:uLnTx/>
                  <a:uFillTx/>
                  <a:latin typeface="Arial" panose="020B0604020202090204" pitchFamily="34" charset="0"/>
                  <a:ea typeface="华文楷体" panose="02010600040101010101" pitchFamily="2" charset="-122"/>
                </a:rPr>
                <a:t>Theme color makes PPT more convenient to change.</a:t>
              </a:r>
              <a:endParaRPr kumimoji="0" lang="en-US" altLang="zh-CN" sz="1000" b="0" i="0" u="none" strike="noStrike" kern="1200" cap="none" spc="0" normalizeH="0" baseline="0" noProof="0" dirty="0">
                <a:ln>
                  <a:noFill/>
                </a:ln>
                <a:effectLst/>
                <a:uLnTx/>
                <a:uFillTx/>
                <a:latin typeface="Arial" panose="020B0604020202090204" pitchFamily="34" charset="0"/>
                <a:ea typeface="华文楷体" panose="02010600040101010101" pitchFamily="2" charset="-122"/>
              </a:endParaRPr>
            </a:p>
            <a:p>
              <a:pPr marL="0" marR="0" lvl="0" indent="0" algn="ctr" defTabSz="913765" rtl="0" eaLnBrk="1" fontAlgn="auto" latinLnBrk="0" hangingPunct="1">
                <a:lnSpc>
                  <a:spcPct val="150000"/>
                </a:lnSpc>
                <a:spcBef>
                  <a:spcPts val="0"/>
                </a:spcBef>
                <a:spcAft>
                  <a:spcPts val="0"/>
                </a:spcAft>
                <a:buClrTx/>
                <a:buSzPct val="25000"/>
                <a:buFontTx/>
                <a:buNone/>
                <a:defRPr/>
              </a:pPr>
              <a:r>
                <a:rPr kumimoji="0" lang="en-US" altLang="zh-CN" sz="1000" b="0" i="0" u="none" strike="noStrike" kern="1200" cap="none" spc="0" normalizeH="0" baseline="0" noProof="0" dirty="0">
                  <a:ln>
                    <a:noFill/>
                  </a:ln>
                  <a:effectLst/>
                  <a:uLnTx/>
                  <a:uFillTx/>
                  <a:latin typeface="Arial" panose="020B0604020202090204" pitchFamily="34" charset="0"/>
                  <a:ea typeface="华文楷体" panose="02010600040101010101" pitchFamily="2" charset="-122"/>
                </a:rPr>
                <a:t>Nunc </a:t>
              </a:r>
              <a:r>
                <a:rPr kumimoji="0" lang="en-US" altLang="zh-CN" sz="1000" b="0" i="0" u="none" strike="noStrike" kern="1200" cap="none" spc="0" normalizeH="0" baseline="0" noProof="0" dirty="0" err="1">
                  <a:ln>
                    <a:noFill/>
                  </a:ln>
                  <a:effectLst/>
                  <a:uLnTx/>
                  <a:uFillTx/>
                  <a:latin typeface="Arial" panose="020B0604020202090204" pitchFamily="34" charset="0"/>
                  <a:ea typeface="华文楷体" panose="02010600040101010101" pitchFamily="2" charset="-122"/>
                </a:rPr>
                <a:t>viverraimperdietenim</a:t>
              </a:r>
              <a:r>
                <a:rPr kumimoji="0" lang="en-US" altLang="zh-CN" sz="1000" b="0" i="0" u="none" strike="noStrike" kern="1200" cap="none" spc="0" normalizeH="0" baseline="0" noProof="0" dirty="0">
                  <a:ln>
                    <a:noFill/>
                  </a:ln>
                  <a:effectLst/>
                  <a:uLnTx/>
                  <a:uFillTx/>
                  <a:latin typeface="Arial" panose="020B0604020202090204" pitchFamily="34" charset="0"/>
                  <a:ea typeface="华文楷体" panose="02010600040101010101" pitchFamily="2" charset="-122"/>
                </a:rPr>
                <a:t>. </a:t>
              </a:r>
              <a:r>
                <a:rPr kumimoji="0" lang="en-US" altLang="zh-CN" sz="1000" b="0" i="0" u="none" strike="noStrike" kern="1200" cap="none" spc="0" normalizeH="0" baseline="0" noProof="0" dirty="0" err="1">
                  <a:ln>
                    <a:noFill/>
                  </a:ln>
                  <a:effectLst/>
                  <a:uLnTx/>
                  <a:uFillTx/>
                  <a:latin typeface="Arial" panose="020B0604020202090204" pitchFamily="34" charset="0"/>
                  <a:ea typeface="华文楷体" panose="02010600040101010101" pitchFamily="2" charset="-122"/>
                </a:rPr>
                <a:t>Fusce</a:t>
              </a:r>
              <a:r>
                <a:rPr kumimoji="0" lang="en-US" altLang="zh-CN" sz="1000" b="0" i="0" u="none" strike="noStrike" kern="1200" cap="none" spc="0" normalizeH="0" baseline="0" noProof="0" dirty="0">
                  <a:ln>
                    <a:noFill/>
                  </a:ln>
                  <a:effectLst/>
                  <a:uLnTx/>
                  <a:uFillTx/>
                  <a:latin typeface="Arial" panose="020B0604020202090204" pitchFamily="34" charset="0"/>
                  <a:ea typeface="华文楷体" panose="02010600040101010101" pitchFamily="2" charset="-122"/>
                </a:rPr>
                <a:t> est. </a:t>
              </a:r>
              <a:r>
                <a:rPr kumimoji="0" lang="en-US" altLang="zh-CN" sz="1000" b="0" i="0" u="none" strike="noStrike" kern="1200" cap="none" spc="0" normalizeH="0" baseline="0" noProof="0" dirty="0" err="1">
                  <a:ln>
                    <a:noFill/>
                  </a:ln>
                  <a:effectLst/>
                  <a:uLnTx/>
                  <a:uFillTx/>
                  <a:latin typeface="Arial" panose="020B0604020202090204" pitchFamily="34" charset="0"/>
                  <a:ea typeface="华文楷体" panose="02010600040101010101" pitchFamily="2" charset="-122"/>
                </a:rPr>
                <a:t>Vivamus</a:t>
              </a:r>
              <a:r>
                <a:rPr kumimoji="0" lang="en-US" altLang="zh-CN" sz="1000" b="0" i="0" u="none" strike="noStrike" kern="1200" cap="none" spc="0" normalizeH="0" baseline="0" noProof="0" dirty="0">
                  <a:ln>
                    <a:noFill/>
                  </a:ln>
                  <a:effectLst/>
                  <a:uLnTx/>
                  <a:uFillTx/>
                  <a:latin typeface="Arial" panose="020B0604020202090204" pitchFamily="34" charset="0"/>
                  <a:ea typeface="华文楷体" panose="02010600040101010101" pitchFamily="2" charset="-122"/>
                </a:rPr>
                <a:t> a </a:t>
              </a:r>
              <a:r>
                <a:rPr kumimoji="0" lang="en-US" altLang="zh-CN" sz="1000" b="0" i="0" u="none" strike="noStrike" kern="1200" cap="none" spc="0" normalizeH="0" baseline="0" noProof="0" dirty="0" err="1">
                  <a:ln>
                    <a:noFill/>
                  </a:ln>
                  <a:effectLst/>
                  <a:uLnTx/>
                  <a:uFillTx/>
                  <a:latin typeface="Arial" panose="020B0604020202090204" pitchFamily="34" charset="0"/>
                  <a:ea typeface="华文楷体" panose="02010600040101010101" pitchFamily="2" charset="-122"/>
                </a:rPr>
                <a:t>tellus</a:t>
              </a:r>
              <a:r>
                <a:rPr kumimoji="0" lang="en-US" altLang="zh-CN" sz="1000" b="0" i="0" u="none" strike="noStrike" kern="1200" cap="none" spc="0" normalizeH="0" baseline="0" noProof="0" dirty="0">
                  <a:ln>
                    <a:noFill/>
                  </a:ln>
                  <a:effectLst/>
                  <a:uLnTx/>
                  <a:uFillTx/>
                  <a:latin typeface="Arial" panose="020B0604020202090204" pitchFamily="34" charset="0"/>
                  <a:ea typeface="华文楷体" panose="02010600040101010101" pitchFamily="2" charset="-122"/>
                </a:rPr>
                <a:t>.</a:t>
              </a:r>
              <a:endParaRPr kumimoji="0" lang="en-US" altLang="zh-CN" sz="1000" b="0" i="0" u="none" strike="noStrike" kern="1200" cap="none" spc="0" normalizeH="0" baseline="0" noProof="0" dirty="0">
                <a:ln>
                  <a:noFill/>
                </a:ln>
                <a:effectLst/>
                <a:uLnTx/>
                <a:uFillTx/>
                <a:latin typeface="Arial" panose="020B0604020202090204" pitchFamily="34" charset="0"/>
                <a:ea typeface="华文楷体" panose="02010600040101010101" pitchFamily="2" charset="-122"/>
              </a:endParaRPr>
            </a:p>
          </p:txBody>
        </p:sp>
      </p:grpSp>
    </p:spTree>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组合 2"/>
          <p:cNvGrpSpPr/>
          <p:nvPr/>
        </p:nvGrpSpPr>
        <p:grpSpPr>
          <a:xfrm>
            <a:off x="1474937" y="1459599"/>
            <a:ext cx="8713239" cy="4366221"/>
            <a:chOff x="1474937" y="1459599"/>
            <a:chExt cx="8713239" cy="4366221"/>
          </a:xfrm>
        </p:grpSpPr>
        <p:cxnSp>
          <p:nvCxnSpPr>
            <p:cNvPr id="36" name="直接连接符 35"/>
            <p:cNvCxnSpPr/>
            <p:nvPr/>
          </p:nvCxnSpPr>
          <p:spPr>
            <a:xfrm>
              <a:off x="6589975" y="1914684"/>
              <a:ext cx="504161"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71" name="矩形 70"/>
            <p:cNvSpPr/>
            <p:nvPr/>
          </p:nvSpPr>
          <p:spPr>
            <a:xfrm>
              <a:off x="5584645" y="5199116"/>
              <a:ext cx="1005329" cy="34323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7" name="矩形 66"/>
            <p:cNvSpPr/>
            <p:nvPr/>
          </p:nvSpPr>
          <p:spPr>
            <a:xfrm>
              <a:off x="5586044" y="3460583"/>
              <a:ext cx="1005329" cy="34323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9" name="直接连接符 68"/>
            <p:cNvCxnSpPr/>
            <p:nvPr/>
          </p:nvCxnSpPr>
          <p:spPr>
            <a:xfrm>
              <a:off x="6511332" y="3632200"/>
              <a:ext cx="475892"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63" name="矩形 62"/>
            <p:cNvSpPr/>
            <p:nvPr/>
          </p:nvSpPr>
          <p:spPr>
            <a:xfrm>
              <a:off x="5584646" y="1743067"/>
              <a:ext cx="1005329" cy="34323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文本框 5"/>
            <p:cNvSpPr txBox="1"/>
            <p:nvPr/>
          </p:nvSpPr>
          <p:spPr>
            <a:xfrm>
              <a:off x="1474937" y="3093591"/>
              <a:ext cx="2396376" cy="1077218"/>
            </a:xfrm>
            <a:prstGeom prst="rect">
              <a:avLst/>
            </a:prstGeom>
            <a:noFill/>
            <a:ln>
              <a:noFill/>
            </a:ln>
          </p:spPr>
          <p:txBody>
            <a:bodyPr wrap="square" rtlCol="0">
              <a:spAutoFit/>
            </a:bodyPr>
            <a:lstStyle/>
            <a:p>
              <a:r>
                <a:rPr kumimoji="1" lang="en-US" altLang="zh-CN" sz="3200" b="1" dirty="0">
                  <a:solidFill>
                    <a:schemeClr val="accent1"/>
                  </a:solidFill>
                  <a:latin typeface="Arial" panose="020B0604020202090204" pitchFamily="34" charset="0"/>
                  <a:ea typeface="华文楷体" panose="02010600040101010101" pitchFamily="2" charset="-122"/>
                </a:rPr>
                <a:t>Supporting </a:t>
              </a:r>
              <a:endParaRPr kumimoji="1" lang="en-US" altLang="zh-CN" sz="3200" b="1" dirty="0">
                <a:solidFill>
                  <a:schemeClr val="accent1"/>
                </a:solidFill>
                <a:latin typeface="Arial" panose="020B0604020202090204" pitchFamily="34" charset="0"/>
                <a:ea typeface="华文楷体" panose="02010600040101010101" pitchFamily="2" charset="-122"/>
              </a:endParaRPr>
            </a:p>
            <a:p>
              <a:r>
                <a:rPr kumimoji="1" lang="en-US" altLang="zh-CN" sz="3200" b="1" dirty="0">
                  <a:latin typeface="Arial" panose="020B0604020202090204" pitchFamily="34" charset="0"/>
                  <a:ea typeface="华文楷体" panose="02010600040101010101" pitchFamily="2" charset="-122"/>
                </a:rPr>
                <a:t>text here.</a:t>
              </a:r>
              <a:endParaRPr kumimoji="1" lang="en-US" altLang="zh-CN" sz="3200" b="1" dirty="0">
                <a:latin typeface="Arial" panose="020B0604020202090204" pitchFamily="34" charset="0"/>
                <a:ea typeface="华文楷体" panose="02010600040101010101" pitchFamily="2" charset="-122"/>
              </a:endParaRPr>
            </a:p>
          </p:txBody>
        </p:sp>
        <p:sp>
          <p:nvSpPr>
            <p:cNvPr id="8" name="矩形: 对角圆角 7"/>
            <p:cNvSpPr/>
            <p:nvPr/>
          </p:nvSpPr>
          <p:spPr>
            <a:xfrm>
              <a:off x="6987224" y="1459599"/>
              <a:ext cx="3200952" cy="910171"/>
            </a:xfrm>
            <a:prstGeom prst="round2DiagRect">
              <a:avLst/>
            </a:prstGeom>
            <a:solidFill>
              <a:schemeClr val="tx2">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矩形: 对角圆角 9"/>
            <p:cNvSpPr/>
            <p:nvPr/>
          </p:nvSpPr>
          <p:spPr>
            <a:xfrm>
              <a:off x="6987224" y="3177115"/>
              <a:ext cx="3200952" cy="910171"/>
            </a:xfrm>
            <a:prstGeom prst="round2DiagRect">
              <a:avLst/>
            </a:prstGeom>
            <a:solidFill>
              <a:schemeClr val="tx2">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矩形: 对角圆角 11"/>
            <p:cNvSpPr/>
            <p:nvPr/>
          </p:nvSpPr>
          <p:spPr>
            <a:xfrm>
              <a:off x="6987224" y="4915649"/>
              <a:ext cx="3200952" cy="910171"/>
            </a:xfrm>
            <a:prstGeom prst="round2DiagRect">
              <a:avLst/>
            </a:prstGeom>
            <a:solidFill>
              <a:schemeClr val="tx2">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左中括号 12"/>
            <p:cNvSpPr/>
            <p:nvPr/>
          </p:nvSpPr>
          <p:spPr>
            <a:xfrm>
              <a:off x="4729655" y="1914685"/>
              <a:ext cx="325821" cy="3456050"/>
            </a:xfrm>
            <a:prstGeom prst="leftBracket">
              <a:avLst/>
            </a:prstGeom>
            <a:noFill/>
            <a:ln w="28575"/>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cxnSp>
          <p:nvCxnSpPr>
            <p:cNvPr id="15" name="直接连接符 14"/>
            <p:cNvCxnSpPr/>
            <p:nvPr/>
          </p:nvCxnSpPr>
          <p:spPr>
            <a:xfrm>
              <a:off x="4014952" y="3632200"/>
              <a:ext cx="1411158"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0" name="文本框 19"/>
            <p:cNvSpPr txBox="1"/>
            <p:nvPr/>
          </p:nvSpPr>
          <p:spPr>
            <a:xfrm>
              <a:off x="5597809" y="1743067"/>
              <a:ext cx="1137203" cy="343235"/>
            </a:xfrm>
            <a:prstGeom prst="rect">
              <a:avLst/>
            </a:prstGeom>
            <a:noFill/>
          </p:spPr>
          <p:txBody>
            <a:bodyPr wrap="square" rtlCol="0">
              <a:spAutoFit/>
            </a:bodyPr>
            <a:lstStyle/>
            <a:p>
              <a:pPr>
                <a:lnSpc>
                  <a:spcPct val="130000"/>
                </a:lnSpc>
              </a:pPr>
              <a:r>
                <a:rPr kumimoji="1" lang="en-US" altLang="zh-CN" sz="1400" b="1" dirty="0">
                  <a:solidFill>
                    <a:schemeClr val="bg1"/>
                  </a:solidFill>
                  <a:latin typeface="Arial" panose="020B0604020202090204" pitchFamily="34" charset="0"/>
                  <a:ea typeface="华文楷体" panose="02010600040101010101" pitchFamily="2" charset="-122"/>
                </a:rPr>
                <a:t>Text here</a:t>
              </a:r>
              <a:endParaRPr kumimoji="1" lang="en-US" altLang="zh-CN" sz="1400" b="1" dirty="0">
                <a:solidFill>
                  <a:schemeClr val="bg1"/>
                </a:solidFill>
                <a:latin typeface="Arial" panose="020B0604020202090204" pitchFamily="34" charset="0"/>
                <a:ea typeface="华文楷体" panose="02010600040101010101" pitchFamily="2" charset="-122"/>
              </a:endParaRPr>
            </a:p>
          </p:txBody>
        </p:sp>
        <p:sp>
          <p:nvSpPr>
            <p:cNvPr id="28" name="文本框 27"/>
            <p:cNvSpPr txBox="1"/>
            <p:nvPr/>
          </p:nvSpPr>
          <p:spPr>
            <a:xfrm>
              <a:off x="5597809" y="3460583"/>
              <a:ext cx="1137203" cy="343235"/>
            </a:xfrm>
            <a:prstGeom prst="rect">
              <a:avLst/>
            </a:prstGeom>
            <a:noFill/>
          </p:spPr>
          <p:txBody>
            <a:bodyPr wrap="square" rtlCol="0">
              <a:spAutoFit/>
            </a:bodyPr>
            <a:lstStyle/>
            <a:p>
              <a:pPr>
                <a:lnSpc>
                  <a:spcPct val="130000"/>
                </a:lnSpc>
              </a:pPr>
              <a:r>
                <a:rPr kumimoji="1" lang="en-US" altLang="zh-CN" sz="1400" b="1" dirty="0">
                  <a:solidFill>
                    <a:schemeClr val="bg1"/>
                  </a:solidFill>
                  <a:latin typeface="Arial" panose="020B0604020202090204" pitchFamily="34" charset="0"/>
                  <a:ea typeface="华文楷体" panose="02010600040101010101" pitchFamily="2" charset="-122"/>
                </a:rPr>
                <a:t>Text here</a:t>
              </a:r>
              <a:endParaRPr kumimoji="1" lang="en-US" altLang="zh-CN" sz="1400" b="1" dirty="0">
                <a:solidFill>
                  <a:schemeClr val="bg1"/>
                </a:solidFill>
                <a:latin typeface="Arial" panose="020B0604020202090204" pitchFamily="34" charset="0"/>
                <a:ea typeface="华文楷体" panose="02010600040101010101" pitchFamily="2" charset="-122"/>
              </a:endParaRPr>
            </a:p>
          </p:txBody>
        </p:sp>
        <p:sp>
          <p:nvSpPr>
            <p:cNvPr id="32" name="文本框 31"/>
            <p:cNvSpPr txBox="1"/>
            <p:nvPr/>
          </p:nvSpPr>
          <p:spPr>
            <a:xfrm>
              <a:off x="5597809" y="5188232"/>
              <a:ext cx="1137203" cy="343235"/>
            </a:xfrm>
            <a:prstGeom prst="rect">
              <a:avLst/>
            </a:prstGeom>
            <a:noFill/>
          </p:spPr>
          <p:txBody>
            <a:bodyPr wrap="square" rtlCol="0">
              <a:spAutoFit/>
            </a:bodyPr>
            <a:lstStyle/>
            <a:p>
              <a:pPr>
                <a:lnSpc>
                  <a:spcPct val="130000"/>
                </a:lnSpc>
              </a:pPr>
              <a:r>
                <a:rPr kumimoji="1" lang="en-US" altLang="zh-CN" sz="1400" b="1" dirty="0">
                  <a:solidFill>
                    <a:schemeClr val="bg1"/>
                  </a:solidFill>
                  <a:latin typeface="Arial" panose="020B0604020202090204" pitchFamily="34" charset="0"/>
                  <a:ea typeface="华文楷体" panose="02010600040101010101" pitchFamily="2" charset="-122"/>
                </a:rPr>
                <a:t>Text here</a:t>
              </a:r>
              <a:endParaRPr kumimoji="1" lang="en-US" altLang="zh-CN" sz="1400" b="1" dirty="0">
                <a:solidFill>
                  <a:schemeClr val="bg1"/>
                </a:solidFill>
                <a:latin typeface="Arial" panose="020B0604020202090204" pitchFamily="34" charset="0"/>
                <a:ea typeface="华文楷体" panose="02010600040101010101" pitchFamily="2" charset="-122"/>
              </a:endParaRPr>
            </a:p>
          </p:txBody>
        </p:sp>
        <p:cxnSp>
          <p:nvCxnSpPr>
            <p:cNvPr id="51" name="直接连接符 50"/>
            <p:cNvCxnSpPr/>
            <p:nvPr/>
          </p:nvCxnSpPr>
          <p:spPr>
            <a:xfrm>
              <a:off x="6479342" y="5370735"/>
              <a:ext cx="507882"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57" name="文本框 56"/>
            <p:cNvSpPr txBox="1"/>
            <p:nvPr/>
          </p:nvSpPr>
          <p:spPr>
            <a:xfrm>
              <a:off x="6987224" y="1640923"/>
              <a:ext cx="2301039" cy="547522"/>
            </a:xfrm>
            <a:prstGeom prst="rect">
              <a:avLst/>
            </a:prstGeom>
            <a:noFill/>
          </p:spPr>
          <p:txBody>
            <a:bodyPr wrap="square" rtlCol="0">
              <a:spAutoFit/>
            </a:bodyPr>
            <a:lstStyle/>
            <a:p>
              <a:pPr algn="ctr">
                <a:lnSpc>
                  <a:spcPct val="130000"/>
                </a:lnSpc>
              </a:pPr>
              <a:r>
                <a:rPr kumimoji="1" lang="en-US" altLang="zh-CN" sz="1200" dirty="0">
                  <a:solidFill>
                    <a:schemeClr val="tx1"/>
                  </a:solidFill>
                  <a:latin typeface="Arial" panose="020B0604020202090204" pitchFamily="34" charset="0"/>
                  <a:ea typeface="华文楷体" panose="02010600040101010101" pitchFamily="2" charset="-122"/>
                </a:rPr>
                <a:t>Theme color makes PPT</a:t>
              </a:r>
              <a:endParaRPr kumimoji="1" lang="en-US" altLang="zh-CN" sz="1200" dirty="0">
                <a:solidFill>
                  <a:schemeClr val="tx1"/>
                </a:solidFill>
                <a:latin typeface="Arial" panose="020B0604020202090204" pitchFamily="34" charset="0"/>
                <a:ea typeface="华文楷体" panose="02010600040101010101" pitchFamily="2" charset="-122"/>
              </a:endParaRPr>
            </a:p>
            <a:p>
              <a:pPr algn="ctr">
                <a:lnSpc>
                  <a:spcPct val="130000"/>
                </a:lnSpc>
              </a:pPr>
              <a:r>
                <a:rPr kumimoji="1" lang="en-US" altLang="zh-CN" sz="1200" dirty="0">
                  <a:solidFill>
                    <a:schemeClr val="tx1"/>
                  </a:solidFill>
                  <a:latin typeface="Arial" panose="020B0604020202090204" pitchFamily="34" charset="0"/>
                  <a:ea typeface="华文楷体" panose="02010600040101010101" pitchFamily="2" charset="-122"/>
                </a:rPr>
                <a:t>     more convenient to change.</a:t>
              </a:r>
              <a:endParaRPr kumimoji="1" lang="en-US" altLang="zh-CN" sz="1200" dirty="0">
                <a:solidFill>
                  <a:schemeClr val="tx1"/>
                </a:solidFill>
                <a:latin typeface="Arial" panose="020B0604020202090204" pitchFamily="34" charset="0"/>
                <a:ea typeface="华文楷体" panose="02010600040101010101" pitchFamily="2" charset="-122"/>
              </a:endParaRPr>
            </a:p>
          </p:txBody>
        </p:sp>
        <p:sp>
          <p:nvSpPr>
            <p:cNvPr id="59" name="文本框 58"/>
            <p:cNvSpPr txBox="1"/>
            <p:nvPr/>
          </p:nvSpPr>
          <p:spPr>
            <a:xfrm>
              <a:off x="6987224" y="3358439"/>
              <a:ext cx="2301039" cy="547522"/>
            </a:xfrm>
            <a:prstGeom prst="rect">
              <a:avLst/>
            </a:prstGeom>
            <a:noFill/>
          </p:spPr>
          <p:txBody>
            <a:bodyPr wrap="square" rtlCol="0">
              <a:spAutoFit/>
            </a:bodyPr>
            <a:lstStyle/>
            <a:p>
              <a:pPr algn="ctr">
                <a:lnSpc>
                  <a:spcPct val="130000"/>
                </a:lnSpc>
              </a:pPr>
              <a:r>
                <a:rPr kumimoji="1" lang="en-US" altLang="zh-CN" sz="1200" dirty="0">
                  <a:solidFill>
                    <a:schemeClr val="tx1"/>
                  </a:solidFill>
                  <a:latin typeface="Arial" panose="020B0604020202090204" pitchFamily="34" charset="0"/>
                  <a:ea typeface="华文楷体" panose="02010600040101010101" pitchFamily="2" charset="-122"/>
                </a:rPr>
                <a:t>Theme color makes PPT</a:t>
              </a:r>
              <a:endParaRPr kumimoji="1" lang="en-US" altLang="zh-CN" sz="1200" dirty="0">
                <a:solidFill>
                  <a:schemeClr val="tx1"/>
                </a:solidFill>
                <a:latin typeface="Arial" panose="020B0604020202090204" pitchFamily="34" charset="0"/>
                <a:ea typeface="华文楷体" panose="02010600040101010101" pitchFamily="2" charset="-122"/>
              </a:endParaRPr>
            </a:p>
            <a:p>
              <a:pPr algn="ctr">
                <a:lnSpc>
                  <a:spcPct val="130000"/>
                </a:lnSpc>
              </a:pPr>
              <a:r>
                <a:rPr kumimoji="1" lang="en-US" altLang="zh-CN" sz="1200" dirty="0">
                  <a:solidFill>
                    <a:schemeClr val="tx1"/>
                  </a:solidFill>
                  <a:latin typeface="Arial" panose="020B0604020202090204" pitchFamily="34" charset="0"/>
                  <a:ea typeface="华文楷体" panose="02010600040101010101" pitchFamily="2" charset="-122"/>
                </a:rPr>
                <a:t>     more convenient to change.</a:t>
              </a:r>
              <a:endParaRPr kumimoji="1" lang="en-US" altLang="zh-CN" sz="1200" dirty="0">
                <a:solidFill>
                  <a:schemeClr val="tx1"/>
                </a:solidFill>
                <a:latin typeface="Arial" panose="020B0604020202090204" pitchFamily="34" charset="0"/>
                <a:ea typeface="华文楷体" panose="02010600040101010101" pitchFamily="2" charset="-122"/>
              </a:endParaRPr>
            </a:p>
          </p:txBody>
        </p:sp>
        <p:sp>
          <p:nvSpPr>
            <p:cNvPr id="61" name="文本框 60"/>
            <p:cNvSpPr txBox="1"/>
            <p:nvPr/>
          </p:nvSpPr>
          <p:spPr>
            <a:xfrm>
              <a:off x="6987224" y="5096973"/>
              <a:ext cx="2301039" cy="547522"/>
            </a:xfrm>
            <a:prstGeom prst="rect">
              <a:avLst/>
            </a:prstGeom>
            <a:noFill/>
          </p:spPr>
          <p:txBody>
            <a:bodyPr wrap="square" rtlCol="0">
              <a:spAutoFit/>
            </a:bodyPr>
            <a:lstStyle/>
            <a:p>
              <a:pPr algn="ctr">
                <a:lnSpc>
                  <a:spcPct val="130000"/>
                </a:lnSpc>
              </a:pPr>
              <a:r>
                <a:rPr kumimoji="1" lang="en-US" altLang="zh-CN" sz="1200" dirty="0">
                  <a:solidFill>
                    <a:schemeClr val="tx1"/>
                  </a:solidFill>
                  <a:latin typeface="Arial" panose="020B0604020202090204" pitchFamily="34" charset="0"/>
                  <a:ea typeface="华文楷体" panose="02010600040101010101" pitchFamily="2" charset="-122"/>
                </a:rPr>
                <a:t>Theme color makes PPT</a:t>
              </a:r>
              <a:endParaRPr kumimoji="1" lang="en-US" altLang="zh-CN" sz="1200" dirty="0">
                <a:solidFill>
                  <a:schemeClr val="tx1"/>
                </a:solidFill>
                <a:latin typeface="Arial" panose="020B0604020202090204" pitchFamily="34" charset="0"/>
                <a:ea typeface="华文楷体" panose="02010600040101010101" pitchFamily="2" charset="-122"/>
              </a:endParaRPr>
            </a:p>
            <a:p>
              <a:pPr algn="ctr">
                <a:lnSpc>
                  <a:spcPct val="130000"/>
                </a:lnSpc>
              </a:pPr>
              <a:r>
                <a:rPr kumimoji="1" lang="en-US" altLang="zh-CN" sz="1200" dirty="0">
                  <a:solidFill>
                    <a:schemeClr val="tx1"/>
                  </a:solidFill>
                  <a:latin typeface="Arial" panose="020B0604020202090204" pitchFamily="34" charset="0"/>
                  <a:ea typeface="华文楷体" panose="02010600040101010101" pitchFamily="2" charset="-122"/>
                </a:rPr>
                <a:t>     more convenient to change.</a:t>
              </a:r>
              <a:endParaRPr kumimoji="1" lang="en-US" altLang="zh-CN" sz="1200" dirty="0">
                <a:solidFill>
                  <a:schemeClr val="tx1"/>
                </a:solidFill>
                <a:latin typeface="Arial" panose="020B0604020202090204" pitchFamily="34" charset="0"/>
                <a:ea typeface="华文楷体" panose="02010600040101010101" pitchFamily="2" charset="-122"/>
              </a:endParaRPr>
            </a:p>
          </p:txBody>
        </p:sp>
      </p:grpSp>
    </p:spTree>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619185" y="1604212"/>
            <a:ext cx="10528242" cy="4341024"/>
            <a:chOff x="619185" y="1604212"/>
            <a:chExt cx="10528242" cy="4341024"/>
          </a:xfrm>
        </p:grpSpPr>
        <p:sp>
          <p:nvSpPr>
            <p:cNvPr id="3" name="文本框 2"/>
            <p:cNvSpPr txBox="1"/>
            <p:nvPr/>
          </p:nvSpPr>
          <p:spPr>
            <a:xfrm>
              <a:off x="619185" y="3280700"/>
              <a:ext cx="1895112" cy="1895113"/>
            </a:xfrm>
            <a:prstGeom prst="roundRect">
              <a:avLst>
                <a:gd name="adj" fmla="val 50000"/>
              </a:avLst>
            </a:prstGeom>
            <a:solidFill>
              <a:schemeClr val="accent1"/>
            </a:solidFill>
            <a:ln w="508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defPPr>
                <a:defRPr lang="zh-CN"/>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zh-CN" altLang="en-US" dirty="0"/>
            </a:p>
          </p:txBody>
        </p:sp>
        <p:sp>
          <p:nvSpPr>
            <p:cNvPr id="4" name="文本框 3"/>
            <p:cNvSpPr txBox="1"/>
            <p:nvPr/>
          </p:nvSpPr>
          <p:spPr>
            <a:xfrm>
              <a:off x="847423" y="3508938"/>
              <a:ext cx="1438638" cy="1438636"/>
            </a:xfrm>
            <a:prstGeom prst="roundRect">
              <a:avLst>
                <a:gd name="adj" fmla="val 50000"/>
              </a:avLst>
            </a:prstGeom>
            <a:pattFill prst="pct5">
              <a:fgClr>
                <a:srgbClr val="E4E6EA"/>
              </a:fgClr>
              <a:bgClr>
                <a:srgbClr val="ADB5BF"/>
              </a:bgClr>
            </a:pattFill>
            <a:ln w="25400" cap="flat"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defPPr>
                <a:defRPr lang="zh-CN"/>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zh-CN" altLang="en-US" dirty="0"/>
            </a:p>
          </p:txBody>
        </p:sp>
        <p:cxnSp>
          <p:nvCxnSpPr>
            <p:cNvPr id="5" name="直接箭头连接符 4"/>
            <p:cNvCxnSpPr/>
            <p:nvPr/>
          </p:nvCxnSpPr>
          <p:spPr>
            <a:xfrm flipH="1">
              <a:off x="2934232" y="2981218"/>
              <a:ext cx="536" cy="2276681"/>
            </a:xfrm>
            <a:prstGeom prst="straightConnector1">
              <a:avLst/>
            </a:prstGeom>
            <a:ln w="12700">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6" name="直接箭头连接符 5"/>
            <p:cNvCxnSpPr/>
            <p:nvPr/>
          </p:nvCxnSpPr>
          <p:spPr>
            <a:xfrm flipH="1">
              <a:off x="2934768" y="2981218"/>
              <a:ext cx="416465" cy="0"/>
            </a:xfrm>
            <a:prstGeom prst="straightConnector1">
              <a:avLst/>
            </a:prstGeom>
            <a:ln w="12700">
              <a:solidFill>
                <a:schemeClr val="accent1"/>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7" name="直接箭头连接符 6"/>
            <p:cNvCxnSpPr/>
            <p:nvPr/>
          </p:nvCxnSpPr>
          <p:spPr>
            <a:xfrm flipH="1">
              <a:off x="2514296" y="4228256"/>
              <a:ext cx="416466" cy="0"/>
            </a:xfrm>
            <a:prstGeom prst="straightConnector1">
              <a:avLst/>
            </a:prstGeom>
            <a:ln w="12700">
              <a:solidFill>
                <a:schemeClr val="accent1"/>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13" name="直接箭头连接符 12"/>
            <p:cNvCxnSpPr/>
            <p:nvPr/>
          </p:nvCxnSpPr>
          <p:spPr>
            <a:xfrm flipH="1">
              <a:off x="2934232" y="5257899"/>
              <a:ext cx="416465" cy="0"/>
            </a:xfrm>
            <a:prstGeom prst="straightConnector1">
              <a:avLst/>
            </a:prstGeom>
            <a:ln w="12700">
              <a:solidFill>
                <a:schemeClr val="accent1"/>
              </a:solidFill>
              <a:headEnd type="oval"/>
              <a:tailEnd type="none"/>
            </a:ln>
          </p:spPr>
          <p:style>
            <a:lnRef idx="1">
              <a:schemeClr val="accent1"/>
            </a:lnRef>
            <a:fillRef idx="0">
              <a:schemeClr val="accent1"/>
            </a:fillRef>
            <a:effectRef idx="0">
              <a:schemeClr val="accent1"/>
            </a:effectRef>
            <a:fontRef idx="minor">
              <a:schemeClr val="tx1"/>
            </a:fontRef>
          </p:style>
        </p:cxnSp>
        <p:sp>
          <p:nvSpPr>
            <p:cNvPr id="18" name="矩形: 圆角 17"/>
            <p:cNvSpPr/>
            <p:nvPr/>
          </p:nvSpPr>
          <p:spPr>
            <a:xfrm>
              <a:off x="3350698" y="2640551"/>
              <a:ext cx="3866433" cy="648451"/>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r>
                <a:rPr kumimoji="1" lang="en-US" altLang="zh-CN" sz="1000" dirty="0">
                  <a:solidFill>
                    <a:srgbClr val="FFFFFF"/>
                  </a:solidFill>
                  <a:latin typeface="Arial" panose="020B0604020202090204" pitchFamily="34" charset="0"/>
                  <a:ea typeface="华文楷体" panose="02010600040101010101" pitchFamily="2" charset="-122"/>
                </a:rPr>
                <a:t>Lorem ipsum dolor sit </a:t>
              </a:r>
              <a:r>
                <a:rPr kumimoji="1" lang="en-US" altLang="zh-CN" sz="1000" dirty="0" err="1">
                  <a:solidFill>
                    <a:srgbClr val="FFFFFF"/>
                  </a:solidFill>
                  <a:latin typeface="Arial" panose="020B0604020202090204" pitchFamily="34" charset="0"/>
                  <a:ea typeface="华文楷体" panose="02010600040101010101" pitchFamily="2" charset="-122"/>
                </a:rPr>
                <a:t>amet</a:t>
              </a:r>
              <a:r>
                <a:rPr kumimoji="1" lang="en-US" altLang="zh-CN" sz="1000" dirty="0">
                  <a:solidFill>
                    <a:srgbClr val="FFFFFF"/>
                  </a:solidFill>
                  <a:latin typeface="Arial" panose="020B0604020202090204" pitchFamily="34" charset="0"/>
                  <a:ea typeface="华文楷体" panose="02010600040101010101" pitchFamily="2" charset="-122"/>
                </a:rPr>
                <a:t>, </a:t>
              </a:r>
              <a:r>
                <a:rPr kumimoji="1" lang="en-US" altLang="zh-CN" sz="1000" dirty="0" err="1">
                  <a:solidFill>
                    <a:srgbClr val="FFFFFF"/>
                  </a:solidFill>
                  <a:latin typeface="Arial" panose="020B0604020202090204" pitchFamily="34" charset="0"/>
                  <a:ea typeface="华文楷体" panose="02010600040101010101" pitchFamily="2" charset="-122"/>
                </a:rPr>
                <a:t>consectetueradipiscingelit</a:t>
              </a:r>
              <a:r>
                <a:rPr kumimoji="1" lang="en-US" altLang="zh-CN" sz="1000" dirty="0">
                  <a:solidFill>
                    <a:srgbClr val="FFFFFF"/>
                  </a:solidFill>
                  <a:latin typeface="Arial" panose="020B0604020202090204" pitchFamily="34" charset="0"/>
                  <a:ea typeface="华文楷体" panose="02010600040101010101" pitchFamily="2" charset="-122"/>
                </a:rPr>
                <a:t>. </a:t>
              </a:r>
              <a:endParaRPr kumimoji="1" lang="en-US" altLang="zh-CN" sz="1000" dirty="0">
                <a:solidFill>
                  <a:srgbClr val="FFFFFF"/>
                </a:solidFill>
                <a:latin typeface="Arial" panose="020B0604020202090204" pitchFamily="34" charset="0"/>
                <a:ea typeface="华文楷体" panose="02010600040101010101" pitchFamily="2" charset="-122"/>
              </a:endParaRPr>
            </a:p>
          </p:txBody>
        </p:sp>
        <p:sp>
          <p:nvSpPr>
            <p:cNvPr id="27" name="矩形: 圆角 26"/>
            <p:cNvSpPr/>
            <p:nvPr/>
          </p:nvSpPr>
          <p:spPr>
            <a:xfrm>
              <a:off x="3350697" y="4933674"/>
              <a:ext cx="3866433" cy="648451"/>
            </a:xfrm>
            <a:prstGeom prst="roundRect">
              <a:avLst>
                <a:gd name="adj" fmla="val 50000"/>
              </a:avLst>
            </a:prstGeom>
            <a:solidFill>
              <a:schemeClr val="tx2">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r>
                <a:rPr kumimoji="1" lang="en-US" altLang="zh-CN" sz="1000" dirty="0">
                  <a:solidFill>
                    <a:schemeClr val="tx1"/>
                  </a:solidFill>
                  <a:latin typeface="Arial" panose="020B0604020202090204" pitchFamily="34" charset="0"/>
                  <a:ea typeface="华文楷体" panose="02010600040101010101" pitchFamily="2" charset="-122"/>
                </a:rPr>
                <a:t>Lorem ipsum dolor sit </a:t>
              </a:r>
              <a:r>
                <a:rPr kumimoji="1" lang="en-US" altLang="zh-CN" sz="1000" dirty="0" err="1">
                  <a:solidFill>
                    <a:schemeClr val="tx1"/>
                  </a:solidFill>
                  <a:latin typeface="Arial" panose="020B0604020202090204" pitchFamily="34" charset="0"/>
                  <a:ea typeface="华文楷体" panose="02010600040101010101" pitchFamily="2" charset="-122"/>
                </a:rPr>
                <a:t>amet</a:t>
              </a:r>
              <a:r>
                <a:rPr kumimoji="1" lang="en-US" altLang="zh-CN" sz="1000" dirty="0">
                  <a:solidFill>
                    <a:schemeClr val="tx1"/>
                  </a:solidFill>
                  <a:latin typeface="Arial" panose="020B0604020202090204" pitchFamily="34" charset="0"/>
                  <a:ea typeface="华文楷体" panose="02010600040101010101" pitchFamily="2" charset="-122"/>
                </a:rPr>
                <a:t>, </a:t>
              </a:r>
              <a:r>
                <a:rPr kumimoji="1" lang="en-US" altLang="zh-CN" sz="1000" dirty="0" err="1">
                  <a:solidFill>
                    <a:schemeClr val="tx1"/>
                  </a:solidFill>
                  <a:latin typeface="Arial" panose="020B0604020202090204" pitchFamily="34" charset="0"/>
                  <a:ea typeface="华文楷体" panose="02010600040101010101" pitchFamily="2" charset="-122"/>
                </a:rPr>
                <a:t>consectetueradipiscingelit</a:t>
              </a:r>
              <a:r>
                <a:rPr kumimoji="1" lang="en-US" altLang="zh-CN" sz="1000" dirty="0">
                  <a:solidFill>
                    <a:schemeClr val="tx1"/>
                  </a:solidFill>
                  <a:latin typeface="Arial" panose="020B0604020202090204" pitchFamily="34" charset="0"/>
                  <a:ea typeface="华文楷体" panose="02010600040101010101" pitchFamily="2" charset="-122"/>
                </a:rPr>
                <a:t>. </a:t>
              </a:r>
              <a:endParaRPr kumimoji="1" lang="en-US" altLang="zh-CN" sz="1000" dirty="0">
                <a:solidFill>
                  <a:schemeClr val="tx1"/>
                </a:solidFill>
                <a:latin typeface="Arial" panose="020B0604020202090204" pitchFamily="34" charset="0"/>
                <a:ea typeface="华文楷体" panose="02010600040101010101" pitchFamily="2" charset="-122"/>
              </a:endParaRPr>
            </a:p>
          </p:txBody>
        </p:sp>
        <p:grpSp>
          <p:nvGrpSpPr>
            <p:cNvPr id="47" name="组合 46"/>
            <p:cNvGrpSpPr/>
            <p:nvPr/>
          </p:nvGrpSpPr>
          <p:grpSpPr>
            <a:xfrm>
              <a:off x="7220600" y="1604212"/>
              <a:ext cx="3923359" cy="2737571"/>
              <a:chOff x="7380003" y="1240019"/>
              <a:chExt cx="3923359" cy="2737571"/>
            </a:xfrm>
          </p:grpSpPr>
          <p:cxnSp>
            <p:nvCxnSpPr>
              <p:cNvPr id="40" name="直接箭头连接符 39"/>
              <p:cNvCxnSpPr/>
              <p:nvPr/>
            </p:nvCxnSpPr>
            <p:spPr>
              <a:xfrm>
                <a:off x="7796469" y="1572466"/>
                <a:ext cx="0" cy="2072678"/>
              </a:xfrm>
              <a:prstGeom prst="straightConnector1">
                <a:avLst/>
              </a:prstGeom>
              <a:ln w="12700">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41" name="直接箭头连接符 40"/>
              <p:cNvCxnSpPr/>
              <p:nvPr/>
            </p:nvCxnSpPr>
            <p:spPr>
              <a:xfrm flipH="1">
                <a:off x="7796469" y="1572466"/>
                <a:ext cx="416465" cy="0"/>
              </a:xfrm>
              <a:prstGeom prst="straightConnector1">
                <a:avLst/>
              </a:prstGeom>
              <a:ln w="12700">
                <a:solidFill>
                  <a:schemeClr val="accent1"/>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42" name="直接箭头连接符 41"/>
              <p:cNvCxnSpPr/>
              <p:nvPr/>
            </p:nvCxnSpPr>
            <p:spPr>
              <a:xfrm flipH="1">
                <a:off x="7380003" y="2608805"/>
                <a:ext cx="832931" cy="0"/>
              </a:xfrm>
              <a:prstGeom prst="straightConnector1">
                <a:avLst/>
              </a:prstGeom>
              <a:ln w="12700">
                <a:solidFill>
                  <a:schemeClr val="accent1"/>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43" name="直接箭头连接符 42"/>
              <p:cNvCxnSpPr/>
              <p:nvPr/>
            </p:nvCxnSpPr>
            <p:spPr>
              <a:xfrm flipH="1">
                <a:off x="7796469" y="3645144"/>
                <a:ext cx="416465" cy="0"/>
              </a:xfrm>
              <a:prstGeom prst="straightConnector1">
                <a:avLst/>
              </a:prstGeom>
              <a:ln w="12700">
                <a:solidFill>
                  <a:schemeClr val="accent1"/>
                </a:solidFill>
                <a:headEnd type="oval"/>
                <a:tailEnd type="none"/>
              </a:ln>
            </p:spPr>
            <p:style>
              <a:lnRef idx="1">
                <a:schemeClr val="accent1"/>
              </a:lnRef>
              <a:fillRef idx="0">
                <a:schemeClr val="accent1"/>
              </a:fillRef>
              <a:effectRef idx="0">
                <a:schemeClr val="accent1"/>
              </a:effectRef>
              <a:fontRef idx="minor">
                <a:schemeClr val="tx1"/>
              </a:fontRef>
            </p:style>
          </p:cxnSp>
          <p:sp>
            <p:nvSpPr>
              <p:cNvPr id="44" name="矩形: 圆角 43"/>
              <p:cNvSpPr/>
              <p:nvPr/>
            </p:nvSpPr>
            <p:spPr>
              <a:xfrm>
                <a:off x="8212934" y="1240019"/>
                <a:ext cx="3090428" cy="648451"/>
              </a:xfrm>
              <a:prstGeom prst="roundRect">
                <a:avLst>
                  <a:gd name="adj" fmla="val 50000"/>
                </a:avLst>
              </a:prstGeom>
              <a:solidFill>
                <a:schemeClr val="tx2">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r>
                  <a:rPr kumimoji="1" lang="en-US" altLang="zh-CN" sz="1000" dirty="0">
                    <a:solidFill>
                      <a:schemeClr val="tx1"/>
                    </a:solidFill>
                    <a:latin typeface="Arial" panose="020B0604020202090204" pitchFamily="34" charset="0"/>
                    <a:ea typeface="华文楷体" panose="02010600040101010101" pitchFamily="2" charset="-122"/>
                  </a:rPr>
                  <a:t>Lorem ipsum dolor sit </a:t>
                </a:r>
                <a:r>
                  <a:rPr kumimoji="1" lang="en-US" altLang="zh-CN" sz="1000" dirty="0" err="1">
                    <a:solidFill>
                      <a:schemeClr val="tx1"/>
                    </a:solidFill>
                    <a:latin typeface="Arial" panose="020B0604020202090204" pitchFamily="34" charset="0"/>
                    <a:ea typeface="华文楷体" panose="02010600040101010101" pitchFamily="2" charset="-122"/>
                  </a:rPr>
                  <a:t>amet</a:t>
                </a:r>
                <a:r>
                  <a:rPr kumimoji="1" lang="en-US" altLang="zh-CN" sz="1000" dirty="0">
                    <a:solidFill>
                      <a:schemeClr val="tx1"/>
                    </a:solidFill>
                    <a:latin typeface="Arial" panose="020B0604020202090204" pitchFamily="34" charset="0"/>
                    <a:ea typeface="华文楷体" panose="02010600040101010101" pitchFamily="2" charset="-122"/>
                  </a:rPr>
                  <a:t>, </a:t>
                </a:r>
                <a:r>
                  <a:rPr kumimoji="1" lang="en-US" altLang="zh-CN" sz="1000" dirty="0" err="1">
                    <a:solidFill>
                      <a:schemeClr val="tx1"/>
                    </a:solidFill>
                    <a:latin typeface="Arial" panose="020B0604020202090204" pitchFamily="34" charset="0"/>
                    <a:ea typeface="华文楷体" panose="02010600040101010101" pitchFamily="2" charset="-122"/>
                  </a:rPr>
                  <a:t>consectetueradipiscingelit</a:t>
                </a:r>
                <a:r>
                  <a:rPr kumimoji="1" lang="en-US" altLang="zh-CN" sz="1000" dirty="0">
                    <a:solidFill>
                      <a:schemeClr val="tx1"/>
                    </a:solidFill>
                    <a:latin typeface="Arial" panose="020B0604020202090204" pitchFamily="34" charset="0"/>
                    <a:ea typeface="华文楷体" panose="02010600040101010101" pitchFamily="2" charset="-122"/>
                  </a:rPr>
                  <a:t>. </a:t>
                </a:r>
                <a:endParaRPr kumimoji="1" lang="en-US" altLang="zh-CN" sz="1000" dirty="0">
                  <a:solidFill>
                    <a:schemeClr val="tx1"/>
                  </a:solidFill>
                  <a:latin typeface="Arial" panose="020B0604020202090204" pitchFamily="34" charset="0"/>
                  <a:ea typeface="华文楷体" panose="02010600040101010101" pitchFamily="2" charset="-122"/>
                </a:endParaRPr>
              </a:p>
            </p:txBody>
          </p:sp>
          <p:sp>
            <p:nvSpPr>
              <p:cNvPr id="45" name="矩形: 圆角 44"/>
              <p:cNvSpPr/>
              <p:nvPr/>
            </p:nvSpPr>
            <p:spPr>
              <a:xfrm>
                <a:off x="8212934" y="2284579"/>
                <a:ext cx="3090428" cy="648451"/>
              </a:xfrm>
              <a:prstGeom prst="roundRect">
                <a:avLst>
                  <a:gd name="adj" fmla="val 50000"/>
                </a:avLst>
              </a:prstGeom>
              <a:solidFill>
                <a:schemeClr val="tx2">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r>
                  <a:rPr kumimoji="1" lang="en-US" altLang="zh-CN" sz="1000" dirty="0">
                    <a:solidFill>
                      <a:schemeClr val="tx1"/>
                    </a:solidFill>
                    <a:latin typeface="Arial" panose="020B0604020202090204" pitchFamily="34" charset="0"/>
                    <a:ea typeface="华文楷体" panose="02010600040101010101" pitchFamily="2" charset="-122"/>
                  </a:rPr>
                  <a:t>Lorem ipsum dolor sit </a:t>
                </a:r>
                <a:r>
                  <a:rPr kumimoji="1" lang="en-US" altLang="zh-CN" sz="1000" dirty="0" err="1">
                    <a:solidFill>
                      <a:schemeClr val="tx1"/>
                    </a:solidFill>
                    <a:latin typeface="Arial" panose="020B0604020202090204" pitchFamily="34" charset="0"/>
                    <a:ea typeface="华文楷体" panose="02010600040101010101" pitchFamily="2" charset="-122"/>
                  </a:rPr>
                  <a:t>amet</a:t>
                </a:r>
                <a:r>
                  <a:rPr kumimoji="1" lang="en-US" altLang="zh-CN" sz="1000" dirty="0">
                    <a:solidFill>
                      <a:schemeClr val="tx1"/>
                    </a:solidFill>
                    <a:latin typeface="Arial" panose="020B0604020202090204" pitchFamily="34" charset="0"/>
                    <a:ea typeface="华文楷体" panose="02010600040101010101" pitchFamily="2" charset="-122"/>
                  </a:rPr>
                  <a:t>, </a:t>
                </a:r>
                <a:r>
                  <a:rPr kumimoji="1" lang="en-US" altLang="zh-CN" sz="1000" dirty="0" err="1">
                    <a:solidFill>
                      <a:schemeClr val="tx1"/>
                    </a:solidFill>
                    <a:latin typeface="Arial" panose="020B0604020202090204" pitchFamily="34" charset="0"/>
                    <a:ea typeface="华文楷体" panose="02010600040101010101" pitchFamily="2" charset="-122"/>
                  </a:rPr>
                  <a:t>consectetueradipiscingelit</a:t>
                </a:r>
                <a:r>
                  <a:rPr kumimoji="1" lang="en-US" altLang="zh-CN" sz="1000" dirty="0">
                    <a:solidFill>
                      <a:schemeClr val="tx1"/>
                    </a:solidFill>
                    <a:latin typeface="Arial" panose="020B0604020202090204" pitchFamily="34" charset="0"/>
                    <a:ea typeface="华文楷体" panose="02010600040101010101" pitchFamily="2" charset="-122"/>
                  </a:rPr>
                  <a:t>. </a:t>
                </a:r>
                <a:endParaRPr kumimoji="1" lang="en-US" altLang="zh-CN" sz="1000" dirty="0">
                  <a:solidFill>
                    <a:schemeClr val="tx1"/>
                  </a:solidFill>
                  <a:latin typeface="Arial" panose="020B0604020202090204" pitchFamily="34" charset="0"/>
                  <a:ea typeface="华文楷体" panose="02010600040101010101" pitchFamily="2" charset="-122"/>
                </a:endParaRPr>
              </a:p>
            </p:txBody>
          </p:sp>
          <p:sp>
            <p:nvSpPr>
              <p:cNvPr id="46" name="矩形: 圆角 45"/>
              <p:cNvSpPr/>
              <p:nvPr/>
            </p:nvSpPr>
            <p:spPr>
              <a:xfrm>
                <a:off x="8212934" y="3329139"/>
                <a:ext cx="3090428" cy="648451"/>
              </a:xfrm>
              <a:prstGeom prst="roundRect">
                <a:avLst>
                  <a:gd name="adj" fmla="val 50000"/>
                </a:avLst>
              </a:prstGeom>
              <a:solidFill>
                <a:schemeClr val="tx2">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r>
                  <a:rPr kumimoji="1" lang="en-US" altLang="zh-CN" sz="1000" dirty="0">
                    <a:solidFill>
                      <a:schemeClr val="tx1"/>
                    </a:solidFill>
                    <a:latin typeface="Arial" panose="020B0604020202090204" pitchFamily="34" charset="0"/>
                    <a:ea typeface="华文楷体" panose="02010600040101010101" pitchFamily="2" charset="-122"/>
                  </a:rPr>
                  <a:t>Lorem ipsum dolor sit </a:t>
                </a:r>
                <a:r>
                  <a:rPr kumimoji="1" lang="en-US" altLang="zh-CN" sz="1000" dirty="0" err="1">
                    <a:solidFill>
                      <a:schemeClr val="tx1"/>
                    </a:solidFill>
                    <a:latin typeface="Arial" panose="020B0604020202090204" pitchFamily="34" charset="0"/>
                    <a:ea typeface="华文楷体" panose="02010600040101010101" pitchFamily="2" charset="-122"/>
                  </a:rPr>
                  <a:t>amet</a:t>
                </a:r>
                <a:r>
                  <a:rPr kumimoji="1" lang="en-US" altLang="zh-CN" sz="1000" dirty="0">
                    <a:solidFill>
                      <a:schemeClr val="tx1"/>
                    </a:solidFill>
                    <a:latin typeface="Arial" panose="020B0604020202090204" pitchFamily="34" charset="0"/>
                    <a:ea typeface="华文楷体" panose="02010600040101010101" pitchFamily="2" charset="-122"/>
                  </a:rPr>
                  <a:t>, </a:t>
                </a:r>
                <a:r>
                  <a:rPr kumimoji="1" lang="en-US" altLang="zh-CN" sz="1000" dirty="0" err="1">
                    <a:solidFill>
                      <a:schemeClr val="tx1"/>
                    </a:solidFill>
                    <a:latin typeface="Arial" panose="020B0604020202090204" pitchFamily="34" charset="0"/>
                    <a:ea typeface="华文楷体" panose="02010600040101010101" pitchFamily="2" charset="-122"/>
                  </a:rPr>
                  <a:t>consectetueradipiscingelit</a:t>
                </a:r>
                <a:r>
                  <a:rPr kumimoji="1" lang="en-US" altLang="zh-CN" sz="1000" dirty="0">
                    <a:solidFill>
                      <a:schemeClr val="tx1"/>
                    </a:solidFill>
                    <a:latin typeface="Arial" panose="020B0604020202090204" pitchFamily="34" charset="0"/>
                    <a:ea typeface="华文楷体" panose="02010600040101010101" pitchFamily="2" charset="-122"/>
                  </a:rPr>
                  <a:t>. </a:t>
                </a:r>
                <a:endParaRPr kumimoji="1" lang="en-US" altLang="zh-CN" sz="1000" dirty="0">
                  <a:solidFill>
                    <a:schemeClr val="tx1"/>
                  </a:solidFill>
                  <a:latin typeface="Arial" panose="020B0604020202090204" pitchFamily="34" charset="0"/>
                  <a:ea typeface="华文楷体" panose="02010600040101010101" pitchFamily="2" charset="-122"/>
                </a:endParaRPr>
              </a:p>
            </p:txBody>
          </p:sp>
        </p:grpSp>
        <p:cxnSp>
          <p:nvCxnSpPr>
            <p:cNvPr id="9" name="直接箭头连接符 8"/>
            <p:cNvCxnSpPr/>
            <p:nvPr/>
          </p:nvCxnSpPr>
          <p:spPr>
            <a:xfrm>
              <a:off x="7631862" y="4859951"/>
              <a:ext cx="0" cy="752839"/>
            </a:xfrm>
            <a:prstGeom prst="straightConnector1">
              <a:avLst/>
            </a:prstGeom>
            <a:ln w="12700">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11" name="直接箭头连接符 10"/>
            <p:cNvCxnSpPr/>
            <p:nvPr/>
          </p:nvCxnSpPr>
          <p:spPr>
            <a:xfrm flipH="1">
              <a:off x="7217130" y="5257899"/>
              <a:ext cx="416465" cy="0"/>
            </a:xfrm>
            <a:prstGeom prst="straightConnector1">
              <a:avLst/>
            </a:prstGeom>
            <a:ln w="12700">
              <a:solidFill>
                <a:schemeClr val="accent1"/>
              </a:solidFill>
              <a:headEnd type="oval"/>
              <a:tailEnd type="none"/>
            </a:ln>
          </p:spPr>
          <p:style>
            <a:lnRef idx="1">
              <a:schemeClr val="accent1"/>
            </a:lnRef>
            <a:fillRef idx="0">
              <a:schemeClr val="accent1"/>
            </a:fillRef>
            <a:effectRef idx="0">
              <a:schemeClr val="accent1"/>
            </a:effectRef>
            <a:fontRef idx="minor">
              <a:schemeClr val="tx1"/>
            </a:fontRef>
          </p:style>
        </p:cxnSp>
        <p:grpSp>
          <p:nvGrpSpPr>
            <p:cNvPr id="21" name="组合 20"/>
            <p:cNvGrpSpPr/>
            <p:nvPr/>
          </p:nvGrpSpPr>
          <p:grpSpPr>
            <a:xfrm>
              <a:off x="7631862" y="5296785"/>
              <a:ext cx="3506893" cy="648451"/>
              <a:chOff x="7637066" y="5434109"/>
              <a:chExt cx="3506893" cy="648451"/>
            </a:xfrm>
          </p:grpSpPr>
          <p:cxnSp>
            <p:nvCxnSpPr>
              <p:cNvPr id="12" name="直接箭头连接符 11"/>
              <p:cNvCxnSpPr/>
              <p:nvPr/>
            </p:nvCxnSpPr>
            <p:spPr>
              <a:xfrm flipH="1">
                <a:off x="7637066" y="5750114"/>
                <a:ext cx="416465" cy="0"/>
              </a:xfrm>
              <a:prstGeom prst="straightConnector1">
                <a:avLst/>
              </a:prstGeom>
              <a:ln w="12700">
                <a:solidFill>
                  <a:schemeClr val="accent1"/>
                </a:solidFill>
                <a:headEnd type="oval"/>
                <a:tailEnd type="none"/>
              </a:ln>
            </p:spPr>
            <p:style>
              <a:lnRef idx="1">
                <a:schemeClr val="accent1"/>
              </a:lnRef>
              <a:fillRef idx="0">
                <a:schemeClr val="accent1"/>
              </a:fillRef>
              <a:effectRef idx="0">
                <a:schemeClr val="accent1"/>
              </a:effectRef>
              <a:fontRef idx="minor">
                <a:schemeClr val="tx1"/>
              </a:fontRef>
            </p:style>
          </p:cxnSp>
          <p:sp>
            <p:nvSpPr>
              <p:cNvPr id="16" name="矩形: 圆角 15"/>
              <p:cNvSpPr/>
              <p:nvPr/>
            </p:nvSpPr>
            <p:spPr>
              <a:xfrm>
                <a:off x="8053531" y="5434109"/>
                <a:ext cx="3090428" cy="648451"/>
              </a:xfrm>
              <a:prstGeom prst="roundRect">
                <a:avLst>
                  <a:gd name="adj" fmla="val 50000"/>
                </a:avLst>
              </a:prstGeom>
              <a:solidFill>
                <a:schemeClr val="tx2">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r>
                  <a:rPr kumimoji="1" lang="en-US" altLang="zh-CN" sz="1000" dirty="0">
                    <a:solidFill>
                      <a:schemeClr val="tx1"/>
                    </a:solidFill>
                    <a:latin typeface="Arial" panose="020B0604020202090204" pitchFamily="34" charset="0"/>
                    <a:ea typeface="华文楷体" panose="02010600040101010101" pitchFamily="2" charset="-122"/>
                  </a:rPr>
                  <a:t>Lorem ipsum dolor sit </a:t>
                </a:r>
                <a:r>
                  <a:rPr kumimoji="1" lang="en-US" altLang="zh-CN" sz="1000" dirty="0" err="1">
                    <a:solidFill>
                      <a:schemeClr val="tx1"/>
                    </a:solidFill>
                    <a:latin typeface="Arial" panose="020B0604020202090204" pitchFamily="34" charset="0"/>
                    <a:ea typeface="华文楷体" panose="02010600040101010101" pitchFamily="2" charset="-122"/>
                  </a:rPr>
                  <a:t>amet</a:t>
                </a:r>
                <a:r>
                  <a:rPr kumimoji="1" lang="en-US" altLang="zh-CN" sz="1000" dirty="0">
                    <a:solidFill>
                      <a:schemeClr val="tx1"/>
                    </a:solidFill>
                    <a:latin typeface="Arial" panose="020B0604020202090204" pitchFamily="34" charset="0"/>
                    <a:ea typeface="华文楷体" panose="02010600040101010101" pitchFamily="2" charset="-122"/>
                  </a:rPr>
                  <a:t>, </a:t>
                </a:r>
                <a:r>
                  <a:rPr kumimoji="1" lang="en-US" altLang="zh-CN" sz="1000" dirty="0" err="1">
                    <a:solidFill>
                      <a:schemeClr val="tx1"/>
                    </a:solidFill>
                    <a:latin typeface="Arial" panose="020B0604020202090204" pitchFamily="34" charset="0"/>
                    <a:ea typeface="华文楷体" panose="02010600040101010101" pitchFamily="2" charset="-122"/>
                  </a:rPr>
                  <a:t>consectetueradipiscingelit</a:t>
                </a:r>
                <a:r>
                  <a:rPr kumimoji="1" lang="en-US" altLang="zh-CN" sz="1000" dirty="0">
                    <a:solidFill>
                      <a:schemeClr val="tx1"/>
                    </a:solidFill>
                    <a:latin typeface="Arial" panose="020B0604020202090204" pitchFamily="34" charset="0"/>
                    <a:ea typeface="华文楷体" panose="02010600040101010101" pitchFamily="2" charset="-122"/>
                  </a:rPr>
                  <a:t>. </a:t>
                </a:r>
                <a:endParaRPr kumimoji="1" lang="en-US" altLang="zh-CN" sz="1000" dirty="0">
                  <a:solidFill>
                    <a:schemeClr val="tx1"/>
                  </a:solidFill>
                  <a:latin typeface="Arial" panose="020B0604020202090204" pitchFamily="34" charset="0"/>
                  <a:ea typeface="华文楷体" panose="02010600040101010101" pitchFamily="2" charset="-122"/>
                </a:endParaRPr>
              </a:p>
            </p:txBody>
          </p:sp>
        </p:grpSp>
        <p:grpSp>
          <p:nvGrpSpPr>
            <p:cNvPr id="22" name="组合 21"/>
            <p:cNvGrpSpPr/>
            <p:nvPr/>
          </p:nvGrpSpPr>
          <p:grpSpPr>
            <a:xfrm>
              <a:off x="7631862" y="4543947"/>
              <a:ext cx="3515565" cy="648451"/>
              <a:chOff x="7628394" y="5434109"/>
              <a:chExt cx="3515565" cy="648451"/>
            </a:xfrm>
          </p:grpSpPr>
          <p:cxnSp>
            <p:nvCxnSpPr>
              <p:cNvPr id="23" name="直接箭头连接符 22"/>
              <p:cNvCxnSpPr/>
              <p:nvPr/>
            </p:nvCxnSpPr>
            <p:spPr>
              <a:xfrm flipH="1" flipV="1">
                <a:off x="7628394" y="5750113"/>
                <a:ext cx="425137" cy="1"/>
              </a:xfrm>
              <a:prstGeom prst="straightConnector1">
                <a:avLst/>
              </a:prstGeom>
              <a:ln w="12700">
                <a:solidFill>
                  <a:schemeClr val="accent1"/>
                </a:solidFill>
                <a:headEnd type="oval"/>
                <a:tailEnd type="none"/>
              </a:ln>
            </p:spPr>
            <p:style>
              <a:lnRef idx="1">
                <a:schemeClr val="accent1"/>
              </a:lnRef>
              <a:fillRef idx="0">
                <a:schemeClr val="accent1"/>
              </a:fillRef>
              <a:effectRef idx="0">
                <a:schemeClr val="accent1"/>
              </a:effectRef>
              <a:fontRef idx="minor">
                <a:schemeClr val="tx1"/>
              </a:fontRef>
            </p:style>
          </p:cxnSp>
          <p:sp>
            <p:nvSpPr>
              <p:cNvPr id="24" name="矩形: 圆角 23"/>
              <p:cNvSpPr/>
              <p:nvPr/>
            </p:nvSpPr>
            <p:spPr>
              <a:xfrm>
                <a:off x="8053531" y="5434109"/>
                <a:ext cx="3090428" cy="648451"/>
              </a:xfrm>
              <a:prstGeom prst="roundRect">
                <a:avLst>
                  <a:gd name="adj" fmla="val 50000"/>
                </a:avLst>
              </a:prstGeom>
              <a:solidFill>
                <a:schemeClr val="tx2">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r>
                  <a:rPr kumimoji="1" lang="en-US" altLang="zh-CN" sz="1000" dirty="0">
                    <a:solidFill>
                      <a:schemeClr val="tx1"/>
                    </a:solidFill>
                    <a:latin typeface="Arial" panose="020B0604020202090204" pitchFamily="34" charset="0"/>
                    <a:ea typeface="华文楷体" panose="02010600040101010101" pitchFamily="2" charset="-122"/>
                  </a:rPr>
                  <a:t>Lorem ipsum dolor sit </a:t>
                </a:r>
                <a:r>
                  <a:rPr kumimoji="1" lang="en-US" altLang="zh-CN" sz="1000" dirty="0" err="1">
                    <a:solidFill>
                      <a:schemeClr val="tx1"/>
                    </a:solidFill>
                    <a:latin typeface="Arial" panose="020B0604020202090204" pitchFamily="34" charset="0"/>
                    <a:ea typeface="华文楷体" panose="02010600040101010101" pitchFamily="2" charset="-122"/>
                  </a:rPr>
                  <a:t>amet</a:t>
                </a:r>
                <a:r>
                  <a:rPr kumimoji="1" lang="en-US" altLang="zh-CN" sz="1000" dirty="0">
                    <a:solidFill>
                      <a:schemeClr val="tx1"/>
                    </a:solidFill>
                    <a:latin typeface="Arial" panose="020B0604020202090204" pitchFamily="34" charset="0"/>
                    <a:ea typeface="华文楷体" panose="02010600040101010101" pitchFamily="2" charset="-122"/>
                  </a:rPr>
                  <a:t>, </a:t>
                </a:r>
                <a:r>
                  <a:rPr kumimoji="1" lang="en-US" altLang="zh-CN" sz="1000" dirty="0" err="1">
                    <a:solidFill>
                      <a:schemeClr val="tx1"/>
                    </a:solidFill>
                    <a:latin typeface="Arial" panose="020B0604020202090204" pitchFamily="34" charset="0"/>
                    <a:ea typeface="华文楷体" panose="02010600040101010101" pitchFamily="2" charset="-122"/>
                  </a:rPr>
                  <a:t>consectetueradipiscingelit</a:t>
                </a:r>
                <a:r>
                  <a:rPr kumimoji="1" lang="en-US" altLang="zh-CN" sz="1000" dirty="0">
                    <a:solidFill>
                      <a:schemeClr val="tx1"/>
                    </a:solidFill>
                    <a:latin typeface="Arial" panose="020B0604020202090204" pitchFamily="34" charset="0"/>
                    <a:ea typeface="华文楷体" panose="02010600040101010101" pitchFamily="2" charset="-122"/>
                  </a:rPr>
                  <a:t>. </a:t>
                </a:r>
                <a:endParaRPr kumimoji="1" lang="en-US" altLang="zh-CN" sz="1000" dirty="0">
                  <a:solidFill>
                    <a:schemeClr val="tx1"/>
                  </a:solidFill>
                  <a:latin typeface="Arial" panose="020B0604020202090204" pitchFamily="34" charset="0"/>
                  <a:ea typeface="华文楷体" panose="02010600040101010101" pitchFamily="2" charset="-122"/>
                </a:endParaRPr>
              </a:p>
            </p:txBody>
          </p:sp>
        </p:grpSp>
      </p:grpSp>
    </p:spTree>
    <p:custDataLst>
      <p:tags r:id="rId1"/>
    </p:custData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en-US" altLang="zh-CN">
                <a:latin typeface="Arial" panose="020B0604020202090204" pitchFamily="34" charset="0"/>
                <a:ea typeface="华文楷体" panose="02010600040101010101" pitchFamily="2" charset="-122"/>
              </a:rPr>
              <a:t>Section Header Here</a:t>
            </a:r>
            <a:endParaRPr lang="zh-CN" altLang="en-US" dirty="0">
              <a:latin typeface="Arial" panose="020B0604020202090204" pitchFamily="34" charset="0"/>
              <a:ea typeface="华文楷体" panose="02010600040101010101" pitchFamily="2" charset="-122"/>
            </a:endParaRPr>
          </a:p>
        </p:txBody>
      </p:sp>
      <p:sp>
        <p:nvSpPr>
          <p:cNvPr id="6" name="文本占位符 5"/>
          <p:cNvSpPr>
            <a:spLocks noGrp="1"/>
          </p:cNvSpPr>
          <p:nvPr>
            <p:ph type="body" idx="1"/>
          </p:nvPr>
        </p:nvSpPr>
        <p:spPr/>
        <p:txBody>
          <a:bodyPr/>
          <a:lstStyle/>
          <a:p>
            <a:pPr lvl="0"/>
            <a:r>
              <a:rPr lang="en-US" altLang="zh-CN">
                <a:latin typeface="Arial" panose="020B0604020202090204" pitchFamily="34" charset="0"/>
                <a:ea typeface="华文楷体" panose="02010600040101010101" pitchFamily="2" charset="-122"/>
              </a:rPr>
              <a:t>Supporting text here.</a:t>
            </a:r>
            <a:endParaRPr lang="en-US" altLang="zh-CN">
              <a:latin typeface="Arial" panose="020B0604020202090204" pitchFamily="34" charset="0"/>
              <a:ea typeface="华文楷体" panose="02010600040101010101" pitchFamily="2" charset="-122"/>
            </a:endParaRPr>
          </a:p>
          <a:p>
            <a:pPr lvl="0"/>
            <a:r>
              <a:rPr lang="en-US" altLang="zh-CN">
                <a:latin typeface="Arial" panose="020B0604020202090204" pitchFamily="34" charset="0"/>
                <a:ea typeface="华文楷体" panose="02010600040101010101" pitchFamily="2" charset="-122"/>
              </a:rPr>
              <a:t>When you copy &amp; paste, choose "keep text only" option.</a:t>
            </a:r>
            <a:endParaRPr lang="zh-CN" altLang="en-US" dirty="0">
              <a:latin typeface="Arial" panose="020B0604020202090204" pitchFamily="34" charset="0"/>
              <a:ea typeface="华文楷体" panose="02010600040101010101" pitchFamily="2" charset="-122"/>
            </a:endParaRPr>
          </a:p>
        </p:txBody>
      </p:sp>
      <p:sp>
        <p:nvSpPr>
          <p:cNvPr id="33" name="文本框 32"/>
          <p:cNvSpPr txBox="1"/>
          <p:nvPr/>
        </p:nvSpPr>
        <p:spPr>
          <a:xfrm>
            <a:off x="5552306" y="2361732"/>
            <a:ext cx="1057275" cy="895350"/>
          </a:xfrm>
          <a:prstGeom prst="rect">
            <a:avLst/>
          </a:prstGeom>
        </p:spPr>
        <p:txBody>
          <a:bodyPr vert="horz" lIns="91440" tIns="45720" rIns="91440" bIns="45720" rtlCol="0" anchor="b">
            <a:normAutofit fontScale="92500" lnSpcReduction="10000"/>
          </a:bodyPr>
          <a:lstStyle>
            <a:lvl1pPr algn="l" defTabSz="914400" rtl="0" eaLnBrk="1" latinLnBrk="0" hangingPunct="1">
              <a:lnSpc>
                <a:spcPct val="90000"/>
              </a:lnSpc>
              <a:spcBef>
                <a:spcPct val="0"/>
              </a:spcBef>
              <a:buNone/>
              <a:defRPr sz="2400" b="1" kern="1200">
                <a:solidFill>
                  <a:schemeClr val="bg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defRPr/>
            </a:pPr>
            <a:r>
              <a:rPr kumimoji="0" lang="en-US" altLang="zh-CN" sz="6600" b="1" i="0" u="none" strike="noStrike" kern="1200" cap="none" spc="0" normalizeH="0" baseline="0" noProof="0" dirty="0">
                <a:ln>
                  <a:noFill/>
                </a:ln>
                <a:solidFill>
                  <a:srgbClr val="FC6C1C"/>
                </a:solidFill>
                <a:effectLst/>
                <a:uLnTx/>
                <a:uFillTx/>
                <a:latin typeface="Arial" panose="020B0604020202090204" pitchFamily="34" charset="0"/>
                <a:ea typeface="华文楷体" panose="02010600040101010101" pitchFamily="2" charset="-122"/>
                <a:cs typeface="+mj-cs"/>
              </a:rPr>
              <a:t>02</a:t>
            </a:r>
            <a:endParaRPr kumimoji="0" lang="zh-CN" altLang="en-US" sz="6600" b="1" i="0" u="none" strike="noStrike" kern="1200" cap="none" spc="0" normalizeH="0" baseline="0" noProof="0" dirty="0">
              <a:ln>
                <a:noFill/>
              </a:ln>
              <a:solidFill>
                <a:srgbClr val="FC6C1C"/>
              </a:solidFill>
              <a:effectLst/>
              <a:uLnTx/>
              <a:uFillTx/>
              <a:latin typeface="Arial" panose="020B0604020202090204" pitchFamily="34" charset="0"/>
              <a:ea typeface="华文楷体" panose="02010600040101010101" pitchFamily="2" charset="-122"/>
              <a:cs typeface="+mj-cs"/>
            </a:endParaRPr>
          </a:p>
        </p:txBody>
      </p:sp>
      <p:sp>
        <p:nvSpPr>
          <p:cNvPr id="3" name="矩形 2"/>
          <p:cNvSpPr/>
          <p:nvPr/>
        </p:nvSpPr>
        <p:spPr>
          <a:xfrm>
            <a:off x="0" y="3340168"/>
            <a:ext cx="12192000" cy="3541736"/>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Arial" panose="020B0604020202090204"/>
              <a:ea typeface="华文楷体" panose="02010600040101010101" pitchFamily="2" charset="-122"/>
              <a:cs typeface="+mn-cs"/>
            </a:endParaRPr>
          </a:p>
        </p:txBody>
      </p:sp>
      <p:pic>
        <p:nvPicPr>
          <p:cNvPr id="122" name="图片 121"/>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9903035" y="299594"/>
            <a:ext cx="1837445" cy="501494"/>
          </a:xfrm>
          <a:prstGeom prst="rect">
            <a:avLst/>
          </a:prstGeom>
        </p:spPr>
      </p:pic>
      <p:sp>
        <p:nvSpPr>
          <p:cNvPr id="123" name="文本框 122"/>
          <p:cNvSpPr txBox="1"/>
          <p:nvPr/>
        </p:nvSpPr>
        <p:spPr>
          <a:xfrm>
            <a:off x="5569671" y="3767308"/>
            <a:ext cx="4240111" cy="895350"/>
          </a:xfrm>
          <a:prstGeom prst="rect">
            <a:avLst/>
          </a:prstGeom>
        </p:spPr>
        <p:txBody>
          <a:bodyPr vert="horz" wrap="square" lIns="91440" tIns="45720" rIns="91440" bIns="45720" rtlCol="0">
            <a:normAutofit/>
          </a:bodyPr>
          <a:lstStyle/>
          <a:p>
            <a:pPr marL="106045" marR="0" lvl="0" indent="0" algn="l" defTabSz="914400" rtl="0" eaLnBrk="1" fontAlgn="auto" latinLnBrk="0" hangingPunct="1">
              <a:lnSpc>
                <a:spcPct val="100000"/>
              </a:lnSpc>
              <a:spcBef>
                <a:spcPts val="0"/>
              </a:spcBef>
              <a:spcAft>
                <a:spcPts val="0"/>
              </a:spcAft>
              <a:buClrTx/>
              <a:buSzTx/>
              <a:buFontTx/>
              <a:buNone/>
              <a:defRPr/>
            </a:pPr>
            <a:r>
              <a:rPr kumimoji="0" lang="en-US" altLang="zh-CN" sz="3200" b="1" i="0" u="none" strike="noStrike" kern="1200" cap="none" spc="0" normalizeH="0" baseline="0" noProof="0" dirty="0">
                <a:ln>
                  <a:noFill/>
                </a:ln>
                <a:solidFill>
                  <a:prstClr val="white"/>
                </a:solidFill>
                <a:effectLst/>
                <a:uLnTx/>
                <a:uFillTx/>
                <a:latin typeface="Arial" panose="020B0604020202090204"/>
                <a:ea typeface="华文楷体" panose="02010600040101010101" pitchFamily="2" charset="-122"/>
                <a:cs typeface="+mn-cs"/>
              </a:rPr>
              <a:t>XXXX</a:t>
            </a:r>
            <a:endParaRPr kumimoji="0" lang="zh-CN" altLang="en-US" sz="3200" b="1" i="0" u="none" strike="noStrike" kern="1200" cap="none" spc="0" normalizeH="0" baseline="0" noProof="0" dirty="0">
              <a:ln>
                <a:noFill/>
              </a:ln>
              <a:solidFill>
                <a:prstClr val="white"/>
              </a:solidFill>
              <a:effectLst/>
              <a:uLnTx/>
              <a:uFillTx/>
              <a:latin typeface="Arial" panose="020B0604020202090204"/>
              <a:ea typeface="华文楷体" panose="02010600040101010101" pitchFamily="2" charset="-122"/>
              <a:cs typeface="+mn-cs"/>
            </a:endParaRPr>
          </a:p>
        </p:txBody>
      </p:sp>
      <p:grpSp>
        <p:nvGrpSpPr>
          <p:cNvPr id="453" name="组合 452"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nvGrpSpPr>
        <p:grpSpPr>
          <a:xfrm>
            <a:off x="1219193" y="1665309"/>
            <a:ext cx="3534236" cy="2862974"/>
            <a:chOff x="3125788" y="957263"/>
            <a:chExt cx="5940426" cy="5184775"/>
          </a:xfrm>
        </p:grpSpPr>
        <p:sp>
          <p:nvSpPr>
            <p:cNvPr id="454" name="í$ļiḑè"/>
            <p:cNvSpPr/>
            <p:nvPr/>
          </p:nvSpPr>
          <p:spPr bwMode="auto">
            <a:xfrm>
              <a:off x="3125788" y="4400551"/>
              <a:ext cx="142875" cy="1471613"/>
            </a:xfrm>
            <a:custGeom>
              <a:avLst/>
              <a:gdLst>
                <a:gd name="T0" fmla="*/ 90 w 90"/>
                <a:gd name="T1" fmla="*/ 927 h 927"/>
                <a:gd name="T2" fmla="*/ 0 w 90"/>
                <a:gd name="T3" fmla="*/ 891 h 927"/>
                <a:gd name="T4" fmla="*/ 0 w 90"/>
                <a:gd name="T5" fmla="*/ 4 h 927"/>
                <a:gd name="T6" fmla="*/ 90 w 90"/>
                <a:gd name="T7" fmla="*/ 0 h 927"/>
                <a:gd name="T8" fmla="*/ 90 w 90"/>
                <a:gd name="T9" fmla="*/ 927 h 927"/>
              </a:gdLst>
              <a:ahLst/>
              <a:cxnLst>
                <a:cxn ang="0">
                  <a:pos x="T0" y="T1"/>
                </a:cxn>
                <a:cxn ang="0">
                  <a:pos x="T2" y="T3"/>
                </a:cxn>
                <a:cxn ang="0">
                  <a:pos x="T4" y="T5"/>
                </a:cxn>
                <a:cxn ang="0">
                  <a:pos x="T6" y="T7"/>
                </a:cxn>
                <a:cxn ang="0">
                  <a:pos x="T8" y="T9"/>
                </a:cxn>
              </a:cxnLst>
              <a:rect l="0" t="0" r="r" b="b"/>
              <a:pathLst>
                <a:path w="90" h="927">
                  <a:moveTo>
                    <a:pt x="90" y="927"/>
                  </a:moveTo>
                  <a:lnTo>
                    <a:pt x="0" y="891"/>
                  </a:lnTo>
                  <a:lnTo>
                    <a:pt x="0" y="4"/>
                  </a:lnTo>
                  <a:lnTo>
                    <a:pt x="90" y="0"/>
                  </a:lnTo>
                  <a:lnTo>
                    <a:pt x="90" y="927"/>
                  </a:lnTo>
                  <a:close/>
                </a:path>
              </a:pathLst>
            </a:custGeom>
            <a:solidFill>
              <a:srgbClr val="89BF2B"/>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455" name="íṡľíde"/>
            <p:cNvSpPr/>
            <p:nvPr/>
          </p:nvSpPr>
          <p:spPr bwMode="auto">
            <a:xfrm>
              <a:off x="3268663" y="4400551"/>
              <a:ext cx="873125" cy="1471613"/>
            </a:xfrm>
            <a:prstGeom prst="rect">
              <a:avLst/>
            </a:prstGeom>
            <a:solidFill>
              <a:srgbClr val="92D335"/>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p>
          </p:txBody>
        </p:sp>
        <p:sp>
          <p:nvSpPr>
            <p:cNvPr id="456" name="ïṩ1ïḑe"/>
            <p:cNvSpPr/>
            <p:nvPr/>
          </p:nvSpPr>
          <p:spPr bwMode="auto">
            <a:xfrm>
              <a:off x="3441701" y="5078413"/>
              <a:ext cx="461665"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anchor="t" anchorCtr="0" compatLnSpc="1">
              <a:normAutofit fontScale="62500" lnSpcReduction="20000"/>
            </a:bodyPr>
            <a:lstStyle/>
            <a:p>
              <a:pPr marL="0" marR="0" lvl="0" indent="0" algn="l" defTabSz="914400" rtl="0" eaLnBrk="0" fontAlgn="base" latinLnBrk="0" hangingPunct="0">
                <a:spcBef>
                  <a:spcPct val="0"/>
                </a:spcBef>
                <a:spcAft>
                  <a:spcPct val="0"/>
                </a:spcAft>
                <a:buClrTx/>
                <a:buSzTx/>
                <a:buFontTx/>
                <a:buNone/>
              </a:pPr>
              <a:r>
                <a:rPr kumimoji="0" lang="en-US" altLang="zh-CN" sz="5400" b="0" i="0" u="none" strike="noStrike" cap="none" normalizeH="0" baseline="0">
                  <a:ln>
                    <a:noFill/>
                  </a:ln>
                  <a:solidFill>
                    <a:srgbClr val="FCFCFC"/>
                  </a:solidFill>
                  <a:effectLst/>
                </a:rPr>
                <a:t>A</a:t>
              </a:r>
              <a:endParaRPr kumimoji="0" lang="zh-CN" altLang="zh-CN" sz="5400" b="0" i="0" u="none" strike="noStrike" cap="none" normalizeH="0" baseline="0" dirty="0">
                <a:ln>
                  <a:noFill/>
                </a:ln>
                <a:solidFill>
                  <a:srgbClr val="FCFCFC"/>
                </a:solidFill>
                <a:effectLst/>
              </a:endParaRPr>
            </a:p>
          </p:txBody>
        </p:sp>
        <p:sp>
          <p:nvSpPr>
            <p:cNvPr id="457" name="iṥḷîḓè"/>
            <p:cNvSpPr/>
            <p:nvPr/>
          </p:nvSpPr>
          <p:spPr bwMode="auto">
            <a:xfrm>
              <a:off x="4252913" y="3721101"/>
              <a:ext cx="141288" cy="2151063"/>
            </a:xfrm>
            <a:custGeom>
              <a:avLst/>
              <a:gdLst>
                <a:gd name="T0" fmla="*/ 89 w 89"/>
                <a:gd name="T1" fmla="*/ 1355 h 1355"/>
                <a:gd name="T2" fmla="*/ 0 w 89"/>
                <a:gd name="T3" fmla="*/ 1319 h 1355"/>
                <a:gd name="T4" fmla="*/ 0 w 89"/>
                <a:gd name="T5" fmla="*/ 9 h 1355"/>
                <a:gd name="T6" fmla="*/ 89 w 89"/>
                <a:gd name="T7" fmla="*/ 0 h 1355"/>
                <a:gd name="T8" fmla="*/ 89 w 89"/>
                <a:gd name="T9" fmla="*/ 1355 h 1355"/>
              </a:gdLst>
              <a:ahLst/>
              <a:cxnLst>
                <a:cxn ang="0">
                  <a:pos x="T0" y="T1"/>
                </a:cxn>
                <a:cxn ang="0">
                  <a:pos x="T2" y="T3"/>
                </a:cxn>
                <a:cxn ang="0">
                  <a:pos x="T4" y="T5"/>
                </a:cxn>
                <a:cxn ang="0">
                  <a:pos x="T6" y="T7"/>
                </a:cxn>
                <a:cxn ang="0">
                  <a:pos x="T8" y="T9"/>
                </a:cxn>
              </a:cxnLst>
              <a:rect l="0" t="0" r="r" b="b"/>
              <a:pathLst>
                <a:path w="89" h="1355">
                  <a:moveTo>
                    <a:pt x="89" y="1355"/>
                  </a:moveTo>
                  <a:lnTo>
                    <a:pt x="0" y="1319"/>
                  </a:lnTo>
                  <a:lnTo>
                    <a:pt x="0" y="9"/>
                  </a:lnTo>
                  <a:lnTo>
                    <a:pt x="89" y="0"/>
                  </a:lnTo>
                  <a:lnTo>
                    <a:pt x="89" y="1355"/>
                  </a:lnTo>
                  <a:close/>
                </a:path>
              </a:pathLst>
            </a:custGeom>
            <a:solidFill>
              <a:srgbClr val="158A9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458" name="íṩļiďé"/>
            <p:cNvSpPr/>
            <p:nvPr/>
          </p:nvSpPr>
          <p:spPr bwMode="auto">
            <a:xfrm>
              <a:off x="4394201" y="3721101"/>
              <a:ext cx="874713" cy="2151063"/>
            </a:xfrm>
            <a:prstGeom prst="rect">
              <a:avLst/>
            </a:prstGeom>
            <a:solidFill>
              <a:srgbClr val="2DA5C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p>
          </p:txBody>
        </p:sp>
        <p:sp>
          <p:nvSpPr>
            <p:cNvPr id="459" name="ï$lïḍe"/>
            <p:cNvSpPr/>
            <p:nvPr/>
          </p:nvSpPr>
          <p:spPr bwMode="auto">
            <a:xfrm>
              <a:off x="4618038" y="5078413"/>
              <a:ext cx="461665"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anchor="t" anchorCtr="0" compatLnSpc="1">
              <a:normAutofit fontScale="62500" lnSpcReduction="20000"/>
            </a:bodyPr>
            <a:lstStyle/>
            <a:p>
              <a:pPr marL="0" marR="0" lvl="0" indent="0" algn="l" defTabSz="914400" rtl="0" eaLnBrk="0" fontAlgn="base" latinLnBrk="0" hangingPunct="0">
                <a:spcBef>
                  <a:spcPct val="0"/>
                </a:spcBef>
                <a:spcAft>
                  <a:spcPct val="0"/>
                </a:spcAft>
                <a:buClrTx/>
                <a:buSzTx/>
                <a:buFontTx/>
                <a:buNone/>
              </a:pPr>
              <a:r>
                <a:rPr kumimoji="0" lang="en-US" altLang="zh-CN" sz="5400" b="0" i="0" u="none" strike="noStrike" cap="none" normalizeH="0" baseline="0">
                  <a:ln>
                    <a:noFill/>
                  </a:ln>
                  <a:solidFill>
                    <a:srgbClr val="FCFCFC"/>
                  </a:solidFill>
                  <a:effectLst/>
                </a:rPr>
                <a:t>B</a:t>
              </a:r>
              <a:endParaRPr kumimoji="0" lang="zh-CN" altLang="zh-CN" sz="5400" b="0" i="0" u="none" strike="noStrike" cap="none" normalizeH="0" baseline="0">
                <a:ln>
                  <a:noFill/>
                </a:ln>
                <a:solidFill>
                  <a:srgbClr val="FCFCFC"/>
                </a:solidFill>
                <a:effectLst/>
              </a:endParaRPr>
            </a:p>
          </p:txBody>
        </p:sp>
        <p:sp>
          <p:nvSpPr>
            <p:cNvPr id="460" name="ï$ļîdê"/>
            <p:cNvSpPr/>
            <p:nvPr/>
          </p:nvSpPr>
          <p:spPr bwMode="auto">
            <a:xfrm>
              <a:off x="5378451" y="2058988"/>
              <a:ext cx="141288" cy="3813175"/>
            </a:xfrm>
            <a:custGeom>
              <a:avLst/>
              <a:gdLst>
                <a:gd name="T0" fmla="*/ 89 w 89"/>
                <a:gd name="T1" fmla="*/ 2402 h 2402"/>
                <a:gd name="T2" fmla="*/ 0 w 89"/>
                <a:gd name="T3" fmla="*/ 2366 h 2402"/>
                <a:gd name="T4" fmla="*/ 0 w 89"/>
                <a:gd name="T5" fmla="*/ 43 h 2402"/>
                <a:gd name="T6" fmla="*/ 89 w 89"/>
                <a:gd name="T7" fmla="*/ 0 h 2402"/>
                <a:gd name="T8" fmla="*/ 89 w 89"/>
                <a:gd name="T9" fmla="*/ 2402 h 2402"/>
              </a:gdLst>
              <a:ahLst/>
              <a:cxnLst>
                <a:cxn ang="0">
                  <a:pos x="T0" y="T1"/>
                </a:cxn>
                <a:cxn ang="0">
                  <a:pos x="T2" y="T3"/>
                </a:cxn>
                <a:cxn ang="0">
                  <a:pos x="T4" y="T5"/>
                </a:cxn>
                <a:cxn ang="0">
                  <a:pos x="T6" y="T7"/>
                </a:cxn>
                <a:cxn ang="0">
                  <a:pos x="T8" y="T9"/>
                </a:cxn>
              </a:cxnLst>
              <a:rect l="0" t="0" r="r" b="b"/>
              <a:pathLst>
                <a:path w="89" h="2402">
                  <a:moveTo>
                    <a:pt x="89" y="2402"/>
                  </a:moveTo>
                  <a:lnTo>
                    <a:pt x="0" y="2366"/>
                  </a:lnTo>
                  <a:lnTo>
                    <a:pt x="0" y="43"/>
                  </a:lnTo>
                  <a:lnTo>
                    <a:pt x="89" y="0"/>
                  </a:lnTo>
                  <a:lnTo>
                    <a:pt x="89" y="2402"/>
                  </a:lnTo>
                  <a:close/>
                </a:path>
              </a:pathLst>
            </a:custGeom>
            <a:solidFill>
              <a:srgbClr val="6D2E7C"/>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461" name="îṩļiďè"/>
            <p:cNvSpPr/>
            <p:nvPr/>
          </p:nvSpPr>
          <p:spPr bwMode="auto">
            <a:xfrm>
              <a:off x="5519738" y="2058988"/>
              <a:ext cx="874713" cy="3813175"/>
            </a:xfrm>
            <a:prstGeom prst="rect">
              <a:avLst/>
            </a:prstGeom>
            <a:solidFill>
              <a:srgbClr val="884199"/>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p>
          </p:txBody>
        </p:sp>
        <p:sp>
          <p:nvSpPr>
            <p:cNvPr id="462" name="îṩḷiḓè"/>
            <p:cNvSpPr/>
            <p:nvPr/>
          </p:nvSpPr>
          <p:spPr bwMode="auto">
            <a:xfrm>
              <a:off x="5726113" y="5078413"/>
              <a:ext cx="500137"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anchor="t" anchorCtr="0" compatLnSpc="1">
              <a:normAutofit fontScale="62500" lnSpcReduction="20000"/>
            </a:bodyPr>
            <a:lstStyle/>
            <a:p>
              <a:pPr marL="0" marR="0" lvl="0" indent="0" algn="l" defTabSz="914400" rtl="0" eaLnBrk="0" fontAlgn="base" latinLnBrk="0" hangingPunct="0">
                <a:spcBef>
                  <a:spcPct val="0"/>
                </a:spcBef>
                <a:spcAft>
                  <a:spcPct val="0"/>
                </a:spcAft>
                <a:buClrTx/>
                <a:buSzTx/>
                <a:buFontTx/>
                <a:buNone/>
              </a:pPr>
              <a:r>
                <a:rPr kumimoji="0" lang="en-US" altLang="zh-CN" sz="5400" b="0" i="0" u="none" strike="noStrike" cap="none" normalizeH="0" baseline="0">
                  <a:ln>
                    <a:noFill/>
                  </a:ln>
                  <a:solidFill>
                    <a:srgbClr val="FCFCFC"/>
                  </a:solidFill>
                  <a:effectLst/>
                </a:rPr>
                <a:t>C</a:t>
              </a:r>
              <a:endParaRPr kumimoji="0" lang="zh-CN" altLang="zh-CN" sz="5400" b="0" i="0" u="none" strike="noStrike" cap="none" normalizeH="0" baseline="0">
                <a:ln>
                  <a:noFill/>
                </a:ln>
                <a:solidFill>
                  <a:srgbClr val="FCFCFC"/>
                </a:solidFill>
                <a:effectLst/>
              </a:endParaRPr>
            </a:p>
          </p:txBody>
        </p:sp>
        <p:sp>
          <p:nvSpPr>
            <p:cNvPr id="463" name="îṥľiḓe"/>
            <p:cNvSpPr/>
            <p:nvPr/>
          </p:nvSpPr>
          <p:spPr bwMode="auto">
            <a:xfrm>
              <a:off x="6508751" y="957263"/>
              <a:ext cx="141288" cy="4914900"/>
            </a:xfrm>
            <a:custGeom>
              <a:avLst/>
              <a:gdLst>
                <a:gd name="T0" fmla="*/ 89 w 89"/>
                <a:gd name="T1" fmla="*/ 3096 h 3096"/>
                <a:gd name="T2" fmla="*/ 0 w 89"/>
                <a:gd name="T3" fmla="*/ 3060 h 3096"/>
                <a:gd name="T4" fmla="*/ 0 w 89"/>
                <a:gd name="T5" fmla="*/ 67 h 3096"/>
                <a:gd name="T6" fmla="*/ 89 w 89"/>
                <a:gd name="T7" fmla="*/ 0 h 3096"/>
                <a:gd name="T8" fmla="*/ 89 w 89"/>
                <a:gd name="T9" fmla="*/ 3096 h 3096"/>
              </a:gdLst>
              <a:ahLst/>
              <a:cxnLst>
                <a:cxn ang="0">
                  <a:pos x="T0" y="T1"/>
                </a:cxn>
                <a:cxn ang="0">
                  <a:pos x="T2" y="T3"/>
                </a:cxn>
                <a:cxn ang="0">
                  <a:pos x="T4" y="T5"/>
                </a:cxn>
                <a:cxn ang="0">
                  <a:pos x="T6" y="T7"/>
                </a:cxn>
                <a:cxn ang="0">
                  <a:pos x="T8" y="T9"/>
                </a:cxn>
              </a:cxnLst>
              <a:rect l="0" t="0" r="r" b="b"/>
              <a:pathLst>
                <a:path w="89" h="3096">
                  <a:moveTo>
                    <a:pt x="89" y="3096"/>
                  </a:moveTo>
                  <a:lnTo>
                    <a:pt x="0" y="3060"/>
                  </a:lnTo>
                  <a:lnTo>
                    <a:pt x="0" y="67"/>
                  </a:lnTo>
                  <a:lnTo>
                    <a:pt x="89" y="0"/>
                  </a:lnTo>
                  <a:lnTo>
                    <a:pt x="89" y="3096"/>
                  </a:lnTo>
                  <a:close/>
                </a:path>
              </a:pathLst>
            </a:custGeom>
            <a:solidFill>
              <a:srgbClr val="D8485D"/>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464" name="ï$ļïḍê"/>
            <p:cNvSpPr/>
            <p:nvPr/>
          </p:nvSpPr>
          <p:spPr bwMode="auto">
            <a:xfrm>
              <a:off x="6650038" y="957263"/>
              <a:ext cx="874713" cy="4914900"/>
            </a:xfrm>
            <a:prstGeom prst="rect">
              <a:avLst/>
            </a:prstGeom>
            <a:solidFill>
              <a:srgbClr val="F7546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p>
          </p:txBody>
        </p:sp>
        <p:sp>
          <p:nvSpPr>
            <p:cNvPr id="465" name="ïṧḻïḋè"/>
            <p:cNvSpPr/>
            <p:nvPr/>
          </p:nvSpPr>
          <p:spPr bwMode="auto">
            <a:xfrm>
              <a:off x="6650038" y="957263"/>
              <a:ext cx="874713" cy="4914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p>
          </p:txBody>
        </p:sp>
        <p:sp>
          <p:nvSpPr>
            <p:cNvPr id="466" name="îṩļïdè"/>
            <p:cNvSpPr/>
            <p:nvPr/>
          </p:nvSpPr>
          <p:spPr bwMode="auto">
            <a:xfrm>
              <a:off x="6802438" y="5078413"/>
              <a:ext cx="500137"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anchor="t" anchorCtr="0" compatLnSpc="1">
              <a:normAutofit fontScale="62500" lnSpcReduction="20000"/>
            </a:bodyPr>
            <a:lstStyle/>
            <a:p>
              <a:pPr marL="0" marR="0" lvl="0" indent="0" algn="l" defTabSz="914400" rtl="0" eaLnBrk="0" fontAlgn="base" latinLnBrk="0" hangingPunct="0">
                <a:spcBef>
                  <a:spcPct val="0"/>
                </a:spcBef>
                <a:spcAft>
                  <a:spcPct val="0"/>
                </a:spcAft>
                <a:buClrTx/>
                <a:buSzTx/>
                <a:buFontTx/>
                <a:buNone/>
              </a:pPr>
              <a:r>
                <a:rPr kumimoji="0" lang="en-US" altLang="zh-CN" sz="5400" b="0" i="0" u="none" strike="noStrike" cap="none" normalizeH="0" baseline="0">
                  <a:ln>
                    <a:noFill/>
                  </a:ln>
                  <a:solidFill>
                    <a:srgbClr val="FCFCFC"/>
                  </a:solidFill>
                  <a:effectLst/>
                </a:rPr>
                <a:t>D</a:t>
              </a:r>
              <a:endParaRPr kumimoji="0" lang="zh-CN" altLang="zh-CN" sz="5400" b="0" i="0" u="none" strike="noStrike" cap="none" normalizeH="0" baseline="0">
                <a:ln>
                  <a:noFill/>
                </a:ln>
                <a:solidFill>
                  <a:srgbClr val="FCFCFC"/>
                </a:solidFill>
                <a:effectLst/>
              </a:endParaRPr>
            </a:p>
          </p:txBody>
        </p:sp>
        <p:sp>
          <p:nvSpPr>
            <p:cNvPr id="467" name="ïṩļiḑè"/>
            <p:cNvSpPr/>
            <p:nvPr/>
          </p:nvSpPr>
          <p:spPr bwMode="auto">
            <a:xfrm>
              <a:off x="3687763" y="1579563"/>
              <a:ext cx="3519488" cy="3140075"/>
            </a:xfrm>
            <a:custGeom>
              <a:avLst/>
              <a:gdLst>
                <a:gd name="T0" fmla="*/ 20 w 2217"/>
                <a:gd name="T1" fmla="*/ 1978 h 1978"/>
                <a:gd name="T2" fmla="*/ 0 w 2217"/>
                <a:gd name="T3" fmla="*/ 1947 h 1978"/>
                <a:gd name="T4" fmla="*/ 707 w 2217"/>
                <a:gd name="T5" fmla="*/ 1488 h 1978"/>
                <a:gd name="T6" fmla="*/ 1419 w 2217"/>
                <a:gd name="T7" fmla="*/ 414 h 1978"/>
                <a:gd name="T8" fmla="*/ 2202 w 2217"/>
                <a:gd name="T9" fmla="*/ 0 h 1978"/>
                <a:gd name="T10" fmla="*/ 2217 w 2217"/>
                <a:gd name="T11" fmla="*/ 31 h 1978"/>
                <a:gd name="T12" fmla="*/ 1443 w 2217"/>
                <a:gd name="T13" fmla="*/ 441 h 1978"/>
                <a:gd name="T14" fmla="*/ 734 w 2217"/>
                <a:gd name="T15" fmla="*/ 1515 h 1978"/>
                <a:gd name="T16" fmla="*/ 729 w 2217"/>
                <a:gd name="T17" fmla="*/ 1517 h 1978"/>
                <a:gd name="T18" fmla="*/ 20 w 2217"/>
                <a:gd name="T19" fmla="*/ 1978 h 19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17" h="1978">
                  <a:moveTo>
                    <a:pt x="20" y="1978"/>
                  </a:moveTo>
                  <a:lnTo>
                    <a:pt x="0" y="1947"/>
                  </a:lnTo>
                  <a:lnTo>
                    <a:pt x="707" y="1488"/>
                  </a:lnTo>
                  <a:lnTo>
                    <a:pt x="1419" y="414"/>
                  </a:lnTo>
                  <a:lnTo>
                    <a:pt x="2202" y="0"/>
                  </a:lnTo>
                  <a:lnTo>
                    <a:pt x="2217" y="31"/>
                  </a:lnTo>
                  <a:lnTo>
                    <a:pt x="1443" y="441"/>
                  </a:lnTo>
                  <a:lnTo>
                    <a:pt x="734" y="1515"/>
                  </a:lnTo>
                  <a:lnTo>
                    <a:pt x="729" y="1517"/>
                  </a:lnTo>
                  <a:lnTo>
                    <a:pt x="20" y="1978"/>
                  </a:lnTo>
                  <a:close/>
                </a:path>
              </a:pathLst>
            </a:custGeom>
            <a:solidFill>
              <a:srgbClr val="3D3D3D"/>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468" name="îṣļïḍê"/>
            <p:cNvSpPr/>
            <p:nvPr/>
          </p:nvSpPr>
          <p:spPr bwMode="auto">
            <a:xfrm>
              <a:off x="3687763" y="1579563"/>
              <a:ext cx="3519488" cy="3140075"/>
            </a:xfrm>
            <a:custGeom>
              <a:avLst/>
              <a:gdLst>
                <a:gd name="T0" fmla="*/ 20 w 2217"/>
                <a:gd name="T1" fmla="*/ 1978 h 1978"/>
                <a:gd name="T2" fmla="*/ 0 w 2217"/>
                <a:gd name="T3" fmla="*/ 1947 h 1978"/>
                <a:gd name="T4" fmla="*/ 707 w 2217"/>
                <a:gd name="T5" fmla="*/ 1488 h 1978"/>
                <a:gd name="T6" fmla="*/ 1419 w 2217"/>
                <a:gd name="T7" fmla="*/ 414 h 1978"/>
                <a:gd name="T8" fmla="*/ 2202 w 2217"/>
                <a:gd name="T9" fmla="*/ 0 h 1978"/>
                <a:gd name="T10" fmla="*/ 2217 w 2217"/>
                <a:gd name="T11" fmla="*/ 31 h 1978"/>
                <a:gd name="T12" fmla="*/ 1443 w 2217"/>
                <a:gd name="T13" fmla="*/ 441 h 1978"/>
                <a:gd name="T14" fmla="*/ 734 w 2217"/>
                <a:gd name="T15" fmla="*/ 1515 h 1978"/>
                <a:gd name="T16" fmla="*/ 729 w 2217"/>
                <a:gd name="T17" fmla="*/ 1517 h 1978"/>
                <a:gd name="T18" fmla="*/ 20 w 2217"/>
                <a:gd name="T19" fmla="*/ 1978 h 19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17" h="1978">
                  <a:moveTo>
                    <a:pt x="20" y="1978"/>
                  </a:moveTo>
                  <a:lnTo>
                    <a:pt x="0" y="1947"/>
                  </a:lnTo>
                  <a:lnTo>
                    <a:pt x="707" y="1488"/>
                  </a:lnTo>
                  <a:lnTo>
                    <a:pt x="1419" y="414"/>
                  </a:lnTo>
                  <a:lnTo>
                    <a:pt x="2202" y="0"/>
                  </a:lnTo>
                  <a:lnTo>
                    <a:pt x="2217" y="31"/>
                  </a:lnTo>
                  <a:lnTo>
                    <a:pt x="1443" y="441"/>
                  </a:lnTo>
                  <a:lnTo>
                    <a:pt x="734" y="1515"/>
                  </a:lnTo>
                  <a:lnTo>
                    <a:pt x="729" y="1517"/>
                  </a:lnTo>
                  <a:lnTo>
                    <a:pt x="20" y="197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469" name="îṣļíďê"/>
            <p:cNvSpPr/>
            <p:nvPr/>
          </p:nvSpPr>
          <p:spPr bwMode="auto">
            <a:xfrm>
              <a:off x="5829301" y="2130426"/>
              <a:ext cx="260350" cy="255588"/>
            </a:xfrm>
            <a:prstGeom prst="ellipse">
              <a:avLst/>
            </a:prstGeom>
            <a:solidFill>
              <a:srgbClr val="FCFCFC"/>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470" name="íṧḻîde"/>
            <p:cNvSpPr/>
            <p:nvPr/>
          </p:nvSpPr>
          <p:spPr bwMode="auto">
            <a:xfrm>
              <a:off x="7023101" y="1476376"/>
              <a:ext cx="258763" cy="255588"/>
            </a:xfrm>
            <a:prstGeom prst="ellipse">
              <a:avLst/>
            </a:prstGeom>
            <a:solidFill>
              <a:srgbClr val="FCFCFC"/>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471" name="íŝlíḑè"/>
            <p:cNvSpPr/>
            <p:nvPr/>
          </p:nvSpPr>
          <p:spPr bwMode="auto">
            <a:xfrm>
              <a:off x="4703763" y="3835401"/>
              <a:ext cx="255588" cy="258763"/>
            </a:xfrm>
            <a:prstGeom prst="ellipse">
              <a:avLst/>
            </a:prstGeom>
            <a:solidFill>
              <a:srgbClr val="FCFCFC"/>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472" name="ïṧļiḋè"/>
            <p:cNvSpPr/>
            <p:nvPr/>
          </p:nvSpPr>
          <p:spPr bwMode="auto">
            <a:xfrm>
              <a:off x="3563938" y="4567238"/>
              <a:ext cx="255588" cy="255588"/>
            </a:xfrm>
            <a:prstGeom prst="ellipse">
              <a:avLst/>
            </a:prstGeom>
            <a:solidFill>
              <a:srgbClr val="FCFCFC"/>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473" name="îṣļidê"/>
            <p:cNvSpPr/>
            <p:nvPr/>
          </p:nvSpPr>
          <p:spPr bwMode="auto">
            <a:xfrm>
              <a:off x="7524751" y="1347788"/>
              <a:ext cx="1541463" cy="4794250"/>
            </a:xfrm>
            <a:custGeom>
              <a:avLst/>
              <a:gdLst>
                <a:gd name="T0" fmla="*/ 311 w 434"/>
                <a:gd name="T1" fmla="*/ 1075 h 1349"/>
                <a:gd name="T2" fmla="*/ 48 w 434"/>
                <a:gd name="T3" fmla="*/ 1055 h 1349"/>
                <a:gd name="T4" fmla="*/ 311 w 434"/>
                <a:gd name="T5" fmla="*/ 1055 h 1349"/>
                <a:gd name="T6" fmla="*/ 48 w 434"/>
                <a:gd name="T7" fmla="*/ 840 h 1349"/>
                <a:gd name="T8" fmla="*/ 48 w 434"/>
                <a:gd name="T9" fmla="*/ 937 h 1349"/>
                <a:gd name="T10" fmla="*/ 165 w 434"/>
                <a:gd name="T11" fmla="*/ 722 h 1349"/>
                <a:gd name="T12" fmla="*/ 150 w 434"/>
                <a:gd name="T13" fmla="*/ 795 h 1349"/>
                <a:gd name="T14" fmla="*/ 121 w 434"/>
                <a:gd name="T15" fmla="*/ 816 h 1349"/>
                <a:gd name="T16" fmla="*/ 190 w 434"/>
                <a:gd name="T17" fmla="*/ 819 h 1349"/>
                <a:gd name="T18" fmla="*/ 216 w 434"/>
                <a:gd name="T19" fmla="*/ 819 h 1349"/>
                <a:gd name="T20" fmla="*/ 215 w 434"/>
                <a:gd name="T21" fmla="*/ 722 h 1349"/>
                <a:gd name="T22" fmla="*/ 215 w 434"/>
                <a:gd name="T23" fmla="*/ 819 h 1349"/>
                <a:gd name="T24" fmla="*/ 54 w 434"/>
                <a:gd name="T25" fmla="*/ 663 h 1349"/>
                <a:gd name="T26" fmla="*/ 79 w 434"/>
                <a:gd name="T27" fmla="*/ 701 h 1349"/>
                <a:gd name="T28" fmla="*/ 92 w 434"/>
                <a:gd name="T29" fmla="*/ 663 h 1349"/>
                <a:gd name="T30" fmla="*/ 153 w 434"/>
                <a:gd name="T31" fmla="*/ 647 h 1349"/>
                <a:gd name="T32" fmla="*/ 48 w 434"/>
                <a:gd name="T33" fmla="*/ 696 h 1349"/>
                <a:gd name="T34" fmla="*/ 79 w 434"/>
                <a:gd name="T35" fmla="*/ 701 h 1349"/>
                <a:gd name="T36" fmla="*/ 202 w 434"/>
                <a:gd name="T37" fmla="*/ 605 h 1349"/>
                <a:gd name="T38" fmla="*/ 213 w 434"/>
                <a:gd name="T39" fmla="*/ 702 h 1349"/>
                <a:gd name="T40" fmla="*/ 52 w 434"/>
                <a:gd name="T41" fmla="*/ 509 h 1349"/>
                <a:gd name="T42" fmla="*/ 148 w 434"/>
                <a:gd name="T43" fmla="*/ 525 h 1349"/>
                <a:gd name="T44" fmla="*/ 75 w 434"/>
                <a:gd name="T45" fmla="*/ 584 h 1349"/>
                <a:gd name="T46" fmla="*/ 230 w 434"/>
                <a:gd name="T47" fmla="*/ 487 h 1349"/>
                <a:gd name="T48" fmla="*/ 205 w 434"/>
                <a:gd name="T49" fmla="*/ 584 h 1349"/>
                <a:gd name="T50" fmla="*/ 47 w 434"/>
                <a:gd name="T51" fmla="*/ 370 h 1349"/>
                <a:gd name="T52" fmla="*/ 69 w 434"/>
                <a:gd name="T53" fmla="*/ 434 h 1349"/>
                <a:gd name="T54" fmla="*/ 235 w 434"/>
                <a:gd name="T55" fmla="*/ 370 h 1349"/>
                <a:gd name="T56" fmla="*/ 232 w 434"/>
                <a:gd name="T57" fmla="*/ 467 h 1349"/>
                <a:gd name="T58" fmla="*/ 60 w 434"/>
                <a:gd name="T59" fmla="*/ 349 h 1349"/>
                <a:gd name="T60" fmla="*/ 276 w 434"/>
                <a:gd name="T61" fmla="*/ 285 h 1349"/>
                <a:gd name="T62" fmla="*/ 310 w 434"/>
                <a:gd name="T63" fmla="*/ 252 h 1349"/>
                <a:gd name="T64" fmla="*/ 222 w 434"/>
                <a:gd name="T65" fmla="*/ 300 h 1349"/>
                <a:gd name="T66" fmla="*/ 257 w 434"/>
                <a:gd name="T67" fmla="*/ 302 h 1349"/>
                <a:gd name="T68" fmla="*/ 203 w 434"/>
                <a:gd name="T69" fmla="*/ 190 h 1349"/>
                <a:gd name="T70" fmla="*/ 218 w 434"/>
                <a:gd name="T71" fmla="*/ 205 h 1349"/>
                <a:gd name="T72" fmla="*/ 47 w 434"/>
                <a:gd name="T73" fmla="*/ 206 h 1349"/>
                <a:gd name="T74" fmla="*/ 60 w 434"/>
                <a:gd name="T75" fmla="*/ 160 h 1349"/>
                <a:gd name="T76" fmla="*/ 224 w 434"/>
                <a:gd name="T77" fmla="*/ 173 h 1349"/>
                <a:gd name="T78" fmla="*/ 310 w 434"/>
                <a:gd name="T79" fmla="*/ 135 h 1349"/>
                <a:gd name="T80" fmla="*/ 244 w 434"/>
                <a:gd name="T81" fmla="*/ 199 h 1349"/>
                <a:gd name="T82" fmla="*/ 236 w 434"/>
                <a:gd name="T83" fmla="*/ 149 h 1349"/>
                <a:gd name="T84" fmla="*/ 47 w 434"/>
                <a:gd name="T85" fmla="*/ 114 h 1349"/>
                <a:gd name="T86" fmla="*/ 69 w 434"/>
                <a:gd name="T87" fmla="*/ 114 h 1349"/>
                <a:gd name="T88" fmla="*/ 108 w 434"/>
                <a:gd name="T89" fmla="*/ 26 h 1349"/>
                <a:gd name="T90" fmla="*/ 100 w 434"/>
                <a:gd name="T91" fmla="*/ 34 h 1349"/>
                <a:gd name="T92" fmla="*/ 90 w 434"/>
                <a:gd name="T93" fmla="*/ 41 h 1349"/>
                <a:gd name="T94" fmla="*/ 81 w 434"/>
                <a:gd name="T95" fmla="*/ 52 h 1349"/>
                <a:gd name="T96" fmla="*/ 27 w 434"/>
                <a:gd name="T97" fmla="*/ 10 h 1349"/>
                <a:gd name="T98" fmla="*/ 0 w 434"/>
                <a:gd name="T99" fmla="*/ 279 h 1349"/>
                <a:gd name="T100" fmla="*/ 27 w 434"/>
                <a:gd name="T101" fmla="*/ 275 h 1349"/>
                <a:gd name="T102" fmla="*/ 0 w 434"/>
                <a:gd name="T103" fmla="*/ 533 h 1349"/>
                <a:gd name="T104" fmla="*/ 27 w 434"/>
                <a:gd name="T105" fmla="*/ 675 h 1349"/>
                <a:gd name="T106" fmla="*/ 0 w 434"/>
                <a:gd name="T107" fmla="*/ 680 h 1349"/>
                <a:gd name="T108" fmla="*/ 26 w 434"/>
                <a:gd name="T109" fmla="*/ 1257 h 1349"/>
                <a:gd name="T110" fmla="*/ 47 w 434"/>
                <a:gd name="T111" fmla="*/ 1257 h 1349"/>
                <a:gd name="T112" fmla="*/ 310 w 434"/>
                <a:gd name="T113" fmla="*/ 1257 h 1349"/>
                <a:gd name="T114" fmla="*/ 329 w 434"/>
                <a:gd name="T115" fmla="*/ 1257 h 1349"/>
                <a:gd name="T116" fmla="*/ 310 w 434"/>
                <a:gd name="T117" fmla="*/ 114 h 1349"/>
                <a:gd name="T118" fmla="*/ 221 w 434"/>
                <a:gd name="T119" fmla="*/ 55 h 1349"/>
                <a:gd name="T120" fmla="*/ 208 w 434"/>
                <a:gd name="T121" fmla="*/ 47 h 1349"/>
                <a:gd name="T122" fmla="*/ 214 w 434"/>
                <a:gd name="T123" fmla="*/ 31 h 1349"/>
                <a:gd name="T124" fmla="*/ 133 w 434"/>
                <a:gd name="T125" fmla="*/ 19 h 1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34" h="1349">
                  <a:moveTo>
                    <a:pt x="48" y="1172"/>
                  </a:moveTo>
                  <a:cubicBezTo>
                    <a:pt x="48" y="1075"/>
                    <a:pt x="48" y="1075"/>
                    <a:pt x="48" y="1075"/>
                  </a:cubicBezTo>
                  <a:cubicBezTo>
                    <a:pt x="311" y="1075"/>
                    <a:pt x="311" y="1075"/>
                    <a:pt x="311" y="1075"/>
                  </a:cubicBezTo>
                  <a:cubicBezTo>
                    <a:pt x="311" y="1172"/>
                    <a:pt x="311" y="1172"/>
                    <a:pt x="311" y="1172"/>
                  </a:cubicBezTo>
                  <a:cubicBezTo>
                    <a:pt x="48" y="1172"/>
                    <a:pt x="48" y="1172"/>
                    <a:pt x="48" y="1172"/>
                  </a:cubicBezTo>
                  <a:moveTo>
                    <a:pt x="48" y="1055"/>
                  </a:moveTo>
                  <a:cubicBezTo>
                    <a:pt x="48" y="958"/>
                    <a:pt x="48" y="958"/>
                    <a:pt x="48" y="958"/>
                  </a:cubicBezTo>
                  <a:cubicBezTo>
                    <a:pt x="311" y="958"/>
                    <a:pt x="311" y="958"/>
                    <a:pt x="311" y="958"/>
                  </a:cubicBezTo>
                  <a:cubicBezTo>
                    <a:pt x="311" y="1055"/>
                    <a:pt x="311" y="1055"/>
                    <a:pt x="311" y="1055"/>
                  </a:cubicBezTo>
                  <a:cubicBezTo>
                    <a:pt x="48" y="1055"/>
                    <a:pt x="48" y="1055"/>
                    <a:pt x="48" y="1055"/>
                  </a:cubicBezTo>
                  <a:moveTo>
                    <a:pt x="48" y="937"/>
                  </a:moveTo>
                  <a:cubicBezTo>
                    <a:pt x="48" y="840"/>
                    <a:pt x="48" y="840"/>
                    <a:pt x="48" y="840"/>
                  </a:cubicBezTo>
                  <a:cubicBezTo>
                    <a:pt x="311" y="840"/>
                    <a:pt x="311" y="840"/>
                    <a:pt x="311" y="840"/>
                  </a:cubicBezTo>
                  <a:cubicBezTo>
                    <a:pt x="311" y="937"/>
                    <a:pt x="311" y="937"/>
                    <a:pt x="311" y="937"/>
                  </a:cubicBezTo>
                  <a:cubicBezTo>
                    <a:pt x="48" y="937"/>
                    <a:pt x="48" y="937"/>
                    <a:pt x="48" y="937"/>
                  </a:cubicBezTo>
                  <a:moveTo>
                    <a:pt x="48" y="819"/>
                  </a:moveTo>
                  <a:cubicBezTo>
                    <a:pt x="48" y="722"/>
                    <a:pt x="48" y="722"/>
                    <a:pt x="48" y="722"/>
                  </a:cubicBezTo>
                  <a:cubicBezTo>
                    <a:pt x="165" y="722"/>
                    <a:pt x="165" y="722"/>
                    <a:pt x="165" y="722"/>
                  </a:cubicBezTo>
                  <a:cubicBezTo>
                    <a:pt x="171" y="757"/>
                    <a:pt x="175" y="786"/>
                    <a:pt x="175" y="786"/>
                  </a:cubicBezTo>
                  <a:cubicBezTo>
                    <a:pt x="175" y="786"/>
                    <a:pt x="176" y="787"/>
                    <a:pt x="178" y="787"/>
                  </a:cubicBezTo>
                  <a:cubicBezTo>
                    <a:pt x="174" y="793"/>
                    <a:pt x="162" y="795"/>
                    <a:pt x="150" y="795"/>
                  </a:cubicBezTo>
                  <a:cubicBezTo>
                    <a:pt x="146" y="795"/>
                    <a:pt x="142" y="795"/>
                    <a:pt x="138" y="795"/>
                  </a:cubicBezTo>
                  <a:cubicBezTo>
                    <a:pt x="137" y="794"/>
                    <a:pt x="136" y="794"/>
                    <a:pt x="135" y="794"/>
                  </a:cubicBezTo>
                  <a:cubicBezTo>
                    <a:pt x="118" y="794"/>
                    <a:pt x="117" y="812"/>
                    <a:pt x="121" y="816"/>
                  </a:cubicBezTo>
                  <a:cubicBezTo>
                    <a:pt x="129" y="816"/>
                    <a:pt x="187" y="816"/>
                    <a:pt x="187" y="816"/>
                  </a:cubicBezTo>
                  <a:cubicBezTo>
                    <a:pt x="189" y="819"/>
                    <a:pt x="189" y="819"/>
                    <a:pt x="189" y="819"/>
                  </a:cubicBezTo>
                  <a:cubicBezTo>
                    <a:pt x="189" y="819"/>
                    <a:pt x="189" y="819"/>
                    <a:pt x="190" y="819"/>
                  </a:cubicBezTo>
                  <a:cubicBezTo>
                    <a:pt x="48" y="819"/>
                    <a:pt x="48" y="819"/>
                    <a:pt x="48" y="819"/>
                  </a:cubicBezTo>
                  <a:moveTo>
                    <a:pt x="215" y="819"/>
                  </a:moveTo>
                  <a:cubicBezTo>
                    <a:pt x="216" y="819"/>
                    <a:pt x="216" y="819"/>
                    <a:pt x="216" y="819"/>
                  </a:cubicBezTo>
                  <a:cubicBezTo>
                    <a:pt x="219" y="806"/>
                    <a:pt x="216" y="793"/>
                    <a:pt x="214" y="786"/>
                  </a:cubicBezTo>
                  <a:cubicBezTo>
                    <a:pt x="215" y="786"/>
                    <a:pt x="216" y="785"/>
                    <a:pt x="217" y="785"/>
                  </a:cubicBezTo>
                  <a:cubicBezTo>
                    <a:pt x="218" y="772"/>
                    <a:pt x="217" y="747"/>
                    <a:pt x="215" y="722"/>
                  </a:cubicBezTo>
                  <a:cubicBezTo>
                    <a:pt x="311" y="722"/>
                    <a:pt x="311" y="722"/>
                    <a:pt x="311" y="722"/>
                  </a:cubicBezTo>
                  <a:cubicBezTo>
                    <a:pt x="311" y="819"/>
                    <a:pt x="311" y="819"/>
                    <a:pt x="311" y="819"/>
                  </a:cubicBezTo>
                  <a:cubicBezTo>
                    <a:pt x="215" y="819"/>
                    <a:pt x="215" y="819"/>
                    <a:pt x="215" y="819"/>
                  </a:cubicBezTo>
                  <a:moveTo>
                    <a:pt x="48" y="672"/>
                  </a:moveTo>
                  <a:cubicBezTo>
                    <a:pt x="48" y="648"/>
                    <a:pt x="48" y="648"/>
                    <a:pt x="48" y="648"/>
                  </a:cubicBezTo>
                  <a:cubicBezTo>
                    <a:pt x="52" y="657"/>
                    <a:pt x="54" y="663"/>
                    <a:pt x="54" y="663"/>
                  </a:cubicBezTo>
                  <a:cubicBezTo>
                    <a:pt x="57" y="663"/>
                    <a:pt x="57" y="663"/>
                    <a:pt x="57" y="663"/>
                  </a:cubicBezTo>
                  <a:cubicBezTo>
                    <a:pt x="57" y="667"/>
                    <a:pt x="53" y="670"/>
                    <a:pt x="48" y="672"/>
                  </a:cubicBezTo>
                  <a:moveTo>
                    <a:pt x="79" y="701"/>
                  </a:moveTo>
                  <a:cubicBezTo>
                    <a:pt x="83" y="701"/>
                    <a:pt x="88" y="700"/>
                    <a:pt x="94" y="699"/>
                  </a:cubicBezTo>
                  <a:cubicBezTo>
                    <a:pt x="97" y="683"/>
                    <a:pt x="93" y="668"/>
                    <a:pt x="91" y="663"/>
                  </a:cubicBezTo>
                  <a:cubicBezTo>
                    <a:pt x="92" y="663"/>
                    <a:pt x="92" y="663"/>
                    <a:pt x="92" y="663"/>
                  </a:cubicBezTo>
                  <a:cubicBezTo>
                    <a:pt x="92" y="663"/>
                    <a:pt x="87" y="635"/>
                    <a:pt x="80" y="605"/>
                  </a:cubicBezTo>
                  <a:cubicBezTo>
                    <a:pt x="150" y="605"/>
                    <a:pt x="150" y="605"/>
                    <a:pt x="150" y="605"/>
                  </a:cubicBezTo>
                  <a:cubicBezTo>
                    <a:pt x="151" y="621"/>
                    <a:pt x="152" y="636"/>
                    <a:pt x="153" y="647"/>
                  </a:cubicBezTo>
                  <a:cubicBezTo>
                    <a:pt x="156" y="662"/>
                    <a:pt x="159" y="682"/>
                    <a:pt x="162" y="702"/>
                  </a:cubicBezTo>
                  <a:cubicBezTo>
                    <a:pt x="48" y="702"/>
                    <a:pt x="48" y="702"/>
                    <a:pt x="48" y="702"/>
                  </a:cubicBezTo>
                  <a:cubicBezTo>
                    <a:pt x="48" y="696"/>
                    <a:pt x="48" y="696"/>
                    <a:pt x="48" y="696"/>
                  </a:cubicBezTo>
                  <a:cubicBezTo>
                    <a:pt x="57" y="696"/>
                    <a:pt x="65" y="696"/>
                    <a:pt x="65" y="696"/>
                  </a:cubicBezTo>
                  <a:cubicBezTo>
                    <a:pt x="67" y="699"/>
                    <a:pt x="67" y="699"/>
                    <a:pt x="67" y="699"/>
                  </a:cubicBezTo>
                  <a:cubicBezTo>
                    <a:pt x="67" y="699"/>
                    <a:pt x="71" y="701"/>
                    <a:pt x="79" y="701"/>
                  </a:cubicBezTo>
                  <a:moveTo>
                    <a:pt x="213" y="702"/>
                  </a:moveTo>
                  <a:cubicBezTo>
                    <a:pt x="211" y="687"/>
                    <a:pt x="209" y="673"/>
                    <a:pt x="208" y="663"/>
                  </a:cubicBezTo>
                  <a:cubicBezTo>
                    <a:pt x="207" y="657"/>
                    <a:pt x="200" y="636"/>
                    <a:pt x="202" y="605"/>
                  </a:cubicBezTo>
                  <a:cubicBezTo>
                    <a:pt x="310" y="605"/>
                    <a:pt x="310" y="605"/>
                    <a:pt x="310" y="605"/>
                  </a:cubicBezTo>
                  <a:cubicBezTo>
                    <a:pt x="311" y="702"/>
                    <a:pt x="311" y="702"/>
                    <a:pt x="311" y="702"/>
                  </a:cubicBezTo>
                  <a:cubicBezTo>
                    <a:pt x="213" y="702"/>
                    <a:pt x="213" y="702"/>
                    <a:pt x="213" y="702"/>
                  </a:cubicBezTo>
                  <a:moveTo>
                    <a:pt x="75" y="584"/>
                  </a:moveTo>
                  <a:cubicBezTo>
                    <a:pt x="74" y="583"/>
                    <a:pt x="74" y="582"/>
                    <a:pt x="74" y="580"/>
                  </a:cubicBezTo>
                  <a:cubicBezTo>
                    <a:pt x="64" y="542"/>
                    <a:pt x="55" y="525"/>
                    <a:pt x="52" y="509"/>
                  </a:cubicBezTo>
                  <a:cubicBezTo>
                    <a:pt x="51" y="508"/>
                    <a:pt x="52" y="507"/>
                    <a:pt x="55" y="507"/>
                  </a:cubicBezTo>
                  <a:cubicBezTo>
                    <a:pt x="61" y="507"/>
                    <a:pt x="77" y="511"/>
                    <a:pt x="94" y="516"/>
                  </a:cubicBezTo>
                  <a:cubicBezTo>
                    <a:pt x="112" y="520"/>
                    <a:pt x="132" y="525"/>
                    <a:pt x="148" y="525"/>
                  </a:cubicBezTo>
                  <a:cubicBezTo>
                    <a:pt x="149" y="525"/>
                    <a:pt x="149" y="525"/>
                    <a:pt x="150" y="525"/>
                  </a:cubicBezTo>
                  <a:cubicBezTo>
                    <a:pt x="149" y="543"/>
                    <a:pt x="149" y="564"/>
                    <a:pt x="149" y="584"/>
                  </a:cubicBezTo>
                  <a:cubicBezTo>
                    <a:pt x="75" y="584"/>
                    <a:pt x="75" y="584"/>
                    <a:pt x="75" y="584"/>
                  </a:cubicBezTo>
                  <a:moveTo>
                    <a:pt x="205" y="584"/>
                  </a:moveTo>
                  <a:cubicBezTo>
                    <a:pt x="206" y="576"/>
                    <a:pt x="209" y="567"/>
                    <a:pt x="212" y="557"/>
                  </a:cubicBezTo>
                  <a:cubicBezTo>
                    <a:pt x="223" y="530"/>
                    <a:pt x="228" y="507"/>
                    <a:pt x="230" y="487"/>
                  </a:cubicBezTo>
                  <a:cubicBezTo>
                    <a:pt x="310" y="487"/>
                    <a:pt x="310" y="487"/>
                    <a:pt x="310" y="487"/>
                  </a:cubicBezTo>
                  <a:cubicBezTo>
                    <a:pt x="310" y="584"/>
                    <a:pt x="310" y="584"/>
                    <a:pt x="310" y="584"/>
                  </a:cubicBezTo>
                  <a:cubicBezTo>
                    <a:pt x="205" y="584"/>
                    <a:pt x="205" y="584"/>
                    <a:pt x="205" y="584"/>
                  </a:cubicBezTo>
                  <a:moveTo>
                    <a:pt x="69" y="434"/>
                  </a:moveTo>
                  <a:cubicBezTo>
                    <a:pt x="63" y="433"/>
                    <a:pt x="55" y="433"/>
                    <a:pt x="48" y="433"/>
                  </a:cubicBezTo>
                  <a:cubicBezTo>
                    <a:pt x="47" y="370"/>
                    <a:pt x="47" y="370"/>
                    <a:pt x="47" y="370"/>
                  </a:cubicBezTo>
                  <a:cubicBezTo>
                    <a:pt x="61" y="370"/>
                    <a:pt x="61" y="370"/>
                    <a:pt x="61" y="370"/>
                  </a:cubicBezTo>
                  <a:cubicBezTo>
                    <a:pt x="61" y="378"/>
                    <a:pt x="61" y="388"/>
                    <a:pt x="59" y="398"/>
                  </a:cubicBezTo>
                  <a:cubicBezTo>
                    <a:pt x="58" y="413"/>
                    <a:pt x="62" y="425"/>
                    <a:pt x="69" y="434"/>
                  </a:cubicBezTo>
                  <a:moveTo>
                    <a:pt x="232" y="467"/>
                  </a:moveTo>
                  <a:cubicBezTo>
                    <a:pt x="232" y="458"/>
                    <a:pt x="231" y="451"/>
                    <a:pt x="231" y="445"/>
                  </a:cubicBezTo>
                  <a:cubicBezTo>
                    <a:pt x="244" y="429"/>
                    <a:pt x="242" y="404"/>
                    <a:pt x="235" y="370"/>
                  </a:cubicBezTo>
                  <a:cubicBezTo>
                    <a:pt x="310" y="370"/>
                    <a:pt x="310" y="370"/>
                    <a:pt x="310" y="370"/>
                  </a:cubicBezTo>
                  <a:cubicBezTo>
                    <a:pt x="310" y="467"/>
                    <a:pt x="310" y="467"/>
                    <a:pt x="310" y="467"/>
                  </a:cubicBezTo>
                  <a:cubicBezTo>
                    <a:pt x="232" y="467"/>
                    <a:pt x="232" y="467"/>
                    <a:pt x="232" y="467"/>
                  </a:cubicBezTo>
                  <a:moveTo>
                    <a:pt x="47" y="349"/>
                  </a:moveTo>
                  <a:cubicBezTo>
                    <a:pt x="47" y="291"/>
                    <a:pt x="47" y="291"/>
                    <a:pt x="47" y="291"/>
                  </a:cubicBezTo>
                  <a:cubicBezTo>
                    <a:pt x="51" y="308"/>
                    <a:pt x="57" y="325"/>
                    <a:pt x="60" y="349"/>
                  </a:cubicBezTo>
                  <a:cubicBezTo>
                    <a:pt x="47" y="349"/>
                    <a:pt x="47" y="349"/>
                    <a:pt x="47" y="349"/>
                  </a:cubicBezTo>
                  <a:moveTo>
                    <a:pt x="257" y="302"/>
                  </a:moveTo>
                  <a:cubicBezTo>
                    <a:pt x="269" y="302"/>
                    <a:pt x="277" y="294"/>
                    <a:pt x="276" y="285"/>
                  </a:cubicBezTo>
                  <a:cubicBezTo>
                    <a:pt x="276" y="285"/>
                    <a:pt x="276" y="285"/>
                    <a:pt x="276" y="285"/>
                  </a:cubicBezTo>
                  <a:cubicBezTo>
                    <a:pt x="277" y="280"/>
                    <a:pt x="273" y="268"/>
                    <a:pt x="267" y="252"/>
                  </a:cubicBezTo>
                  <a:cubicBezTo>
                    <a:pt x="310" y="252"/>
                    <a:pt x="310" y="252"/>
                    <a:pt x="310" y="252"/>
                  </a:cubicBezTo>
                  <a:cubicBezTo>
                    <a:pt x="310" y="349"/>
                    <a:pt x="310" y="349"/>
                    <a:pt x="310" y="349"/>
                  </a:cubicBezTo>
                  <a:cubicBezTo>
                    <a:pt x="231" y="349"/>
                    <a:pt x="231" y="349"/>
                    <a:pt x="231" y="349"/>
                  </a:cubicBezTo>
                  <a:cubicBezTo>
                    <a:pt x="228" y="334"/>
                    <a:pt x="225" y="318"/>
                    <a:pt x="222" y="300"/>
                  </a:cubicBezTo>
                  <a:cubicBezTo>
                    <a:pt x="222" y="296"/>
                    <a:pt x="221" y="293"/>
                    <a:pt x="220" y="289"/>
                  </a:cubicBezTo>
                  <a:cubicBezTo>
                    <a:pt x="227" y="293"/>
                    <a:pt x="235" y="297"/>
                    <a:pt x="243" y="300"/>
                  </a:cubicBezTo>
                  <a:cubicBezTo>
                    <a:pt x="248" y="301"/>
                    <a:pt x="253" y="302"/>
                    <a:pt x="257" y="302"/>
                  </a:cubicBezTo>
                  <a:moveTo>
                    <a:pt x="221" y="232"/>
                  </a:moveTo>
                  <a:cubicBezTo>
                    <a:pt x="199" y="217"/>
                    <a:pt x="184" y="209"/>
                    <a:pt x="180" y="206"/>
                  </a:cubicBezTo>
                  <a:cubicBezTo>
                    <a:pt x="189" y="204"/>
                    <a:pt x="197" y="199"/>
                    <a:pt x="203" y="190"/>
                  </a:cubicBezTo>
                  <a:cubicBezTo>
                    <a:pt x="204" y="188"/>
                    <a:pt x="206" y="186"/>
                    <a:pt x="207" y="184"/>
                  </a:cubicBezTo>
                  <a:cubicBezTo>
                    <a:pt x="209" y="191"/>
                    <a:pt x="215" y="198"/>
                    <a:pt x="218" y="205"/>
                  </a:cubicBezTo>
                  <a:cubicBezTo>
                    <a:pt x="218" y="205"/>
                    <a:pt x="218" y="205"/>
                    <a:pt x="218" y="205"/>
                  </a:cubicBezTo>
                  <a:cubicBezTo>
                    <a:pt x="225" y="232"/>
                    <a:pt x="225" y="232"/>
                    <a:pt x="225" y="232"/>
                  </a:cubicBezTo>
                  <a:cubicBezTo>
                    <a:pt x="221" y="232"/>
                    <a:pt x="221" y="232"/>
                    <a:pt x="221" y="232"/>
                  </a:cubicBezTo>
                  <a:moveTo>
                    <a:pt x="47" y="206"/>
                  </a:moveTo>
                  <a:cubicBezTo>
                    <a:pt x="47" y="135"/>
                    <a:pt x="47" y="135"/>
                    <a:pt x="47" y="135"/>
                  </a:cubicBezTo>
                  <a:cubicBezTo>
                    <a:pt x="64" y="135"/>
                    <a:pt x="64" y="135"/>
                    <a:pt x="64" y="135"/>
                  </a:cubicBezTo>
                  <a:cubicBezTo>
                    <a:pt x="62" y="142"/>
                    <a:pt x="60" y="150"/>
                    <a:pt x="60" y="160"/>
                  </a:cubicBezTo>
                  <a:cubicBezTo>
                    <a:pt x="59" y="175"/>
                    <a:pt x="64" y="188"/>
                    <a:pt x="74" y="198"/>
                  </a:cubicBezTo>
                  <a:cubicBezTo>
                    <a:pt x="65" y="200"/>
                    <a:pt x="56" y="203"/>
                    <a:pt x="47" y="206"/>
                  </a:cubicBezTo>
                  <a:moveTo>
                    <a:pt x="224" y="173"/>
                  </a:moveTo>
                  <a:cubicBezTo>
                    <a:pt x="220" y="173"/>
                    <a:pt x="219" y="168"/>
                    <a:pt x="218" y="164"/>
                  </a:cubicBezTo>
                  <a:cubicBezTo>
                    <a:pt x="223" y="155"/>
                    <a:pt x="227" y="145"/>
                    <a:pt x="231" y="135"/>
                  </a:cubicBezTo>
                  <a:cubicBezTo>
                    <a:pt x="310" y="135"/>
                    <a:pt x="310" y="135"/>
                    <a:pt x="310" y="135"/>
                  </a:cubicBezTo>
                  <a:cubicBezTo>
                    <a:pt x="310" y="232"/>
                    <a:pt x="310" y="232"/>
                    <a:pt x="310" y="232"/>
                  </a:cubicBezTo>
                  <a:cubicBezTo>
                    <a:pt x="259" y="232"/>
                    <a:pt x="259" y="232"/>
                    <a:pt x="259" y="232"/>
                  </a:cubicBezTo>
                  <a:cubicBezTo>
                    <a:pt x="254" y="220"/>
                    <a:pt x="248" y="209"/>
                    <a:pt x="244" y="199"/>
                  </a:cubicBezTo>
                  <a:cubicBezTo>
                    <a:pt x="244" y="199"/>
                    <a:pt x="243" y="199"/>
                    <a:pt x="242" y="198"/>
                  </a:cubicBezTo>
                  <a:cubicBezTo>
                    <a:pt x="244" y="192"/>
                    <a:pt x="248" y="172"/>
                    <a:pt x="251" y="163"/>
                  </a:cubicBezTo>
                  <a:cubicBezTo>
                    <a:pt x="254" y="152"/>
                    <a:pt x="236" y="149"/>
                    <a:pt x="236" y="149"/>
                  </a:cubicBezTo>
                  <a:cubicBezTo>
                    <a:pt x="236" y="149"/>
                    <a:pt x="236" y="170"/>
                    <a:pt x="224" y="172"/>
                  </a:cubicBezTo>
                  <a:cubicBezTo>
                    <a:pt x="224" y="173"/>
                    <a:pt x="224" y="173"/>
                    <a:pt x="224" y="173"/>
                  </a:cubicBezTo>
                  <a:moveTo>
                    <a:pt x="47" y="114"/>
                  </a:moveTo>
                  <a:cubicBezTo>
                    <a:pt x="47" y="45"/>
                    <a:pt x="47" y="45"/>
                    <a:pt x="47" y="45"/>
                  </a:cubicBezTo>
                  <a:cubicBezTo>
                    <a:pt x="51" y="55"/>
                    <a:pt x="58" y="68"/>
                    <a:pt x="75" y="78"/>
                  </a:cubicBezTo>
                  <a:cubicBezTo>
                    <a:pt x="73" y="84"/>
                    <a:pt x="68" y="98"/>
                    <a:pt x="69" y="114"/>
                  </a:cubicBezTo>
                  <a:cubicBezTo>
                    <a:pt x="47" y="114"/>
                    <a:pt x="47" y="114"/>
                    <a:pt x="47" y="114"/>
                  </a:cubicBezTo>
                  <a:moveTo>
                    <a:pt x="97" y="0"/>
                  </a:moveTo>
                  <a:cubicBezTo>
                    <a:pt x="96" y="12"/>
                    <a:pt x="101" y="23"/>
                    <a:pt x="108" y="26"/>
                  </a:cubicBezTo>
                  <a:cubicBezTo>
                    <a:pt x="107" y="26"/>
                    <a:pt x="106" y="26"/>
                    <a:pt x="106" y="26"/>
                  </a:cubicBezTo>
                  <a:cubicBezTo>
                    <a:pt x="98" y="26"/>
                    <a:pt x="92" y="16"/>
                    <a:pt x="90" y="6"/>
                  </a:cubicBezTo>
                  <a:cubicBezTo>
                    <a:pt x="89" y="17"/>
                    <a:pt x="91" y="29"/>
                    <a:pt x="100" y="34"/>
                  </a:cubicBezTo>
                  <a:cubicBezTo>
                    <a:pt x="99" y="34"/>
                    <a:pt x="98" y="34"/>
                    <a:pt x="97" y="34"/>
                  </a:cubicBezTo>
                  <a:cubicBezTo>
                    <a:pt x="88" y="34"/>
                    <a:pt x="79" y="25"/>
                    <a:pt x="76" y="18"/>
                  </a:cubicBezTo>
                  <a:cubicBezTo>
                    <a:pt x="76" y="26"/>
                    <a:pt x="82" y="38"/>
                    <a:pt x="90" y="41"/>
                  </a:cubicBezTo>
                  <a:cubicBezTo>
                    <a:pt x="89" y="41"/>
                    <a:pt x="88" y="41"/>
                    <a:pt x="87" y="41"/>
                  </a:cubicBezTo>
                  <a:cubicBezTo>
                    <a:pt x="77" y="41"/>
                    <a:pt x="68" y="30"/>
                    <a:pt x="66" y="15"/>
                  </a:cubicBezTo>
                  <a:cubicBezTo>
                    <a:pt x="65" y="24"/>
                    <a:pt x="67" y="46"/>
                    <a:pt x="81" y="52"/>
                  </a:cubicBezTo>
                  <a:cubicBezTo>
                    <a:pt x="72" y="50"/>
                    <a:pt x="55" y="44"/>
                    <a:pt x="47" y="36"/>
                  </a:cubicBezTo>
                  <a:cubicBezTo>
                    <a:pt x="47" y="10"/>
                    <a:pt x="47" y="10"/>
                    <a:pt x="47" y="10"/>
                  </a:cubicBezTo>
                  <a:cubicBezTo>
                    <a:pt x="27" y="10"/>
                    <a:pt x="27" y="10"/>
                    <a:pt x="27" y="10"/>
                  </a:cubicBezTo>
                  <a:cubicBezTo>
                    <a:pt x="27" y="213"/>
                    <a:pt x="27" y="213"/>
                    <a:pt x="27" y="213"/>
                  </a:cubicBezTo>
                  <a:cubicBezTo>
                    <a:pt x="18" y="216"/>
                    <a:pt x="10" y="219"/>
                    <a:pt x="0" y="223"/>
                  </a:cubicBezTo>
                  <a:cubicBezTo>
                    <a:pt x="0" y="279"/>
                    <a:pt x="0" y="279"/>
                    <a:pt x="0" y="279"/>
                  </a:cubicBezTo>
                  <a:cubicBezTo>
                    <a:pt x="1" y="279"/>
                    <a:pt x="2" y="278"/>
                    <a:pt x="3" y="278"/>
                  </a:cubicBezTo>
                  <a:cubicBezTo>
                    <a:pt x="12" y="276"/>
                    <a:pt x="19" y="275"/>
                    <a:pt x="26" y="275"/>
                  </a:cubicBezTo>
                  <a:cubicBezTo>
                    <a:pt x="26" y="275"/>
                    <a:pt x="27" y="275"/>
                    <a:pt x="27" y="275"/>
                  </a:cubicBezTo>
                  <a:cubicBezTo>
                    <a:pt x="27" y="434"/>
                    <a:pt x="27" y="434"/>
                    <a:pt x="27" y="434"/>
                  </a:cubicBezTo>
                  <a:cubicBezTo>
                    <a:pt x="18" y="435"/>
                    <a:pt x="8" y="436"/>
                    <a:pt x="0" y="439"/>
                  </a:cubicBezTo>
                  <a:cubicBezTo>
                    <a:pt x="0" y="533"/>
                    <a:pt x="0" y="533"/>
                    <a:pt x="0" y="533"/>
                  </a:cubicBezTo>
                  <a:cubicBezTo>
                    <a:pt x="3" y="543"/>
                    <a:pt x="7" y="553"/>
                    <a:pt x="12" y="563"/>
                  </a:cubicBezTo>
                  <a:cubicBezTo>
                    <a:pt x="17" y="576"/>
                    <a:pt x="22" y="589"/>
                    <a:pt x="27" y="600"/>
                  </a:cubicBezTo>
                  <a:cubicBezTo>
                    <a:pt x="27" y="675"/>
                    <a:pt x="27" y="675"/>
                    <a:pt x="27" y="675"/>
                  </a:cubicBezTo>
                  <a:cubicBezTo>
                    <a:pt x="23" y="675"/>
                    <a:pt x="19" y="675"/>
                    <a:pt x="16" y="675"/>
                  </a:cubicBezTo>
                  <a:cubicBezTo>
                    <a:pt x="14" y="674"/>
                    <a:pt x="13" y="674"/>
                    <a:pt x="13" y="674"/>
                  </a:cubicBezTo>
                  <a:cubicBezTo>
                    <a:pt x="6" y="674"/>
                    <a:pt x="2" y="677"/>
                    <a:pt x="0" y="680"/>
                  </a:cubicBezTo>
                  <a:cubicBezTo>
                    <a:pt x="0" y="696"/>
                    <a:pt x="0" y="696"/>
                    <a:pt x="0" y="696"/>
                  </a:cubicBezTo>
                  <a:cubicBezTo>
                    <a:pt x="5" y="696"/>
                    <a:pt x="15" y="696"/>
                    <a:pt x="27" y="696"/>
                  </a:cubicBezTo>
                  <a:cubicBezTo>
                    <a:pt x="26" y="1257"/>
                    <a:pt x="26" y="1257"/>
                    <a:pt x="26" y="1257"/>
                  </a:cubicBezTo>
                  <a:cubicBezTo>
                    <a:pt x="132" y="1349"/>
                    <a:pt x="132" y="1349"/>
                    <a:pt x="132" y="1349"/>
                  </a:cubicBezTo>
                  <a:cubicBezTo>
                    <a:pt x="152" y="1349"/>
                    <a:pt x="152" y="1349"/>
                    <a:pt x="152" y="1349"/>
                  </a:cubicBezTo>
                  <a:cubicBezTo>
                    <a:pt x="47" y="1257"/>
                    <a:pt x="47" y="1257"/>
                    <a:pt x="47" y="1257"/>
                  </a:cubicBezTo>
                  <a:cubicBezTo>
                    <a:pt x="48" y="1193"/>
                    <a:pt x="48" y="1193"/>
                    <a:pt x="48" y="1193"/>
                  </a:cubicBezTo>
                  <a:cubicBezTo>
                    <a:pt x="311" y="1193"/>
                    <a:pt x="311" y="1193"/>
                    <a:pt x="311" y="1193"/>
                  </a:cubicBezTo>
                  <a:cubicBezTo>
                    <a:pt x="310" y="1257"/>
                    <a:pt x="310" y="1257"/>
                    <a:pt x="310" y="1257"/>
                  </a:cubicBezTo>
                  <a:cubicBezTo>
                    <a:pt x="414" y="1349"/>
                    <a:pt x="414" y="1349"/>
                    <a:pt x="414" y="1349"/>
                  </a:cubicBezTo>
                  <a:cubicBezTo>
                    <a:pt x="434" y="1349"/>
                    <a:pt x="434" y="1349"/>
                    <a:pt x="434" y="1349"/>
                  </a:cubicBezTo>
                  <a:cubicBezTo>
                    <a:pt x="329" y="1257"/>
                    <a:pt x="329" y="1257"/>
                    <a:pt x="329" y="1257"/>
                  </a:cubicBezTo>
                  <a:cubicBezTo>
                    <a:pt x="330" y="10"/>
                    <a:pt x="330" y="10"/>
                    <a:pt x="330" y="10"/>
                  </a:cubicBezTo>
                  <a:cubicBezTo>
                    <a:pt x="310" y="10"/>
                    <a:pt x="310" y="10"/>
                    <a:pt x="310" y="10"/>
                  </a:cubicBezTo>
                  <a:cubicBezTo>
                    <a:pt x="310" y="114"/>
                    <a:pt x="310" y="114"/>
                    <a:pt x="310" y="114"/>
                  </a:cubicBezTo>
                  <a:cubicBezTo>
                    <a:pt x="236" y="114"/>
                    <a:pt x="236" y="114"/>
                    <a:pt x="236" y="114"/>
                  </a:cubicBezTo>
                  <a:cubicBezTo>
                    <a:pt x="241" y="91"/>
                    <a:pt x="237" y="69"/>
                    <a:pt x="217" y="57"/>
                  </a:cubicBezTo>
                  <a:cubicBezTo>
                    <a:pt x="218" y="55"/>
                    <a:pt x="219" y="55"/>
                    <a:pt x="221" y="55"/>
                  </a:cubicBezTo>
                  <a:cubicBezTo>
                    <a:pt x="227" y="55"/>
                    <a:pt x="238" y="64"/>
                    <a:pt x="238" y="64"/>
                  </a:cubicBezTo>
                  <a:cubicBezTo>
                    <a:pt x="236" y="56"/>
                    <a:pt x="226" y="45"/>
                    <a:pt x="216" y="45"/>
                  </a:cubicBezTo>
                  <a:cubicBezTo>
                    <a:pt x="213" y="45"/>
                    <a:pt x="210" y="45"/>
                    <a:pt x="208" y="47"/>
                  </a:cubicBezTo>
                  <a:cubicBezTo>
                    <a:pt x="212" y="39"/>
                    <a:pt x="219" y="37"/>
                    <a:pt x="225" y="37"/>
                  </a:cubicBezTo>
                  <a:cubicBezTo>
                    <a:pt x="230" y="37"/>
                    <a:pt x="234" y="38"/>
                    <a:pt x="235" y="38"/>
                  </a:cubicBezTo>
                  <a:cubicBezTo>
                    <a:pt x="233" y="35"/>
                    <a:pt x="224" y="31"/>
                    <a:pt x="214" y="31"/>
                  </a:cubicBezTo>
                  <a:cubicBezTo>
                    <a:pt x="206" y="31"/>
                    <a:pt x="198" y="34"/>
                    <a:pt x="193" y="42"/>
                  </a:cubicBezTo>
                  <a:cubicBezTo>
                    <a:pt x="183" y="26"/>
                    <a:pt x="168" y="15"/>
                    <a:pt x="151" y="15"/>
                  </a:cubicBezTo>
                  <a:cubicBezTo>
                    <a:pt x="145" y="15"/>
                    <a:pt x="139" y="17"/>
                    <a:pt x="133" y="19"/>
                  </a:cubicBezTo>
                  <a:cubicBezTo>
                    <a:pt x="129" y="21"/>
                    <a:pt x="126" y="21"/>
                    <a:pt x="123" y="21"/>
                  </a:cubicBezTo>
                  <a:cubicBezTo>
                    <a:pt x="107" y="21"/>
                    <a:pt x="99" y="3"/>
                    <a:pt x="97" y="0"/>
                  </a:cubicBezTo>
                </a:path>
              </a:pathLst>
            </a:custGeom>
            <a:solidFill>
              <a:srgbClr val="DDDDDD"/>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474" name="ísľidé"/>
            <p:cNvSpPr/>
            <p:nvPr/>
          </p:nvSpPr>
          <p:spPr bwMode="auto">
            <a:xfrm>
              <a:off x="7146926" y="1651001"/>
              <a:ext cx="377825" cy="2170113"/>
            </a:xfrm>
            <a:custGeom>
              <a:avLst/>
              <a:gdLst>
                <a:gd name="T0" fmla="*/ 106 w 106"/>
                <a:gd name="T1" fmla="*/ 595 h 611"/>
                <a:gd name="T2" fmla="*/ 104 w 106"/>
                <a:gd name="T3" fmla="*/ 611 h 611"/>
                <a:gd name="T4" fmla="*/ 106 w 106"/>
                <a:gd name="T5" fmla="*/ 611 h 611"/>
                <a:gd name="T6" fmla="*/ 106 w 106"/>
                <a:gd name="T7" fmla="*/ 595 h 611"/>
                <a:gd name="T8" fmla="*/ 106 w 106"/>
                <a:gd name="T9" fmla="*/ 354 h 611"/>
                <a:gd name="T10" fmla="*/ 101 w 106"/>
                <a:gd name="T11" fmla="*/ 356 h 611"/>
                <a:gd name="T12" fmla="*/ 106 w 106"/>
                <a:gd name="T13" fmla="*/ 448 h 611"/>
                <a:gd name="T14" fmla="*/ 106 w 106"/>
                <a:gd name="T15" fmla="*/ 354 h 611"/>
                <a:gd name="T16" fmla="*/ 35 w 106"/>
                <a:gd name="T17" fmla="*/ 0 h 611"/>
                <a:gd name="T18" fmla="*/ 1 w 106"/>
                <a:gd name="T19" fmla="*/ 23 h 611"/>
                <a:gd name="T20" fmla="*/ 0 w 106"/>
                <a:gd name="T21" fmla="*/ 23 h 611"/>
                <a:gd name="T22" fmla="*/ 74 w 106"/>
                <a:gd name="T23" fmla="*/ 196 h 611"/>
                <a:gd name="T24" fmla="*/ 84 w 106"/>
                <a:gd name="T25" fmla="*/ 196 h 611"/>
                <a:gd name="T26" fmla="*/ 106 w 106"/>
                <a:gd name="T27" fmla="*/ 194 h 611"/>
                <a:gd name="T28" fmla="*/ 106 w 106"/>
                <a:gd name="T29" fmla="*/ 138 h 611"/>
                <a:gd name="T30" fmla="*/ 93 w 106"/>
                <a:gd name="T31" fmla="*/ 143 h 611"/>
                <a:gd name="T32" fmla="*/ 91 w 106"/>
                <a:gd name="T33" fmla="*/ 143 h 611"/>
                <a:gd name="T34" fmla="*/ 35 w 106"/>
                <a:gd name="T35" fmla="*/ 0 h 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6" h="611">
                  <a:moveTo>
                    <a:pt x="106" y="595"/>
                  </a:moveTo>
                  <a:cubicBezTo>
                    <a:pt x="102" y="600"/>
                    <a:pt x="102" y="608"/>
                    <a:pt x="104" y="611"/>
                  </a:cubicBezTo>
                  <a:cubicBezTo>
                    <a:pt x="105" y="611"/>
                    <a:pt x="105" y="611"/>
                    <a:pt x="106" y="611"/>
                  </a:cubicBezTo>
                  <a:cubicBezTo>
                    <a:pt x="106" y="595"/>
                    <a:pt x="106" y="595"/>
                    <a:pt x="106" y="595"/>
                  </a:cubicBezTo>
                  <a:moveTo>
                    <a:pt x="106" y="354"/>
                  </a:moveTo>
                  <a:cubicBezTo>
                    <a:pt x="104" y="354"/>
                    <a:pt x="103" y="355"/>
                    <a:pt x="101" y="356"/>
                  </a:cubicBezTo>
                  <a:cubicBezTo>
                    <a:pt x="82" y="363"/>
                    <a:pt x="90" y="404"/>
                    <a:pt x="106" y="448"/>
                  </a:cubicBezTo>
                  <a:cubicBezTo>
                    <a:pt x="106" y="354"/>
                    <a:pt x="106" y="354"/>
                    <a:pt x="106" y="354"/>
                  </a:cubicBezTo>
                  <a:moveTo>
                    <a:pt x="35" y="0"/>
                  </a:moveTo>
                  <a:cubicBezTo>
                    <a:pt x="30" y="14"/>
                    <a:pt x="17" y="23"/>
                    <a:pt x="1" y="23"/>
                  </a:cubicBezTo>
                  <a:cubicBezTo>
                    <a:pt x="1" y="23"/>
                    <a:pt x="0" y="23"/>
                    <a:pt x="0" y="23"/>
                  </a:cubicBezTo>
                  <a:cubicBezTo>
                    <a:pt x="25" y="84"/>
                    <a:pt x="46" y="191"/>
                    <a:pt x="74" y="196"/>
                  </a:cubicBezTo>
                  <a:cubicBezTo>
                    <a:pt x="77" y="196"/>
                    <a:pt x="81" y="196"/>
                    <a:pt x="84" y="196"/>
                  </a:cubicBezTo>
                  <a:cubicBezTo>
                    <a:pt x="91" y="196"/>
                    <a:pt x="99" y="195"/>
                    <a:pt x="106" y="194"/>
                  </a:cubicBezTo>
                  <a:cubicBezTo>
                    <a:pt x="106" y="138"/>
                    <a:pt x="106" y="138"/>
                    <a:pt x="106" y="138"/>
                  </a:cubicBezTo>
                  <a:cubicBezTo>
                    <a:pt x="102" y="140"/>
                    <a:pt x="97" y="141"/>
                    <a:pt x="93" y="143"/>
                  </a:cubicBezTo>
                  <a:cubicBezTo>
                    <a:pt x="92" y="143"/>
                    <a:pt x="92" y="143"/>
                    <a:pt x="91" y="143"/>
                  </a:cubicBezTo>
                  <a:cubicBezTo>
                    <a:pt x="70" y="143"/>
                    <a:pt x="45" y="41"/>
                    <a:pt x="35" y="0"/>
                  </a:cubicBezTo>
                </a:path>
              </a:pathLst>
            </a:custGeom>
            <a:solidFill>
              <a:srgbClr val="D6495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475" name="ï$ļîḋè"/>
            <p:cNvSpPr/>
            <p:nvPr/>
          </p:nvSpPr>
          <p:spPr bwMode="auto">
            <a:xfrm>
              <a:off x="7080251" y="1562101"/>
              <a:ext cx="192088" cy="169863"/>
            </a:xfrm>
            <a:custGeom>
              <a:avLst/>
              <a:gdLst>
                <a:gd name="T0" fmla="*/ 32 w 54"/>
                <a:gd name="T1" fmla="*/ 0 h 48"/>
                <a:gd name="T2" fmla="*/ 10 w 54"/>
                <a:gd name="T3" fmla="*/ 30 h 48"/>
                <a:gd name="T4" fmla="*/ 19 w 54"/>
                <a:gd name="T5" fmla="*/ 48 h 48"/>
                <a:gd name="T6" fmla="*/ 20 w 54"/>
                <a:gd name="T7" fmla="*/ 48 h 48"/>
                <a:gd name="T8" fmla="*/ 54 w 54"/>
                <a:gd name="T9" fmla="*/ 25 h 48"/>
                <a:gd name="T10" fmla="*/ 50 w 54"/>
                <a:gd name="T11" fmla="*/ 9 h 48"/>
                <a:gd name="T12" fmla="*/ 32 w 54"/>
                <a:gd name="T13" fmla="*/ 0 h 48"/>
              </a:gdLst>
              <a:ahLst/>
              <a:cxnLst>
                <a:cxn ang="0">
                  <a:pos x="T0" y="T1"/>
                </a:cxn>
                <a:cxn ang="0">
                  <a:pos x="T2" y="T3"/>
                </a:cxn>
                <a:cxn ang="0">
                  <a:pos x="T4" y="T5"/>
                </a:cxn>
                <a:cxn ang="0">
                  <a:pos x="T6" y="T7"/>
                </a:cxn>
                <a:cxn ang="0">
                  <a:pos x="T8" y="T9"/>
                </a:cxn>
                <a:cxn ang="0">
                  <a:pos x="T10" y="T11"/>
                </a:cxn>
                <a:cxn ang="0">
                  <a:pos x="T12" y="T13"/>
                </a:cxn>
              </a:cxnLst>
              <a:rect l="0" t="0" r="r" b="b"/>
              <a:pathLst>
                <a:path w="54" h="48">
                  <a:moveTo>
                    <a:pt x="32" y="0"/>
                  </a:moveTo>
                  <a:cubicBezTo>
                    <a:pt x="17" y="0"/>
                    <a:pt x="0" y="10"/>
                    <a:pt x="10" y="30"/>
                  </a:cubicBezTo>
                  <a:cubicBezTo>
                    <a:pt x="13" y="36"/>
                    <a:pt x="16" y="42"/>
                    <a:pt x="19" y="48"/>
                  </a:cubicBezTo>
                  <a:cubicBezTo>
                    <a:pt x="19" y="48"/>
                    <a:pt x="20" y="48"/>
                    <a:pt x="20" y="48"/>
                  </a:cubicBezTo>
                  <a:cubicBezTo>
                    <a:pt x="36" y="48"/>
                    <a:pt x="49" y="39"/>
                    <a:pt x="54" y="25"/>
                  </a:cubicBezTo>
                  <a:cubicBezTo>
                    <a:pt x="52" y="16"/>
                    <a:pt x="51" y="11"/>
                    <a:pt x="50" y="9"/>
                  </a:cubicBezTo>
                  <a:cubicBezTo>
                    <a:pt x="49" y="3"/>
                    <a:pt x="41" y="0"/>
                    <a:pt x="32" y="0"/>
                  </a:cubicBezTo>
                </a:path>
              </a:pathLst>
            </a:custGeom>
            <a:solidFill>
              <a:srgbClr val="DADADA"/>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476" name="ísľîďê"/>
            <p:cNvSpPr/>
            <p:nvPr/>
          </p:nvSpPr>
          <p:spPr bwMode="auto">
            <a:xfrm>
              <a:off x="7623176" y="1376363"/>
              <a:ext cx="1443038" cy="4765675"/>
            </a:xfrm>
            <a:custGeom>
              <a:avLst/>
              <a:gdLst>
                <a:gd name="T0" fmla="*/ 864 w 909"/>
                <a:gd name="T1" fmla="*/ 3002 h 3002"/>
                <a:gd name="T2" fmla="*/ 909 w 909"/>
                <a:gd name="T3" fmla="*/ 3002 h 3002"/>
                <a:gd name="T4" fmla="*/ 676 w 909"/>
                <a:gd name="T5" fmla="*/ 0 h 3002"/>
                <a:gd name="T6" fmla="*/ 631 w 909"/>
                <a:gd name="T7" fmla="*/ 0 h 3002"/>
                <a:gd name="T8" fmla="*/ 649 w 909"/>
                <a:gd name="T9" fmla="*/ 229 h 3002"/>
                <a:gd name="T10" fmla="*/ 63 w 909"/>
                <a:gd name="T11" fmla="*/ 229 h 3002"/>
                <a:gd name="T12" fmla="*/ 45 w 909"/>
                <a:gd name="T13" fmla="*/ 0 h 3002"/>
                <a:gd name="T14" fmla="*/ 0 w 909"/>
                <a:gd name="T15" fmla="*/ 0 h 3002"/>
                <a:gd name="T16" fmla="*/ 233 w 909"/>
                <a:gd name="T17" fmla="*/ 3002 h 3002"/>
                <a:gd name="T18" fmla="*/ 278 w 909"/>
                <a:gd name="T19" fmla="*/ 3002 h 3002"/>
                <a:gd name="T20" fmla="*/ 249 w 909"/>
                <a:gd name="T21" fmla="*/ 2583 h 3002"/>
                <a:gd name="T22" fmla="*/ 835 w 909"/>
                <a:gd name="T23" fmla="*/ 2583 h 3002"/>
                <a:gd name="T24" fmla="*/ 864 w 909"/>
                <a:gd name="T25" fmla="*/ 3002 h 3002"/>
                <a:gd name="T26" fmla="*/ 694 w 909"/>
                <a:gd name="T27" fmla="*/ 786 h 3002"/>
                <a:gd name="T28" fmla="*/ 710 w 909"/>
                <a:gd name="T29" fmla="*/ 998 h 3002"/>
                <a:gd name="T30" fmla="*/ 126 w 909"/>
                <a:gd name="T31" fmla="*/ 998 h 3002"/>
                <a:gd name="T32" fmla="*/ 108 w 909"/>
                <a:gd name="T33" fmla="*/ 786 h 3002"/>
                <a:gd name="T34" fmla="*/ 694 w 909"/>
                <a:gd name="T35" fmla="*/ 786 h 3002"/>
                <a:gd name="T36" fmla="*/ 103 w 909"/>
                <a:gd name="T37" fmla="*/ 741 h 3002"/>
                <a:gd name="T38" fmla="*/ 87 w 909"/>
                <a:gd name="T39" fmla="*/ 531 h 3002"/>
                <a:gd name="T40" fmla="*/ 674 w 909"/>
                <a:gd name="T41" fmla="*/ 531 h 3002"/>
                <a:gd name="T42" fmla="*/ 689 w 909"/>
                <a:gd name="T43" fmla="*/ 741 h 3002"/>
                <a:gd name="T44" fmla="*/ 103 w 909"/>
                <a:gd name="T45" fmla="*/ 741 h 3002"/>
                <a:gd name="T46" fmla="*/ 714 w 909"/>
                <a:gd name="T47" fmla="*/ 1043 h 3002"/>
                <a:gd name="T48" fmla="*/ 732 w 909"/>
                <a:gd name="T49" fmla="*/ 1256 h 3002"/>
                <a:gd name="T50" fmla="*/ 146 w 909"/>
                <a:gd name="T51" fmla="*/ 1256 h 3002"/>
                <a:gd name="T52" fmla="*/ 128 w 909"/>
                <a:gd name="T53" fmla="*/ 1043 h 3002"/>
                <a:gd name="T54" fmla="*/ 714 w 909"/>
                <a:gd name="T55" fmla="*/ 1043 h 3002"/>
                <a:gd name="T56" fmla="*/ 734 w 909"/>
                <a:gd name="T57" fmla="*/ 1301 h 3002"/>
                <a:gd name="T58" fmla="*/ 752 w 909"/>
                <a:gd name="T59" fmla="*/ 1511 h 3002"/>
                <a:gd name="T60" fmla="*/ 166 w 909"/>
                <a:gd name="T61" fmla="*/ 1511 h 3002"/>
                <a:gd name="T62" fmla="*/ 148 w 909"/>
                <a:gd name="T63" fmla="*/ 1301 h 3002"/>
                <a:gd name="T64" fmla="*/ 734 w 909"/>
                <a:gd name="T65" fmla="*/ 1301 h 3002"/>
                <a:gd name="T66" fmla="*/ 754 w 909"/>
                <a:gd name="T67" fmla="*/ 1556 h 3002"/>
                <a:gd name="T68" fmla="*/ 772 w 909"/>
                <a:gd name="T69" fmla="*/ 1768 h 3002"/>
                <a:gd name="T70" fmla="*/ 186 w 909"/>
                <a:gd name="T71" fmla="*/ 1768 h 3002"/>
                <a:gd name="T72" fmla="*/ 168 w 909"/>
                <a:gd name="T73" fmla="*/ 1556 h 3002"/>
                <a:gd name="T74" fmla="*/ 754 w 909"/>
                <a:gd name="T75" fmla="*/ 1556 h 3002"/>
                <a:gd name="T76" fmla="*/ 774 w 909"/>
                <a:gd name="T77" fmla="*/ 1813 h 3002"/>
                <a:gd name="T78" fmla="*/ 792 w 909"/>
                <a:gd name="T79" fmla="*/ 2026 h 3002"/>
                <a:gd name="T80" fmla="*/ 206 w 909"/>
                <a:gd name="T81" fmla="*/ 2026 h 3002"/>
                <a:gd name="T82" fmla="*/ 188 w 909"/>
                <a:gd name="T83" fmla="*/ 1813 h 3002"/>
                <a:gd name="T84" fmla="*/ 774 w 909"/>
                <a:gd name="T85" fmla="*/ 1813 h 3002"/>
                <a:gd name="T86" fmla="*/ 795 w 909"/>
                <a:gd name="T87" fmla="*/ 2071 h 3002"/>
                <a:gd name="T88" fmla="*/ 812 w 909"/>
                <a:gd name="T89" fmla="*/ 2281 h 3002"/>
                <a:gd name="T90" fmla="*/ 226 w 909"/>
                <a:gd name="T91" fmla="*/ 2281 h 3002"/>
                <a:gd name="T92" fmla="*/ 208 w 909"/>
                <a:gd name="T93" fmla="*/ 2071 h 3002"/>
                <a:gd name="T94" fmla="*/ 795 w 909"/>
                <a:gd name="T95" fmla="*/ 2071 h 3002"/>
                <a:gd name="T96" fmla="*/ 654 w 909"/>
                <a:gd name="T97" fmla="*/ 273 h 3002"/>
                <a:gd name="T98" fmla="*/ 669 w 909"/>
                <a:gd name="T99" fmla="*/ 486 h 3002"/>
                <a:gd name="T100" fmla="*/ 83 w 909"/>
                <a:gd name="T101" fmla="*/ 486 h 3002"/>
                <a:gd name="T102" fmla="*/ 67 w 909"/>
                <a:gd name="T103" fmla="*/ 273 h 3002"/>
                <a:gd name="T104" fmla="*/ 654 w 909"/>
                <a:gd name="T105" fmla="*/ 273 h 3002"/>
                <a:gd name="T106" fmla="*/ 246 w 909"/>
                <a:gd name="T107" fmla="*/ 2538 h 3002"/>
                <a:gd name="T108" fmla="*/ 228 w 909"/>
                <a:gd name="T109" fmla="*/ 2326 h 3002"/>
                <a:gd name="T110" fmla="*/ 815 w 909"/>
                <a:gd name="T111" fmla="*/ 2326 h 3002"/>
                <a:gd name="T112" fmla="*/ 833 w 909"/>
                <a:gd name="T113" fmla="*/ 2538 h 3002"/>
                <a:gd name="T114" fmla="*/ 246 w 909"/>
                <a:gd name="T115" fmla="*/ 2538 h 3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09" h="3002">
                  <a:moveTo>
                    <a:pt x="864" y="3002"/>
                  </a:moveTo>
                  <a:lnTo>
                    <a:pt x="909" y="3002"/>
                  </a:lnTo>
                  <a:lnTo>
                    <a:pt x="676" y="0"/>
                  </a:lnTo>
                  <a:lnTo>
                    <a:pt x="631" y="0"/>
                  </a:lnTo>
                  <a:lnTo>
                    <a:pt x="649" y="229"/>
                  </a:lnTo>
                  <a:lnTo>
                    <a:pt x="63" y="229"/>
                  </a:lnTo>
                  <a:lnTo>
                    <a:pt x="45" y="0"/>
                  </a:lnTo>
                  <a:lnTo>
                    <a:pt x="0" y="0"/>
                  </a:lnTo>
                  <a:lnTo>
                    <a:pt x="233" y="3002"/>
                  </a:lnTo>
                  <a:lnTo>
                    <a:pt x="278" y="3002"/>
                  </a:lnTo>
                  <a:lnTo>
                    <a:pt x="249" y="2583"/>
                  </a:lnTo>
                  <a:lnTo>
                    <a:pt x="835" y="2583"/>
                  </a:lnTo>
                  <a:lnTo>
                    <a:pt x="864" y="3002"/>
                  </a:lnTo>
                  <a:close/>
                  <a:moveTo>
                    <a:pt x="694" y="786"/>
                  </a:moveTo>
                  <a:lnTo>
                    <a:pt x="710" y="998"/>
                  </a:lnTo>
                  <a:lnTo>
                    <a:pt x="126" y="998"/>
                  </a:lnTo>
                  <a:lnTo>
                    <a:pt x="108" y="786"/>
                  </a:lnTo>
                  <a:lnTo>
                    <a:pt x="694" y="786"/>
                  </a:lnTo>
                  <a:close/>
                  <a:moveTo>
                    <a:pt x="103" y="741"/>
                  </a:moveTo>
                  <a:lnTo>
                    <a:pt x="87" y="531"/>
                  </a:lnTo>
                  <a:lnTo>
                    <a:pt x="674" y="531"/>
                  </a:lnTo>
                  <a:lnTo>
                    <a:pt x="689" y="741"/>
                  </a:lnTo>
                  <a:lnTo>
                    <a:pt x="103" y="741"/>
                  </a:lnTo>
                  <a:close/>
                  <a:moveTo>
                    <a:pt x="714" y="1043"/>
                  </a:moveTo>
                  <a:lnTo>
                    <a:pt x="732" y="1256"/>
                  </a:lnTo>
                  <a:lnTo>
                    <a:pt x="146" y="1256"/>
                  </a:lnTo>
                  <a:lnTo>
                    <a:pt x="128" y="1043"/>
                  </a:lnTo>
                  <a:lnTo>
                    <a:pt x="714" y="1043"/>
                  </a:lnTo>
                  <a:close/>
                  <a:moveTo>
                    <a:pt x="734" y="1301"/>
                  </a:moveTo>
                  <a:lnTo>
                    <a:pt x="752" y="1511"/>
                  </a:lnTo>
                  <a:lnTo>
                    <a:pt x="166" y="1511"/>
                  </a:lnTo>
                  <a:lnTo>
                    <a:pt x="148" y="1301"/>
                  </a:lnTo>
                  <a:lnTo>
                    <a:pt x="734" y="1301"/>
                  </a:lnTo>
                  <a:close/>
                  <a:moveTo>
                    <a:pt x="754" y="1556"/>
                  </a:moveTo>
                  <a:lnTo>
                    <a:pt x="772" y="1768"/>
                  </a:lnTo>
                  <a:lnTo>
                    <a:pt x="186" y="1768"/>
                  </a:lnTo>
                  <a:lnTo>
                    <a:pt x="168" y="1556"/>
                  </a:lnTo>
                  <a:lnTo>
                    <a:pt x="754" y="1556"/>
                  </a:lnTo>
                  <a:close/>
                  <a:moveTo>
                    <a:pt x="774" y="1813"/>
                  </a:moveTo>
                  <a:lnTo>
                    <a:pt x="792" y="2026"/>
                  </a:lnTo>
                  <a:lnTo>
                    <a:pt x="206" y="2026"/>
                  </a:lnTo>
                  <a:lnTo>
                    <a:pt x="188" y="1813"/>
                  </a:lnTo>
                  <a:lnTo>
                    <a:pt x="774" y="1813"/>
                  </a:lnTo>
                  <a:close/>
                  <a:moveTo>
                    <a:pt x="795" y="2071"/>
                  </a:moveTo>
                  <a:lnTo>
                    <a:pt x="812" y="2281"/>
                  </a:lnTo>
                  <a:lnTo>
                    <a:pt x="226" y="2281"/>
                  </a:lnTo>
                  <a:lnTo>
                    <a:pt x="208" y="2071"/>
                  </a:lnTo>
                  <a:lnTo>
                    <a:pt x="795" y="2071"/>
                  </a:lnTo>
                  <a:close/>
                  <a:moveTo>
                    <a:pt x="654" y="273"/>
                  </a:moveTo>
                  <a:lnTo>
                    <a:pt x="669" y="486"/>
                  </a:lnTo>
                  <a:lnTo>
                    <a:pt x="83" y="486"/>
                  </a:lnTo>
                  <a:lnTo>
                    <a:pt x="67" y="273"/>
                  </a:lnTo>
                  <a:lnTo>
                    <a:pt x="654" y="273"/>
                  </a:lnTo>
                  <a:close/>
                  <a:moveTo>
                    <a:pt x="246" y="2538"/>
                  </a:moveTo>
                  <a:lnTo>
                    <a:pt x="228" y="2326"/>
                  </a:lnTo>
                  <a:lnTo>
                    <a:pt x="815" y="2326"/>
                  </a:lnTo>
                  <a:lnTo>
                    <a:pt x="833" y="2538"/>
                  </a:lnTo>
                  <a:lnTo>
                    <a:pt x="246" y="2538"/>
                  </a:lnTo>
                  <a:close/>
                </a:path>
              </a:pathLst>
            </a:custGeom>
            <a:solidFill>
              <a:srgbClr val="AF773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477" name="iṡḻiďé"/>
            <p:cNvSpPr/>
            <p:nvPr/>
          </p:nvSpPr>
          <p:spPr bwMode="auto">
            <a:xfrm>
              <a:off x="8288338" y="3646488"/>
              <a:ext cx="365125" cy="149225"/>
            </a:xfrm>
            <a:custGeom>
              <a:avLst/>
              <a:gdLst>
                <a:gd name="T0" fmla="*/ 95 w 103"/>
                <a:gd name="T1" fmla="*/ 3 h 42"/>
                <a:gd name="T2" fmla="*/ 99 w 103"/>
                <a:gd name="T3" fmla="*/ 40 h 42"/>
                <a:gd name="T4" fmla="*/ 72 w 103"/>
                <a:gd name="T5" fmla="*/ 40 h 42"/>
                <a:gd name="T6" fmla="*/ 70 w 103"/>
                <a:gd name="T7" fmla="*/ 36 h 42"/>
                <a:gd name="T8" fmla="*/ 3 w 103"/>
                <a:gd name="T9" fmla="*/ 36 h 42"/>
                <a:gd name="T10" fmla="*/ 21 w 103"/>
                <a:gd name="T11" fmla="*/ 16 h 42"/>
                <a:gd name="T12" fmla="*/ 62 w 103"/>
                <a:gd name="T13" fmla="*/ 5 h 42"/>
                <a:gd name="T14" fmla="*/ 95 w 103"/>
                <a:gd name="T15" fmla="*/ 3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3" h="42">
                  <a:moveTo>
                    <a:pt x="95" y="3"/>
                  </a:moveTo>
                  <a:cubicBezTo>
                    <a:pt x="95" y="3"/>
                    <a:pt x="103" y="20"/>
                    <a:pt x="99" y="40"/>
                  </a:cubicBezTo>
                  <a:cubicBezTo>
                    <a:pt x="82" y="42"/>
                    <a:pt x="72" y="40"/>
                    <a:pt x="72" y="40"/>
                  </a:cubicBezTo>
                  <a:cubicBezTo>
                    <a:pt x="70" y="36"/>
                    <a:pt x="70" y="36"/>
                    <a:pt x="70" y="36"/>
                  </a:cubicBezTo>
                  <a:cubicBezTo>
                    <a:pt x="70" y="36"/>
                    <a:pt x="12" y="36"/>
                    <a:pt x="3" y="36"/>
                  </a:cubicBezTo>
                  <a:cubicBezTo>
                    <a:pt x="0" y="32"/>
                    <a:pt x="1" y="14"/>
                    <a:pt x="21" y="16"/>
                  </a:cubicBezTo>
                  <a:cubicBezTo>
                    <a:pt x="41" y="18"/>
                    <a:pt x="62" y="16"/>
                    <a:pt x="62" y="5"/>
                  </a:cubicBezTo>
                  <a:cubicBezTo>
                    <a:pt x="78" y="0"/>
                    <a:pt x="95" y="3"/>
                    <a:pt x="95" y="3"/>
                  </a:cubicBezTo>
                  <a:close/>
                </a:path>
              </a:pathLst>
            </a:custGeom>
            <a:solidFill>
              <a:srgbClr val="212121"/>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478" name="íṥlíḓè"/>
            <p:cNvSpPr/>
            <p:nvPr/>
          </p:nvSpPr>
          <p:spPr bwMode="auto">
            <a:xfrm>
              <a:off x="7850188" y="3246438"/>
              <a:ext cx="369888" cy="149225"/>
            </a:xfrm>
            <a:custGeom>
              <a:avLst/>
              <a:gdLst>
                <a:gd name="T0" fmla="*/ 96 w 104"/>
                <a:gd name="T1" fmla="*/ 3 h 42"/>
                <a:gd name="T2" fmla="*/ 100 w 104"/>
                <a:gd name="T3" fmla="*/ 40 h 42"/>
                <a:gd name="T4" fmla="*/ 72 w 104"/>
                <a:gd name="T5" fmla="*/ 40 h 42"/>
                <a:gd name="T6" fmla="*/ 70 w 104"/>
                <a:gd name="T7" fmla="*/ 36 h 42"/>
                <a:gd name="T8" fmla="*/ 4 w 104"/>
                <a:gd name="T9" fmla="*/ 36 h 42"/>
                <a:gd name="T10" fmla="*/ 21 w 104"/>
                <a:gd name="T11" fmla="*/ 16 h 42"/>
                <a:gd name="T12" fmla="*/ 63 w 104"/>
                <a:gd name="T13" fmla="*/ 5 h 42"/>
                <a:gd name="T14" fmla="*/ 96 w 104"/>
                <a:gd name="T15" fmla="*/ 3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4" h="42">
                  <a:moveTo>
                    <a:pt x="96" y="3"/>
                  </a:moveTo>
                  <a:cubicBezTo>
                    <a:pt x="96" y="3"/>
                    <a:pt x="104" y="20"/>
                    <a:pt x="100" y="40"/>
                  </a:cubicBezTo>
                  <a:cubicBezTo>
                    <a:pt x="82" y="42"/>
                    <a:pt x="72" y="40"/>
                    <a:pt x="72" y="40"/>
                  </a:cubicBezTo>
                  <a:cubicBezTo>
                    <a:pt x="70" y="36"/>
                    <a:pt x="70" y="36"/>
                    <a:pt x="70" y="36"/>
                  </a:cubicBezTo>
                  <a:cubicBezTo>
                    <a:pt x="70" y="36"/>
                    <a:pt x="13" y="36"/>
                    <a:pt x="4" y="36"/>
                  </a:cubicBezTo>
                  <a:cubicBezTo>
                    <a:pt x="0" y="32"/>
                    <a:pt x="1" y="14"/>
                    <a:pt x="21" y="16"/>
                  </a:cubicBezTo>
                  <a:cubicBezTo>
                    <a:pt x="41" y="18"/>
                    <a:pt x="63" y="16"/>
                    <a:pt x="63" y="5"/>
                  </a:cubicBezTo>
                  <a:cubicBezTo>
                    <a:pt x="79" y="0"/>
                    <a:pt x="96" y="3"/>
                    <a:pt x="96" y="3"/>
                  </a:cubicBezTo>
                  <a:close/>
                </a:path>
              </a:pathLst>
            </a:custGeom>
            <a:solidFill>
              <a:srgbClr val="212121"/>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479" name="íṡļiḋê"/>
            <p:cNvSpPr/>
            <p:nvPr/>
          </p:nvSpPr>
          <p:spPr bwMode="auto">
            <a:xfrm>
              <a:off x="8601076" y="1543051"/>
              <a:ext cx="173038" cy="231775"/>
            </a:xfrm>
            <a:custGeom>
              <a:avLst/>
              <a:gdLst>
                <a:gd name="T0" fmla="*/ 37 w 49"/>
                <a:gd name="T1" fmla="*/ 49 h 65"/>
                <a:gd name="T2" fmla="*/ 46 w 49"/>
                <a:gd name="T3" fmla="*/ 13 h 65"/>
                <a:gd name="T4" fmla="*/ 31 w 49"/>
                <a:gd name="T5" fmla="*/ 0 h 65"/>
                <a:gd name="T6" fmla="*/ 19 w 49"/>
                <a:gd name="T7" fmla="*/ 23 h 65"/>
                <a:gd name="T8" fmla="*/ 12 w 49"/>
                <a:gd name="T9" fmla="*/ 9 h 65"/>
                <a:gd name="T10" fmla="*/ 0 w 49"/>
                <a:gd name="T11" fmla="*/ 26 h 65"/>
                <a:gd name="T12" fmla="*/ 14 w 49"/>
                <a:gd name="T13" fmla="*/ 55 h 65"/>
                <a:gd name="T14" fmla="*/ 37 w 49"/>
                <a:gd name="T15" fmla="*/ 49 h 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 h="65">
                  <a:moveTo>
                    <a:pt x="37" y="49"/>
                  </a:moveTo>
                  <a:cubicBezTo>
                    <a:pt x="37" y="49"/>
                    <a:pt x="42" y="24"/>
                    <a:pt x="46" y="13"/>
                  </a:cubicBezTo>
                  <a:cubicBezTo>
                    <a:pt x="49" y="3"/>
                    <a:pt x="31" y="0"/>
                    <a:pt x="31" y="0"/>
                  </a:cubicBezTo>
                  <a:cubicBezTo>
                    <a:pt x="31" y="0"/>
                    <a:pt x="31" y="20"/>
                    <a:pt x="19" y="23"/>
                  </a:cubicBezTo>
                  <a:cubicBezTo>
                    <a:pt x="12" y="24"/>
                    <a:pt x="12" y="9"/>
                    <a:pt x="12" y="9"/>
                  </a:cubicBezTo>
                  <a:cubicBezTo>
                    <a:pt x="12" y="9"/>
                    <a:pt x="0" y="16"/>
                    <a:pt x="0" y="26"/>
                  </a:cubicBezTo>
                  <a:cubicBezTo>
                    <a:pt x="0" y="37"/>
                    <a:pt x="9" y="45"/>
                    <a:pt x="14" y="55"/>
                  </a:cubicBezTo>
                  <a:cubicBezTo>
                    <a:pt x="18" y="65"/>
                    <a:pt x="37" y="49"/>
                    <a:pt x="37" y="49"/>
                  </a:cubicBezTo>
                  <a:close/>
                </a:path>
              </a:pathLst>
            </a:custGeom>
            <a:solidFill>
              <a:srgbClr val="EFC59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480" name="îśļîḍè"/>
            <p:cNvSpPr/>
            <p:nvPr/>
          </p:nvSpPr>
          <p:spPr bwMode="auto">
            <a:xfrm>
              <a:off x="8642351" y="1692276"/>
              <a:ext cx="217488" cy="338138"/>
            </a:xfrm>
            <a:custGeom>
              <a:avLst/>
              <a:gdLst>
                <a:gd name="T0" fmla="*/ 0 w 61"/>
                <a:gd name="T1" fmla="*/ 12 h 95"/>
                <a:gd name="T2" fmla="*/ 27 w 61"/>
                <a:gd name="T3" fmla="*/ 6 h 95"/>
                <a:gd name="T4" fmla="*/ 59 w 61"/>
                <a:gd name="T5" fmla="*/ 86 h 95"/>
                <a:gd name="T6" fmla="*/ 21 w 61"/>
                <a:gd name="T7" fmla="*/ 81 h 95"/>
                <a:gd name="T8" fmla="*/ 0 w 61"/>
                <a:gd name="T9" fmla="*/ 12 h 95"/>
              </a:gdLst>
              <a:ahLst/>
              <a:cxnLst>
                <a:cxn ang="0">
                  <a:pos x="T0" y="T1"/>
                </a:cxn>
                <a:cxn ang="0">
                  <a:pos x="T2" y="T3"/>
                </a:cxn>
                <a:cxn ang="0">
                  <a:pos x="T4" y="T5"/>
                </a:cxn>
                <a:cxn ang="0">
                  <a:pos x="T6" y="T7"/>
                </a:cxn>
                <a:cxn ang="0">
                  <a:pos x="T8" y="T9"/>
                </a:cxn>
              </a:cxnLst>
              <a:rect l="0" t="0" r="r" b="b"/>
              <a:pathLst>
                <a:path w="61" h="95">
                  <a:moveTo>
                    <a:pt x="0" y="12"/>
                  </a:moveTo>
                  <a:cubicBezTo>
                    <a:pt x="0" y="12"/>
                    <a:pt x="16" y="0"/>
                    <a:pt x="27" y="6"/>
                  </a:cubicBezTo>
                  <a:cubicBezTo>
                    <a:pt x="40" y="33"/>
                    <a:pt x="61" y="78"/>
                    <a:pt x="59" y="86"/>
                  </a:cubicBezTo>
                  <a:cubicBezTo>
                    <a:pt x="57" y="95"/>
                    <a:pt x="21" y="81"/>
                    <a:pt x="21" y="81"/>
                  </a:cubicBezTo>
                  <a:lnTo>
                    <a:pt x="0" y="12"/>
                  </a:lnTo>
                  <a:close/>
                </a:path>
              </a:pathLst>
            </a:custGeom>
            <a:solidFill>
              <a:srgbClr val="FFC02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481" name="î$ļiḓe"/>
            <p:cNvSpPr/>
            <p:nvPr/>
          </p:nvSpPr>
          <p:spPr bwMode="auto">
            <a:xfrm>
              <a:off x="8391526" y="2446338"/>
              <a:ext cx="354013" cy="1254125"/>
            </a:xfrm>
            <a:custGeom>
              <a:avLst/>
              <a:gdLst>
                <a:gd name="T0" fmla="*/ 79 w 100"/>
                <a:gd name="T1" fmla="*/ 0 h 353"/>
                <a:gd name="T2" fmla="*/ 66 w 100"/>
                <a:gd name="T3" fmla="*/ 131 h 353"/>
                <a:gd name="T4" fmla="*/ 62 w 100"/>
                <a:gd name="T5" fmla="*/ 230 h 353"/>
                <a:gd name="T6" fmla="*/ 71 w 100"/>
                <a:gd name="T7" fmla="*/ 345 h 353"/>
                <a:gd name="T8" fmla="*/ 29 w 100"/>
                <a:gd name="T9" fmla="*/ 347 h 353"/>
                <a:gd name="T10" fmla="*/ 7 w 100"/>
                <a:gd name="T11" fmla="*/ 216 h 353"/>
                <a:gd name="T12" fmla="*/ 7 w 100"/>
                <a:gd name="T13" fmla="*/ 46 h 353"/>
                <a:gd name="T14" fmla="*/ 79 w 100"/>
                <a:gd name="T15" fmla="*/ 0 h 3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0" h="353">
                  <a:moveTo>
                    <a:pt x="79" y="0"/>
                  </a:moveTo>
                  <a:cubicBezTo>
                    <a:pt x="79" y="0"/>
                    <a:pt x="100" y="46"/>
                    <a:pt x="66" y="131"/>
                  </a:cubicBezTo>
                  <a:cubicBezTo>
                    <a:pt x="45" y="184"/>
                    <a:pt x="61" y="222"/>
                    <a:pt x="62" y="230"/>
                  </a:cubicBezTo>
                  <a:cubicBezTo>
                    <a:pt x="66" y="260"/>
                    <a:pt x="73" y="321"/>
                    <a:pt x="71" y="345"/>
                  </a:cubicBezTo>
                  <a:cubicBezTo>
                    <a:pt x="49" y="353"/>
                    <a:pt x="29" y="347"/>
                    <a:pt x="29" y="347"/>
                  </a:cubicBezTo>
                  <a:cubicBezTo>
                    <a:pt x="29" y="347"/>
                    <a:pt x="14" y="260"/>
                    <a:pt x="7" y="216"/>
                  </a:cubicBezTo>
                  <a:cubicBezTo>
                    <a:pt x="0" y="172"/>
                    <a:pt x="3" y="73"/>
                    <a:pt x="7" y="46"/>
                  </a:cubicBezTo>
                  <a:cubicBezTo>
                    <a:pt x="11" y="19"/>
                    <a:pt x="79" y="0"/>
                    <a:pt x="79" y="0"/>
                  </a:cubicBezTo>
                  <a:close/>
                </a:path>
              </a:pathLst>
            </a:custGeom>
            <a:solidFill>
              <a:srgbClr val="3F3F3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482" name="ïSḷïďê"/>
            <p:cNvSpPr/>
            <p:nvPr/>
          </p:nvSpPr>
          <p:spPr bwMode="auto">
            <a:xfrm>
              <a:off x="7769226" y="2474913"/>
              <a:ext cx="749300" cy="788988"/>
            </a:xfrm>
            <a:custGeom>
              <a:avLst/>
              <a:gdLst>
                <a:gd name="T0" fmla="*/ 114 w 211"/>
                <a:gd name="T1" fmla="*/ 9 h 222"/>
                <a:gd name="T2" fmla="*/ 24 w 211"/>
                <a:gd name="T3" fmla="*/ 13 h 222"/>
                <a:gd name="T4" fmla="*/ 40 w 211"/>
                <a:gd name="T5" fmla="*/ 129 h 222"/>
                <a:gd name="T6" fmla="*/ 83 w 211"/>
                <a:gd name="T7" fmla="*/ 222 h 222"/>
                <a:gd name="T8" fmla="*/ 121 w 211"/>
                <a:gd name="T9" fmla="*/ 222 h 222"/>
                <a:gd name="T10" fmla="*/ 102 w 211"/>
                <a:gd name="T11" fmla="*/ 145 h 222"/>
                <a:gd name="T12" fmla="*/ 80 w 211"/>
                <a:gd name="T13" fmla="*/ 77 h 222"/>
                <a:gd name="T14" fmla="*/ 194 w 211"/>
                <a:gd name="T15" fmla="*/ 90 h 222"/>
                <a:gd name="T16" fmla="*/ 206 w 211"/>
                <a:gd name="T17" fmla="*/ 35 h 222"/>
                <a:gd name="T18" fmla="*/ 114 w 211"/>
                <a:gd name="T19" fmla="*/ 9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1" h="222">
                  <a:moveTo>
                    <a:pt x="114" y="9"/>
                  </a:moveTo>
                  <a:cubicBezTo>
                    <a:pt x="114" y="9"/>
                    <a:pt x="61" y="0"/>
                    <a:pt x="24" y="13"/>
                  </a:cubicBezTo>
                  <a:cubicBezTo>
                    <a:pt x="0" y="21"/>
                    <a:pt x="18" y="79"/>
                    <a:pt x="40" y="129"/>
                  </a:cubicBezTo>
                  <a:cubicBezTo>
                    <a:pt x="63" y="181"/>
                    <a:pt x="83" y="222"/>
                    <a:pt x="83" y="222"/>
                  </a:cubicBezTo>
                  <a:cubicBezTo>
                    <a:pt x="121" y="222"/>
                    <a:pt x="121" y="222"/>
                    <a:pt x="121" y="222"/>
                  </a:cubicBezTo>
                  <a:cubicBezTo>
                    <a:pt x="121" y="222"/>
                    <a:pt x="112" y="181"/>
                    <a:pt x="102" y="145"/>
                  </a:cubicBezTo>
                  <a:cubicBezTo>
                    <a:pt x="92" y="109"/>
                    <a:pt x="84" y="93"/>
                    <a:pt x="80" y="77"/>
                  </a:cubicBezTo>
                  <a:cubicBezTo>
                    <a:pt x="78" y="68"/>
                    <a:pt x="163" y="101"/>
                    <a:pt x="194" y="90"/>
                  </a:cubicBezTo>
                  <a:cubicBezTo>
                    <a:pt x="211" y="83"/>
                    <a:pt x="199" y="71"/>
                    <a:pt x="206" y="35"/>
                  </a:cubicBezTo>
                  <a:cubicBezTo>
                    <a:pt x="174" y="15"/>
                    <a:pt x="114" y="9"/>
                    <a:pt x="114" y="9"/>
                  </a:cubicBezTo>
                  <a:close/>
                </a:path>
              </a:pathLst>
            </a:custGeom>
            <a:solidFill>
              <a:srgbClr val="3F3F3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483" name="ï$lîḓé"/>
            <p:cNvSpPr/>
            <p:nvPr/>
          </p:nvSpPr>
          <p:spPr bwMode="auto">
            <a:xfrm>
              <a:off x="8081963" y="1252538"/>
              <a:ext cx="298450" cy="519113"/>
            </a:xfrm>
            <a:custGeom>
              <a:avLst/>
              <a:gdLst>
                <a:gd name="T0" fmla="*/ 17 w 84"/>
                <a:gd name="T1" fmla="*/ 12 h 146"/>
                <a:gd name="T2" fmla="*/ 9 w 84"/>
                <a:gd name="T3" fmla="*/ 50 h 146"/>
                <a:gd name="T4" fmla="*/ 0 w 84"/>
                <a:gd name="T5" fmla="*/ 93 h 146"/>
                <a:gd name="T6" fmla="*/ 30 w 84"/>
                <a:gd name="T7" fmla="*/ 138 h 146"/>
                <a:gd name="T8" fmla="*/ 75 w 84"/>
                <a:gd name="T9" fmla="*/ 119 h 146"/>
                <a:gd name="T10" fmla="*/ 17 w 84"/>
                <a:gd name="T11" fmla="*/ 12 h 146"/>
              </a:gdLst>
              <a:ahLst/>
              <a:cxnLst>
                <a:cxn ang="0">
                  <a:pos x="T0" y="T1"/>
                </a:cxn>
                <a:cxn ang="0">
                  <a:pos x="T2" y="T3"/>
                </a:cxn>
                <a:cxn ang="0">
                  <a:pos x="T4" y="T5"/>
                </a:cxn>
                <a:cxn ang="0">
                  <a:pos x="T6" y="T7"/>
                </a:cxn>
                <a:cxn ang="0">
                  <a:pos x="T8" y="T9"/>
                </a:cxn>
                <a:cxn ang="0">
                  <a:pos x="T10" y="T11"/>
                </a:cxn>
              </a:cxnLst>
              <a:rect l="0" t="0" r="r" b="b"/>
              <a:pathLst>
                <a:path w="84" h="146">
                  <a:moveTo>
                    <a:pt x="17" y="12"/>
                  </a:moveTo>
                  <a:cubicBezTo>
                    <a:pt x="17" y="12"/>
                    <a:pt x="9" y="29"/>
                    <a:pt x="9" y="50"/>
                  </a:cubicBezTo>
                  <a:cubicBezTo>
                    <a:pt x="10" y="61"/>
                    <a:pt x="1" y="73"/>
                    <a:pt x="0" y="93"/>
                  </a:cubicBezTo>
                  <a:cubicBezTo>
                    <a:pt x="0" y="112"/>
                    <a:pt x="10" y="129"/>
                    <a:pt x="30" y="138"/>
                  </a:cubicBezTo>
                  <a:cubicBezTo>
                    <a:pt x="51" y="146"/>
                    <a:pt x="66" y="131"/>
                    <a:pt x="75" y="119"/>
                  </a:cubicBezTo>
                  <a:cubicBezTo>
                    <a:pt x="84" y="106"/>
                    <a:pt x="78" y="0"/>
                    <a:pt x="17" y="12"/>
                  </a:cubicBezTo>
                  <a:close/>
                </a:path>
              </a:pathLst>
            </a:custGeom>
            <a:solidFill>
              <a:srgbClr val="EFC59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484" name="iŝľíḍê"/>
            <p:cNvSpPr/>
            <p:nvPr/>
          </p:nvSpPr>
          <p:spPr bwMode="auto">
            <a:xfrm>
              <a:off x="7054851" y="1482726"/>
              <a:ext cx="249238" cy="260350"/>
            </a:xfrm>
            <a:custGeom>
              <a:avLst/>
              <a:gdLst>
                <a:gd name="T0" fmla="*/ 69 w 70"/>
                <a:gd name="T1" fmla="*/ 49 h 73"/>
                <a:gd name="T2" fmla="*/ 56 w 70"/>
                <a:gd name="T3" fmla="*/ 26 h 73"/>
                <a:gd name="T4" fmla="*/ 12 w 70"/>
                <a:gd name="T5" fmla="*/ 31 h 73"/>
                <a:gd name="T6" fmla="*/ 60 w 70"/>
                <a:gd name="T7" fmla="*/ 73 h 73"/>
                <a:gd name="T8" fmla="*/ 69 w 70"/>
                <a:gd name="T9" fmla="*/ 49 h 73"/>
              </a:gdLst>
              <a:ahLst/>
              <a:cxnLst>
                <a:cxn ang="0">
                  <a:pos x="T0" y="T1"/>
                </a:cxn>
                <a:cxn ang="0">
                  <a:pos x="T2" y="T3"/>
                </a:cxn>
                <a:cxn ang="0">
                  <a:pos x="T4" y="T5"/>
                </a:cxn>
                <a:cxn ang="0">
                  <a:pos x="T6" y="T7"/>
                </a:cxn>
                <a:cxn ang="0">
                  <a:pos x="T8" y="T9"/>
                </a:cxn>
              </a:cxnLst>
              <a:rect l="0" t="0" r="r" b="b"/>
              <a:pathLst>
                <a:path w="70" h="73">
                  <a:moveTo>
                    <a:pt x="69" y="49"/>
                  </a:moveTo>
                  <a:cubicBezTo>
                    <a:pt x="69" y="49"/>
                    <a:pt x="61" y="41"/>
                    <a:pt x="56" y="26"/>
                  </a:cubicBezTo>
                  <a:cubicBezTo>
                    <a:pt x="51" y="11"/>
                    <a:pt x="28" y="0"/>
                    <a:pt x="12" y="31"/>
                  </a:cubicBezTo>
                  <a:cubicBezTo>
                    <a:pt x="0" y="55"/>
                    <a:pt x="38" y="60"/>
                    <a:pt x="60" y="73"/>
                  </a:cubicBezTo>
                  <a:cubicBezTo>
                    <a:pt x="70" y="63"/>
                    <a:pt x="69" y="49"/>
                    <a:pt x="69" y="49"/>
                  </a:cubicBezTo>
                  <a:close/>
                </a:path>
              </a:pathLst>
            </a:custGeom>
            <a:solidFill>
              <a:srgbClr val="EFC59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485" name="î$ḻíḓé"/>
            <p:cNvSpPr/>
            <p:nvPr/>
          </p:nvSpPr>
          <p:spPr bwMode="auto">
            <a:xfrm>
              <a:off x="7981951" y="1668463"/>
              <a:ext cx="823913" cy="952500"/>
            </a:xfrm>
            <a:custGeom>
              <a:avLst/>
              <a:gdLst>
                <a:gd name="T0" fmla="*/ 19 w 232"/>
                <a:gd name="T1" fmla="*/ 54 h 268"/>
                <a:gd name="T2" fmla="*/ 92 w 232"/>
                <a:gd name="T3" fmla="*/ 3 h 268"/>
                <a:gd name="T4" fmla="*/ 191 w 232"/>
                <a:gd name="T5" fmla="*/ 107 h 268"/>
                <a:gd name="T6" fmla="*/ 171 w 232"/>
                <a:gd name="T7" fmla="*/ 257 h 268"/>
                <a:gd name="T8" fmla="*/ 28 w 232"/>
                <a:gd name="T9" fmla="*/ 200 h 268"/>
                <a:gd name="T10" fmla="*/ 19 w 232"/>
                <a:gd name="T11" fmla="*/ 54 h 268"/>
              </a:gdLst>
              <a:ahLst/>
              <a:cxnLst>
                <a:cxn ang="0">
                  <a:pos x="T0" y="T1"/>
                </a:cxn>
                <a:cxn ang="0">
                  <a:pos x="T2" y="T3"/>
                </a:cxn>
                <a:cxn ang="0">
                  <a:pos x="T4" y="T5"/>
                </a:cxn>
                <a:cxn ang="0">
                  <a:pos x="T6" y="T7"/>
                </a:cxn>
                <a:cxn ang="0">
                  <a:pos x="T8" y="T9"/>
                </a:cxn>
                <a:cxn ang="0">
                  <a:pos x="T10" y="T11"/>
                </a:cxn>
              </a:cxnLst>
              <a:rect l="0" t="0" r="r" b="b"/>
              <a:pathLst>
                <a:path w="232" h="268">
                  <a:moveTo>
                    <a:pt x="19" y="54"/>
                  </a:moveTo>
                  <a:cubicBezTo>
                    <a:pt x="26" y="38"/>
                    <a:pt x="45" y="0"/>
                    <a:pt x="92" y="3"/>
                  </a:cubicBezTo>
                  <a:cubicBezTo>
                    <a:pt x="139" y="5"/>
                    <a:pt x="176" y="22"/>
                    <a:pt x="191" y="107"/>
                  </a:cubicBezTo>
                  <a:cubicBezTo>
                    <a:pt x="205" y="193"/>
                    <a:pt x="232" y="246"/>
                    <a:pt x="171" y="257"/>
                  </a:cubicBezTo>
                  <a:cubicBezTo>
                    <a:pt x="111" y="268"/>
                    <a:pt x="21" y="259"/>
                    <a:pt x="28" y="200"/>
                  </a:cubicBezTo>
                  <a:cubicBezTo>
                    <a:pt x="37" y="121"/>
                    <a:pt x="0" y="96"/>
                    <a:pt x="19" y="54"/>
                  </a:cubicBezTo>
                  <a:close/>
                </a:path>
              </a:pathLst>
            </a:custGeom>
            <a:solidFill>
              <a:srgbClr val="FFE42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486" name="iṡḻîḑé"/>
            <p:cNvSpPr/>
            <p:nvPr/>
          </p:nvSpPr>
          <p:spPr bwMode="auto">
            <a:xfrm>
              <a:off x="7240588" y="1639888"/>
              <a:ext cx="982663" cy="365125"/>
            </a:xfrm>
            <a:custGeom>
              <a:avLst/>
              <a:gdLst>
                <a:gd name="T0" fmla="*/ 277 w 277"/>
                <a:gd name="T1" fmla="*/ 13 h 103"/>
                <a:gd name="T2" fmla="*/ 142 w 277"/>
                <a:gd name="T3" fmla="*/ 51 h 103"/>
                <a:gd name="T4" fmla="*/ 14 w 277"/>
                <a:gd name="T5" fmla="*/ 0 h 103"/>
                <a:gd name="T6" fmla="*/ 0 w 277"/>
                <a:gd name="T7" fmla="*/ 26 h 103"/>
                <a:gd name="T8" fmla="*/ 146 w 277"/>
                <a:gd name="T9" fmla="*/ 97 h 103"/>
                <a:gd name="T10" fmla="*/ 224 w 277"/>
                <a:gd name="T11" fmla="*/ 103 h 103"/>
                <a:gd name="T12" fmla="*/ 277 w 277"/>
                <a:gd name="T13" fmla="*/ 13 h 103"/>
              </a:gdLst>
              <a:ahLst/>
              <a:cxnLst>
                <a:cxn ang="0">
                  <a:pos x="T0" y="T1"/>
                </a:cxn>
                <a:cxn ang="0">
                  <a:pos x="T2" y="T3"/>
                </a:cxn>
                <a:cxn ang="0">
                  <a:pos x="T4" y="T5"/>
                </a:cxn>
                <a:cxn ang="0">
                  <a:pos x="T6" y="T7"/>
                </a:cxn>
                <a:cxn ang="0">
                  <a:pos x="T8" y="T9"/>
                </a:cxn>
                <a:cxn ang="0">
                  <a:pos x="T10" y="T11"/>
                </a:cxn>
                <a:cxn ang="0">
                  <a:pos x="T12" y="T13"/>
                </a:cxn>
              </a:cxnLst>
              <a:rect l="0" t="0" r="r" b="b"/>
              <a:pathLst>
                <a:path w="277" h="103">
                  <a:moveTo>
                    <a:pt x="277" y="13"/>
                  </a:moveTo>
                  <a:cubicBezTo>
                    <a:pt x="277" y="13"/>
                    <a:pt x="195" y="32"/>
                    <a:pt x="142" y="51"/>
                  </a:cubicBezTo>
                  <a:cubicBezTo>
                    <a:pt x="116" y="59"/>
                    <a:pt x="14" y="0"/>
                    <a:pt x="14" y="0"/>
                  </a:cubicBezTo>
                  <a:cubicBezTo>
                    <a:pt x="14" y="0"/>
                    <a:pt x="1" y="14"/>
                    <a:pt x="0" y="26"/>
                  </a:cubicBezTo>
                  <a:cubicBezTo>
                    <a:pt x="27" y="47"/>
                    <a:pt x="94" y="94"/>
                    <a:pt x="146" y="97"/>
                  </a:cubicBezTo>
                  <a:cubicBezTo>
                    <a:pt x="179" y="100"/>
                    <a:pt x="211" y="79"/>
                    <a:pt x="224" y="103"/>
                  </a:cubicBezTo>
                  <a:cubicBezTo>
                    <a:pt x="262" y="84"/>
                    <a:pt x="277" y="13"/>
                    <a:pt x="277" y="13"/>
                  </a:cubicBezTo>
                  <a:close/>
                </a:path>
              </a:pathLst>
            </a:custGeom>
            <a:solidFill>
              <a:srgbClr val="FFE42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487" name="i$ḷiḍê"/>
            <p:cNvSpPr/>
            <p:nvPr/>
          </p:nvSpPr>
          <p:spPr bwMode="auto">
            <a:xfrm>
              <a:off x="8024813" y="1046163"/>
              <a:ext cx="771525" cy="757238"/>
            </a:xfrm>
            <a:custGeom>
              <a:avLst/>
              <a:gdLst>
                <a:gd name="T0" fmla="*/ 65 w 217"/>
                <a:gd name="T1" fmla="*/ 115 h 213"/>
                <a:gd name="T2" fmla="*/ 60 w 217"/>
                <a:gd name="T3" fmla="*/ 152 h 213"/>
                <a:gd name="T4" fmla="*/ 84 w 217"/>
                <a:gd name="T5" fmla="*/ 138 h 213"/>
                <a:gd name="T6" fmla="*/ 76 w 217"/>
                <a:gd name="T7" fmla="*/ 173 h 213"/>
                <a:gd name="T8" fmla="*/ 160 w 217"/>
                <a:gd name="T9" fmla="*/ 179 h 213"/>
                <a:gd name="T10" fmla="*/ 174 w 217"/>
                <a:gd name="T11" fmla="*/ 53 h 213"/>
                <a:gd name="T12" fmla="*/ 195 w 217"/>
                <a:gd name="T13" fmla="*/ 60 h 213"/>
                <a:gd name="T14" fmla="*/ 165 w 217"/>
                <a:gd name="T15" fmla="*/ 45 h 213"/>
                <a:gd name="T16" fmla="*/ 192 w 217"/>
                <a:gd name="T17" fmla="*/ 36 h 213"/>
                <a:gd name="T18" fmla="*/ 149 w 217"/>
                <a:gd name="T19" fmla="*/ 40 h 213"/>
                <a:gd name="T20" fmla="*/ 90 w 217"/>
                <a:gd name="T21" fmla="*/ 18 h 213"/>
                <a:gd name="T22" fmla="*/ 54 w 217"/>
                <a:gd name="T23" fmla="*/ 0 h 213"/>
                <a:gd name="T24" fmla="*/ 64 w 217"/>
                <a:gd name="T25" fmla="*/ 25 h 213"/>
                <a:gd name="T26" fmla="*/ 46 w 217"/>
                <a:gd name="T27" fmla="*/ 5 h 213"/>
                <a:gd name="T28" fmla="*/ 56 w 217"/>
                <a:gd name="T29" fmla="*/ 32 h 213"/>
                <a:gd name="T30" fmla="*/ 33 w 217"/>
                <a:gd name="T31" fmla="*/ 17 h 213"/>
                <a:gd name="T32" fmla="*/ 46 w 217"/>
                <a:gd name="T33" fmla="*/ 38 h 213"/>
                <a:gd name="T34" fmla="*/ 22 w 217"/>
                <a:gd name="T35" fmla="*/ 14 h 213"/>
                <a:gd name="T36" fmla="*/ 38 w 217"/>
                <a:gd name="T37" fmla="*/ 49 h 213"/>
                <a:gd name="T38" fmla="*/ 0 w 217"/>
                <a:gd name="T39" fmla="*/ 28 h 213"/>
                <a:gd name="T40" fmla="*/ 58 w 217"/>
                <a:gd name="T41" fmla="*/ 83 h 213"/>
                <a:gd name="T42" fmla="*/ 56 w 217"/>
                <a:gd name="T43" fmla="*/ 88 h 213"/>
                <a:gd name="T44" fmla="*/ 65 w 217"/>
                <a:gd name="T45" fmla="*/ 115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7" h="213">
                  <a:moveTo>
                    <a:pt x="65" y="115"/>
                  </a:moveTo>
                  <a:cubicBezTo>
                    <a:pt x="55" y="130"/>
                    <a:pt x="60" y="152"/>
                    <a:pt x="60" y="152"/>
                  </a:cubicBezTo>
                  <a:cubicBezTo>
                    <a:pt x="67" y="123"/>
                    <a:pt x="83" y="125"/>
                    <a:pt x="84" y="138"/>
                  </a:cubicBezTo>
                  <a:cubicBezTo>
                    <a:pt x="85" y="151"/>
                    <a:pt x="75" y="158"/>
                    <a:pt x="76" y="173"/>
                  </a:cubicBezTo>
                  <a:cubicBezTo>
                    <a:pt x="77" y="187"/>
                    <a:pt x="136" y="213"/>
                    <a:pt x="160" y="179"/>
                  </a:cubicBezTo>
                  <a:cubicBezTo>
                    <a:pt x="184" y="145"/>
                    <a:pt x="217" y="78"/>
                    <a:pt x="174" y="53"/>
                  </a:cubicBezTo>
                  <a:cubicBezTo>
                    <a:pt x="178" y="47"/>
                    <a:pt x="195" y="60"/>
                    <a:pt x="195" y="60"/>
                  </a:cubicBezTo>
                  <a:cubicBezTo>
                    <a:pt x="192" y="51"/>
                    <a:pt x="177" y="36"/>
                    <a:pt x="165" y="45"/>
                  </a:cubicBezTo>
                  <a:cubicBezTo>
                    <a:pt x="173" y="30"/>
                    <a:pt x="189" y="35"/>
                    <a:pt x="192" y="36"/>
                  </a:cubicBezTo>
                  <a:cubicBezTo>
                    <a:pt x="188" y="31"/>
                    <a:pt x="161" y="22"/>
                    <a:pt x="149" y="40"/>
                  </a:cubicBezTo>
                  <a:cubicBezTo>
                    <a:pt x="137" y="19"/>
                    <a:pt x="113" y="9"/>
                    <a:pt x="90" y="18"/>
                  </a:cubicBezTo>
                  <a:cubicBezTo>
                    <a:pt x="67" y="27"/>
                    <a:pt x="56" y="4"/>
                    <a:pt x="54" y="0"/>
                  </a:cubicBezTo>
                  <a:cubicBezTo>
                    <a:pt x="53" y="12"/>
                    <a:pt x="57" y="21"/>
                    <a:pt x="64" y="25"/>
                  </a:cubicBezTo>
                  <a:cubicBezTo>
                    <a:pt x="56" y="26"/>
                    <a:pt x="49" y="15"/>
                    <a:pt x="46" y="5"/>
                  </a:cubicBezTo>
                  <a:cubicBezTo>
                    <a:pt x="45" y="16"/>
                    <a:pt x="48" y="28"/>
                    <a:pt x="56" y="32"/>
                  </a:cubicBezTo>
                  <a:cubicBezTo>
                    <a:pt x="47" y="34"/>
                    <a:pt x="36" y="24"/>
                    <a:pt x="33" y="17"/>
                  </a:cubicBezTo>
                  <a:cubicBezTo>
                    <a:pt x="32" y="24"/>
                    <a:pt x="39" y="36"/>
                    <a:pt x="46" y="38"/>
                  </a:cubicBezTo>
                  <a:cubicBezTo>
                    <a:pt x="35" y="40"/>
                    <a:pt x="25" y="30"/>
                    <a:pt x="22" y="14"/>
                  </a:cubicBezTo>
                  <a:cubicBezTo>
                    <a:pt x="21" y="22"/>
                    <a:pt x="23" y="44"/>
                    <a:pt x="38" y="49"/>
                  </a:cubicBezTo>
                  <a:cubicBezTo>
                    <a:pt x="27" y="47"/>
                    <a:pt x="3" y="38"/>
                    <a:pt x="0" y="28"/>
                  </a:cubicBezTo>
                  <a:cubicBezTo>
                    <a:pt x="3" y="38"/>
                    <a:pt x="5" y="71"/>
                    <a:pt x="58" y="83"/>
                  </a:cubicBezTo>
                  <a:cubicBezTo>
                    <a:pt x="60" y="83"/>
                    <a:pt x="57" y="86"/>
                    <a:pt x="56" y="88"/>
                  </a:cubicBezTo>
                  <a:cubicBezTo>
                    <a:pt x="49" y="102"/>
                    <a:pt x="58" y="112"/>
                    <a:pt x="65" y="115"/>
                  </a:cubicBezTo>
                  <a:close/>
                </a:path>
              </a:pathLst>
            </a:custGeom>
            <a:solidFill>
              <a:srgbClr val="603B15"/>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488" name="íṥľïḋe"/>
            <p:cNvSpPr/>
            <p:nvPr/>
          </p:nvSpPr>
          <p:spPr bwMode="auto">
            <a:xfrm>
              <a:off x="8504238" y="1735138"/>
              <a:ext cx="390525" cy="349250"/>
            </a:xfrm>
            <a:custGeom>
              <a:avLst/>
              <a:gdLst>
                <a:gd name="T0" fmla="*/ 0 w 110"/>
                <a:gd name="T1" fmla="*/ 0 h 98"/>
                <a:gd name="T2" fmla="*/ 87 w 110"/>
                <a:gd name="T3" fmla="*/ 57 h 98"/>
                <a:gd name="T4" fmla="*/ 65 w 110"/>
                <a:gd name="T5" fmla="*/ 88 h 98"/>
                <a:gd name="T6" fmla="*/ 8 w 110"/>
                <a:gd name="T7" fmla="*/ 55 h 98"/>
                <a:gd name="T8" fmla="*/ 0 w 110"/>
                <a:gd name="T9" fmla="*/ 0 h 98"/>
              </a:gdLst>
              <a:ahLst/>
              <a:cxnLst>
                <a:cxn ang="0">
                  <a:pos x="T0" y="T1"/>
                </a:cxn>
                <a:cxn ang="0">
                  <a:pos x="T2" y="T3"/>
                </a:cxn>
                <a:cxn ang="0">
                  <a:pos x="T4" y="T5"/>
                </a:cxn>
                <a:cxn ang="0">
                  <a:pos x="T6" y="T7"/>
                </a:cxn>
                <a:cxn ang="0">
                  <a:pos x="T8" y="T9"/>
                </a:cxn>
              </a:cxnLst>
              <a:rect l="0" t="0" r="r" b="b"/>
              <a:pathLst>
                <a:path w="110" h="98">
                  <a:moveTo>
                    <a:pt x="0" y="0"/>
                  </a:moveTo>
                  <a:cubicBezTo>
                    <a:pt x="0" y="0"/>
                    <a:pt x="37" y="17"/>
                    <a:pt x="87" y="57"/>
                  </a:cubicBezTo>
                  <a:cubicBezTo>
                    <a:pt x="110" y="75"/>
                    <a:pt x="95" y="98"/>
                    <a:pt x="65" y="88"/>
                  </a:cubicBezTo>
                  <a:cubicBezTo>
                    <a:pt x="35" y="79"/>
                    <a:pt x="8" y="55"/>
                    <a:pt x="8" y="55"/>
                  </a:cubicBezTo>
                  <a:lnTo>
                    <a:pt x="0" y="0"/>
                  </a:lnTo>
                  <a:close/>
                </a:path>
              </a:pathLst>
            </a:custGeom>
            <a:solidFill>
              <a:srgbClr val="FFE42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grpSp>
    </p:spTree>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660400" y="1130300"/>
            <a:ext cx="10858500" cy="4558187"/>
            <a:chOff x="660400" y="1130300"/>
            <a:chExt cx="10858500" cy="4558187"/>
          </a:xfrm>
        </p:grpSpPr>
        <p:sp>
          <p:nvSpPr>
            <p:cNvPr id="106" name="矩形 105"/>
            <p:cNvSpPr/>
            <p:nvPr/>
          </p:nvSpPr>
          <p:spPr>
            <a:xfrm>
              <a:off x="660400" y="1130300"/>
              <a:ext cx="10858500" cy="5232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spAutoFit/>
            </a:bodyPr>
            <a:lstStyle/>
            <a:p>
              <a:pPr algn="ctr">
                <a:buSzPct val="25000"/>
              </a:pPr>
              <a:r>
                <a:rPr lang="en-US" altLang="zh-CN" sz="2800" b="1" dirty="0">
                  <a:solidFill>
                    <a:schemeClr val="tx1"/>
                  </a:solidFill>
                  <a:latin typeface="Arial" panose="020B0604020202090204" pitchFamily="34" charset="0"/>
                  <a:ea typeface="华文楷体" panose="02010600040101010101" pitchFamily="2" charset="-122"/>
                </a:rPr>
                <a:t>Unified fonts make reading </a:t>
              </a:r>
              <a:r>
                <a:rPr lang="en-US" altLang="zh-CN" sz="2800" b="1" dirty="0">
                  <a:solidFill>
                    <a:schemeClr val="accent1"/>
                  </a:solidFill>
                  <a:latin typeface="Arial" panose="020B0604020202090204" pitchFamily="34" charset="0"/>
                  <a:ea typeface="华文楷体" panose="02010600040101010101" pitchFamily="2" charset="-122"/>
                </a:rPr>
                <a:t>more fluent.</a:t>
              </a:r>
              <a:endParaRPr lang="en-US" altLang="zh-CN" sz="2800" b="1" dirty="0">
                <a:solidFill>
                  <a:schemeClr val="accent1"/>
                </a:solidFill>
                <a:latin typeface="Arial" panose="020B0604020202090204" pitchFamily="34" charset="0"/>
                <a:ea typeface="华文楷体" panose="02010600040101010101" pitchFamily="2" charset="-122"/>
              </a:endParaRPr>
            </a:p>
          </p:txBody>
        </p:sp>
        <p:grpSp>
          <p:nvGrpSpPr>
            <p:cNvPr id="625" name="组合 624"/>
            <p:cNvGrpSpPr/>
            <p:nvPr/>
          </p:nvGrpSpPr>
          <p:grpSpPr>
            <a:xfrm>
              <a:off x="4688762" y="2351567"/>
              <a:ext cx="2866977" cy="3143251"/>
              <a:chOff x="4270960" y="1428092"/>
              <a:chExt cx="3650080" cy="4001817"/>
            </a:xfrm>
          </p:grpSpPr>
          <p:sp>
            <p:nvSpPr>
              <p:cNvPr id="626" name="任意多边形: 形状 625"/>
              <p:cNvSpPr/>
              <p:nvPr/>
            </p:nvSpPr>
            <p:spPr bwMode="auto">
              <a:xfrm>
                <a:off x="5065912" y="3144261"/>
                <a:ext cx="2018947" cy="1477812"/>
              </a:xfrm>
              <a:custGeom>
                <a:avLst/>
                <a:gdLst>
                  <a:gd name="T0" fmla="*/ 777 w 792"/>
                  <a:gd name="T1" fmla="*/ 539 h 580"/>
                  <a:gd name="T2" fmla="*/ 749 w 792"/>
                  <a:gd name="T3" fmla="*/ 498 h 580"/>
                  <a:gd name="T4" fmla="*/ 415 w 792"/>
                  <a:gd name="T5" fmla="*/ 10 h 580"/>
                  <a:gd name="T6" fmla="*/ 396 w 792"/>
                  <a:gd name="T7" fmla="*/ 1 h 580"/>
                  <a:gd name="T8" fmla="*/ 377 w 792"/>
                  <a:gd name="T9" fmla="*/ 10 h 580"/>
                  <a:gd name="T10" fmla="*/ 43 w 792"/>
                  <a:gd name="T11" fmla="*/ 498 h 580"/>
                  <a:gd name="T12" fmla="*/ 15 w 792"/>
                  <a:gd name="T13" fmla="*/ 539 h 580"/>
                  <a:gd name="T14" fmla="*/ 49 w 792"/>
                  <a:gd name="T15" fmla="*/ 559 h 580"/>
                  <a:gd name="T16" fmla="*/ 383 w 792"/>
                  <a:gd name="T17" fmla="*/ 71 h 580"/>
                  <a:gd name="T18" fmla="*/ 396 w 792"/>
                  <a:gd name="T19" fmla="*/ 53 h 580"/>
                  <a:gd name="T20" fmla="*/ 409 w 792"/>
                  <a:gd name="T21" fmla="*/ 71 h 580"/>
                  <a:gd name="T22" fmla="*/ 743 w 792"/>
                  <a:gd name="T23" fmla="*/ 559 h 580"/>
                  <a:gd name="T24" fmla="*/ 777 w 792"/>
                  <a:gd name="T25" fmla="*/ 539 h 5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92" h="580">
                    <a:moveTo>
                      <a:pt x="777" y="539"/>
                    </a:moveTo>
                    <a:cubicBezTo>
                      <a:pt x="768" y="525"/>
                      <a:pt x="759" y="512"/>
                      <a:pt x="749" y="498"/>
                    </a:cubicBezTo>
                    <a:cubicBezTo>
                      <a:pt x="638" y="335"/>
                      <a:pt x="526" y="173"/>
                      <a:pt x="415" y="10"/>
                    </a:cubicBezTo>
                    <a:cubicBezTo>
                      <a:pt x="410" y="3"/>
                      <a:pt x="403" y="0"/>
                      <a:pt x="396" y="1"/>
                    </a:cubicBezTo>
                    <a:cubicBezTo>
                      <a:pt x="389" y="0"/>
                      <a:pt x="382" y="3"/>
                      <a:pt x="377" y="10"/>
                    </a:cubicBezTo>
                    <a:cubicBezTo>
                      <a:pt x="266" y="173"/>
                      <a:pt x="154" y="335"/>
                      <a:pt x="43" y="498"/>
                    </a:cubicBezTo>
                    <a:cubicBezTo>
                      <a:pt x="33" y="512"/>
                      <a:pt x="24" y="525"/>
                      <a:pt x="15" y="539"/>
                    </a:cubicBezTo>
                    <a:cubicBezTo>
                      <a:pt x="0" y="560"/>
                      <a:pt x="35" y="580"/>
                      <a:pt x="49" y="559"/>
                    </a:cubicBezTo>
                    <a:cubicBezTo>
                      <a:pt x="161" y="396"/>
                      <a:pt x="272" y="234"/>
                      <a:pt x="383" y="71"/>
                    </a:cubicBezTo>
                    <a:cubicBezTo>
                      <a:pt x="388" y="65"/>
                      <a:pt x="392" y="59"/>
                      <a:pt x="396" y="53"/>
                    </a:cubicBezTo>
                    <a:cubicBezTo>
                      <a:pt x="400" y="59"/>
                      <a:pt x="404" y="65"/>
                      <a:pt x="409" y="71"/>
                    </a:cubicBezTo>
                    <a:cubicBezTo>
                      <a:pt x="520" y="234"/>
                      <a:pt x="631" y="396"/>
                      <a:pt x="743" y="559"/>
                    </a:cubicBezTo>
                    <a:cubicBezTo>
                      <a:pt x="757" y="580"/>
                      <a:pt x="792" y="560"/>
                      <a:pt x="777" y="539"/>
                    </a:cubicBezTo>
                    <a:close/>
                  </a:path>
                </a:pathLst>
              </a:custGeom>
              <a:solidFill>
                <a:srgbClr val="03386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27" name="椭圆 626"/>
              <p:cNvSpPr/>
              <p:nvPr/>
            </p:nvSpPr>
            <p:spPr bwMode="auto">
              <a:xfrm>
                <a:off x="6574646" y="3608090"/>
                <a:ext cx="778203" cy="779491"/>
              </a:xfrm>
              <a:prstGeom prst="ellipse">
                <a:avLst/>
              </a:pr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28" name="椭圆 627"/>
              <p:cNvSpPr/>
              <p:nvPr/>
            </p:nvSpPr>
            <p:spPr bwMode="auto">
              <a:xfrm>
                <a:off x="6555320" y="3608090"/>
                <a:ext cx="774338" cy="779491"/>
              </a:xfrm>
              <a:prstGeom prst="ellipse">
                <a:avLst/>
              </a:prstGeom>
              <a:solidFill>
                <a:srgbClr val="FFC56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29" name="任意多边形: 形状 628"/>
              <p:cNvSpPr/>
              <p:nvPr/>
            </p:nvSpPr>
            <p:spPr bwMode="auto">
              <a:xfrm>
                <a:off x="6558362" y="3611080"/>
                <a:ext cx="771296" cy="776502"/>
              </a:xfrm>
              <a:custGeom>
                <a:avLst/>
                <a:gdLst>
                  <a:gd name="connsiteX0" fmla="*/ 949701 w 950340"/>
                  <a:gd name="connsiteY0" fmla="*/ 470152 h 956755"/>
                  <a:gd name="connsiteX1" fmla="*/ 950340 w 950340"/>
                  <a:gd name="connsiteY1" fmla="*/ 476536 h 956755"/>
                  <a:gd name="connsiteX2" fmla="*/ 940648 w 950340"/>
                  <a:gd name="connsiteY2" fmla="*/ 573317 h 956755"/>
                  <a:gd name="connsiteX3" fmla="*/ 915983 w 950340"/>
                  <a:gd name="connsiteY3" fmla="*/ 653306 h 956755"/>
                  <a:gd name="connsiteX4" fmla="*/ 648654 w 950340"/>
                  <a:gd name="connsiteY4" fmla="*/ 922245 h 956755"/>
                  <a:gd name="connsiteX5" fmla="*/ 569437 w 950340"/>
                  <a:gd name="connsiteY5" fmla="*/ 946999 h 956755"/>
                  <a:gd name="connsiteX6" fmla="*/ 473296 w 950340"/>
                  <a:gd name="connsiteY6" fmla="*/ 956755 h 956755"/>
                  <a:gd name="connsiteX7" fmla="*/ 465627 w 950340"/>
                  <a:gd name="connsiteY7" fmla="*/ 955977 h 956755"/>
                  <a:gd name="connsiteX8" fmla="*/ 929303 w 950340"/>
                  <a:gd name="connsiteY8" fmla="*/ 342964 h 956755"/>
                  <a:gd name="connsiteX9" fmla="*/ 940648 w 950340"/>
                  <a:gd name="connsiteY9" fmla="*/ 379755 h 956755"/>
                  <a:gd name="connsiteX10" fmla="*/ 941786 w 950340"/>
                  <a:gd name="connsiteY10" fmla="*/ 391117 h 956755"/>
                  <a:gd name="connsiteX11" fmla="*/ 388732 w 950340"/>
                  <a:gd name="connsiteY11" fmla="*/ 948174 h 956755"/>
                  <a:gd name="connsiteX12" fmla="*/ 377155 w 950340"/>
                  <a:gd name="connsiteY12" fmla="*/ 946999 h 956755"/>
                  <a:gd name="connsiteX13" fmla="*/ 339248 w 950340"/>
                  <a:gd name="connsiteY13" fmla="*/ 935154 h 956755"/>
                  <a:gd name="connsiteX14" fmla="*/ 798818 w 950340"/>
                  <a:gd name="connsiteY14" fmla="*/ 127170 h 956755"/>
                  <a:gd name="connsiteX15" fmla="*/ 810617 w 950340"/>
                  <a:gd name="connsiteY15" fmla="*/ 136970 h 956755"/>
                  <a:gd name="connsiteX16" fmla="*/ 868869 w 950340"/>
                  <a:gd name="connsiteY16" fmla="*/ 208041 h 956755"/>
                  <a:gd name="connsiteX17" fmla="*/ 904467 w 950340"/>
                  <a:gd name="connsiteY17" fmla="*/ 274063 h 956755"/>
                  <a:gd name="connsiteX18" fmla="*/ 271907 w 950340"/>
                  <a:gd name="connsiteY18" fmla="*/ 910438 h 956755"/>
                  <a:gd name="connsiteX19" fmla="*/ 206576 w 950340"/>
                  <a:gd name="connsiteY19" fmla="*/ 874741 h 956755"/>
                  <a:gd name="connsiteX20" fmla="*/ 135975 w 950340"/>
                  <a:gd name="connsiteY20" fmla="*/ 816102 h 956755"/>
                  <a:gd name="connsiteX21" fmla="*/ 126051 w 950340"/>
                  <a:gd name="connsiteY21" fmla="*/ 803995 h 956755"/>
                  <a:gd name="connsiteX22" fmla="*/ 714698 w 950340"/>
                  <a:gd name="connsiteY22" fmla="*/ 64497 h 956755"/>
                  <a:gd name="connsiteX23" fmla="*/ 740016 w 950340"/>
                  <a:gd name="connsiteY23" fmla="*/ 78331 h 956755"/>
                  <a:gd name="connsiteX24" fmla="*/ 752008 w 950340"/>
                  <a:gd name="connsiteY24" fmla="*/ 88292 h 956755"/>
                  <a:gd name="connsiteX25" fmla="*/ 87072 w 950340"/>
                  <a:gd name="connsiteY25" fmla="*/ 756436 h 956755"/>
                  <a:gd name="connsiteX26" fmla="*/ 77724 w 950340"/>
                  <a:gd name="connsiteY26" fmla="*/ 745031 h 956755"/>
                  <a:gd name="connsiteX27" fmla="*/ 63014 w 950340"/>
                  <a:gd name="connsiteY27" fmla="*/ 717750 h 956755"/>
                  <a:gd name="connsiteX28" fmla="*/ 519607 w 950340"/>
                  <a:gd name="connsiteY28" fmla="*/ 1017 h 956755"/>
                  <a:gd name="connsiteX29" fmla="*/ 569437 w 950340"/>
                  <a:gd name="connsiteY29" fmla="*/ 6074 h 956755"/>
                  <a:gd name="connsiteX30" fmla="*/ 639624 w 950340"/>
                  <a:gd name="connsiteY30" fmla="*/ 28006 h 956755"/>
                  <a:gd name="connsiteX31" fmla="*/ 27815 w 950340"/>
                  <a:gd name="connsiteY31" fmla="*/ 644243 h 956755"/>
                  <a:gd name="connsiteX32" fmla="*/ 5944 w 950340"/>
                  <a:gd name="connsiteY32" fmla="*/ 573317 h 956755"/>
                  <a:gd name="connsiteX33" fmla="*/ 834 w 950340"/>
                  <a:gd name="connsiteY33" fmla="*/ 522293 h 956755"/>
                  <a:gd name="connsiteX34" fmla="*/ 437007 w 950340"/>
                  <a:gd name="connsiteY34" fmla="*/ 0 h 956755"/>
                  <a:gd name="connsiteX35" fmla="*/ 0 w 950340"/>
                  <a:gd name="connsiteY35" fmla="*/ 439116 h 956755"/>
                  <a:gd name="connsiteX36" fmla="*/ 5944 w 950340"/>
                  <a:gd name="connsiteY36" fmla="*/ 379755 h 956755"/>
                  <a:gd name="connsiteX37" fmla="*/ 10381 w 950340"/>
                  <a:gd name="connsiteY37" fmla="*/ 365365 h 956755"/>
                  <a:gd name="connsiteX38" fmla="*/ 364411 w 950340"/>
                  <a:gd name="connsiteY38" fmla="*/ 10056 h 956755"/>
                  <a:gd name="connsiteX39" fmla="*/ 377155 w 950340"/>
                  <a:gd name="connsiteY39" fmla="*/ 6074 h 956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950340" h="956755">
                    <a:moveTo>
                      <a:pt x="949701" y="470152"/>
                    </a:moveTo>
                    <a:lnTo>
                      <a:pt x="950340" y="476536"/>
                    </a:lnTo>
                    <a:cubicBezTo>
                      <a:pt x="950340" y="509688"/>
                      <a:pt x="947003" y="542056"/>
                      <a:pt x="940648" y="573317"/>
                    </a:cubicBezTo>
                    <a:lnTo>
                      <a:pt x="915983" y="653306"/>
                    </a:lnTo>
                    <a:lnTo>
                      <a:pt x="648654" y="922245"/>
                    </a:lnTo>
                    <a:lnTo>
                      <a:pt x="569437" y="946999"/>
                    </a:lnTo>
                    <a:cubicBezTo>
                      <a:pt x="538383" y="953396"/>
                      <a:pt x="506229" y="956755"/>
                      <a:pt x="473296" y="956755"/>
                    </a:cubicBezTo>
                    <a:lnTo>
                      <a:pt x="465627" y="955977"/>
                    </a:lnTo>
                    <a:close/>
                    <a:moveTo>
                      <a:pt x="929303" y="342964"/>
                    </a:moveTo>
                    <a:lnTo>
                      <a:pt x="940648" y="379755"/>
                    </a:lnTo>
                    <a:lnTo>
                      <a:pt x="941786" y="391117"/>
                    </a:lnTo>
                    <a:lnTo>
                      <a:pt x="388732" y="948174"/>
                    </a:lnTo>
                    <a:lnTo>
                      <a:pt x="377155" y="946999"/>
                    </a:lnTo>
                    <a:lnTo>
                      <a:pt x="339248" y="935154"/>
                    </a:lnTo>
                    <a:close/>
                    <a:moveTo>
                      <a:pt x="798818" y="127170"/>
                    </a:moveTo>
                    <a:lnTo>
                      <a:pt x="810617" y="136970"/>
                    </a:lnTo>
                    <a:cubicBezTo>
                      <a:pt x="832199" y="158696"/>
                      <a:pt x="851723" y="182493"/>
                      <a:pt x="868869" y="208041"/>
                    </a:cubicBezTo>
                    <a:lnTo>
                      <a:pt x="904467" y="274063"/>
                    </a:lnTo>
                    <a:lnTo>
                      <a:pt x="271907" y="910438"/>
                    </a:lnTo>
                    <a:lnTo>
                      <a:pt x="206576" y="874741"/>
                    </a:lnTo>
                    <a:cubicBezTo>
                      <a:pt x="181198" y="857482"/>
                      <a:pt x="157557" y="837828"/>
                      <a:pt x="135975" y="816102"/>
                    </a:cubicBezTo>
                    <a:lnTo>
                      <a:pt x="126051" y="803995"/>
                    </a:lnTo>
                    <a:close/>
                    <a:moveTo>
                      <a:pt x="714698" y="64497"/>
                    </a:moveTo>
                    <a:lnTo>
                      <a:pt x="740016" y="78331"/>
                    </a:lnTo>
                    <a:lnTo>
                      <a:pt x="752008" y="88292"/>
                    </a:lnTo>
                    <a:lnTo>
                      <a:pt x="87072" y="756436"/>
                    </a:lnTo>
                    <a:lnTo>
                      <a:pt x="77724" y="745031"/>
                    </a:lnTo>
                    <a:lnTo>
                      <a:pt x="63014" y="717750"/>
                    </a:lnTo>
                    <a:close/>
                    <a:moveTo>
                      <a:pt x="519607" y="1017"/>
                    </a:moveTo>
                    <a:lnTo>
                      <a:pt x="569437" y="6074"/>
                    </a:lnTo>
                    <a:lnTo>
                      <a:pt x="639624" y="28006"/>
                    </a:lnTo>
                    <a:lnTo>
                      <a:pt x="27815" y="644243"/>
                    </a:lnTo>
                    <a:lnTo>
                      <a:pt x="5944" y="573317"/>
                    </a:lnTo>
                    <a:lnTo>
                      <a:pt x="834" y="522293"/>
                    </a:lnTo>
                    <a:close/>
                    <a:moveTo>
                      <a:pt x="437007" y="0"/>
                    </a:moveTo>
                    <a:lnTo>
                      <a:pt x="0" y="439116"/>
                    </a:lnTo>
                    <a:lnTo>
                      <a:pt x="5944" y="379755"/>
                    </a:lnTo>
                    <a:lnTo>
                      <a:pt x="10381" y="365365"/>
                    </a:lnTo>
                    <a:lnTo>
                      <a:pt x="364411" y="10056"/>
                    </a:lnTo>
                    <a:lnTo>
                      <a:pt x="377155" y="6074"/>
                    </a:lnTo>
                    <a:close/>
                  </a:path>
                </a:pathLst>
              </a:custGeom>
              <a:solidFill>
                <a:srgbClr val="FFECD4">
                  <a:alpha val="30000"/>
                </a:srgbClr>
              </a:solidFill>
              <a:ln>
                <a:noFill/>
              </a:ln>
            </p:spPr>
            <p:txBody>
              <a:bodyPr vert="horz" wrap="square" lIns="91440" tIns="45720" rIns="91440" bIns="45720" numCol="1" anchor="t" anchorCtr="0" compatLnSpc="1">
                <a:noAutofit/>
              </a:bodyPr>
              <a:lstStyle/>
              <a:p>
                <a:endParaRPr lang="zh-CN" altLang="en-US"/>
              </a:p>
            </p:txBody>
          </p:sp>
          <p:sp>
            <p:nvSpPr>
              <p:cNvPr id="630" name="椭圆 629"/>
              <p:cNvSpPr/>
              <p:nvPr/>
            </p:nvSpPr>
            <p:spPr bwMode="auto">
              <a:xfrm>
                <a:off x="4885534" y="3949521"/>
                <a:ext cx="774338" cy="779491"/>
              </a:xfrm>
              <a:prstGeom prst="ellipse">
                <a:avLst/>
              </a:pr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dirty="0"/>
              </a:p>
            </p:txBody>
          </p:sp>
          <p:sp>
            <p:nvSpPr>
              <p:cNvPr id="631" name="椭圆 630"/>
              <p:cNvSpPr/>
              <p:nvPr/>
            </p:nvSpPr>
            <p:spPr bwMode="auto">
              <a:xfrm>
                <a:off x="4862343" y="3949521"/>
                <a:ext cx="774338" cy="779491"/>
              </a:xfrm>
              <a:prstGeom prst="ellipse">
                <a:avLst/>
              </a:prstGeom>
              <a:solidFill>
                <a:srgbClr val="FFC56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32" name="任意多边形: 形状 631"/>
              <p:cNvSpPr/>
              <p:nvPr/>
            </p:nvSpPr>
            <p:spPr bwMode="auto">
              <a:xfrm>
                <a:off x="4865385" y="3952511"/>
                <a:ext cx="771296" cy="776502"/>
              </a:xfrm>
              <a:custGeom>
                <a:avLst/>
                <a:gdLst>
                  <a:gd name="connsiteX0" fmla="*/ 949991 w 950340"/>
                  <a:gd name="connsiteY0" fmla="*/ 473047 h 956755"/>
                  <a:gd name="connsiteX1" fmla="*/ 950340 w 950340"/>
                  <a:gd name="connsiteY1" fmla="*/ 476536 h 956755"/>
                  <a:gd name="connsiteX2" fmla="*/ 940648 w 950340"/>
                  <a:gd name="connsiteY2" fmla="*/ 573317 h 956755"/>
                  <a:gd name="connsiteX3" fmla="*/ 915983 w 950340"/>
                  <a:gd name="connsiteY3" fmla="*/ 653306 h 956755"/>
                  <a:gd name="connsiteX4" fmla="*/ 648654 w 950340"/>
                  <a:gd name="connsiteY4" fmla="*/ 922245 h 956755"/>
                  <a:gd name="connsiteX5" fmla="*/ 569437 w 950340"/>
                  <a:gd name="connsiteY5" fmla="*/ 946999 h 956755"/>
                  <a:gd name="connsiteX6" fmla="*/ 473296 w 950340"/>
                  <a:gd name="connsiteY6" fmla="*/ 956755 h 956755"/>
                  <a:gd name="connsiteX7" fmla="*/ 468511 w 950340"/>
                  <a:gd name="connsiteY7" fmla="*/ 956270 h 956755"/>
                  <a:gd name="connsiteX8" fmla="*/ 930053 w 950340"/>
                  <a:gd name="connsiteY8" fmla="*/ 345396 h 956755"/>
                  <a:gd name="connsiteX9" fmla="*/ 940648 w 950340"/>
                  <a:gd name="connsiteY9" fmla="*/ 379755 h 956755"/>
                  <a:gd name="connsiteX10" fmla="*/ 942166 w 950340"/>
                  <a:gd name="connsiteY10" fmla="*/ 394906 h 956755"/>
                  <a:gd name="connsiteX11" fmla="*/ 391896 w 950340"/>
                  <a:gd name="connsiteY11" fmla="*/ 948495 h 956755"/>
                  <a:gd name="connsiteX12" fmla="*/ 377155 w 950340"/>
                  <a:gd name="connsiteY12" fmla="*/ 946999 h 956755"/>
                  <a:gd name="connsiteX13" fmla="*/ 341669 w 950340"/>
                  <a:gd name="connsiteY13" fmla="*/ 935910 h 956755"/>
                  <a:gd name="connsiteX14" fmla="*/ 799517 w 950340"/>
                  <a:gd name="connsiteY14" fmla="*/ 127750 h 956755"/>
                  <a:gd name="connsiteX15" fmla="*/ 810617 w 950340"/>
                  <a:gd name="connsiteY15" fmla="*/ 136970 h 956755"/>
                  <a:gd name="connsiteX16" fmla="*/ 868869 w 950340"/>
                  <a:gd name="connsiteY16" fmla="*/ 208041 h 956755"/>
                  <a:gd name="connsiteX17" fmla="*/ 904467 w 950340"/>
                  <a:gd name="connsiteY17" fmla="*/ 274062 h 956755"/>
                  <a:gd name="connsiteX18" fmla="*/ 271906 w 950340"/>
                  <a:gd name="connsiteY18" fmla="*/ 910437 h 956755"/>
                  <a:gd name="connsiteX19" fmla="*/ 206576 w 950340"/>
                  <a:gd name="connsiteY19" fmla="*/ 874741 h 956755"/>
                  <a:gd name="connsiteX20" fmla="*/ 135975 w 950340"/>
                  <a:gd name="connsiteY20" fmla="*/ 816102 h 956755"/>
                  <a:gd name="connsiteX21" fmla="*/ 126261 w 950340"/>
                  <a:gd name="connsiteY21" fmla="*/ 804250 h 956755"/>
                  <a:gd name="connsiteX22" fmla="*/ 714961 w 950340"/>
                  <a:gd name="connsiteY22" fmla="*/ 64641 h 956755"/>
                  <a:gd name="connsiteX23" fmla="*/ 740016 w 950340"/>
                  <a:gd name="connsiteY23" fmla="*/ 78331 h 956755"/>
                  <a:gd name="connsiteX24" fmla="*/ 752009 w 950340"/>
                  <a:gd name="connsiteY24" fmla="*/ 88292 h 956755"/>
                  <a:gd name="connsiteX25" fmla="*/ 87072 w 950340"/>
                  <a:gd name="connsiteY25" fmla="*/ 756437 h 956755"/>
                  <a:gd name="connsiteX26" fmla="*/ 77724 w 950340"/>
                  <a:gd name="connsiteY26" fmla="*/ 745031 h 956755"/>
                  <a:gd name="connsiteX27" fmla="*/ 63433 w 950340"/>
                  <a:gd name="connsiteY27" fmla="*/ 718527 h 956755"/>
                  <a:gd name="connsiteX28" fmla="*/ 520460 w 950340"/>
                  <a:gd name="connsiteY28" fmla="*/ 1103 h 956755"/>
                  <a:gd name="connsiteX29" fmla="*/ 569437 w 950340"/>
                  <a:gd name="connsiteY29" fmla="*/ 6074 h 956755"/>
                  <a:gd name="connsiteX30" fmla="*/ 640526 w 950340"/>
                  <a:gd name="connsiteY30" fmla="*/ 28288 h 956755"/>
                  <a:gd name="connsiteX31" fmla="*/ 28446 w 950340"/>
                  <a:gd name="connsiteY31" fmla="*/ 646289 h 956755"/>
                  <a:gd name="connsiteX32" fmla="*/ 5944 w 950340"/>
                  <a:gd name="connsiteY32" fmla="*/ 573317 h 956755"/>
                  <a:gd name="connsiteX33" fmla="*/ 863 w 950340"/>
                  <a:gd name="connsiteY33" fmla="*/ 522578 h 956755"/>
                  <a:gd name="connsiteX34" fmla="*/ 437008 w 950340"/>
                  <a:gd name="connsiteY34" fmla="*/ 0 h 956755"/>
                  <a:gd name="connsiteX35" fmla="*/ 0 w 950340"/>
                  <a:gd name="connsiteY35" fmla="*/ 439117 h 956755"/>
                  <a:gd name="connsiteX36" fmla="*/ 5944 w 950340"/>
                  <a:gd name="connsiteY36" fmla="*/ 379755 h 956755"/>
                  <a:gd name="connsiteX37" fmla="*/ 9818 w 950340"/>
                  <a:gd name="connsiteY37" fmla="*/ 367193 h 956755"/>
                  <a:gd name="connsiteX38" fmla="*/ 365614 w 950340"/>
                  <a:gd name="connsiteY38" fmla="*/ 9680 h 956755"/>
                  <a:gd name="connsiteX39" fmla="*/ 377155 w 950340"/>
                  <a:gd name="connsiteY39" fmla="*/ 6074 h 956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950340" h="956755">
                    <a:moveTo>
                      <a:pt x="949991" y="473047"/>
                    </a:moveTo>
                    <a:lnTo>
                      <a:pt x="950340" y="476536"/>
                    </a:lnTo>
                    <a:cubicBezTo>
                      <a:pt x="950340" y="509688"/>
                      <a:pt x="947003" y="542056"/>
                      <a:pt x="940648" y="573317"/>
                    </a:cubicBezTo>
                    <a:lnTo>
                      <a:pt x="915983" y="653306"/>
                    </a:lnTo>
                    <a:lnTo>
                      <a:pt x="648654" y="922245"/>
                    </a:lnTo>
                    <a:lnTo>
                      <a:pt x="569437" y="946999"/>
                    </a:lnTo>
                    <a:cubicBezTo>
                      <a:pt x="538383" y="953396"/>
                      <a:pt x="506229" y="956755"/>
                      <a:pt x="473296" y="956755"/>
                    </a:cubicBezTo>
                    <a:lnTo>
                      <a:pt x="468511" y="956270"/>
                    </a:lnTo>
                    <a:close/>
                    <a:moveTo>
                      <a:pt x="930053" y="345396"/>
                    </a:moveTo>
                    <a:lnTo>
                      <a:pt x="940648" y="379755"/>
                    </a:lnTo>
                    <a:lnTo>
                      <a:pt x="942166" y="394906"/>
                    </a:lnTo>
                    <a:lnTo>
                      <a:pt x="391896" y="948495"/>
                    </a:lnTo>
                    <a:lnTo>
                      <a:pt x="377155" y="946999"/>
                    </a:lnTo>
                    <a:lnTo>
                      <a:pt x="341669" y="935910"/>
                    </a:lnTo>
                    <a:close/>
                    <a:moveTo>
                      <a:pt x="799517" y="127750"/>
                    </a:moveTo>
                    <a:lnTo>
                      <a:pt x="810617" y="136970"/>
                    </a:lnTo>
                    <a:cubicBezTo>
                      <a:pt x="832199" y="158696"/>
                      <a:pt x="851723" y="182493"/>
                      <a:pt x="868869" y="208041"/>
                    </a:cubicBezTo>
                    <a:lnTo>
                      <a:pt x="904467" y="274062"/>
                    </a:lnTo>
                    <a:lnTo>
                      <a:pt x="271906" y="910437"/>
                    </a:lnTo>
                    <a:lnTo>
                      <a:pt x="206576" y="874741"/>
                    </a:lnTo>
                    <a:cubicBezTo>
                      <a:pt x="181198" y="857482"/>
                      <a:pt x="157557" y="837828"/>
                      <a:pt x="135975" y="816102"/>
                    </a:cubicBezTo>
                    <a:lnTo>
                      <a:pt x="126261" y="804250"/>
                    </a:lnTo>
                    <a:close/>
                    <a:moveTo>
                      <a:pt x="714961" y="64641"/>
                    </a:moveTo>
                    <a:lnTo>
                      <a:pt x="740016" y="78331"/>
                    </a:lnTo>
                    <a:lnTo>
                      <a:pt x="752009" y="88292"/>
                    </a:lnTo>
                    <a:lnTo>
                      <a:pt x="87072" y="756437"/>
                    </a:lnTo>
                    <a:lnTo>
                      <a:pt x="77724" y="745031"/>
                    </a:lnTo>
                    <a:lnTo>
                      <a:pt x="63433" y="718527"/>
                    </a:lnTo>
                    <a:close/>
                    <a:moveTo>
                      <a:pt x="520460" y="1103"/>
                    </a:moveTo>
                    <a:lnTo>
                      <a:pt x="569437" y="6074"/>
                    </a:lnTo>
                    <a:lnTo>
                      <a:pt x="640526" y="28288"/>
                    </a:lnTo>
                    <a:lnTo>
                      <a:pt x="28446" y="646289"/>
                    </a:lnTo>
                    <a:lnTo>
                      <a:pt x="5944" y="573317"/>
                    </a:lnTo>
                    <a:lnTo>
                      <a:pt x="863" y="522578"/>
                    </a:lnTo>
                    <a:close/>
                    <a:moveTo>
                      <a:pt x="437008" y="0"/>
                    </a:moveTo>
                    <a:lnTo>
                      <a:pt x="0" y="439117"/>
                    </a:lnTo>
                    <a:lnTo>
                      <a:pt x="5944" y="379755"/>
                    </a:lnTo>
                    <a:lnTo>
                      <a:pt x="9818" y="367193"/>
                    </a:lnTo>
                    <a:lnTo>
                      <a:pt x="365614" y="9680"/>
                    </a:lnTo>
                    <a:lnTo>
                      <a:pt x="377155" y="6074"/>
                    </a:lnTo>
                    <a:close/>
                  </a:path>
                </a:pathLst>
              </a:custGeom>
              <a:solidFill>
                <a:srgbClr val="FFECD4">
                  <a:alpha val="30000"/>
                </a:srgbClr>
              </a:solidFill>
              <a:ln>
                <a:noFill/>
              </a:ln>
            </p:spPr>
            <p:txBody>
              <a:bodyPr vert="horz" wrap="square" lIns="91440" tIns="45720" rIns="91440" bIns="45720" numCol="1" anchor="t" anchorCtr="0" compatLnSpc="1">
                <a:noAutofit/>
              </a:bodyPr>
              <a:lstStyle/>
              <a:p>
                <a:endParaRPr lang="zh-CN" altLang="en-US"/>
              </a:p>
            </p:txBody>
          </p:sp>
          <p:sp>
            <p:nvSpPr>
              <p:cNvPr id="633" name="任意多边形: 形状 632"/>
              <p:cNvSpPr/>
              <p:nvPr/>
            </p:nvSpPr>
            <p:spPr bwMode="auto">
              <a:xfrm>
                <a:off x="4602083" y="1428092"/>
                <a:ext cx="3029064" cy="1937776"/>
              </a:xfrm>
              <a:custGeom>
                <a:avLst/>
                <a:gdLst>
                  <a:gd name="T0" fmla="*/ 1188 w 1188"/>
                  <a:gd name="T1" fmla="*/ 726 h 760"/>
                  <a:gd name="T2" fmla="*/ 1154 w 1188"/>
                  <a:gd name="T3" fmla="*/ 760 h 760"/>
                  <a:gd name="T4" fmla="*/ 34 w 1188"/>
                  <a:gd name="T5" fmla="*/ 760 h 760"/>
                  <a:gd name="T6" fmla="*/ 0 w 1188"/>
                  <a:gd name="T7" fmla="*/ 726 h 760"/>
                  <a:gd name="T8" fmla="*/ 0 w 1188"/>
                  <a:gd name="T9" fmla="*/ 34 h 760"/>
                  <a:gd name="T10" fmla="*/ 34 w 1188"/>
                  <a:gd name="T11" fmla="*/ 0 h 760"/>
                  <a:gd name="T12" fmla="*/ 1154 w 1188"/>
                  <a:gd name="T13" fmla="*/ 0 h 760"/>
                  <a:gd name="T14" fmla="*/ 1188 w 1188"/>
                  <a:gd name="T15" fmla="*/ 34 h 760"/>
                  <a:gd name="T16" fmla="*/ 1188 w 1188"/>
                  <a:gd name="T17" fmla="*/ 726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8" h="760">
                    <a:moveTo>
                      <a:pt x="1188" y="726"/>
                    </a:moveTo>
                    <a:cubicBezTo>
                      <a:pt x="1188" y="745"/>
                      <a:pt x="1173" y="760"/>
                      <a:pt x="1154" y="760"/>
                    </a:cubicBezTo>
                    <a:cubicBezTo>
                      <a:pt x="34" y="760"/>
                      <a:pt x="34" y="760"/>
                      <a:pt x="34" y="760"/>
                    </a:cubicBezTo>
                    <a:cubicBezTo>
                      <a:pt x="15" y="760"/>
                      <a:pt x="0" y="745"/>
                      <a:pt x="0" y="726"/>
                    </a:cubicBezTo>
                    <a:cubicBezTo>
                      <a:pt x="0" y="34"/>
                      <a:pt x="0" y="34"/>
                      <a:pt x="0" y="34"/>
                    </a:cubicBezTo>
                    <a:cubicBezTo>
                      <a:pt x="0" y="15"/>
                      <a:pt x="15" y="0"/>
                      <a:pt x="34" y="0"/>
                    </a:cubicBezTo>
                    <a:cubicBezTo>
                      <a:pt x="1154" y="0"/>
                      <a:pt x="1154" y="0"/>
                      <a:pt x="1154" y="0"/>
                    </a:cubicBezTo>
                    <a:cubicBezTo>
                      <a:pt x="1173" y="0"/>
                      <a:pt x="1188" y="15"/>
                      <a:pt x="1188" y="34"/>
                    </a:cubicBezTo>
                    <a:lnTo>
                      <a:pt x="1188" y="726"/>
                    </a:lnTo>
                    <a:close/>
                  </a:path>
                </a:pathLst>
              </a:custGeom>
              <a:solidFill>
                <a:srgbClr val="3A86B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34" name="任意多边形: 形状 633"/>
              <p:cNvSpPr/>
              <p:nvPr/>
            </p:nvSpPr>
            <p:spPr bwMode="auto">
              <a:xfrm>
                <a:off x="4560854" y="1428092"/>
                <a:ext cx="3029064" cy="1937776"/>
              </a:xfrm>
              <a:custGeom>
                <a:avLst/>
                <a:gdLst>
                  <a:gd name="T0" fmla="*/ 1188 w 1188"/>
                  <a:gd name="T1" fmla="*/ 726 h 760"/>
                  <a:gd name="T2" fmla="*/ 1154 w 1188"/>
                  <a:gd name="T3" fmla="*/ 760 h 760"/>
                  <a:gd name="T4" fmla="*/ 34 w 1188"/>
                  <a:gd name="T5" fmla="*/ 760 h 760"/>
                  <a:gd name="T6" fmla="*/ 0 w 1188"/>
                  <a:gd name="T7" fmla="*/ 726 h 760"/>
                  <a:gd name="T8" fmla="*/ 0 w 1188"/>
                  <a:gd name="T9" fmla="*/ 34 h 760"/>
                  <a:gd name="T10" fmla="*/ 34 w 1188"/>
                  <a:gd name="T11" fmla="*/ 0 h 760"/>
                  <a:gd name="T12" fmla="*/ 1154 w 1188"/>
                  <a:gd name="T13" fmla="*/ 0 h 760"/>
                  <a:gd name="T14" fmla="*/ 1188 w 1188"/>
                  <a:gd name="T15" fmla="*/ 34 h 760"/>
                  <a:gd name="T16" fmla="*/ 1188 w 1188"/>
                  <a:gd name="T17" fmla="*/ 726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8" h="760">
                    <a:moveTo>
                      <a:pt x="1188" y="726"/>
                    </a:moveTo>
                    <a:cubicBezTo>
                      <a:pt x="1188" y="745"/>
                      <a:pt x="1173" y="760"/>
                      <a:pt x="1154" y="760"/>
                    </a:cubicBezTo>
                    <a:cubicBezTo>
                      <a:pt x="34" y="760"/>
                      <a:pt x="34" y="760"/>
                      <a:pt x="34" y="760"/>
                    </a:cubicBezTo>
                    <a:cubicBezTo>
                      <a:pt x="15" y="760"/>
                      <a:pt x="0" y="745"/>
                      <a:pt x="0" y="726"/>
                    </a:cubicBezTo>
                    <a:cubicBezTo>
                      <a:pt x="0" y="34"/>
                      <a:pt x="0" y="34"/>
                      <a:pt x="0" y="34"/>
                    </a:cubicBezTo>
                    <a:cubicBezTo>
                      <a:pt x="0" y="15"/>
                      <a:pt x="15" y="0"/>
                      <a:pt x="34" y="0"/>
                    </a:cubicBezTo>
                    <a:cubicBezTo>
                      <a:pt x="1154" y="0"/>
                      <a:pt x="1154" y="0"/>
                      <a:pt x="1154" y="0"/>
                    </a:cubicBezTo>
                    <a:cubicBezTo>
                      <a:pt x="1173" y="0"/>
                      <a:pt x="1188" y="15"/>
                      <a:pt x="1188" y="34"/>
                    </a:cubicBezTo>
                    <a:lnTo>
                      <a:pt x="1188" y="726"/>
                    </a:lnTo>
                    <a:close/>
                  </a:path>
                </a:pathLst>
              </a:custGeom>
              <a:solidFill>
                <a:srgbClr val="03386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35" name="任意多边形: 形状 634"/>
              <p:cNvSpPr/>
              <p:nvPr/>
            </p:nvSpPr>
            <p:spPr bwMode="auto">
              <a:xfrm>
                <a:off x="4651043" y="1520858"/>
                <a:ext cx="2849974" cy="1421122"/>
              </a:xfrm>
              <a:custGeom>
                <a:avLst/>
                <a:gdLst>
                  <a:gd name="T0" fmla="*/ 1118 w 1118"/>
                  <a:gd name="T1" fmla="*/ 522 h 558"/>
                  <a:gd name="T2" fmla="*/ 1082 w 1118"/>
                  <a:gd name="T3" fmla="*/ 558 h 558"/>
                  <a:gd name="T4" fmla="*/ 36 w 1118"/>
                  <a:gd name="T5" fmla="*/ 558 h 558"/>
                  <a:gd name="T6" fmla="*/ 0 w 1118"/>
                  <a:gd name="T7" fmla="*/ 522 h 558"/>
                  <a:gd name="T8" fmla="*/ 0 w 1118"/>
                  <a:gd name="T9" fmla="*/ 36 h 558"/>
                  <a:gd name="T10" fmla="*/ 36 w 1118"/>
                  <a:gd name="T11" fmla="*/ 0 h 558"/>
                  <a:gd name="T12" fmla="*/ 1082 w 1118"/>
                  <a:gd name="T13" fmla="*/ 0 h 558"/>
                  <a:gd name="T14" fmla="*/ 1118 w 1118"/>
                  <a:gd name="T15" fmla="*/ 36 h 558"/>
                  <a:gd name="T16" fmla="*/ 1118 w 1118"/>
                  <a:gd name="T17" fmla="*/ 522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8" h="558">
                    <a:moveTo>
                      <a:pt x="1118" y="522"/>
                    </a:moveTo>
                    <a:cubicBezTo>
                      <a:pt x="1118" y="542"/>
                      <a:pt x="1102" y="558"/>
                      <a:pt x="1082" y="558"/>
                    </a:cubicBezTo>
                    <a:cubicBezTo>
                      <a:pt x="36" y="558"/>
                      <a:pt x="36" y="558"/>
                      <a:pt x="36" y="558"/>
                    </a:cubicBezTo>
                    <a:cubicBezTo>
                      <a:pt x="16" y="558"/>
                      <a:pt x="0" y="542"/>
                      <a:pt x="0" y="522"/>
                    </a:cubicBezTo>
                    <a:cubicBezTo>
                      <a:pt x="0" y="36"/>
                      <a:pt x="0" y="36"/>
                      <a:pt x="0" y="36"/>
                    </a:cubicBezTo>
                    <a:cubicBezTo>
                      <a:pt x="0" y="16"/>
                      <a:pt x="16" y="0"/>
                      <a:pt x="36" y="0"/>
                    </a:cubicBezTo>
                    <a:cubicBezTo>
                      <a:pt x="1082" y="0"/>
                      <a:pt x="1082" y="0"/>
                      <a:pt x="1082" y="0"/>
                    </a:cubicBezTo>
                    <a:cubicBezTo>
                      <a:pt x="1102" y="0"/>
                      <a:pt x="1118" y="16"/>
                      <a:pt x="1118" y="36"/>
                    </a:cubicBezTo>
                    <a:lnTo>
                      <a:pt x="1118" y="522"/>
                    </a:lnTo>
                    <a:close/>
                  </a:path>
                </a:pathLst>
              </a:custGeom>
              <a:solidFill>
                <a:srgbClr val="BEF4F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36" name="任意多边形: 形状 635"/>
              <p:cNvSpPr/>
              <p:nvPr/>
            </p:nvSpPr>
            <p:spPr bwMode="auto">
              <a:xfrm>
                <a:off x="4651043" y="1520858"/>
                <a:ext cx="2849974" cy="1421122"/>
              </a:xfrm>
              <a:custGeom>
                <a:avLst/>
                <a:gdLst>
                  <a:gd name="connsiteX0" fmla="*/ 3511550 w 3511550"/>
                  <a:gd name="connsiteY0" fmla="*/ 795325 h 1751013"/>
                  <a:gd name="connsiteX1" fmla="*/ 3511550 w 3511550"/>
                  <a:gd name="connsiteY1" fmla="*/ 1166897 h 1751013"/>
                  <a:gd name="connsiteX2" fmla="*/ 2930221 w 3511550"/>
                  <a:gd name="connsiteY2" fmla="*/ 1751013 h 1751013"/>
                  <a:gd name="connsiteX3" fmla="*/ 2820163 w 3511550"/>
                  <a:gd name="connsiteY3" fmla="*/ 1751013 h 1751013"/>
                  <a:gd name="connsiteX4" fmla="*/ 2561331 w 3511550"/>
                  <a:gd name="connsiteY4" fmla="*/ 1751013 h 1751013"/>
                  <a:gd name="connsiteX5" fmla="*/ 3511550 w 3511550"/>
                  <a:gd name="connsiteY5" fmla="*/ 420584 h 1751013"/>
                  <a:gd name="connsiteX6" fmla="*/ 3511550 w 3511550"/>
                  <a:gd name="connsiteY6" fmla="*/ 577875 h 1751013"/>
                  <a:gd name="connsiteX7" fmla="*/ 2346796 w 3511550"/>
                  <a:gd name="connsiteY7" fmla="*/ 1751013 h 1751013"/>
                  <a:gd name="connsiteX8" fmla="*/ 2314037 w 3511550"/>
                  <a:gd name="connsiteY8" fmla="*/ 1751013 h 1751013"/>
                  <a:gd name="connsiteX9" fmla="*/ 2188734 w 3511550"/>
                  <a:gd name="connsiteY9" fmla="*/ 1751013 h 1751013"/>
                  <a:gd name="connsiteX10" fmla="*/ 2643157 w 3511550"/>
                  <a:gd name="connsiteY10" fmla="*/ 0 h 1751013"/>
                  <a:gd name="connsiteX11" fmla="*/ 2710776 w 3511550"/>
                  <a:gd name="connsiteY11" fmla="*/ 0 h 1751013"/>
                  <a:gd name="connsiteX12" fmla="*/ 3225223 w 3511550"/>
                  <a:gd name="connsiteY12" fmla="*/ 0 h 1751013"/>
                  <a:gd name="connsiteX13" fmla="*/ 3278979 w 3511550"/>
                  <a:gd name="connsiteY13" fmla="*/ 0 h 1751013"/>
                  <a:gd name="connsiteX14" fmla="*/ 1537155 w 3511550"/>
                  <a:gd name="connsiteY14" fmla="*/ 1751013 h 1751013"/>
                  <a:gd name="connsiteX15" fmla="*/ 1499103 w 3511550"/>
                  <a:gd name="connsiteY15" fmla="*/ 1751013 h 1751013"/>
                  <a:gd name="connsiteX16" fmla="*/ 915174 w 3511550"/>
                  <a:gd name="connsiteY16" fmla="*/ 1751013 h 1751013"/>
                  <a:gd name="connsiteX17" fmla="*/ 903823 w 3511550"/>
                  <a:gd name="connsiteY17" fmla="*/ 1751013 h 1751013"/>
                  <a:gd name="connsiteX18" fmla="*/ 2275651 w 3511550"/>
                  <a:gd name="connsiteY18" fmla="*/ 0 h 1751013"/>
                  <a:gd name="connsiteX19" fmla="*/ 2330881 w 3511550"/>
                  <a:gd name="connsiteY19" fmla="*/ 0 h 1751013"/>
                  <a:gd name="connsiteX20" fmla="*/ 2431209 w 3511550"/>
                  <a:gd name="connsiteY20" fmla="*/ 0 h 1751013"/>
                  <a:gd name="connsiteX21" fmla="*/ 689381 w 3511550"/>
                  <a:gd name="connsiteY21" fmla="*/ 1751013 h 1751013"/>
                  <a:gd name="connsiteX22" fmla="*/ 605663 w 3511550"/>
                  <a:gd name="connsiteY22" fmla="*/ 1751013 h 1751013"/>
                  <a:gd name="connsiteX23" fmla="*/ 532991 w 3511550"/>
                  <a:gd name="connsiteY23" fmla="*/ 1751013 h 1751013"/>
                  <a:gd name="connsiteX24" fmla="*/ 1128812 w 3511550"/>
                  <a:gd name="connsiteY24" fmla="*/ 0 h 1751013"/>
                  <a:gd name="connsiteX25" fmla="*/ 1197513 w 3511550"/>
                  <a:gd name="connsiteY25" fmla="*/ 0 h 1751013"/>
                  <a:gd name="connsiteX26" fmla="*/ 1425009 w 3511550"/>
                  <a:gd name="connsiteY26" fmla="*/ 0 h 1751013"/>
                  <a:gd name="connsiteX27" fmla="*/ 1497482 w 3511550"/>
                  <a:gd name="connsiteY27" fmla="*/ 0 h 1751013"/>
                  <a:gd name="connsiteX28" fmla="*/ 0 w 3511550"/>
                  <a:gd name="connsiteY28" fmla="*/ 1507538 h 1751013"/>
                  <a:gd name="connsiteX29" fmla="*/ 0 w 3511550"/>
                  <a:gd name="connsiteY29" fmla="*/ 1499490 h 1751013"/>
                  <a:gd name="connsiteX30" fmla="*/ 0 w 3511550"/>
                  <a:gd name="connsiteY30" fmla="*/ 1248072 h 1751013"/>
                  <a:gd name="connsiteX31" fmla="*/ 0 w 3511550"/>
                  <a:gd name="connsiteY31" fmla="*/ 1135306 h 1751013"/>
                  <a:gd name="connsiteX32" fmla="*/ 757181 w 3511550"/>
                  <a:gd name="connsiteY32" fmla="*/ 0 h 1751013"/>
                  <a:gd name="connsiteX33" fmla="*/ 913209 w 3511550"/>
                  <a:gd name="connsiteY33" fmla="*/ 0 h 1751013"/>
                  <a:gd name="connsiteX34" fmla="*/ 0 w 3511550"/>
                  <a:gd name="connsiteY34" fmla="*/ 919341 h 1751013"/>
                  <a:gd name="connsiteX35" fmla="*/ 0 w 3511550"/>
                  <a:gd name="connsiteY35" fmla="*/ 761899 h 1751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511550" h="1751013">
                    <a:moveTo>
                      <a:pt x="3511550" y="795325"/>
                    </a:moveTo>
                    <a:lnTo>
                      <a:pt x="3511550" y="1166897"/>
                    </a:lnTo>
                    <a:lnTo>
                      <a:pt x="2930221" y="1751013"/>
                    </a:lnTo>
                    <a:lnTo>
                      <a:pt x="2820163" y="1751013"/>
                    </a:lnTo>
                    <a:lnTo>
                      <a:pt x="2561331" y="1751013"/>
                    </a:lnTo>
                    <a:close/>
                    <a:moveTo>
                      <a:pt x="3511550" y="420584"/>
                    </a:moveTo>
                    <a:lnTo>
                      <a:pt x="3511550" y="577875"/>
                    </a:lnTo>
                    <a:lnTo>
                      <a:pt x="2346796" y="1751013"/>
                    </a:lnTo>
                    <a:lnTo>
                      <a:pt x="2314037" y="1751013"/>
                    </a:lnTo>
                    <a:lnTo>
                      <a:pt x="2188734" y="1751013"/>
                    </a:lnTo>
                    <a:close/>
                    <a:moveTo>
                      <a:pt x="2643157" y="0"/>
                    </a:moveTo>
                    <a:lnTo>
                      <a:pt x="2710776" y="0"/>
                    </a:lnTo>
                    <a:cubicBezTo>
                      <a:pt x="2964140" y="0"/>
                      <a:pt x="3124159" y="0"/>
                      <a:pt x="3225223" y="0"/>
                    </a:cubicBezTo>
                    <a:lnTo>
                      <a:pt x="3278979" y="0"/>
                    </a:lnTo>
                    <a:lnTo>
                      <a:pt x="1537155" y="1751013"/>
                    </a:lnTo>
                    <a:lnTo>
                      <a:pt x="1499103" y="1751013"/>
                    </a:lnTo>
                    <a:cubicBezTo>
                      <a:pt x="1268098" y="1751013"/>
                      <a:pt x="1075594" y="1751013"/>
                      <a:pt x="915174" y="1751013"/>
                    </a:cubicBezTo>
                    <a:lnTo>
                      <a:pt x="903823" y="1751013"/>
                    </a:lnTo>
                    <a:close/>
                    <a:moveTo>
                      <a:pt x="2275651" y="0"/>
                    </a:moveTo>
                    <a:lnTo>
                      <a:pt x="2330881" y="0"/>
                    </a:lnTo>
                    <a:lnTo>
                      <a:pt x="2431209" y="0"/>
                    </a:lnTo>
                    <a:lnTo>
                      <a:pt x="689381" y="1751013"/>
                    </a:lnTo>
                    <a:lnTo>
                      <a:pt x="605663" y="1751013"/>
                    </a:lnTo>
                    <a:lnTo>
                      <a:pt x="532991" y="1751013"/>
                    </a:lnTo>
                    <a:close/>
                    <a:moveTo>
                      <a:pt x="1128812" y="0"/>
                    </a:moveTo>
                    <a:lnTo>
                      <a:pt x="1197513" y="0"/>
                    </a:lnTo>
                    <a:cubicBezTo>
                      <a:pt x="1276119" y="0"/>
                      <a:pt x="1351918" y="0"/>
                      <a:pt x="1425009" y="0"/>
                    </a:cubicBezTo>
                    <a:lnTo>
                      <a:pt x="1497482" y="0"/>
                    </a:lnTo>
                    <a:lnTo>
                      <a:pt x="0" y="1507538"/>
                    </a:lnTo>
                    <a:lnTo>
                      <a:pt x="0" y="1499490"/>
                    </a:lnTo>
                    <a:cubicBezTo>
                      <a:pt x="0" y="1410037"/>
                      <a:pt x="0" y="1326355"/>
                      <a:pt x="0" y="1248072"/>
                    </a:cubicBezTo>
                    <a:lnTo>
                      <a:pt x="0" y="1135306"/>
                    </a:lnTo>
                    <a:close/>
                    <a:moveTo>
                      <a:pt x="757181" y="0"/>
                    </a:moveTo>
                    <a:lnTo>
                      <a:pt x="913209" y="0"/>
                    </a:lnTo>
                    <a:lnTo>
                      <a:pt x="0" y="919341"/>
                    </a:lnTo>
                    <a:lnTo>
                      <a:pt x="0" y="761899"/>
                    </a:lnTo>
                    <a:close/>
                  </a:path>
                </a:pathLst>
              </a:custGeom>
              <a:solidFill>
                <a:schemeClr val="bg1">
                  <a:alpha val="30000"/>
                </a:schemeClr>
              </a:solidFill>
              <a:ln>
                <a:noFill/>
              </a:ln>
            </p:spPr>
            <p:txBody>
              <a:bodyPr vert="horz" wrap="square" lIns="91440" tIns="45720" rIns="91440" bIns="45720" numCol="1" anchor="t" anchorCtr="0" compatLnSpc="1">
                <a:noAutofit/>
              </a:bodyPr>
              <a:lstStyle/>
              <a:p>
                <a:endParaRPr lang="zh-CN" altLang="en-US"/>
              </a:p>
            </p:txBody>
          </p:sp>
          <p:sp>
            <p:nvSpPr>
              <p:cNvPr id="637" name="椭圆 636"/>
              <p:cNvSpPr/>
              <p:nvPr/>
            </p:nvSpPr>
            <p:spPr bwMode="auto">
              <a:xfrm>
                <a:off x="4270960" y="4914543"/>
                <a:ext cx="3650080" cy="515366"/>
              </a:xfrm>
              <a:prstGeom prst="ellipse">
                <a:avLst/>
              </a:prstGeom>
              <a:solidFill>
                <a:srgbClr val="C8C7D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38" name="矩形 637"/>
              <p:cNvSpPr/>
              <p:nvPr/>
            </p:nvSpPr>
            <p:spPr bwMode="auto">
              <a:xfrm>
                <a:off x="5180581" y="2147028"/>
                <a:ext cx="208723" cy="794952"/>
              </a:xfrm>
              <a:prstGeom prst="rect">
                <a:avLst/>
              </a:prstGeom>
              <a:solidFill>
                <a:srgbClr val="F9766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639" name="矩形 638"/>
              <p:cNvSpPr/>
              <p:nvPr/>
            </p:nvSpPr>
            <p:spPr bwMode="auto">
              <a:xfrm>
                <a:off x="5389304" y="2147028"/>
                <a:ext cx="61844" cy="794952"/>
              </a:xfrm>
              <a:prstGeom prst="rect">
                <a:avLst/>
              </a:prstGeom>
              <a:solidFill>
                <a:srgbClr val="DD5C5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640" name="矩形 639"/>
              <p:cNvSpPr/>
              <p:nvPr/>
            </p:nvSpPr>
            <p:spPr bwMode="auto">
              <a:xfrm>
                <a:off x="5685640" y="2344155"/>
                <a:ext cx="208723" cy="597825"/>
              </a:xfrm>
              <a:prstGeom prst="rect">
                <a:avLst/>
              </a:prstGeom>
              <a:solidFill>
                <a:srgbClr val="F9766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641" name="矩形 640"/>
              <p:cNvSpPr/>
              <p:nvPr/>
            </p:nvSpPr>
            <p:spPr bwMode="auto">
              <a:xfrm>
                <a:off x="5894363" y="2344155"/>
                <a:ext cx="64421" cy="597825"/>
              </a:xfrm>
              <a:prstGeom prst="rect">
                <a:avLst/>
              </a:prstGeom>
              <a:solidFill>
                <a:srgbClr val="DD5C5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642" name="矩形 641"/>
              <p:cNvSpPr/>
              <p:nvPr/>
            </p:nvSpPr>
            <p:spPr bwMode="auto">
              <a:xfrm>
                <a:off x="6193275" y="2545148"/>
                <a:ext cx="208723" cy="396832"/>
              </a:xfrm>
              <a:prstGeom prst="rect">
                <a:avLst/>
              </a:prstGeom>
              <a:solidFill>
                <a:srgbClr val="F9766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643" name="矩形 642"/>
              <p:cNvSpPr/>
              <p:nvPr/>
            </p:nvSpPr>
            <p:spPr bwMode="auto">
              <a:xfrm>
                <a:off x="6401998" y="2545148"/>
                <a:ext cx="63133" cy="396832"/>
              </a:xfrm>
              <a:prstGeom prst="rect">
                <a:avLst/>
              </a:prstGeom>
              <a:solidFill>
                <a:srgbClr val="DD5C5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644" name="矩形 643"/>
              <p:cNvSpPr/>
              <p:nvPr/>
            </p:nvSpPr>
            <p:spPr bwMode="auto">
              <a:xfrm>
                <a:off x="6699623" y="2720373"/>
                <a:ext cx="210012" cy="221607"/>
              </a:xfrm>
              <a:prstGeom prst="rect">
                <a:avLst/>
              </a:prstGeom>
              <a:solidFill>
                <a:srgbClr val="F9766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645" name="矩形 644"/>
              <p:cNvSpPr/>
              <p:nvPr/>
            </p:nvSpPr>
            <p:spPr bwMode="auto">
              <a:xfrm>
                <a:off x="6909634" y="2720373"/>
                <a:ext cx="60556" cy="221607"/>
              </a:xfrm>
              <a:prstGeom prst="rect">
                <a:avLst/>
              </a:prstGeom>
              <a:solidFill>
                <a:srgbClr val="DD5C5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646" name="任意多边形: 形状 645"/>
              <p:cNvSpPr/>
              <p:nvPr/>
            </p:nvSpPr>
            <p:spPr bwMode="auto">
              <a:xfrm>
                <a:off x="4899707" y="1602028"/>
                <a:ext cx="2348781" cy="1078404"/>
              </a:xfrm>
              <a:custGeom>
                <a:avLst/>
                <a:gdLst>
                  <a:gd name="T0" fmla="*/ 920 w 921"/>
                  <a:gd name="T1" fmla="*/ 406 h 423"/>
                  <a:gd name="T2" fmla="*/ 894 w 921"/>
                  <a:gd name="T3" fmla="*/ 315 h 423"/>
                  <a:gd name="T4" fmla="*/ 882 w 921"/>
                  <a:gd name="T5" fmla="*/ 306 h 423"/>
                  <a:gd name="T6" fmla="*/ 870 w 921"/>
                  <a:gd name="T7" fmla="*/ 311 h 423"/>
                  <a:gd name="T8" fmla="*/ 868 w 921"/>
                  <a:gd name="T9" fmla="*/ 323 h 423"/>
                  <a:gd name="T10" fmla="*/ 881 w 921"/>
                  <a:gd name="T11" fmla="*/ 368 h 423"/>
                  <a:gd name="T12" fmla="*/ 529 w 921"/>
                  <a:gd name="T13" fmla="*/ 57 h 423"/>
                  <a:gd name="T14" fmla="*/ 519 w 921"/>
                  <a:gd name="T15" fmla="*/ 53 h 423"/>
                  <a:gd name="T16" fmla="*/ 510 w 921"/>
                  <a:gd name="T17" fmla="*/ 58 h 423"/>
                  <a:gd name="T18" fmla="*/ 380 w 921"/>
                  <a:gd name="T19" fmla="*/ 199 h 423"/>
                  <a:gd name="T20" fmla="*/ 191 w 921"/>
                  <a:gd name="T21" fmla="*/ 5 h 423"/>
                  <a:gd name="T22" fmla="*/ 172 w 921"/>
                  <a:gd name="T23" fmla="*/ 5 h 423"/>
                  <a:gd name="T24" fmla="*/ 5 w 921"/>
                  <a:gd name="T25" fmla="*/ 165 h 423"/>
                  <a:gd name="T26" fmla="*/ 2 w 921"/>
                  <a:gd name="T27" fmla="*/ 179 h 423"/>
                  <a:gd name="T28" fmla="*/ 15 w 921"/>
                  <a:gd name="T29" fmla="*/ 188 h 423"/>
                  <a:gd name="T30" fmla="*/ 24 w 921"/>
                  <a:gd name="T31" fmla="*/ 185 h 423"/>
                  <a:gd name="T32" fmla="*/ 181 w 921"/>
                  <a:gd name="T33" fmla="*/ 34 h 423"/>
                  <a:gd name="T34" fmla="*/ 371 w 921"/>
                  <a:gd name="T35" fmla="*/ 228 h 423"/>
                  <a:gd name="T36" fmla="*/ 380 w 921"/>
                  <a:gd name="T37" fmla="*/ 232 h 423"/>
                  <a:gd name="T38" fmla="*/ 390 w 921"/>
                  <a:gd name="T39" fmla="*/ 228 h 423"/>
                  <a:gd name="T40" fmla="*/ 521 w 921"/>
                  <a:gd name="T41" fmla="*/ 86 h 423"/>
                  <a:gd name="T42" fmla="*/ 863 w 921"/>
                  <a:gd name="T43" fmla="*/ 387 h 423"/>
                  <a:gd name="T44" fmla="*/ 813 w 921"/>
                  <a:gd name="T45" fmla="*/ 378 h 423"/>
                  <a:gd name="T46" fmla="*/ 810 w 921"/>
                  <a:gd name="T47" fmla="*/ 378 h 423"/>
                  <a:gd name="T48" fmla="*/ 797 w 921"/>
                  <a:gd name="T49" fmla="*/ 390 h 423"/>
                  <a:gd name="T50" fmla="*/ 807 w 921"/>
                  <a:gd name="T51" fmla="*/ 404 h 423"/>
                  <a:gd name="T52" fmla="*/ 904 w 921"/>
                  <a:gd name="T53" fmla="*/ 422 h 423"/>
                  <a:gd name="T54" fmla="*/ 907 w 921"/>
                  <a:gd name="T55" fmla="*/ 423 h 423"/>
                  <a:gd name="T56" fmla="*/ 918 w 921"/>
                  <a:gd name="T57" fmla="*/ 417 h 423"/>
                  <a:gd name="T58" fmla="*/ 920 w 921"/>
                  <a:gd name="T59" fmla="*/ 406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21" h="423">
                    <a:moveTo>
                      <a:pt x="920" y="406"/>
                    </a:moveTo>
                    <a:cubicBezTo>
                      <a:pt x="894" y="315"/>
                      <a:pt x="894" y="315"/>
                      <a:pt x="894" y="315"/>
                    </a:cubicBezTo>
                    <a:cubicBezTo>
                      <a:pt x="893" y="309"/>
                      <a:pt x="888" y="306"/>
                      <a:pt x="882" y="306"/>
                    </a:cubicBezTo>
                    <a:cubicBezTo>
                      <a:pt x="877" y="306"/>
                      <a:pt x="873" y="308"/>
                      <a:pt x="870" y="311"/>
                    </a:cubicBezTo>
                    <a:cubicBezTo>
                      <a:pt x="868" y="314"/>
                      <a:pt x="867" y="318"/>
                      <a:pt x="868" y="323"/>
                    </a:cubicBezTo>
                    <a:cubicBezTo>
                      <a:pt x="881" y="368"/>
                      <a:pt x="881" y="368"/>
                      <a:pt x="881" y="368"/>
                    </a:cubicBezTo>
                    <a:cubicBezTo>
                      <a:pt x="529" y="57"/>
                      <a:pt x="529" y="57"/>
                      <a:pt x="529" y="57"/>
                    </a:cubicBezTo>
                    <a:cubicBezTo>
                      <a:pt x="526" y="55"/>
                      <a:pt x="523" y="53"/>
                      <a:pt x="519" y="53"/>
                    </a:cubicBezTo>
                    <a:cubicBezTo>
                      <a:pt x="516" y="53"/>
                      <a:pt x="512" y="55"/>
                      <a:pt x="510" y="58"/>
                    </a:cubicBezTo>
                    <a:cubicBezTo>
                      <a:pt x="380" y="199"/>
                      <a:pt x="380" y="199"/>
                      <a:pt x="380" y="199"/>
                    </a:cubicBezTo>
                    <a:cubicBezTo>
                      <a:pt x="191" y="5"/>
                      <a:pt x="191" y="5"/>
                      <a:pt x="191" y="5"/>
                    </a:cubicBezTo>
                    <a:cubicBezTo>
                      <a:pt x="186" y="0"/>
                      <a:pt x="177" y="0"/>
                      <a:pt x="172" y="5"/>
                    </a:cubicBezTo>
                    <a:cubicBezTo>
                      <a:pt x="5" y="165"/>
                      <a:pt x="5" y="165"/>
                      <a:pt x="5" y="165"/>
                    </a:cubicBezTo>
                    <a:cubicBezTo>
                      <a:pt x="1" y="169"/>
                      <a:pt x="0" y="174"/>
                      <a:pt x="2" y="179"/>
                    </a:cubicBezTo>
                    <a:cubicBezTo>
                      <a:pt x="4" y="185"/>
                      <a:pt x="10" y="188"/>
                      <a:pt x="15" y="188"/>
                    </a:cubicBezTo>
                    <a:cubicBezTo>
                      <a:pt x="18" y="188"/>
                      <a:pt x="22" y="187"/>
                      <a:pt x="24" y="185"/>
                    </a:cubicBezTo>
                    <a:cubicBezTo>
                      <a:pt x="181" y="34"/>
                      <a:pt x="181" y="34"/>
                      <a:pt x="181" y="34"/>
                    </a:cubicBezTo>
                    <a:cubicBezTo>
                      <a:pt x="371" y="228"/>
                      <a:pt x="371" y="228"/>
                      <a:pt x="371" y="228"/>
                    </a:cubicBezTo>
                    <a:cubicBezTo>
                      <a:pt x="373" y="231"/>
                      <a:pt x="377" y="232"/>
                      <a:pt x="380" y="232"/>
                    </a:cubicBezTo>
                    <a:cubicBezTo>
                      <a:pt x="384" y="232"/>
                      <a:pt x="387" y="231"/>
                      <a:pt x="390" y="228"/>
                    </a:cubicBezTo>
                    <a:cubicBezTo>
                      <a:pt x="521" y="86"/>
                      <a:pt x="521" y="86"/>
                      <a:pt x="521" y="86"/>
                    </a:cubicBezTo>
                    <a:cubicBezTo>
                      <a:pt x="863" y="387"/>
                      <a:pt x="863" y="387"/>
                      <a:pt x="863" y="387"/>
                    </a:cubicBezTo>
                    <a:cubicBezTo>
                      <a:pt x="813" y="378"/>
                      <a:pt x="813" y="378"/>
                      <a:pt x="813" y="378"/>
                    </a:cubicBezTo>
                    <a:cubicBezTo>
                      <a:pt x="812" y="378"/>
                      <a:pt x="811" y="378"/>
                      <a:pt x="810" y="378"/>
                    </a:cubicBezTo>
                    <a:cubicBezTo>
                      <a:pt x="803" y="378"/>
                      <a:pt x="797" y="383"/>
                      <a:pt x="797" y="390"/>
                    </a:cubicBezTo>
                    <a:cubicBezTo>
                      <a:pt x="796" y="397"/>
                      <a:pt x="800" y="403"/>
                      <a:pt x="807" y="404"/>
                    </a:cubicBezTo>
                    <a:cubicBezTo>
                      <a:pt x="904" y="422"/>
                      <a:pt x="904" y="422"/>
                      <a:pt x="904" y="422"/>
                    </a:cubicBezTo>
                    <a:cubicBezTo>
                      <a:pt x="905" y="423"/>
                      <a:pt x="906" y="423"/>
                      <a:pt x="907" y="423"/>
                    </a:cubicBezTo>
                    <a:cubicBezTo>
                      <a:pt x="911" y="423"/>
                      <a:pt x="916" y="421"/>
                      <a:pt x="918" y="417"/>
                    </a:cubicBezTo>
                    <a:cubicBezTo>
                      <a:pt x="921" y="414"/>
                      <a:pt x="921" y="410"/>
                      <a:pt x="920" y="406"/>
                    </a:cubicBezTo>
                    <a:close/>
                  </a:path>
                </a:pathLst>
              </a:custGeom>
              <a:solidFill>
                <a:srgbClr val="DD5C5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47" name="矩形 646"/>
              <p:cNvSpPr/>
              <p:nvPr/>
            </p:nvSpPr>
            <p:spPr bwMode="auto">
              <a:xfrm>
                <a:off x="4795345" y="5067865"/>
                <a:ext cx="854220" cy="168783"/>
              </a:xfrm>
              <a:prstGeom prst="rect">
                <a:avLst/>
              </a:prstGeom>
              <a:solidFill>
                <a:srgbClr val="FFC56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648" name="任意多边形: 形状 647"/>
              <p:cNvSpPr/>
              <p:nvPr/>
            </p:nvSpPr>
            <p:spPr bwMode="auto">
              <a:xfrm>
                <a:off x="4821114" y="5085903"/>
                <a:ext cx="25768" cy="132707"/>
              </a:xfrm>
              <a:custGeom>
                <a:avLst/>
                <a:gdLst>
                  <a:gd name="T0" fmla="*/ 10 w 10"/>
                  <a:gd name="T1" fmla="*/ 46 h 52"/>
                  <a:gd name="T2" fmla="*/ 5 w 10"/>
                  <a:gd name="T3" fmla="*/ 52 h 52"/>
                  <a:gd name="T4" fmla="*/ 5 w 10"/>
                  <a:gd name="T5" fmla="*/ 52 h 52"/>
                  <a:gd name="T6" fmla="*/ 0 w 10"/>
                  <a:gd name="T7" fmla="*/ 46 h 52"/>
                  <a:gd name="T8" fmla="*/ 0 w 10"/>
                  <a:gd name="T9" fmla="*/ 5 h 52"/>
                  <a:gd name="T10" fmla="*/ 5 w 10"/>
                  <a:gd name="T11" fmla="*/ 0 h 52"/>
                  <a:gd name="T12" fmla="*/ 5 w 10"/>
                  <a:gd name="T13" fmla="*/ 0 h 52"/>
                  <a:gd name="T14" fmla="*/ 10 w 10"/>
                  <a:gd name="T15" fmla="*/ 5 h 52"/>
                  <a:gd name="T16" fmla="*/ 10 w 10"/>
                  <a:gd name="T17" fmla="*/ 4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52">
                    <a:moveTo>
                      <a:pt x="10" y="46"/>
                    </a:moveTo>
                    <a:cubicBezTo>
                      <a:pt x="10" y="49"/>
                      <a:pt x="8" y="52"/>
                      <a:pt x="5" y="52"/>
                    </a:cubicBezTo>
                    <a:cubicBezTo>
                      <a:pt x="5" y="52"/>
                      <a:pt x="5" y="52"/>
                      <a:pt x="5" y="52"/>
                    </a:cubicBezTo>
                    <a:cubicBezTo>
                      <a:pt x="2" y="52"/>
                      <a:pt x="0" y="49"/>
                      <a:pt x="0" y="46"/>
                    </a:cubicBezTo>
                    <a:cubicBezTo>
                      <a:pt x="0" y="5"/>
                      <a:pt x="0" y="5"/>
                      <a:pt x="0" y="5"/>
                    </a:cubicBezTo>
                    <a:cubicBezTo>
                      <a:pt x="0" y="2"/>
                      <a:pt x="2" y="0"/>
                      <a:pt x="5" y="0"/>
                    </a:cubicBezTo>
                    <a:cubicBezTo>
                      <a:pt x="5" y="0"/>
                      <a:pt x="5" y="0"/>
                      <a:pt x="5" y="0"/>
                    </a:cubicBezTo>
                    <a:cubicBezTo>
                      <a:pt x="8" y="0"/>
                      <a:pt x="10" y="2"/>
                      <a:pt x="10" y="5"/>
                    </a:cubicBezTo>
                    <a:lnTo>
                      <a:pt x="10" y="46"/>
                    </a:lnTo>
                    <a:close/>
                  </a:path>
                </a:pathLst>
              </a:cu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49" name="任意多边形: 形状 648"/>
              <p:cNvSpPr/>
              <p:nvPr/>
            </p:nvSpPr>
            <p:spPr bwMode="auto">
              <a:xfrm>
                <a:off x="4930628" y="5085903"/>
                <a:ext cx="28345" cy="132707"/>
              </a:xfrm>
              <a:custGeom>
                <a:avLst/>
                <a:gdLst>
                  <a:gd name="T0" fmla="*/ 11 w 11"/>
                  <a:gd name="T1" fmla="*/ 46 h 52"/>
                  <a:gd name="T2" fmla="*/ 6 w 11"/>
                  <a:gd name="T3" fmla="*/ 52 h 52"/>
                  <a:gd name="T4" fmla="*/ 6 w 11"/>
                  <a:gd name="T5" fmla="*/ 52 h 52"/>
                  <a:gd name="T6" fmla="*/ 0 w 11"/>
                  <a:gd name="T7" fmla="*/ 46 h 52"/>
                  <a:gd name="T8" fmla="*/ 0 w 11"/>
                  <a:gd name="T9" fmla="*/ 5 h 52"/>
                  <a:gd name="T10" fmla="*/ 6 w 11"/>
                  <a:gd name="T11" fmla="*/ 0 h 52"/>
                  <a:gd name="T12" fmla="*/ 6 w 11"/>
                  <a:gd name="T13" fmla="*/ 0 h 52"/>
                  <a:gd name="T14" fmla="*/ 11 w 11"/>
                  <a:gd name="T15" fmla="*/ 5 h 52"/>
                  <a:gd name="T16" fmla="*/ 11 w 11"/>
                  <a:gd name="T17" fmla="*/ 4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52">
                    <a:moveTo>
                      <a:pt x="11" y="46"/>
                    </a:moveTo>
                    <a:cubicBezTo>
                      <a:pt x="11" y="49"/>
                      <a:pt x="9" y="52"/>
                      <a:pt x="6" y="52"/>
                    </a:cubicBezTo>
                    <a:cubicBezTo>
                      <a:pt x="6" y="52"/>
                      <a:pt x="6" y="52"/>
                      <a:pt x="6" y="52"/>
                    </a:cubicBezTo>
                    <a:cubicBezTo>
                      <a:pt x="3" y="52"/>
                      <a:pt x="0" y="49"/>
                      <a:pt x="0" y="46"/>
                    </a:cubicBezTo>
                    <a:cubicBezTo>
                      <a:pt x="0" y="5"/>
                      <a:pt x="0" y="5"/>
                      <a:pt x="0" y="5"/>
                    </a:cubicBezTo>
                    <a:cubicBezTo>
                      <a:pt x="0" y="2"/>
                      <a:pt x="3" y="0"/>
                      <a:pt x="6" y="0"/>
                    </a:cubicBezTo>
                    <a:cubicBezTo>
                      <a:pt x="6" y="0"/>
                      <a:pt x="6" y="0"/>
                      <a:pt x="6" y="0"/>
                    </a:cubicBezTo>
                    <a:cubicBezTo>
                      <a:pt x="9" y="0"/>
                      <a:pt x="11" y="2"/>
                      <a:pt x="11" y="5"/>
                    </a:cubicBezTo>
                    <a:lnTo>
                      <a:pt x="11" y="46"/>
                    </a:lnTo>
                    <a:close/>
                  </a:path>
                </a:pathLst>
              </a:cu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50" name="任意多边形: 形状 649"/>
              <p:cNvSpPr/>
              <p:nvPr/>
            </p:nvSpPr>
            <p:spPr bwMode="auto">
              <a:xfrm>
                <a:off x="5042721" y="5085903"/>
                <a:ext cx="25768" cy="132707"/>
              </a:xfrm>
              <a:custGeom>
                <a:avLst/>
                <a:gdLst>
                  <a:gd name="T0" fmla="*/ 10 w 10"/>
                  <a:gd name="T1" fmla="*/ 46 h 52"/>
                  <a:gd name="T2" fmla="*/ 5 w 10"/>
                  <a:gd name="T3" fmla="*/ 52 h 52"/>
                  <a:gd name="T4" fmla="*/ 5 w 10"/>
                  <a:gd name="T5" fmla="*/ 52 h 52"/>
                  <a:gd name="T6" fmla="*/ 0 w 10"/>
                  <a:gd name="T7" fmla="*/ 46 h 52"/>
                  <a:gd name="T8" fmla="*/ 0 w 10"/>
                  <a:gd name="T9" fmla="*/ 5 h 52"/>
                  <a:gd name="T10" fmla="*/ 5 w 10"/>
                  <a:gd name="T11" fmla="*/ 0 h 52"/>
                  <a:gd name="T12" fmla="*/ 5 w 10"/>
                  <a:gd name="T13" fmla="*/ 0 h 52"/>
                  <a:gd name="T14" fmla="*/ 10 w 10"/>
                  <a:gd name="T15" fmla="*/ 5 h 52"/>
                  <a:gd name="T16" fmla="*/ 10 w 10"/>
                  <a:gd name="T17" fmla="*/ 4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52">
                    <a:moveTo>
                      <a:pt x="10" y="46"/>
                    </a:moveTo>
                    <a:cubicBezTo>
                      <a:pt x="10" y="49"/>
                      <a:pt x="8" y="52"/>
                      <a:pt x="5" y="52"/>
                    </a:cubicBezTo>
                    <a:cubicBezTo>
                      <a:pt x="5" y="52"/>
                      <a:pt x="5" y="52"/>
                      <a:pt x="5" y="52"/>
                    </a:cubicBezTo>
                    <a:cubicBezTo>
                      <a:pt x="2" y="52"/>
                      <a:pt x="0" y="49"/>
                      <a:pt x="0" y="46"/>
                    </a:cubicBezTo>
                    <a:cubicBezTo>
                      <a:pt x="0" y="5"/>
                      <a:pt x="0" y="5"/>
                      <a:pt x="0" y="5"/>
                    </a:cubicBezTo>
                    <a:cubicBezTo>
                      <a:pt x="0" y="2"/>
                      <a:pt x="2" y="0"/>
                      <a:pt x="5" y="0"/>
                    </a:cubicBezTo>
                    <a:cubicBezTo>
                      <a:pt x="5" y="0"/>
                      <a:pt x="5" y="0"/>
                      <a:pt x="5" y="0"/>
                    </a:cubicBezTo>
                    <a:cubicBezTo>
                      <a:pt x="8" y="0"/>
                      <a:pt x="10" y="2"/>
                      <a:pt x="10" y="5"/>
                    </a:cubicBezTo>
                    <a:lnTo>
                      <a:pt x="10" y="46"/>
                    </a:lnTo>
                    <a:close/>
                  </a:path>
                </a:pathLst>
              </a:cu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51" name="任意多边形: 形状 650"/>
              <p:cNvSpPr/>
              <p:nvPr/>
            </p:nvSpPr>
            <p:spPr bwMode="auto">
              <a:xfrm>
                <a:off x="5152236" y="5085903"/>
                <a:ext cx="28345" cy="132707"/>
              </a:xfrm>
              <a:custGeom>
                <a:avLst/>
                <a:gdLst>
                  <a:gd name="T0" fmla="*/ 11 w 11"/>
                  <a:gd name="T1" fmla="*/ 46 h 52"/>
                  <a:gd name="T2" fmla="*/ 6 w 11"/>
                  <a:gd name="T3" fmla="*/ 52 h 52"/>
                  <a:gd name="T4" fmla="*/ 6 w 11"/>
                  <a:gd name="T5" fmla="*/ 52 h 52"/>
                  <a:gd name="T6" fmla="*/ 0 w 11"/>
                  <a:gd name="T7" fmla="*/ 46 h 52"/>
                  <a:gd name="T8" fmla="*/ 0 w 11"/>
                  <a:gd name="T9" fmla="*/ 5 h 52"/>
                  <a:gd name="T10" fmla="*/ 6 w 11"/>
                  <a:gd name="T11" fmla="*/ 0 h 52"/>
                  <a:gd name="T12" fmla="*/ 6 w 11"/>
                  <a:gd name="T13" fmla="*/ 0 h 52"/>
                  <a:gd name="T14" fmla="*/ 11 w 11"/>
                  <a:gd name="T15" fmla="*/ 5 h 52"/>
                  <a:gd name="T16" fmla="*/ 11 w 11"/>
                  <a:gd name="T17" fmla="*/ 4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52">
                    <a:moveTo>
                      <a:pt x="11" y="46"/>
                    </a:moveTo>
                    <a:cubicBezTo>
                      <a:pt x="11" y="49"/>
                      <a:pt x="9" y="52"/>
                      <a:pt x="6" y="52"/>
                    </a:cubicBezTo>
                    <a:cubicBezTo>
                      <a:pt x="6" y="52"/>
                      <a:pt x="6" y="52"/>
                      <a:pt x="6" y="52"/>
                    </a:cubicBezTo>
                    <a:cubicBezTo>
                      <a:pt x="3" y="52"/>
                      <a:pt x="0" y="49"/>
                      <a:pt x="0" y="46"/>
                    </a:cubicBezTo>
                    <a:cubicBezTo>
                      <a:pt x="0" y="5"/>
                      <a:pt x="0" y="5"/>
                      <a:pt x="0" y="5"/>
                    </a:cubicBezTo>
                    <a:cubicBezTo>
                      <a:pt x="0" y="2"/>
                      <a:pt x="3" y="0"/>
                      <a:pt x="6" y="0"/>
                    </a:cubicBezTo>
                    <a:cubicBezTo>
                      <a:pt x="6" y="0"/>
                      <a:pt x="6" y="0"/>
                      <a:pt x="6" y="0"/>
                    </a:cubicBezTo>
                    <a:cubicBezTo>
                      <a:pt x="9" y="0"/>
                      <a:pt x="11" y="2"/>
                      <a:pt x="11" y="5"/>
                    </a:cubicBezTo>
                    <a:lnTo>
                      <a:pt x="11" y="46"/>
                    </a:lnTo>
                    <a:close/>
                  </a:path>
                </a:pathLst>
              </a:cu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52" name="任意多边形: 形状 651"/>
              <p:cNvSpPr/>
              <p:nvPr/>
            </p:nvSpPr>
            <p:spPr bwMode="auto">
              <a:xfrm>
                <a:off x="5264328" y="5085903"/>
                <a:ext cx="25768" cy="132707"/>
              </a:xfrm>
              <a:custGeom>
                <a:avLst/>
                <a:gdLst>
                  <a:gd name="T0" fmla="*/ 10 w 10"/>
                  <a:gd name="T1" fmla="*/ 46 h 52"/>
                  <a:gd name="T2" fmla="*/ 5 w 10"/>
                  <a:gd name="T3" fmla="*/ 52 h 52"/>
                  <a:gd name="T4" fmla="*/ 5 w 10"/>
                  <a:gd name="T5" fmla="*/ 52 h 52"/>
                  <a:gd name="T6" fmla="*/ 0 w 10"/>
                  <a:gd name="T7" fmla="*/ 46 h 52"/>
                  <a:gd name="T8" fmla="*/ 0 w 10"/>
                  <a:gd name="T9" fmla="*/ 5 h 52"/>
                  <a:gd name="T10" fmla="*/ 5 w 10"/>
                  <a:gd name="T11" fmla="*/ 0 h 52"/>
                  <a:gd name="T12" fmla="*/ 5 w 10"/>
                  <a:gd name="T13" fmla="*/ 0 h 52"/>
                  <a:gd name="T14" fmla="*/ 10 w 10"/>
                  <a:gd name="T15" fmla="*/ 5 h 52"/>
                  <a:gd name="T16" fmla="*/ 10 w 10"/>
                  <a:gd name="T17" fmla="*/ 4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52">
                    <a:moveTo>
                      <a:pt x="10" y="46"/>
                    </a:moveTo>
                    <a:cubicBezTo>
                      <a:pt x="10" y="49"/>
                      <a:pt x="8" y="52"/>
                      <a:pt x="5" y="52"/>
                    </a:cubicBezTo>
                    <a:cubicBezTo>
                      <a:pt x="5" y="52"/>
                      <a:pt x="5" y="52"/>
                      <a:pt x="5" y="52"/>
                    </a:cubicBezTo>
                    <a:cubicBezTo>
                      <a:pt x="2" y="52"/>
                      <a:pt x="0" y="49"/>
                      <a:pt x="0" y="46"/>
                    </a:cubicBezTo>
                    <a:cubicBezTo>
                      <a:pt x="0" y="5"/>
                      <a:pt x="0" y="5"/>
                      <a:pt x="0" y="5"/>
                    </a:cubicBezTo>
                    <a:cubicBezTo>
                      <a:pt x="0" y="2"/>
                      <a:pt x="2" y="0"/>
                      <a:pt x="5" y="0"/>
                    </a:cubicBezTo>
                    <a:cubicBezTo>
                      <a:pt x="5" y="0"/>
                      <a:pt x="5" y="0"/>
                      <a:pt x="5" y="0"/>
                    </a:cubicBezTo>
                    <a:cubicBezTo>
                      <a:pt x="8" y="0"/>
                      <a:pt x="10" y="2"/>
                      <a:pt x="10" y="5"/>
                    </a:cubicBezTo>
                    <a:lnTo>
                      <a:pt x="10" y="46"/>
                    </a:lnTo>
                    <a:close/>
                  </a:path>
                </a:pathLst>
              </a:cu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53" name="任意多边形: 形状 652"/>
              <p:cNvSpPr/>
              <p:nvPr/>
            </p:nvSpPr>
            <p:spPr bwMode="auto">
              <a:xfrm>
                <a:off x="5373843" y="5085903"/>
                <a:ext cx="28345" cy="132707"/>
              </a:xfrm>
              <a:custGeom>
                <a:avLst/>
                <a:gdLst>
                  <a:gd name="T0" fmla="*/ 11 w 11"/>
                  <a:gd name="T1" fmla="*/ 46 h 52"/>
                  <a:gd name="T2" fmla="*/ 6 w 11"/>
                  <a:gd name="T3" fmla="*/ 52 h 52"/>
                  <a:gd name="T4" fmla="*/ 6 w 11"/>
                  <a:gd name="T5" fmla="*/ 52 h 52"/>
                  <a:gd name="T6" fmla="*/ 0 w 11"/>
                  <a:gd name="T7" fmla="*/ 46 h 52"/>
                  <a:gd name="T8" fmla="*/ 0 w 11"/>
                  <a:gd name="T9" fmla="*/ 5 h 52"/>
                  <a:gd name="T10" fmla="*/ 6 w 11"/>
                  <a:gd name="T11" fmla="*/ 0 h 52"/>
                  <a:gd name="T12" fmla="*/ 6 w 11"/>
                  <a:gd name="T13" fmla="*/ 0 h 52"/>
                  <a:gd name="T14" fmla="*/ 11 w 11"/>
                  <a:gd name="T15" fmla="*/ 5 h 52"/>
                  <a:gd name="T16" fmla="*/ 11 w 11"/>
                  <a:gd name="T17" fmla="*/ 4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52">
                    <a:moveTo>
                      <a:pt x="11" y="46"/>
                    </a:moveTo>
                    <a:cubicBezTo>
                      <a:pt x="11" y="49"/>
                      <a:pt x="9" y="52"/>
                      <a:pt x="6" y="52"/>
                    </a:cubicBezTo>
                    <a:cubicBezTo>
                      <a:pt x="6" y="52"/>
                      <a:pt x="6" y="52"/>
                      <a:pt x="6" y="52"/>
                    </a:cubicBezTo>
                    <a:cubicBezTo>
                      <a:pt x="3" y="52"/>
                      <a:pt x="0" y="49"/>
                      <a:pt x="0" y="46"/>
                    </a:cubicBezTo>
                    <a:cubicBezTo>
                      <a:pt x="0" y="5"/>
                      <a:pt x="0" y="5"/>
                      <a:pt x="0" y="5"/>
                    </a:cubicBezTo>
                    <a:cubicBezTo>
                      <a:pt x="0" y="2"/>
                      <a:pt x="3" y="0"/>
                      <a:pt x="6" y="0"/>
                    </a:cubicBezTo>
                    <a:cubicBezTo>
                      <a:pt x="6" y="0"/>
                      <a:pt x="6" y="0"/>
                      <a:pt x="6" y="0"/>
                    </a:cubicBezTo>
                    <a:cubicBezTo>
                      <a:pt x="9" y="0"/>
                      <a:pt x="11" y="2"/>
                      <a:pt x="11" y="5"/>
                    </a:cubicBezTo>
                    <a:lnTo>
                      <a:pt x="11" y="46"/>
                    </a:lnTo>
                    <a:close/>
                  </a:path>
                </a:pathLst>
              </a:cu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54" name="任意多边形: 形状 653"/>
              <p:cNvSpPr/>
              <p:nvPr/>
            </p:nvSpPr>
            <p:spPr bwMode="auto">
              <a:xfrm>
                <a:off x="5487224" y="5085903"/>
                <a:ext cx="27057" cy="132707"/>
              </a:xfrm>
              <a:custGeom>
                <a:avLst/>
                <a:gdLst>
                  <a:gd name="T0" fmla="*/ 11 w 11"/>
                  <a:gd name="T1" fmla="*/ 46 h 52"/>
                  <a:gd name="T2" fmla="*/ 5 w 11"/>
                  <a:gd name="T3" fmla="*/ 52 h 52"/>
                  <a:gd name="T4" fmla="*/ 5 w 11"/>
                  <a:gd name="T5" fmla="*/ 52 h 52"/>
                  <a:gd name="T6" fmla="*/ 0 w 11"/>
                  <a:gd name="T7" fmla="*/ 46 h 52"/>
                  <a:gd name="T8" fmla="*/ 0 w 11"/>
                  <a:gd name="T9" fmla="*/ 5 h 52"/>
                  <a:gd name="T10" fmla="*/ 5 w 11"/>
                  <a:gd name="T11" fmla="*/ 0 h 52"/>
                  <a:gd name="T12" fmla="*/ 5 w 11"/>
                  <a:gd name="T13" fmla="*/ 0 h 52"/>
                  <a:gd name="T14" fmla="*/ 11 w 11"/>
                  <a:gd name="T15" fmla="*/ 5 h 52"/>
                  <a:gd name="T16" fmla="*/ 11 w 11"/>
                  <a:gd name="T17" fmla="*/ 4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52">
                    <a:moveTo>
                      <a:pt x="11" y="46"/>
                    </a:moveTo>
                    <a:cubicBezTo>
                      <a:pt x="11" y="49"/>
                      <a:pt x="8" y="52"/>
                      <a:pt x="5" y="52"/>
                    </a:cubicBezTo>
                    <a:cubicBezTo>
                      <a:pt x="5" y="52"/>
                      <a:pt x="5" y="52"/>
                      <a:pt x="5" y="52"/>
                    </a:cubicBezTo>
                    <a:cubicBezTo>
                      <a:pt x="2" y="52"/>
                      <a:pt x="0" y="49"/>
                      <a:pt x="0" y="46"/>
                    </a:cubicBezTo>
                    <a:cubicBezTo>
                      <a:pt x="0" y="5"/>
                      <a:pt x="0" y="5"/>
                      <a:pt x="0" y="5"/>
                    </a:cubicBezTo>
                    <a:cubicBezTo>
                      <a:pt x="0" y="2"/>
                      <a:pt x="2" y="0"/>
                      <a:pt x="5" y="0"/>
                    </a:cubicBezTo>
                    <a:cubicBezTo>
                      <a:pt x="5" y="0"/>
                      <a:pt x="5" y="0"/>
                      <a:pt x="5" y="0"/>
                    </a:cubicBezTo>
                    <a:cubicBezTo>
                      <a:pt x="8" y="0"/>
                      <a:pt x="11" y="2"/>
                      <a:pt x="11" y="5"/>
                    </a:cubicBezTo>
                    <a:lnTo>
                      <a:pt x="11" y="46"/>
                    </a:lnTo>
                    <a:close/>
                  </a:path>
                </a:pathLst>
              </a:cu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55" name="任意多边形: 形状 654"/>
              <p:cNvSpPr/>
              <p:nvPr/>
            </p:nvSpPr>
            <p:spPr bwMode="auto">
              <a:xfrm>
                <a:off x="5596739" y="5085903"/>
                <a:ext cx="27057" cy="132707"/>
              </a:xfrm>
              <a:custGeom>
                <a:avLst/>
                <a:gdLst>
                  <a:gd name="T0" fmla="*/ 11 w 11"/>
                  <a:gd name="T1" fmla="*/ 46 h 52"/>
                  <a:gd name="T2" fmla="*/ 6 w 11"/>
                  <a:gd name="T3" fmla="*/ 52 h 52"/>
                  <a:gd name="T4" fmla="*/ 6 w 11"/>
                  <a:gd name="T5" fmla="*/ 52 h 52"/>
                  <a:gd name="T6" fmla="*/ 0 w 11"/>
                  <a:gd name="T7" fmla="*/ 46 h 52"/>
                  <a:gd name="T8" fmla="*/ 0 w 11"/>
                  <a:gd name="T9" fmla="*/ 5 h 52"/>
                  <a:gd name="T10" fmla="*/ 6 w 11"/>
                  <a:gd name="T11" fmla="*/ 0 h 52"/>
                  <a:gd name="T12" fmla="*/ 6 w 11"/>
                  <a:gd name="T13" fmla="*/ 0 h 52"/>
                  <a:gd name="T14" fmla="*/ 11 w 11"/>
                  <a:gd name="T15" fmla="*/ 5 h 52"/>
                  <a:gd name="T16" fmla="*/ 11 w 11"/>
                  <a:gd name="T17" fmla="*/ 4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52">
                    <a:moveTo>
                      <a:pt x="11" y="46"/>
                    </a:moveTo>
                    <a:cubicBezTo>
                      <a:pt x="11" y="49"/>
                      <a:pt x="9" y="52"/>
                      <a:pt x="6" y="52"/>
                    </a:cubicBezTo>
                    <a:cubicBezTo>
                      <a:pt x="6" y="52"/>
                      <a:pt x="6" y="52"/>
                      <a:pt x="6" y="52"/>
                    </a:cubicBezTo>
                    <a:cubicBezTo>
                      <a:pt x="3" y="52"/>
                      <a:pt x="0" y="49"/>
                      <a:pt x="0" y="46"/>
                    </a:cubicBezTo>
                    <a:cubicBezTo>
                      <a:pt x="0" y="5"/>
                      <a:pt x="0" y="5"/>
                      <a:pt x="0" y="5"/>
                    </a:cubicBezTo>
                    <a:cubicBezTo>
                      <a:pt x="0" y="2"/>
                      <a:pt x="3" y="0"/>
                      <a:pt x="6" y="0"/>
                    </a:cubicBezTo>
                    <a:cubicBezTo>
                      <a:pt x="6" y="0"/>
                      <a:pt x="6" y="0"/>
                      <a:pt x="6" y="0"/>
                    </a:cubicBezTo>
                    <a:cubicBezTo>
                      <a:pt x="9" y="0"/>
                      <a:pt x="11" y="2"/>
                      <a:pt x="11" y="5"/>
                    </a:cubicBezTo>
                    <a:lnTo>
                      <a:pt x="11" y="46"/>
                    </a:lnTo>
                    <a:close/>
                  </a:path>
                </a:pathLst>
              </a:cu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56" name="任意多边形: 形状 655"/>
              <p:cNvSpPr/>
              <p:nvPr/>
            </p:nvSpPr>
            <p:spPr bwMode="auto">
              <a:xfrm>
                <a:off x="4752827" y="5049827"/>
                <a:ext cx="935389" cy="186821"/>
              </a:xfrm>
              <a:custGeom>
                <a:avLst/>
                <a:gdLst>
                  <a:gd name="T0" fmla="*/ 0 w 367"/>
                  <a:gd name="T1" fmla="*/ 58 h 73"/>
                  <a:gd name="T2" fmla="*/ 327 w 367"/>
                  <a:gd name="T3" fmla="*/ 0 h 73"/>
                  <a:gd name="T4" fmla="*/ 367 w 367"/>
                  <a:gd name="T5" fmla="*/ 0 h 73"/>
                  <a:gd name="T6" fmla="*/ 367 w 367"/>
                  <a:gd name="T7" fmla="*/ 73 h 73"/>
                  <a:gd name="T8" fmla="*/ 0 w 367"/>
                  <a:gd name="T9" fmla="*/ 73 h 73"/>
                  <a:gd name="T10" fmla="*/ 0 w 367"/>
                  <a:gd name="T11" fmla="*/ 58 h 73"/>
                </a:gdLst>
                <a:ahLst/>
                <a:cxnLst>
                  <a:cxn ang="0">
                    <a:pos x="T0" y="T1"/>
                  </a:cxn>
                  <a:cxn ang="0">
                    <a:pos x="T2" y="T3"/>
                  </a:cxn>
                  <a:cxn ang="0">
                    <a:pos x="T4" y="T5"/>
                  </a:cxn>
                  <a:cxn ang="0">
                    <a:pos x="T6" y="T7"/>
                  </a:cxn>
                  <a:cxn ang="0">
                    <a:pos x="T8" y="T9"/>
                  </a:cxn>
                  <a:cxn ang="0">
                    <a:pos x="T10" y="T11"/>
                  </a:cxn>
                </a:cxnLst>
                <a:rect l="0" t="0" r="r" b="b"/>
                <a:pathLst>
                  <a:path w="367" h="73">
                    <a:moveTo>
                      <a:pt x="0" y="58"/>
                    </a:moveTo>
                    <a:cubicBezTo>
                      <a:pt x="0" y="58"/>
                      <a:pt x="327" y="72"/>
                      <a:pt x="327" y="0"/>
                    </a:cubicBezTo>
                    <a:cubicBezTo>
                      <a:pt x="367" y="0"/>
                      <a:pt x="367" y="0"/>
                      <a:pt x="367" y="0"/>
                    </a:cubicBezTo>
                    <a:cubicBezTo>
                      <a:pt x="367" y="73"/>
                      <a:pt x="367" y="73"/>
                      <a:pt x="367" y="73"/>
                    </a:cubicBezTo>
                    <a:cubicBezTo>
                      <a:pt x="0" y="73"/>
                      <a:pt x="0" y="73"/>
                      <a:pt x="0" y="73"/>
                    </a:cubicBezTo>
                    <a:lnTo>
                      <a:pt x="0" y="58"/>
                    </a:lnTo>
                    <a:close/>
                  </a:path>
                </a:pathLst>
              </a:custGeom>
              <a:solidFill>
                <a:srgbClr val="0A0A0A">
                  <a:alpha val="10000"/>
                </a:srgbClr>
              </a:solidFill>
              <a:ln>
                <a:noFill/>
              </a:ln>
            </p:spPr>
            <p:txBody>
              <a:bodyPr vert="horz" wrap="square" lIns="91440" tIns="45720" rIns="91440" bIns="45720" numCol="1" anchor="t" anchorCtr="0" compatLnSpc="1"/>
              <a:lstStyle/>
              <a:p>
                <a:endParaRPr lang="zh-CN" altLang="en-US"/>
              </a:p>
            </p:txBody>
          </p:sp>
          <p:sp>
            <p:nvSpPr>
              <p:cNvPr id="657" name="矩形 656"/>
              <p:cNvSpPr/>
              <p:nvPr/>
            </p:nvSpPr>
            <p:spPr bwMode="auto">
              <a:xfrm>
                <a:off x="4852036" y="4897794"/>
                <a:ext cx="854220" cy="170071"/>
              </a:xfrm>
              <a:prstGeom prst="rect">
                <a:avLst/>
              </a:prstGeom>
              <a:solidFill>
                <a:srgbClr val="FFC56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658" name="任意多边形: 形状 657"/>
              <p:cNvSpPr/>
              <p:nvPr/>
            </p:nvSpPr>
            <p:spPr bwMode="auto">
              <a:xfrm>
                <a:off x="4875227" y="4914543"/>
                <a:ext cx="27057" cy="132707"/>
              </a:xfrm>
              <a:custGeom>
                <a:avLst/>
                <a:gdLst>
                  <a:gd name="T0" fmla="*/ 11 w 11"/>
                  <a:gd name="T1" fmla="*/ 47 h 52"/>
                  <a:gd name="T2" fmla="*/ 6 w 11"/>
                  <a:gd name="T3" fmla="*/ 52 h 52"/>
                  <a:gd name="T4" fmla="*/ 6 w 11"/>
                  <a:gd name="T5" fmla="*/ 52 h 52"/>
                  <a:gd name="T6" fmla="*/ 0 w 11"/>
                  <a:gd name="T7" fmla="*/ 47 h 52"/>
                  <a:gd name="T8" fmla="*/ 0 w 11"/>
                  <a:gd name="T9" fmla="*/ 6 h 52"/>
                  <a:gd name="T10" fmla="*/ 6 w 11"/>
                  <a:gd name="T11" fmla="*/ 0 h 52"/>
                  <a:gd name="T12" fmla="*/ 6 w 11"/>
                  <a:gd name="T13" fmla="*/ 0 h 52"/>
                  <a:gd name="T14" fmla="*/ 11 w 11"/>
                  <a:gd name="T15" fmla="*/ 6 h 52"/>
                  <a:gd name="T16" fmla="*/ 11 w 11"/>
                  <a:gd name="T17" fmla="*/ 47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52">
                    <a:moveTo>
                      <a:pt x="11" y="47"/>
                    </a:moveTo>
                    <a:cubicBezTo>
                      <a:pt x="11" y="50"/>
                      <a:pt x="9" y="52"/>
                      <a:pt x="6" y="52"/>
                    </a:cubicBezTo>
                    <a:cubicBezTo>
                      <a:pt x="6" y="52"/>
                      <a:pt x="6" y="52"/>
                      <a:pt x="6" y="52"/>
                    </a:cubicBezTo>
                    <a:cubicBezTo>
                      <a:pt x="3" y="52"/>
                      <a:pt x="0" y="50"/>
                      <a:pt x="0" y="47"/>
                    </a:cubicBezTo>
                    <a:cubicBezTo>
                      <a:pt x="0" y="6"/>
                      <a:pt x="0" y="6"/>
                      <a:pt x="0" y="6"/>
                    </a:cubicBezTo>
                    <a:cubicBezTo>
                      <a:pt x="0" y="3"/>
                      <a:pt x="3" y="0"/>
                      <a:pt x="6" y="0"/>
                    </a:cubicBezTo>
                    <a:cubicBezTo>
                      <a:pt x="6" y="0"/>
                      <a:pt x="6" y="0"/>
                      <a:pt x="6" y="0"/>
                    </a:cubicBezTo>
                    <a:cubicBezTo>
                      <a:pt x="9" y="0"/>
                      <a:pt x="11" y="3"/>
                      <a:pt x="11" y="6"/>
                    </a:cubicBezTo>
                    <a:lnTo>
                      <a:pt x="11" y="47"/>
                    </a:lnTo>
                    <a:close/>
                  </a:path>
                </a:pathLst>
              </a:cu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59" name="任意多边形: 形状 658"/>
              <p:cNvSpPr/>
              <p:nvPr/>
            </p:nvSpPr>
            <p:spPr bwMode="auto">
              <a:xfrm>
                <a:off x="4987319" y="4914543"/>
                <a:ext cx="27057" cy="132707"/>
              </a:xfrm>
              <a:custGeom>
                <a:avLst/>
                <a:gdLst>
                  <a:gd name="T0" fmla="*/ 11 w 11"/>
                  <a:gd name="T1" fmla="*/ 47 h 52"/>
                  <a:gd name="T2" fmla="*/ 5 w 11"/>
                  <a:gd name="T3" fmla="*/ 52 h 52"/>
                  <a:gd name="T4" fmla="*/ 5 w 11"/>
                  <a:gd name="T5" fmla="*/ 52 h 52"/>
                  <a:gd name="T6" fmla="*/ 0 w 11"/>
                  <a:gd name="T7" fmla="*/ 47 h 52"/>
                  <a:gd name="T8" fmla="*/ 0 w 11"/>
                  <a:gd name="T9" fmla="*/ 6 h 52"/>
                  <a:gd name="T10" fmla="*/ 5 w 11"/>
                  <a:gd name="T11" fmla="*/ 0 h 52"/>
                  <a:gd name="T12" fmla="*/ 5 w 11"/>
                  <a:gd name="T13" fmla="*/ 0 h 52"/>
                  <a:gd name="T14" fmla="*/ 11 w 11"/>
                  <a:gd name="T15" fmla="*/ 6 h 52"/>
                  <a:gd name="T16" fmla="*/ 11 w 11"/>
                  <a:gd name="T17" fmla="*/ 47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52">
                    <a:moveTo>
                      <a:pt x="11" y="47"/>
                    </a:moveTo>
                    <a:cubicBezTo>
                      <a:pt x="11" y="50"/>
                      <a:pt x="8" y="52"/>
                      <a:pt x="5" y="52"/>
                    </a:cubicBezTo>
                    <a:cubicBezTo>
                      <a:pt x="5" y="52"/>
                      <a:pt x="5" y="52"/>
                      <a:pt x="5" y="52"/>
                    </a:cubicBezTo>
                    <a:cubicBezTo>
                      <a:pt x="2" y="52"/>
                      <a:pt x="0" y="50"/>
                      <a:pt x="0" y="47"/>
                    </a:cubicBezTo>
                    <a:cubicBezTo>
                      <a:pt x="0" y="6"/>
                      <a:pt x="0" y="6"/>
                      <a:pt x="0" y="6"/>
                    </a:cubicBezTo>
                    <a:cubicBezTo>
                      <a:pt x="0" y="3"/>
                      <a:pt x="2" y="0"/>
                      <a:pt x="5" y="0"/>
                    </a:cubicBezTo>
                    <a:cubicBezTo>
                      <a:pt x="5" y="0"/>
                      <a:pt x="5" y="0"/>
                      <a:pt x="5" y="0"/>
                    </a:cubicBezTo>
                    <a:cubicBezTo>
                      <a:pt x="8" y="0"/>
                      <a:pt x="11" y="3"/>
                      <a:pt x="11" y="6"/>
                    </a:cubicBezTo>
                    <a:lnTo>
                      <a:pt x="11" y="47"/>
                    </a:lnTo>
                    <a:close/>
                  </a:path>
                </a:pathLst>
              </a:cu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60" name="任意多边形: 形状 659"/>
              <p:cNvSpPr/>
              <p:nvPr/>
            </p:nvSpPr>
            <p:spPr bwMode="auto">
              <a:xfrm>
                <a:off x="5096834" y="4914543"/>
                <a:ext cx="28345" cy="132707"/>
              </a:xfrm>
              <a:custGeom>
                <a:avLst/>
                <a:gdLst>
                  <a:gd name="T0" fmla="*/ 11 w 11"/>
                  <a:gd name="T1" fmla="*/ 47 h 52"/>
                  <a:gd name="T2" fmla="*/ 6 w 11"/>
                  <a:gd name="T3" fmla="*/ 52 h 52"/>
                  <a:gd name="T4" fmla="*/ 6 w 11"/>
                  <a:gd name="T5" fmla="*/ 52 h 52"/>
                  <a:gd name="T6" fmla="*/ 0 w 11"/>
                  <a:gd name="T7" fmla="*/ 47 h 52"/>
                  <a:gd name="T8" fmla="*/ 0 w 11"/>
                  <a:gd name="T9" fmla="*/ 6 h 52"/>
                  <a:gd name="T10" fmla="*/ 6 w 11"/>
                  <a:gd name="T11" fmla="*/ 0 h 52"/>
                  <a:gd name="T12" fmla="*/ 6 w 11"/>
                  <a:gd name="T13" fmla="*/ 0 h 52"/>
                  <a:gd name="T14" fmla="*/ 11 w 11"/>
                  <a:gd name="T15" fmla="*/ 6 h 52"/>
                  <a:gd name="T16" fmla="*/ 11 w 11"/>
                  <a:gd name="T17" fmla="*/ 47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52">
                    <a:moveTo>
                      <a:pt x="11" y="47"/>
                    </a:moveTo>
                    <a:cubicBezTo>
                      <a:pt x="11" y="50"/>
                      <a:pt x="9" y="52"/>
                      <a:pt x="6" y="52"/>
                    </a:cubicBezTo>
                    <a:cubicBezTo>
                      <a:pt x="6" y="52"/>
                      <a:pt x="6" y="52"/>
                      <a:pt x="6" y="52"/>
                    </a:cubicBezTo>
                    <a:cubicBezTo>
                      <a:pt x="3" y="52"/>
                      <a:pt x="0" y="50"/>
                      <a:pt x="0" y="47"/>
                    </a:cubicBezTo>
                    <a:cubicBezTo>
                      <a:pt x="0" y="6"/>
                      <a:pt x="0" y="6"/>
                      <a:pt x="0" y="6"/>
                    </a:cubicBezTo>
                    <a:cubicBezTo>
                      <a:pt x="0" y="3"/>
                      <a:pt x="3" y="0"/>
                      <a:pt x="6" y="0"/>
                    </a:cubicBezTo>
                    <a:cubicBezTo>
                      <a:pt x="6" y="0"/>
                      <a:pt x="6" y="0"/>
                      <a:pt x="6" y="0"/>
                    </a:cubicBezTo>
                    <a:cubicBezTo>
                      <a:pt x="9" y="0"/>
                      <a:pt x="11" y="3"/>
                      <a:pt x="11" y="6"/>
                    </a:cubicBezTo>
                    <a:lnTo>
                      <a:pt x="11" y="47"/>
                    </a:lnTo>
                    <a:close/>
                  </a:path>
                </a:pathLst>
              </a:cu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61" name="任意多边形: 形状 660"/>
              <p:cNvSpPr/>
              <p:nvPr/>
            </p:nvSpPr>
            <p:spPr bwMode="auto">
              <a:xfrm>
                <a:off x="5208926" y="4914543"/>
                <a:ext cx="28345" cy="132707"/>
              </a:xfrm>
              <a:custGeom>
                <a:avLst/>
                <a:gdLst>
                  <a:gd name="T0" fmla="*/ 11 w 11"/>
                  <a:gd name="T1" fmla="*/ 47 h 52"/>
                  <a:gd name="T2" fmla="*/ 5 w 11"/>
                  <a:gd name="T3" fmla="*/ 52 h 52"/>
                  <a:gd name="T4" fmla="*/ 5 w 11"/>
                  <a:gd name="T5" fmla="*/ 52 h 52"/>
                  <a:gd name="T6" fmla="*/ 0 w 11"/>
                  <a:gd name="T7" fmla="*/ 47 h 52"/>
                  <a:gd name="T8" fmla="*/ 0 w 11"/>
                  <a:gd name="T9" fmla="*/ 6 h 52"/>
                  <a:gd name="T10" fmla="*/ 5 w 11"/>
                  <a:gd name="T11" fmla="*/ 0 h 52"/>
                  <a:gd name="T12" fmla="*/ 5 w 11"/>
                  <a:gd name="T13" fmla="*/ 0 h 52"/>
                  <a:gd name="T14" fmla="*/ 11 w 11"/>
                  <a:gd name="T15" fmla="*/ 6 h 52"/>
                  <a:gd name="T16" fmla="*/ 11 w 11"/>
                  <a:gd name="T17" fmla="*/ 47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52">
                    <a:moveTo>
                      <a:pt x="11" y="47"/>
                    </a:moveTo>
                    <a:cubicBezTo>
                      <a:pt x="11" y="50"/>
                      <a:pt x="8" y="52"/>
                      <a:pt x="5" y="52"/>
                    </a:cubicBezTo>
                    <a:cubicBezTo>
                      <a:pt x="5" y="52"/>
                      <a:pt x="5" y="52"/>
                      <a:pt x="5" y="52"/>
                    </a:cubicBezTo>
                    <a:cubicBezTo>
                      <a:pt x="2" y="52"/>
                      <a:pt x="0" y="50"/>
                      <a:pt x="0" y="47"/>
                    </a:cubicBezTo>
                    <a:cubicBezTo>
                      <a:pt x="0" y="6"/>
                      <a:pt x="0" y="6"/>
                      <a:pt x="0" y="6"/>
                    </a:cubicBezTo>
                    <a:cubicBezTo>
                      <a:pt x="0" y="3"/>
                      <a:pt x="2" y="0"/>
                      <a:pt x="5" y="0"/>
                    </a:cubicBezTo>
                    <a:cubicBezTo>
                      <a:pt x="5" y="0"/>
                      <a:pt x="5" y="0"/>
                      <a:pt x="5" y="0"/>
                    </a:cubicBezTo>
                    <a:cubicBezTo>
                      <a:pt x="8" y="0"/>
                      <a:pt x="11" y="3"/>
                      <a:pt x="11" y="6"/>
                    </a:cubicBezTo>
                    <a:lnTo>
                      <a:pt x="11" y="47"/>
                    </a:lnTo>
                    <a:close/>
                  </a:path>
                </a:pathLst>
              </a:cu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62" name="任意多边形: 形状 661"/>
              <p:cNvSpPr/>
              <p:nvPr/>
            </p:nvSpPr>
            <p:spPr bwMode="auto">
              <a:xfrm>
                <a:off x="5318442" y="4914543"/>
                <a:ext cx="28345" cy="132707"/>
              </a:xfrm>
              <a:custGeom>
                <a:avLst/>
                <a:gdLst>
                  <a:gd name="T0" fmla="*/ 11 w 11"/>
                  <a:gd name="T1" fmla="*/ 47 h 52"/>
                  <a:gd name="T2" fmla="*/ 6 w 11"/>
                  <a:gd name="T3" fmla="*/ 52 h 52"/>
                  <a:gd name="T4" fmla="*/ 6 w 11"/>
                  <a:gd name="T5" fmla="*/ 52 h 52"/>
                  <a:gd name="T6" fmla="*/ 0 w 11"/>
                  <a:gd name="T7" fmla="*/ 47 h 52"/>
                  <a:gd name="T8" fmla="*/ 0 w 11"/>
                  <a:gd name="T9" fmla="*/ 6 h 52"/>
                  <a:gd name="T10" fmla="*/ 6 w 11"/>
                  <a:gd name="T11" fmla="*/ 0 h 52"/>
                  <a:gd name="T12" fmla="*/ 6 w 11"/>
                  <a:gd name="T13" fmla="*/ 0 h 52"/>
                  <a:gd name="T14" fmla="*/ 11 w 11"/>
                  <a:gd name="T15" fmla="*/ 6 h 52"/>
                  <a:gd name="T16" fmla="*/ 11 w 11"/>
                  <a:gd name="T17" fmla="*/ 47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52">
                    <a:moveTo>
                      <a:pt x="11" y="47"/>
                    </a:moveTo>
                    <a:cubicBezTo>
                      <a:pt x="11" y="50"/>
                      <a:pt x="9" y="52"/>
                      <a:pt x="6" y="52"/>
                    </a:cubicBezTo>
                    <a:cubicBezTo>
                      <a:pt x="6" y="52"/>
                      <a:pt x="6" y="52"/>
                      <a:pt x="6" y="52"/>
                    </a:cubicBezTo>
                    <a:cubicBezTo>
                      <a:pt x="3" y="52"/>
                      <a:pt x="0" y="50"/>
                      <a:pt x="0" y="47"/>
                    </a:cubicBezTo>
                    <a:cubicBezTo>
                      <a:pt x="0" y="6"/>
                      <a:pt x="0" y="6"/>
                      <a:pt x="0" y="6"/>
                    </a:cubicBezTo>
                    <a:cubicBezTo>
                      <a:pt x="0" y="3"/>
                      <a:pt x="3" y="0"/>
                      <a:pt x="6" y="0"/>
                    </a:cubicBezTo>
                    <a:cubicBezTo>
                      <a:pt x="6" y="0"/>
                      <a:pt x="6" y="0"/>
                      <a:pt x="6" y="0"/>
                    </a:cubicBezTo>
                    <a:cubicBezTo>
                      <a:pt x="9" y="0"/>
                      <a:pt x="11" y="3"/>
                      <a:pt x="11" y="6"/>
                    </a:cubicBezTo>
                    <a:lnTo>
                      <a:pt x="11" y="47"/>
                    </a:lnTo>
                    <a:close/>
                  </a:path>
                </a:pathLst>
              </a:cu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63" name="任意多边形: 形状 662"/>
              <p:cNvSpPr/>
              <p:nvPr/>
            </p:nvSpPr>
            <p:spPr bwMode="auto">
              <a:xfrm>
                <a:off x="5430533" y="4914543"/>
                <a:ext cx="28345" cy="132707"/>
              </a:xfrm>
              <a:custGeom>
                <a:avLst/>
                <a:gdLst>
                  <a:gd name="T0" fmla="*/ 11 w 11"/>
                  <a:gd name="T1" fmla="*/ 47 h 52"/>
                  <a:gd name="T2" fmla="*/ 5 w 11"/>
                  <a:gd name="T3" fmla="*/ 52 h 52"/>
                  <a:gd name="T4" fmla="*/ 5 w 11"/>
                  <a:gd name="T5" fmla="*/ 52 h 52"/>
                  <a:gd name="T6" fmla="*/ 0 w 11"/>
                  <a:gd name="T7" fmla="*/ 47 h 52"/>
                  <a:gd name="T8" fmla="*/ 0 w 11"/>
                  <a:gd name="T9" fmla="*/ 6 h 52"/>
                  <a:gd name="T10" fmla="*/ 5 w 11"/>
                  <a:gd name="T11" fmla="*/ 0 h 52"/>
                  <a:gd name="T12" fmla="*/ 5 w 11"/>
                  <a:gd name="T13" fmla="*/ 0 h 52"/>
                  <a:gd name="T14" fmla="*/ 11 w 11"/>
                  <a:gd name="T15" fmla="*/ 6 h 52"/>
                  <a:gd name="T16" fmla="*/ 11 w 11"/>
                  <a:gd name="T17" fmla="*/ 47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52">
                    <a:moveTo>
                      <a:pt x="11" y="47"/>
                    </a:moveTo>
                    <a:cubicBezTo>
                      <a:pt x="11" y="50"/>
                      <a:pt x="8" y="52"/>
                      <a:pt x="5" y="52"/>
                    </a:cubicBezTo>
                    <a:cubicBezTo>
                      <a:pt x="5" y="52"/>
                      <a:pt x="5" y="52"/>
                      <a:pt x="5" y="52"/>
                    </a:cubicBezTo>
                    <a:cubicBezTo>
                      <a:pt x="2" y="52"/>
                      <a:pt x="0" y="50"/>
                      <a:pt x="0" y="47"/>
                    </a:cubicBezTo>
                    <a:cubicBezTo>
                      <a:pt x="0" y="6"/>
                      <a:pt x="0" y="6"/>
                      <a:pt x="0" y="6"/>
                    </a:cubicBezTo>
                    <a:cubicBezTo>
                      <a:pt x="0" y="3"/>
                      <a:pt x="2" y="0"/>
                      <a:pt x="5" y="0"/>
                    </a:cubicBezTo>
                    <a:cubicBezTo>
                      <a:pt x="5" y="0"/>
                      <a:pt x="5" y="0"/>
                      <a:pt x="5" y="0"/>
                    </a:cubicBezTo>
                    <a:cubicBezTo>
                      <a:pt x="8" y="0"/>
                      <a:pt x="11" y="3"/>
                      <a:pt x="11" y="6"/>
                    </a:cubicBezTo>
                    <a:lnTo>
                      <a:pt x="11" y="47"/>
                    </a:lnTo>
                    <a:close/>
                  </a:path>
                </a:pathLst>
              </a:cu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64" name="任意多边形: 形状 663"/>
              <p:cNvSpPr/>
              <p:nvPr/>
            </p:nvSpPr>
            <p:spPr bwMode="auto">
              <a:xfrm>
                <a:off x="5540049" y="4914543"/>
                <a:ext cx="28345" cy="132707"/>
              </a:xfrm>
              <a:custGeom>
                <a:avLst/>
                <a:gdLst>
                  <a:gd name="T0" fmla="*/ 11 w 11"/>
                  <a:gd name="T1" fmla="*/ 47 h 52"/>
                  <a:gd name="T2" fmla="*/ 6 w 11"/>
                  <a:gd name="T3" fmla="*/ 52 h 52"/>
                  <a:gd name="T4" fmla="*/ 6 w 11"/>
                  <a:gd name="T5" fmla="*/ 52 h 52"/>
                  <a:gd name="T6" fmla="*/ 0 w 11"/>
                  <a:gd name="T7" fmla="*/ 47 h 52"/>
                  <a:gd name="T8" fmla="*/ 0 w 11"/>
                  <a:gd name="T9" fmla="*/ 6 h 52"/>
                  <a:gd name="T10" fmla="*/ 6 w 11"/>
                  <a:gd name="T11" fmla="*/ 0 h 52"/>
                  <a:gd name="T12" fmla="*/ 6 w 11"/>
                  <a:gd name="T13" fmla="*/ 0 h 52"/>
                  <a:gd name="T14" fmla="*/ 11 w 11"/>
                  <a:gd name="T15" fmla="*/ 6 h 52"/>
                  <a:gd name="T16" fmla="*/ 11 w 11"/>
                  <a:gd name="T17" fmla="*/ 47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52">
                    <a:moveTo>
                      <a:pt x="11" y="47"/>
                    </a:moveTo>
                    <a:cubicBezTo>
                      <a:pt x="11" y="50"/>
                      <a:pt x="9" y="52"/>
                      <a:pt x="6" y="52"/>
                    </a:cubicBezTo>
                    <a:cubicBezTo>
                      <a:pt x="6" y="52"/>
                      <a:pt x="6" y="52"/>
                      <a:pt x="6" y="52"/>
                    </a:cubicBezTo>
                    <a:cubicBezTo>
                      <a:pt x="3" y="52"/>
                      <a:pt x="0" y="50"/>
                      <a:pt x="0" y="47"/>
                    </a:cubicBezTo>
                    <a:cubicBezTo>
                      <a:pt x="0" y="6"/>
                      <a:pt x="0" y="6"/>
                      <a:pt x="0" y="6"/>
                    </a:cubicBezTo>
                    <a:cubicBezTo>
                      <a:pt x="0" y="3"/>
                      <a:pt x="3" y="0"/>
                      <a:pt x="6" y="0"/>
                    </a:cubicBezTo>
                    <a:cubicBezTo>
                      <a:pt x="6" y="0"/>
                      <a:pt x="6" y="0"/>
                      <a:pt x="6" y="0"/>
                    </a:cubicBezTo>
                    <a:cubicBezTo>
                      <a:pt x="9" y="0"/>
                      <a:pt x="11" y="3"/>
                      <a:pt x="11" y="6"/>
                    </a:cubicBezTo>
                    <a:lnTo>
                      <a:pt x="11" y="47"/>
                    </a:lnTo>
                    <a:close/>
                  </a:path>
                </a:pathLst>
              </a:cu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65" name="任意多边形: 形状 664"/>
              <p:cNvSpPr/>
              <p:nvPr/>
            </p:nvSpPr>
            <p:spPr bwMode="auto">
              <a:xfrm>
                <a:off x="5652141" y="4914543"/>
                <a:ext cx="28345" cy="132707"/>
              </a:xfrm>
              <a:custGeom>
                <a:avLst/>
                <a:gdLst>
                  <a:gd name="T0" fmla="*/ 11 w 11"/>
                  <a:gd name="T1" fmla="*/ 47 h 52"/>
                  <a:gd name="T2" fmla="*/ 5 w 11"/>
                  <a:gd name="T3" fmla="*/ 52 h 52"/>
                  <a:gd name="T4" fmla="*/ 5 w 11"/>
                  <a:gd name="T5" fmla="*/ 52 h 52"/>
                  <a:gd name="T6" fmla="*/ 0 w 11"/>
                  <a:gd name="T7" fmla="*/ 47 h 52"/>
                  <a:gd name="T8" fmla="*/ 0 w 11"/>
                  <a:gd name="T9" fmla="*/ 6 h 52"/>
                  <a:gd name="T10" fmla="*/ 5 w 11"/>
                  <a:gd name="T11" fmla="*/ 0 h 52"/>
                  <a:gd name="T12" fmla="*/ 5 w 11"/>
                  <a:gd name="T13" fmla="*/ 0 h 52"/>
                  <a:gd name="T14" fmla="*/ 11 w 11"/>
                  <a:gd name="T15" fmla="*/ 6 h 52"/>
                  <a:gd name="T16" fmla="*/ 11 w 11"/>
                  <a:gd name="T17" fmla="*/ 47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52">
                    <a:moveTo>
                      <a:pt x="11" y="47"/>
                    </a:moveTo>
                    <a:cubicBezTo>
                      <a:pt x="11" y="50"/>
                      <a:pt x="8" y="52"/>
                      <a:pt x="5" y="52"/>
                    </a:cubicBezTo>
                    <a:cubicBezTo>
                      <a:pt x="5" y="52"/>
                      <a:pt x="5" y="52"/>
                      <a:pt x="5" y="52"/>
                    </a:cubicBezTo>
                    <a:cubicBezTo>
                      <a:pt x="2" y="52"/>
                      <a:pt x="0" y="50"/>
                      <a:pt x="0" y="47"/>
                    </a:cubicBezTo>
                    <a:cubicBezTo>
                      <a:pt x="0" y="6"/>
                      <a:pt x="0" y="6"/>
                      <a:pt x="0" y="6"/>
                    </a:cubicBezTo>
                    <a:cubicBezTo>
                      <a:pt x="0" y="3"/>
                      <a:pt x="2" y="0"/>
                      <a:pt x="5" y="0"/>
                    </a:cubicBezTo>
                    <a:cubicBezTo>
                      <a:pt x="5" y="0"/>
                      <a:pt x="5" y="0"/>
                      <a:pt x="5" y="0"/>
                    </a:cubicBezTo>
                    <a:cubicBezTo>
                      <a:pt x="8" y="0"/>
                      <a:pt x="11" y="3"/>
                      <a:pt x="11" y="6"/>
                    </a:cubicBezTo>
                    <a:lnTo>
                      <a:pt x="11" y="47"/>
                    </a:lnTo>
                    <a:close/>
                  </a:path>
                </a:pathLst>
              </a:cu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66" name="任意多边形: 形状 665"/>
              <p:cNvSpPr/>
              <p:nvPr/>
            </p:nvSpPr>
            <p:spPr bwMode="auto">
              <a:xfrm>
                <a:off x="4813383" y="4864295"/>
                <a:ext cx="935389" cy="185532"/>
              </a:xfrm>
              <a:custGeom>
                <a:avLst/>
                <a:gdLst>
                  <a:gd name="T0" fmla="*/ 0 w 367"/>
                  <a:gd name="T1" fmla="*/ 58 h 73"/>
                  <a:gd name="T2" fmla="*/ 327 w 367"/>
                  <a:gd name="T3" fmla="*/ 0 h 73"/>
                  <a:gd name="T4" fmla="*/ 367 w 367"/>
                  <a:gd name="T5" fmla="*/ 0 h 73"/>
                  <a:gd name="T6" fmla="*/ 367 w 367"/>
                  <a:gd name="T7" fmla="*/ 73 h 73"/>
                  <a:gd name="T8" fmla="*/ 0 w 367"/>
                  <a:gd name="T9" fmla="*/ 73 h 73"/>
                  <a:gd name="T10" fmla="*/ 0 w 367"/>
                  <a:gd name="T11" fmla="*/ 58 h 73"/>
                </a:gdLst>
                <a:ahLst/>
                <a:cxnLst>
                  <a:cxn ang="0">
                    <a:pos x="T0" y="T1"/>
                  </a:cxn>
                  <a:cxn ang="0">
                    <a:pos x="T2" y="T3"/>
                  </a:cxn>
                  <a:cxn ang="0">
                    <a:pos x="T4" y="T5"/>
                  </a:cxn>
                  <a:cxn ang="0">
                    <a:pos x="T6" y="T7"/>
                  </a:cxn>
                  <a:cxn ang="0">
                    <a:pos x="T8" y="T9"/>
                  </a:cxn>
                  <a:cxn ang="0">
                    <a:pos x="T10" y="T11"/>
                  </a:cxn>
                </a:cxnLst>
                <a:rect l="0" t="0" r="r" b="b"/>
                <a:pathLst>
                  <a:path w="367" h="73">
                    <a:moveTo>
                      <a:pt x="0" y="58"/>
                    </a:moveTo>
                    <a:cubicBezTo>
                      <a:pt x="0" y="58"/>
                      <a:pt x="327" y="72"/>
                      <a:pt x="327" y="0"/>
                    </a:cubicBezTo>
                    <a:cubicBezTo>
                      <a:pt x="367" y="0"/>
                      <a:pt x="367" y="0"/>
                      <a:pt x="367" y="0"/>
                    </a:cubicBezTo>
                    <a:cubicBezTo>
                      <a:pt x="367" y="73"/>
                      <a:pt x="367" y="73"/>
                      <a:pt x="367" y="73"/>
                    </a:cubicBezTo>
                    <a:cubicBezTo>
                      <a:pt x="0" y="73"/>
                      <a:pt x="0" y="73"/>
                      <a:pt x="0" y="73"/>
                    </a:cubicBezTo>
                    <a:lnTo>
                      <a:pt x="0" y="58"/>
                    </a:lnTo>
                    <a:close/>
                  </a:path>
                </a:pathLst>
              </a:custGeom>
              <a:solidFill>
                <a:srgbClr val="0A0A0A">
                  <a:alpha val="10000"/>
                </a:srgbClr>
              </a:solidFill>
              <a:ln>
                <a:noFill/>
              </a:ln>
            </p:spPr>
            <p:txBody>
              <a:bodyPr vert="horz" wrap="square" lIns="91440" tIns="45720" rIns="91440" bIns="45720" numCol="1" anchor="t" anchorCtr="0" compatLnSpc="1"/>
              <a:lstStyle/>
              <a:p>
                <a:endParaRPr lang="zh-CN" altLang="en-US"/>
              </a:p>
            </p:txBody>
          </p:sp>
          <p:sp>
            <p:nvSpPr>
              <p:cNvPr id="667" name="矩形 666"/>
              <p:cNvSpPr/>
              <p:nvPr/>
            </p:nvSpPr>
            <p:spPr bwMode="auto">
              <a:xfrm>
                <a:off x="4808229" y="4729011"/>
                <a:ext cx="854220" cy="168783"/>
              </a:xfrm>
              <a:prstGeom prst="rect">
                <a:avLst/>
              </a:prstGeom>
              <a:solidFill>
                <a:srgbClr val="FFC56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668" name="任意多边形: 形状 667"/>
              <p:cNvSpPr/>
              <p:nvPr/>
            </p:nvSpPr>
            <p:spPr bwMode="auto">
              <a:xfrm>
                <a:off x="4833998" y="4747049"/>
                <a:ext cx="28345" cy="132707"/>
              </a:xfrm>
              <a:custGeom>
                <a:avLst/>
                <a:gdLst>
                  <a:gd name="T0" fmla="*/ 11 w 11"/>
                  <a:gd name="T1" fmla="*/ 46 h 52"/>
                  <a:gd name="T2" fmla="*/ 5 w 11"/>
                  <a:gd name="T3" fmla="*/ 52 h 52"/>
                  <a:gd name="T4" fmla="*/ 5 w 11"/>
                  <a:gd name="T5" fmla="*/ 52 h 52"/>
                  <a:gd name="T6" fmla="*/ 0 w 11"/>
                  <a:gd name="T7" fmla="*/ 46 h 52"/>
                  <a:gd name="T8" fmla="*/ 0 w 11"/>
                  <a:gd name="T9" fmla="*/ 5 h 52"/>
                  <a:gd name="T10" fmla="*/ 5 w 11"/>
                  <a:gd name="T11" fmla="*/ 0 h 52"/>
                  <a:gd name="T12" fmla="*/ 5 w 11"/>
                  <a:gd name="T13" fmla="*/ 0 h 52"/>
                  <a:gd name="T14" fmla="*/ 11 w 11"/>
                  <a:gd name="T15" fmla="*/ 5 h 52"/>
                  <a:gd name="T16" fmla="*/ 11 w 11"/>
                  <a:gd name="T17" fmla="*/ 4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52">
                    <a:moveTo>
                      <a:pt x="11" y="46"/>
                    </a:moveTo>
                    <a:cubicBezTo>
                      <a:pt x="11" y="50"/>
                      <a:pt x="8" y="52"/>
                      <a:pt x="5" y="52"/>
                    </a:cubicBezTo>
                    <a:cubicBezTo>
                      <a:pt x="5" y="52"/>
                      <a:pt x="5" y="52"/>
                      <a:pt x="5" y="52"/>
                    </a:cubicBezTo>
                    <a:cubicBezTo>
                      <a:pt x="2" y="52"/>
                      <a:pt x="0" y="50"/>
                      <a:pt x="0" y="46"/>
                    </a:cubicBezTo>
                    <a:cubicBezTo>
                      <a:pt x="0" y="5"/>
                      <a:pt x="0" y="5"/>
                      <a:pt x="0" y="5"/>
                    </a:cubicBezTo>
                    <a:cubicBezTo>
                      <a:pt x="0" y="2"/>
                      <a:pt x="2" y="0"/>
                      <a:pt x="5" y="0"/>
                    </a:cubicBezTo>
                    <a:cubicBezTo>
                      <a:pt x="5" y="0"/>
                      <a:pt x="5" y="0"/>
                      <a:pt x="5" y="0"/>
                    </a:cubicBezTo>
                    <a:cubicBezTo>
                      <a:pt x="8" y="0"/>
                      <a:pt x="11" y="2"/>
                      <a:pt x="11" y="5"/>
                    </a:cubicBezTo>
                    <a:lnTo>
                      <a:pt x="11" y="46"/>
                    </a:lnTo>
                    <a:close/>
                  </a:path>
                </a:pathLst>
              </a:cu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69" name="任意多边形: 形状 668"/>
              <p:cNvSpPr/>
              <p:nvPr/>
            </p:nvSpPr>
            <p:spPr bwMode="auto">
              <a:xfrm>
                <a:off x="4946089" y="4747049"/>
                <a:ext cx="25768" cy="132707"/>
              </a:xfrm>
              <a:custGeom>
                <a:avLst/>
                <a:gdLst>
                  <a:gd name="T0" fmla="*/ 10 w 10"/>
                  <a:gd name="T1" fmla="*/ 46 h 52"/>
                  <a:gd name="T2" fmla="*/ 5 w 10"/>
                  <a:gd name="T3" fmla="*/ 52 h 52"/>
                  <a:gd name="T4" fmla="*/ 5 w 10"/>
                  <a:gd name="T5" fmla="*/ 52 h 52"/>
                  <a:gd name="T6" fmla="*/ 0 w 10"/>
                  <a:gd name="T7" fmla="*/ 46 h 52"/>
                  <a:gd name="T8" fmla="*/ 0 w 10"/>
                  <a:gd name="T9" fmla="*/ 5 h 52"/>
                  <a:gd name="T10" fmla="*/ 5 w 10"/>
                  <a:gd name="T11" fmla="*/ 0 h 52"/>
                  <a:gd name="T12" fmla="*/ 5 w 10"/>
                  <a:gd name="T13" fmla="*/ 0 h 52"/>
                  <a:gd name="T14" fmla="*/ 10 w 10"/>
                  <a:gd name="T15" fmla="*/ 5 h 52"/>
                  <a:gd name="T16" fmla="*/ 10 w 10"/>
                  <a:gd name="T17" fmla="*/ 4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52">
                    <a:moveTo>
                      <a:pt x="10" y="46"/>
                    </a:moveTo>
                    <a:cubicBezTo>
                      <a:pt x="10" y="50"/>
                      <a:pt x="8" y="52"/>
                      <a:pt x="5" y="52"/>
                    </a:cubicBezTo>
                    <a:cubicBezTo>
                      <a:pt x="5" y="52"/>
                      <a:pt x="5" y="52"/>
                      <a:pt x="5" y="52"/>
                    </a:cubicBezTo>
                    <a:cubicBezTo>
                      <a:pt x="2" y="52"/>
                      <a:pt x="0" y="50"/>
                      <a:pt x="0" y="46"/>
                    </a:cubicBezTo>
                    <a:cubicBezTo>
                      <a:pt x="0" y="5"/>
                      <a:pt x="0" y="5"/>
                      <a:pt x="0" y="5"/>
                    </a:cubicBezTo>
                    <a:cubicBezTo>
                      <a:pt x="0" y="2"/>
                      <a:pt x="2" y="0"/>
                      <a:pt x="5" y="0"/>
                    </a:cubicBezTo>
                    <a:cubicBezTo>
                      <a:pt x="5" y="0"/>
                      <a:pt x="5" y="0"/>
                      <a:pt x="5" y="0"/>
                    </a:cubicBezTo>
                    <a:cubicBezTo>
                      <a:pt x="8" y="0"/>
                      <a:pt x="10" y="2"/>
                      <a:pt x="10" y="5"/>
                    </a:cubicBezTo>
                    <a:lnTo>
                      <a:pt x="10" y="46"/>
                    </a:lnTo>
                    <a:close/>
                  </a:path>
                </a:pathLst>
              </a:cu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70" name="任意多边形: 形状 669"/>
              <p:cNvSpPr/>
              <p:nvPr/>
            </p:nvSpPr>
            <p:spPr bwMode="auto">
              <a:xfrm>
                <a:off x="5055605" y="4747049"/>
                <a:ext cx="28345" cy="132707"/>
              </a:xfrm>
              <a:custGeom>
                <a:avLst/>
                <a:gdLst>
                  <a:gd name="T0" fmla="*/ 11 w 11"/>
                  <a:gd name="T1" fmla="*/ 46 h 52"/>
                  <a:gd name="T2" fmla="*/ 5 w 11"/>
                  <a:gd name="T3" fmla="*/ 52 h 52"/>
                  <a:gd name="T4" fmla="*/ 5 w 11"/>
                  <a:gd name="T5" fmla="*/ 52 h 52"/>
                  <a:gd name="T6" fmla="*/ 0 w 11"/>
                  <a:gd name="T7" fmla="*/ 46 h 52"/>
                  <a:gd name="T8" fmla="*/ 0 w 11"/>
                  <a:gd name="T9" fmla="*/ 5 h 52"/>
                  <a:gd name="T10" fmla="*/ 5 w 11"/>
                  <a:gd name="T11" fmla="*/ 0 h 52"/>
                  <a:gd name="T12" fmla="*/ 5 w 11"/>
                  <a:gd name="T13" fmla="*/ 0 h 52"/>
                  <a:gd name="T14" fmla="*/ 11 w 11"/>
                  <a:gd name="T15" fmla="*/ 5 h 52"/>
                  <a:gd name="T16" fmla="*/ 11 w 11"/>
                  <a:gd name="T17" fmla="*/ 4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52">
                    <a:moveTo>
                      <a:pt x="11" y="46"/>
                    </a:moveTo>
                    <a:cubicBezTo>
                      <a:pt x="11" y="50"/>
                      <a:pt x="8" y="52"/>
                      <a:pt x="5" y="52"/>
                    </a:cubicBezTo>
                    <a:cubicBezTo>
                      <a:pt x="5" y="52"/>
                      <a:pt x="5" y="52"/>
                      <a:pt x="5" y="52"/>
                    </a:cubicBezTo>
                    <a:cubicBezTo>
                      <a:pt x="2" y="52"/>
                      <a:pt x="0" y="50"/>
                      <a:pt x="0" y="46"/>
                    </a:cubicBezTo>
                    <a:cubicBezTo>
                      <a:pt x="0" y="5"/>
                      <a:pt x="0" y="5"/>
                      <a:pt x="0" y="5"/>
                    </a:cubicBezTo>
                    <a:cubicBezTo>
                      <a:pt x="0" y="2"/>
                      <a:pt x="2" y="0"/>
                      <a:pt x="5" y="0"/>
                    </a:cubicBezTo>
                    <a:cubicBezTo>
                      <a:pt x="5" y="0"/>
                      <a:pt x="5" y="0"/>
                      <a:pt x="5" y="0"/>
                    </a:cubicBezTo>
                    <a:cubicBezTo>
                      <a:pt x="8" y="0"/>
                      <a:pt x="11" y="2"/>
                      <a:pt x="11" y="5"/>
                    </a:cubicBezTo>
                    <a:lnTo>
                      <a:pt x="11" y="46"/>
                    </a:lnTo>
                    <a:close/>
                  </a:path>
                </a:pathLst>
              </a:cu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71" name="任意多边形: 形状 670"/>
              <p:cNvSpPr/>
              <p:nvPr/>
            </p:nvSpPr>
            <p:spPr bwMode="auto">
              <a:xfrm>
                <a:off x="5167697" y="4747049"/>
                <a:ext cx="25768" cy="132707"/>
              </a:xfrm>
              <a:custGeom>
                <a:avLst/>
                <a:gdLst>
                  <a:gd name="T0" fmla="*/ 10 w 10"/>
                  <a:gd name="T1" fmla="*/ 46 h 52"/>
                  <a:gd name="T2" fmla="*/ 5 w 10"/>
                  <a:gd name="T3" fmla="*/ 52 h 52"/>
                  <a:gd name="T4" fmla="*/ 5 w 10"/>
                  <a:gd name="T5" fmla="*/ 52 h 52"/>
                  <a:gd name="T6" fmla="*/ 0 w 10"/>
                  <a:gd name="T7" fmla="*/ 46 h 52"/>
                  <a:gd name="T8" fmla="*/ 0 w 10"/>
                  <a:gd name="T9" fmla="*/ 5 h 52"/>
                  <a:gd name="T10" fmla="*/ 5 w 10"/>
                  <a:gd name="T11" fmla="*/ 0 h 52"/>
                  <a:gd name="T12" fmla="*/ 5 w 10"/>
                  <a:gd name="T13" fmla="*/ 0 h 52"/>
                  <a:gd name="T14" fmla="*/ 10 w 10"/>
                  <a:gd name="T15" fmla="*/ 5 h 52"/>
                  <a:gd name="T16" fmla="*/ 10 w 10"/>
                  <a:gd name="T17" fmla="*/ 4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52">
                    <a:moveTo>
                      <a:pt x="10" y="46"/>
                    </a:moveTo>
                    <a:cubicBezTo>
                      <a:pt x="10" y="50"/>
                      <a:pt x="8" y="52"/>
                      <a:pt x="5" y="52"/>
                    </a:cubicBezTo>
                    <a:cubicBezTo>
                      <a:pt x="5" y="52"/>
                      <a:pt x="5" y="52"/>
                      <a:pt x="5" y="52"/>
                    </a:cubicBezTo>
                    <a:cubicBezTo>
                      <a:pt x="2" y="52"/>
                      <a:pt x="0" y="50"/>
                      <a:pt x="0" y="46"/>
                    </a:cubicBezTo>
                    <a:cubicBezTo>
                      <a:pt x="0" y="5"/>
                      <a:pt x="0" y="5"/>
                      <a:pt x="0" y="5"/>
                    </a:cubicBezTo>
                    <a:cubicBezTo>
                      <a:pt x="0" y="2"/>
                      <a:pt x="2" y="0"/>
                      <a:pt x="5" y="0"/>
                    </a:cubicBezTo>
                    <a:cubicBezTo>
                      <a:pt x="5" y="0"/>
                      <a:pt x="5" y="0"/>
                      <a:pt x="5" y="0"/>
                    </a:cubicBezTo>
                    <a:cubicBezTo>
                      <a:pt x="8" y="0"/>
                      <a:pt x="10" y="2"/>
                      <a:pt x="10" y="5"/>
                    </a:cubicBezTo>
                    <a:lnTo>
                      <a:pt x="10" y="46"/>
                    </a:lnTo>
                    <a:close/>
                  </a:path>
                </a:pathLst>
              </a:cu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72" name="任意多边形: 形状 671"/>
              <p:cNvSpPr/>
              <p:nvPr/>
            </p:nvSpPr>
            <p:spPr bwMode="auto">
              <a:xfrm>
                <a:off x="5277212" y="4747049"/>
                <a:ext cx="28345" cy="132707"/>
              </a:xfrm>
              <a:custGeom>
                <a:avLst/>
                <a:gdLst>
                  <a:gd name="T0" fmla="*/ 11 w 11"/>
                  <a:gd name="T1" fmla="*/ 46 h 52"/>
                  <a:gd name="T2" fmla="*/ 5 w 11"/>
                  <a:gd name="T3" fmla="*/ 52 h 52"/>
                  <a:gd name="T4" fmla="*/ 5 w 11"/>
                  <a:gd name="T5" fmla="*/ 52 h 52"/>
                  <a:gd name="T6" fmla="*/ 0 w 11"/>
                  <a:gd name="T7" fmla="*/ 46 h 52"/>
                  <a:gd name="T8" fmla="*/ 0 w 11"/>
                  <a:gd name="T9" fmla="*/ 5 h 52"/>
                  <a:gd name="T10" fmla="*/ 5 w 11"/>
                  <a:gd name="T11" fmla="*/ 0 h 52"/>
                  <a:gd name="T12" fmla="*/ 5 w 11"/>
                  <a:gd name="T13" fmla="*/ 0 h 52"/>
                  <a:gd name="T14" fmla="*/ 11 w 11"/>
                  <a:gd name="T15" fmla="*/ 5 h 52"/>
                  <a:gd name="T16" fmla="*/ 11 w 11"/>
                  <a:gd name="T17" fmla="*/ 4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52">
                    <a:moveTo>
                      <a:pt x="11" y="46"/>
                    </a:moveTo>
                    <a:cubicBezTo>
                      <a:pt x="11" y="50"/>
                      <a:pt x="9" y="52"/>
                      <a:pt x="5" y="52"/>
                    </a:cubicBezTo>
                    <a:cubicBezTo>
                      <a:pt x="5" y="52"/>
                      <a:pt x="5" y="52"/>
                      <a:pt x="5" y="52"/>
                    </a:cubicBezTo>
                    <a:cubicBezTo>
                      <a:pt x="2" y="52"/>
                      <a:pt x="0" y="50"/>
                      <a:pt x="0" y="46"/>
                    </a:cubicBezTo>
                    <a:cubicBezTo>
                      <a:pt x="0" y="5"/>
                      <a:pt x="0" y="5"/>
                      <a:pt x="0" y="5"/>
                    </a:cubicBezTo>
                    <a:cubicBezTo>
                      <a:pt x="0" y="2"/>
                      <a:pt x="2" y="0"/>
                      <a:pt x="5" y="0"/>
                    </a:cubicBezTo>
                    <a:cubicBezTo>
                      <a:pt x="5" y="0"/>
                      <a:pt x="5" y="0"/>
                      <a:pt x="5" y="0"/>
                    </a:cubicBezTo>
                    <a:cubicBezTo>
                      <a:pt x="9" y="0"/>
                      <a:pt x="11" y="2"/>
                      <a:pt x="11" y="5"/>
                    </a:cubicBezTo>
                    <a:lnTo>
                      <a:pt x="11" y="46"/>
                    </a:lnTo>
                    <a:close/>
                  </a:path>
                </a:pathLst>
              </a:cu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73" name="任意多边形: 形状 672"/>
              <p:cNvSpPr/>
              <p:nvPr/>
            </p:nvSpPr>
            <p:spPr bwMode="auto">
              <a:xfrm>
                <a:off x="5389304" y="4747049"/>
                <a:ext cx="25768" cy="132707"/>
              </a:xfrm>
              <a:custGeom>
                <a:avLst/>
                <a:gdLst>
                  <a:gd name="T0" fmla="*/ 10 w 10"/>
                  <a:gd name="T1" fmla="*/ 46 h 52"/>
                  <a:gd name="T2" fmla="*/ 5 w 10"/>
                  <a:gd name="T3" fmla="*/ 52 h 52"/>
                  <a:gd name="T4" fmla="*/ 5 w 10"/>
                  <a:gd name="T5" fmla="*/ 52 h 52"/>
                  <a:gd name="T6" fmla="*/ 0 w 10"/>
                  <a:gd name="T7" fmla="*/ 46 h 52"/>
                  <a:gd name="T8" fmla="*/ 0 w 10"/>
                  <a:gd name="T9" fmla="*/ 5 h 52"/>
                  <a:gd name="T10" fmla="*/ 5 w 10"/>
                  <a:gd name="T11" fmla="*/ 0 h 52"/>
                  <a:gd name="T12" fmla="*/ 5 w 10"/>
                  <a:gd name="T13" fmla="*/ 0 h 52"/>
                  <a:gd name="T14" fmla="*/ 10 w 10"/>
                  <a:gd name="T15" fmla="*/ 5 h 52"/>
                  <a:gd name="T16" fmla="*/ 10 w 10"/>
                  <a:gd name="T17" fmla="*/ 4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52">
                    <a:moveTo>
                      <a:pt x="10" y="46"/>
                    </a:moveTo>
                    <a:cubicBezTo>
                      <a:pt x="10" y="50"/>
                      <a:pt x="8" y="52"/>
                      <a:pt x="5" y="52"/>
                    </a:cubicBezTo>
                    <a:cubicBezTo>
                      <a:pt x="5" y="52"/>
                      <a:pt x="5" y="52"/>
                      <a:pt x="5" y="52"/>
                    </a:cubicBezTo>
                    <a:cubicBezTo>
                      <a:pt x="2" y="52"/>
                      <a:pt x="0" y="50"/>
                      <a:pt x="0" y="46"/>
                    </a:cubicBezTo>
                    <a:cubicBezTo>
                      <a:pt x="0" y="5"/>
                      <a:pt x="0" y="5"/>
                      <a:pt x="0" y="5"/>
                    </a:cubicBezTo>
                    <a:cubicBezTo>
                      <a:pt x="0" y="2"/>
                      <a:pt x="2" y="0"/>
                      <a:pt x="5" y="0"/>
                    </a:cubicBezTo>
                    <a:cubicBezTo>
                      <a:pt x="5" y="0"/>
                      <a:pt x="5" y="0"/>
                      <a:pt x="5" y="0"/>
                    </a:cubicBezTo>
                    <a:cubicBezTo>
                      <a:pt x="8" y="0"/>
                      <a:pt x="10" y="2"/>
                      <a:pt x="10" y="5"/>
                    </a:cubicBezTo>
                    <a:lnTo>
                      <a:pt x="10" y="46"/>
                    </a:lnTo>
                    <a:close/>
                  </a:path>
                </a:pathLst>
              </a:cu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74" name="任意多边形: 形状 673"/>
              <p:cNvSpPr/>
              <p:nvPr/>
            </p:nvSpPr>
            <p:spPr bwMode="auto">
              <a:xfrm>
                <a:off x="5498820" y="4747049"/>
                <a:ext cx="28345" cy="132707"/>
              </a:xfrm>
              <a:custGeom>
                <a:avLst/>
                <a:gdLst>
                  <a:gd name="T0" fmla="*/ 11 w 11"/>
                  <a:gd name="T1" fmla="*/ 46 h 52"/>
                  <a:gd name="T2" fmla="*/ 5 w 11"/>
                  <a:gd name="T3" fmla="*/ 52 h 52"/>
                  <a:gd name="T4" fmla="*/ 5 w 11"/>
                  <a:gd name="T5" fmla="*/ 52 h 52"/>
                  <a:gd name="T6" fmla="*/ 0 w 11"/>
                  <a:gd name="T7" fmla="*/ 46 h 52"/>
                  <a:gd name="T8" fmla="*/ 0 w 11"/>
                  <a:gd name="T9" fmla="*/ 5 h 52"/>
                  <a:gd name="T10" fmla="*/ 5 w 11"/>
                  <a:gd name="T11" fmla="*/ 0 h 52"/>
                  <a:gd name="T12" fmla="*/ 5 w 11"/>
                  <a:gd name="T13" fmla="*/ 0 h 52"/>
                  <a:gd name="T14" fmla="*/ 11 w 11"/>
                  <a:gd name="T15" fmla="*/ 5 h 52"/>
                  <a:gd name="T16" fmla="*/ 11 w 11"/>
                  <a:gd name="T17" fmla="*/ 4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52">
                    <a:moveTo>
                      <a:pt x="11" y="46"/>
                    </a:moveTo>
                    <a:cubicBezTo>
                      <a:pt x="11" y="50"/>
                      <a:pt x="9" y="52"/>
                      <a:pt x="5" y="52"/>
                    </a:cubicBezTo>
                    <a:cubicBezTo>
                      <a:pt x="5" y="52"/>
                      <a:pt x="5" y="52"/>
                      <a:pt x="5" y="52"/>
                    </a:cubicBezTo>
                    <a:cubicBezTo>
                      <a:pt x="2" y="52"/>
                      <a:pt x="0" y="50"/>
                      <a:pt x="0" y="46"/>
                    </a:cubicBezTo>
                    <a:cubicBezTo>
                      <a:pt x="0" y="5"/>
                      <a:pt x="0" y="5"/>
                      <a:pt x="0" y="5"/>
                    </a:cubicBezTo>
                    <a:cubicBezTo>
                      <a:pt x="0" y="2"/>
                      <a:pt x="2" y="0"/>
                      <a:pt x="5" y="0"/>
                    </a:cubicBezTo>
                    <a:cubicBezTo>
                      <a:pt x="5" y="0"/>
                      <a:pt x="5" y="0"/>
                      <a:pt x="5" y="0"/>
                    </a:cubicBezTo>
                    <a:cubicBezTo>
                      <a:pt x="9" y="0"/>
                      <a:pt x="11" y="2"/>
                      <a:pt x="11" y="5"/>
                    </a:cubicBezTo>
                    <a:lnTo>
                      <a:pt x="11" y="46"/>
                    </a:lnTo>
                    <a:close/>
                  </a:path>
                </a:pathLst>
              </a:cu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75" name="任意多边形: 形状 674"/>
              <p:cNvSpPr/>
              <p:nvPr/>
            </p:nvSpPr>
            <p:spPr bwMode="auto">
              <a:xfrm>
                <a:off x="5612200" y="4747049"/>
                <a:ext cx="24480" cy="132707"/>
              </a:xfrm>
              <a:custGeom>
                <a:avLst/>
                <a:gdLst>
                  <a:gd name="T0" fmla="*/ 10 w 10"/>
                  <a:gd name="T1" fmla="*/ 46 h 52"/>
                  <a:gd name="T2" fmla="*/ 5 w 10"/>
                  <a:gd name="T3" fmla="*/ 52 h 52"/>
                  <a:gd name="T4" fmla="*/ 5 w 10"/>
                  <a:gd name="T5" fmla="*/ 52 h 52"/>
                  <a:gd name="T6" fmla="*/ 0 w 10"/>
                  <a:gd name="T7" fmla="*/ 46 h 52"/>
                  <a:gd name="T8" fmla="*/ 0 w 10"/>
                  <a:gd name="T9" fmla="*/ 5 h 52"/>
                  <a:gd name="T10" fmla="*/ 5 w 10"/>
                  <a:gd name="T11" fmla="*/ 0 h 52"/>
                  <a:gd name="T12" fmla="*/ 5 w 10"/>
                  <a:gd name="T13" fmla="*/ 0 h 52"/>
                  <a:gd name="T14" fmla="*/ 10 w 10"/>
                  <a:gd name="T15" fmla="*/ 5 h 52"/>
                  <a:gd name="T16" fmla="*/ 10 w 10"/>
                  <a:gd name="T17" fmla="*/ 4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52">
                    <a:moveTo>
                      <a:pt x="10" y="46"/>
                    </a:moveTo>
                    <a:cubicBezTo>
                      <a:pt x="10" y="50"/>
                      <a:pt x="8" y="52"/>
                      <a:pt x="5" y="52"/>
                    </a:cubicBezTo>
                    <a:cubicBezTo>
                      <a:pt x="5" y="52"/>
                      <a:pt x="5" y="52"/>
                      <a:pt x="5" y="52"/>
                    </a:cubicBezTo>
                    <a:cubicBezTo>
                      <a:pt x="2" y="52"/>
                      <a:pt x="0" y="50"/>
                      <a:pt x="0" y="46"/>
                    </a:cubicBezTo>
                    <a:cubicBezTo>
                      <a:pt x="0" y="5"/>
                      <a:pt x="0" y="5"/>
                      <a:pt x="0" y="5"/>
                    </a:cubicBezTo>
                    <a:cubicBezTo>
                      <a:pt x="0" y="2"/>
                      <a:pt x="2" y="0"/>
                      <a:pt x="5" y="0"/>
                    </a:cubicBezTo>
                    <a:cubicBezTo>
                      <a:pt x="5" y="0"/>
                      <a:pt x="5" y="0"/>
                      <a:pt x="5" y="0"/>
                    </a:cubicBezTo>
                    <a:cubicBezTo>
                      <a:pt x="8" y="0"/>
                      <a:pt x="10" y="2"/>
                      <a:pt x="10" y="5"/>
                    </a:cubicBezTo>
                    <a:lnTo>
                      <a:pt x="10" y="46"/>
                    </a:lnTo>
                    <a:close/>
                  </a:path>
                </a:pathLst>
              </a:cu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76" name="任意多边形: 形状 675"/>
              <p:cNvSpPr/>
              <p:nvPr/>
            </p:nvSpPr>
            <p:spPr bwMode="auto">
              <a:xfrm>
                <a:off x="4808229" y="4729011"/>
                <a:ext cx="854220" cy="168783"/>
              </a:xfrm>
              <a:custGeom>
                <a:avLst/>
                <a:gdLst>
                  <a:gd name="T0" fmla="*/ 0 w 335"/>
                  <a:gd name="T1" fmla="*/ 52 h 66"/>
                  <a:gd name="T2" fmla="*/ 299 w 335"/>
                  <a:gd name="T3" fmla="*/ 0 h 66"/>
                  <a:gd name="T4" fmla="*/ 335 w 335"/>
                  <a:gd name="T5" fmla="*/ 0 h 66"/>
                  <a:gd name="T6" fmla="*/ 335 w 335"/>
                  <a:gd name="T7" fmla="*/ 66 h 66"/>
                  <a:gd name="T8" fmla="*/ 0 w 335"/>
                  <a:gd name="T9" fmla="*/ 66 h 66"/>
                  <a:gd name="T10" fmla="*/ 0 w 335"/>
                  <a:gd name="T11" fmla="*/ 52 h 66"/>
                </a:gdLst>
                <a:ahLst/>
                <a:cxnLst>
                  <a:cxn ang="0">
                    <a:pos x="T0" y="T1"/>
                  </a:cxn>
                  <a:cxn ang="0">
                    <a:pos x="T2" y="T3"/>
                  </a:cxn>
                  <a:cxn ang="0">
                    <a:pos x="T4" y="T5"/>
                  </a:cxn>
                  <a:cxn ang="0">
                    <a:pos x="T6" y="T7"/>
                  </a:cxn>
                  <a:cxn ang="0">
                    <a:pos x="T8" y="T9"/>
                  </a:cxn>
                  <a:cxn ang="0">
                    <a:pos x="T10" y="T11"/>
                  </a:cxn>
                </a:cxnLst>
                <a:rect l="0" t="0" r="r" b="b"/>
                <a:pathLst>
                  <a:path w="335" h="66">
                    <a:moveTo>
                      <a:pt x="0" y="52"/>
                    </a:moveTo>
                    <a:cubicBezTo>
                      <a:pt x="0" y="52"/>
                      <a:pt x="299" y="65"/>
                      <a:pt x="299" y="0"/>
                    </a:cubicBezTo>
                    <a:cubicBezTo>
                      <a:pt x="335" y="0"/>
                      <a:pt x="335" y="0"/>
                      <a:pt x="335" y="0"/>
                    </a:cubicBezTo>
                    <a:cubicBezTo>
                      <a:pt x="335" y="66"/>
                      <a:pt x="335" y="66"/>
                      <a:pt x="335" y="66"/>
                    </a:cubicBezTo>
                    <a:cubicBezTo>
                      <a:pt x="0" y="66"/>
                      <a:pt x="0" y="66"/>
                      <a:pt x="0" y="66"/>
                    </a:cubicBezTo>
                    <a:lnTo>
                      <a:pt x="0" y="52"/>
                    </a:lnTo>
                    <a:close/>
                  </a:path>
                </a:pathLst>
              </a:custGeom>
              <a:solidFill>
                <a:srgbClr val="0A0A0A">
                  <a:alpha val="10000"/>
                </a:srgbClr>
              </a:solidFill>
              <a:ln>
                <a:noFill/>
              </a:ln>
            </p:spPr>
            <p:txBody>
              <a:bodyPr vert="horz" wrap="square" lIns="91440" tIns="45720" rIns="91440" bIns="45720" numCol="1" anchor="t" anchorCtr="0" compatLnSpc="1"/>
              <a:lstStyle/>
              <a:p>
                <a:endParaRPr lang="zh-CN" altLang="en-US"/>
              </a:p>
            </p:txBody>
          </p:sp>
          <p:sp>
            <p:nvSpPr>
              <p:cNvPr id="677" name="椭圆 676"/>
              <p:cNvSpPr/>
              <p:nvPr/>
            </p:nvSpPr>
            <p:spPr bwMode="auto">
              <a:xfrm>
                <a:off x="4930628" y="4017806"/>
                <a:ext cx="640343" cy="642919"/>
              </a:xfrm>
              <a:prstGeom prst="ellipse">
                <a:avLst/>
              </a:pr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78" name="任意多边形: 形状 677"/>
              <p:cNvSpPr/>
              <p:nvPr/>
            </p:nvSpPr>
            <p:spPr bwMode="auto">
              <a:xfrm>
                <a:off x="5120026" y="4140206"/>
                <a:ext cx="244799" cy="413582"/>
              </a:xfrm>
              <a:custGeom>
                <a:avLst/>
                <a:gdLst>
                  <a:gd name="T0" fmla="*/ 59 w 96"/>
                  <a:gd name="T1" fmla="*/ 137 h 162"/>
                  <a:gd name="T2" fmla="*/ 59 w 96"/>
                  <a:gd name="T3" fmla="*/ 162 h 162"/>
                  <a:gd name="T4" fmla="*/ 38 w 96"/>
                  <a:gd name="T5" fmla="*/ 162 h 162"/>
                  <a:gd name="T6" fmla="*/ 38 w 96"/>
                  <a:gd name="T7" fmla="*/ 137 h 162"/>
                  <a:gd name="T8" fmla="*/ 0 w 96"/>
                  <a:gd name="T9" fmla="*/ 120 h 162"/>
                  <a:gd name="T10" fmla="*/ 11 w 96"/>
                  <a:gd name="T11" fmla="*/ 97 h 162"/>
                  <a:gd name="T12" fmla="*/ 51 w 96"/>
                  <a:gd name="T13" fmla="*/ 114 h 162"/>
                  <a:gd name="T14" fmla="*/ 66 w 96"/>
                  <a:gd name="T15" fmla="*/ 105 h 162"/>
                  <a:gd name="T16" fmla="*/ 7 w 96"/>
                  <a:gd name="T17" fmla="*/ 57 h 162"/>
                  <a:gd name="T18" fmla="*/ 38 w 96"/>
                  <a:gd name="T19" fmla="*/ 24 h 162"/>
                  <a:gd name="T20" fmla="*/ 38 w 96"/>
                  <a:gd name="T21" fmla="*/ 0 h 162"/>
                  <a:gd name="T22" fmla="*/ 59 w 96"/>
                  <a:gd name="T23" fmla="*/ 0 h 162"/>
                  <a:gd name="T24" fmla="*/ 59 w 96"/>
                  <a:gd name="T25" fmla="*/ 23 h 162"/>
                  <a:gd name="T26" fmla="*/ 96 w 96"/>
                  <a:gd name="T27" fmla="*/ 35 h 162"/>
                  <a:gd name="T28" fmla="*/ 85 w 96"/>
                  <a:gd name="T29" fmla="*/ 57 h 162"/>
                  <a:gd name="T30" fmla="*/ 49 w 96"/>
                  <a:gd name="T31" fmla="*/ 46 h 162"/>
                  <a:gd name="T32" fmla="*/ 37 w 96"/>
                  <a:gd name="T33" fmla="*/ 54 h 162"/>
                  <a:gd name="T34" fmla="*/ 96 w 96"/>
                  <a:gd name="T35" fmla="*/ 103 h 162"/>
                  <a:gd name="T36" fmla="*/ 59 w 96"/>
                  <a:gd name="T37" fmla="*/ 137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6" h="162">
                    <a:moveTo>
                      <a:pt x="59" y="137"/>
                    </a:moveTo>
                    <a:cubicBezTo>
                      <a:pt x="59" y="162"/>
                      <a:pt x="59" y="162"/>
                      <a:pt x="59" y="162"/>
                    </a:cubicBezTo>
                    <a:cubicBezTo>
                      <a:pt x="38" y="162"/>
                      <a:pt x="38" y="162"/>
                      <a:pt x="38" y="162"/>
                    </a:cubicBezTo>
                    <a:cubicBezTo>
                      <a:pt x="38" y="137"/>
                      <a:pt x="38" y="137"/>
                      <a:pt x="38" y="137"/>
                    </a:cubicBezTo>
                    <a:cubicBezTo>
                      <a:pt x="24" y="134"/>
                      <a:pt x="10" y="128"/>
                      <a:pt x="0" y="120"/>
                    </a:cubicBezTo>
                    <a:cubicBezTo>
                      <a:pt x="11" y="97"/>
                      <a:pt x="11" y="97"/>
                      <a:pt x="11" y="97"/>
                    </a:cubicBezTo>
                    <a:cubicBezTo>
                      <a:pt x="22" y="108"/>
                      <a:pt x="40" y="114"/>
                      <a:pt x="51" y="114"/>
                    </a:cubicBezTo>
                    <a:cubicBezTo>
                      <a:pt x="60" y="114"/>
                      <a:pt x="66" y="111"/>
                      <a:pt x="66" y="105"/>
                    </a:cubicBezTo>
                    <a:cubicBezTo>
                      <a:pt x="66" y="85"/>
                      <a:pt x="7" y="97"/>
                      <a:pt x="7" y="57"/>
                    </a:cubicBezTo>
                    <a:cubicBezTo>
                      <a:pt x="7" y="39"/>
                      <a:pt x="19" y="27"/>
                      <a:pt x="38" y="24"/>
                    </a:cubicBezTo>
                    <a:cubicBezTo>
                      <a:pt x="38" y="0"/>
                      <a:pt x="38" y="0"/>
                      <a:pt x="38" y="0"/>
                    </a:cubicBezTo>
                    <a:cubicBezTo>
                      <a:pt x="59" y="0"/>
                      <a:pt x="59" y="0"/>
                      <a:pt x="59" y="0"/>
                    </a:cubicBezTo>
                    <a:cubicBezTo>
                      <a:pt x="59" y="23"/>
                      <a:pt x="59" y="23"/>
                      <a:pt x="59" y="23"/>
                    </a:cubicBezTo>
                    <a:cubicBezTo>
                      <a:pt x="73" y="24"/>
                      <a:pt x="86" y="29"/>
                      <a:pt x="96" y="35"/>
                    </a:cubicBezTo>
                    <a:cubicBezTo>
                      <a:pt x="85" y="57"/>
                      <a:pt x="85" y="57"/>
                      <a:pt x="85" y="57"/>
                    </a:cubicBezTo>
                    <a:cubicBezTo>
                      <a:pt x="73" y="51"/>
                      <a:pt x="58" y="46"/>
                      <a:pt x="49" y="46"/>
                    </a:cubicBezTo>
                    <a:cubicBezTo>
                      <a:pt x="42" y="46"/>
                      <a:pt x="37" y="48"/>
                      <a:pt x="37" y="54"/>
                    </a:cubicBezTo>
                    <a:cubicBezTo>
                      <a:pt x="37" y="73"/>
                      <a:pt x="96" y="62"/>
                      <a:pt x="96" y="103"/>
                    </a:cubicBezTo>
                    <a:cubicBezTo>
                      <a:pt x="96" y="123"/>
                      <a:pt x="80" y="135"/>
                      <a:pt x="59" y="137"/>
                    </a:cubicBezTo>
                    <a:close/>
                  </a:path>
                </a:pathLst>
              </a:custGeom>
              <a:solidFill>
                <a:srgbClr val="FFC56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79" name="任意多边形: 形状 678"/>
              <p:cNvSpPr/>
              <p:nvPr/>
            </p:nvSpPr>
            <p:spPr bwMode="auto">
              <a:xfrm>
                <a:off x="4750250" y="3954674"/>
                <a:ext cx="2665731" cy="1339952"/>
              </a:xfrm>
              <a:custGeom>
                <a:avLst/>
                <a:gdLst>
                  <a:gd name="T0" fmla="*/ 642 w 1046"/>
                  <a:gd name="T1" fmla="*/ 0 h 526"/>
                  <a:gd name="T2" fmla="*/ 523 w 1046"/>
                  <a:gd name="T3" fmla="*/ 0 h 526"/>
                  <a:gd name="T4" fmla="*/ 404 w 1046"/>
                  <a:gd name="T5" fmla="*/ 0 h 526"/>
                  <a:gd name="T6" fmla="*/ 523 w 1046"/>
                  <a:gd name="T7" fmla="*/ 526 h 526"/>
                  <a:gd name="T8" fmla="*/ 642 w 1046"/>
                  <a:gd name="T9" fmla="*/ 0 h 526"/>
                </a:gdLst>
                <a:ahLst/>
                <a:cxnLst>
                  <a:cxn ang="0">
                    <a:pos x="T0" y="T1"/>
                  </a:cxn>
                  <a:cxn ang="0">
                    <a:pos x="T2" y="T3"/>
                  </a:cxn>
                  <a:cxn ang="0">
                    <a:pos x="T4" y="T5"/>
                  </a:cxn>
                  <a:cxn ang="0">
                    <a:pos x="T6" y="T7"/>
                  </a:cxn>
                  <a:cxn ang="0">
                    <a:pos x="T8" y="T9"/>
                  </a:cxn>
                </a:cxnLst>
                <a:rect l="0" t="0" r="r" b="b"/>
                <a:pathLst>
                  <a:path w="1046" h="526">
                    <a:moveTo>
                      <a:pt x="642" y="0"/>
                    </a:moveTo>
                    <a:cubicBezTo>
                      <a:pt x="523" y="0"/>
                      <a:pt x="523" y="0"/>
                      <a:pt x="523" y="0"/>
                    </a:cubicBezTo>
                    <a:cubicBezTo>
                      <a:pt x="404" y="0"/>
                      <a:pt x="404" y="0"/>
                      <a:pt x="404" y="0"/>
                    </a:cubicBezTo>
                    <a:cubicBezTo>
                      <a:pt x="404" y="0"/>
                      <a:pt x="0" y="526"/>
                      <a:pt x="523" y="526"/>
                    </a:cubicBezTo>
                    <a:cubicBezTo>
                      <a:pt x="1046" y="526"/>
                      <a:pt x="642" y="0"/>
                      <a:pt x="642" y="0"/>
                    </a:cubicBezTo>
                    <a:close/>
                  </a:path>
                </a:pathLst>
              </a:custGeom>
              <a:solidFill>
                <a:srgbClr val="DD5C5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80" name="任意多边形: 形状 679"/>
              <p:cNvSpPr/>
              <p:nvPr/>
            </p:nvSpPr>
            <p:spPr bwMode="auto">
              <a:xfrm>
                <a:off x="5558087" y="3515324"/>
                <a:ext cx="1052635" cy="439350"/>
              </a:xfrm>
              <a:custGeom>
                <a:avLst/>
                <a:gdLst>
                  <a:gd name="T0" fmla="*/ 645 w 817"/>
                  <a:gd name="T1" fmla="*/ 48 h 341"/>
                  <a:gd name="T2" fmla="*/ 526 w 817"/>
                  <a:gd name="T3" fmla="*/ 0 h 341"/>
                  <a:gd name="T4" fmla="*/ 408 w 817"/>
                  <a:gd name="T5" fmla="*/ 48 h 341"/>
                  <a:gd name="T6" fmla="*/ 289 w 817"/>
                  <a:gd name="T7" fmla="*/ 0 h 341"/>
                  <a:gd name="T8" fmla="*/ 170 w 817"/>
                  <a:gd name="T9" fmla="*/ 48 h 341"/>
                  <a:gd name="T10" fmla="*/ 0 w 817"/>
                  <a:gd name="T11" fmla="*/ 0 h 341"/>
                  <a:gd name="T12" fmla="*/ 51 w 817"/>
                  <a:gd name="T13" fmla="*/ 89 h 341"/>
                  <a:gd name="T14" fmla="*/ 172 w 817"/>
                  <a:gd name="T15" fmla="*/ 341 h 341"/>
                  <a:gd name="T16" fmla="*/ 645 w 817"/>
                  <a:gd name="T17" fmla="*/ 341 h 341"/>
                  <a:gd name="T18" fmla="*/ 766 w 817"/>
                  <a:gd name="T19" fmla="*/ 89 h 341"/>
                  <a:gd name="T20" fmla="*/ 817 w 817"/>
                  <a:gd name="T21" fmla="*/ 0 h 341"/>
                  <a:gd name="T22" fmla="*/ 645 w 817"/>
                  <a:gd name="T23" fmla="*/ 48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17" h="341">
                    <a:moveTo>
                      <a:pt x="645" y="48"/>
                    </a:moveTo>
                    <a:lnTo>
                      <a:pt x="526" y="0"/>
                    </a:lnTo>
                    <a:lnTo>
                      <a:pt x="408" y="48"/>
                    </a:lnTo>
                    <a:lnTo>
                      <a:pt x="289" y="0"/>
                    </a:lnTo>
                    <a:lnTo>
                      <a:pt x="170" y="48"/>
                    </a:lnTo>
                    <a:lnTo>
                      <a:pt x="0" y="0"/>
                    </a:lnTo>
                    <a:lnTo>
                      <a:pt x="51" y="89"/>
                    </a:lnTo>
                    <a:lnTo>
                      <a:pt x="172" y="341"/>
                    </a:lnTo>
                    <a:lnTo>
                      <a:pt x="645" y="341"/>
                    </a:lnTo>
                    <a:lnTo>
                      <a:pt x="766" y="89"/>
                    </a:lnTo>
                    <a:lnTo>
                      <a:pt x="817" y="0"/>
                    </a:lnTo>
                    <a:lnTo>
                      <a:pt x="645" y="48"/>
                    </a:lnTo>
                    <a:close/>
                  </a:path>
                </a:pathLst>
              </a:custGeom>
              <a:solidFill>
                <a:srgbClr val="DD5C5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81" name="矩形 680"/>
              <p:cNvSpPr/>
              <p:nvPr/>
            </p:nvSpPr>
            <p:spPr bwMode="auto">
              <a:xfrm>
                <a:off x="5751349" y="3897984"/>
                <a:ext cx="668688" cy="99208"/>
              </a:xfrm>
              <a:prstGeom prst="rect">
                <a:avLst/>
              </a:prstGeom>
              <a:solidFill>
                <a:srgbClr val="FFC56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682" name="任意多边形: 形状 681"/>
              <p:cNvSpPr/>
              <p:nvPr/>
            </p:nvSpPr>
            <p:spPr bwMode="auto">
              <a:xfrm>
                <a:off x="5920131" y="4079650"/>
                <a:ext cx="1244609" cy="1214976"/>
              </a:xfrm>
              <a:custGeom>
                <a:avLst/>
                <a:gdLst>
                  <a:gd name="T0" fmla="*/ 218 w 488"/>
                  <a:gd name="T1" fmla="*/ 0 h 477"/>
                  <a:gd name="T2" fmla="*/ 0 w 488"/>
                  <a:gd name="T3" fmla="*/ 474 h 477"/>
                  <a:gd name="T4" fmla="*/ 0 w 488"/>
                  <a:gd name="T5" fmla="*/ 474 h 477"/>
                  <a:gd name="T6" fmla="*/ 64 w 488"/>
                  <a:gd name="T7" fmla="*/ 477 h 477"/>
                  <a:gd name="T8" fmla="*/ 218 w 488"/>
                  <a:gd name="T9" fmla="*/ 0 h 477"/>
                </a:gdLst>
                <a:ahLst/>
                <a:cxnLst>
                  <a:cxn ang="0">
                    <a:pos x="T0" y="T1"/>
                  </a:cxn>
                  <a:cxn ang="0">
                    <a:pos x="T2" y="T3"/>
                  </a:cxn>
                  <a:cxn ang="0">
                    <a:pos x="T4" y="T5"/>
                  </a:cxn>
                  <a:cxn ang="0">
                    <a:pos x="T6" y="T7"/>
                  </a:cxn>
                  <a:cxn ang="0">
                    <a:pos x="T8" y="T9"/>
                  </a:cxn>
                </a:cxnLst>
                <a:rect l="0" t="0" r="r" b="b"/>
                <a:pathLst>
                  <a:path w="488" h="477">
                    <a:moveTo>
                      <a:pt x="218" y="0"/>
                    </a:moveTo>
                    <a:cubicBezTo>
                      <a:pt x="384" y="411"/>
                      <a:pt x="0" y="474"/>
                      <a:pt x="0" y="474"/>
                    </a:cubicBezTo>
                    <a:cubicBezTo>
                      <a:pt x="0" y="474"/>
                      <a:pt x="0" y="474"/>
                      <a:pt x="0" y="474"/>
                    </a:cubicBezTo>
                    <a:cubicBezTo>
                      <a:pt x="20" y="476"/>
                      <a:pt x="41" y="477"/>
                      <a:pt x="64" y="477"/>
                    </a:cubicBezTo>
                    <a:cubicBezTo>
                      <a:pt x="488" y="477"/>
                      <a:pt x="303" y="131"/>
                      <a:pt x="218" y="0"/>
                    </a:cubicBezTo>
                    <a:close/>
                  </a:path>
                </a:pathLst>
              </a:custGeom>
              <a:solidFill>
                <a:srgbClr val="0A0A0A">
                  <a:alpha val="10000"/>
                </a:srgbClr>
              </a:solidFill>
              <a:ln>
                <a:noFill/>
              </a:ln>
            </p:spPr>
            <p:txBody>
              <a:bodyPr vert="horz" wrap="square" lIns="91440" tIns="45720" rIns="91440" bIns="45720" numCol="1" anchor="t" anchorCtr="0" compatLnSpc="1"/>
              <a:lstStyle/>
              <a:p>
                <a:endParaRPr lang="zh-CN" altLang="en-US"/>
              </a:p>
            </p:txBody>
          </p:sp>
          <p:sp>
            <p:nvSpPr>
              <p:cNvPr id="683" name="任意多边形: 形状 682"/>
              <p:cNvSpPr/>
              <p:nvPr/>
            </p:nvSpPr>
            <p:spPr bwMode="auto">
              <a:xfrm>
                <a:off x="5844115" y="4236837"/>
                <a:ext cx="438061" cy="736973"/>
              </a:xfrm>
              <a:custGeom>
                <a:avLst/>
                <a:gdLst>
                  <a:gd name="T0" fmla="*/ 106 w 172"/>
                  <a:gd name="T1" fmla="*/ 246 h 289"/>
                  <a:gd name="T2" fmla="*/ 106 w 172"/>
                  <a:gd name="T3" fmla="*/ 289 h 289"/>
                  <a:gd name="T4" fmla="*/ 69 w 172"/>
                  <a:gd name="T5" fmla="*/ 289 h 289"/>
                  <a:gd name="T6" fmla="*/ 69 w 172"/>
                  <a:gd name="T7" fmla="*/ 245 h 289"/>
                  <a:gd name="T8" fmla="*/ 0 w 172"/>
                  <a:gd name="T9" fmla="*/ 214 h 289"/>
                  <a:gd name="T10" fmla="*/ 20 w 172"/>
                  <a:gd name="T11" fmla="*/ 175 h 289"/>
                  <a:gd name="T12" fmla="*/ 92 w 172"/>
                  <a:gd name="T13" fmla="*/ 205 h 289"/>
                  <a:gd name="T14" fmla="*/ 118 w 172"/>
                  <a:gd name="T15" fmla="*/ 188 h 289"/>
                  <a:gd name="T16" fmla="*/ 12 w 172"/>
                  <a:gd name="T17" fmla="*/ 102 h 289"/>
                  <a:gd name="T18" fmla="*/ 69 w 172"/>
                  <a:gd name="T19" fmla="*/ 43 h 289"/>
                  <a:gd name="T20" fmla="*/ 69 w 172"/>
                  <a:gd name="T21" fmla="*/ 0 h 289"/>
                  <a:gd name="T22" fmla="*/ 106 w 172"/>
                  <a:gd name="T23" fmla="*/ 0 h 289"/>
                  <a:gd name="T24" fmla="*/ 106 w 172"/>
                  <a:gd name="T25" fmla="*/ 42 h 289"/>
                  <a:gd name="T26" fmla="*/ 171 w 172"/>
                  <a:gd name="T27" fmla="*/ 63 h 289"/>
                  <a:gd name="T28" fmla="*/ 152 w 172"/>
                  <a:gd name="T29" fmla="*/ 104 h 289"/>
                  <a:gd name="T30" fmla="*/ 88 w 172"/>
                  <a:gd name="T31" fmla="*/ 83 h 289"/>
                  <a:gd name="T32" fmla="*/ 66 w 172"/>
                  <a:gd name="T33" fmla="*/ 97 h 289"/>
                  <a:gd name="T34" fmla="*/ 172 w 172"/>
                  <a:gd name="T35" fmla="*/ 185 h 289"/>
                  <a:gd name="T36" fmla="*/ 106 w 172"/>
                  <a:gd name="T37" fmla="*/ 246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2" h="289">
                    <a:moveTo>
                      <a:pt x="106" y="246"/>
                    </a:moveTo>
                    <a:cubicBezTo>
                      <a:pt x="106" y="289"/>
                      <a:pt x="106" y="289"/>
                      <a:pt x="106" y="289"/>
                    </a:cubicBezTo>
                    <a:cubicBezTo>
                      <a:pt x="69" y="289"/>
                      <a:pt x="69" y="289"/>
                      <a:pt x="69" y="289"/>
                    </a:cubicBezTo>
                    <a:cubicBezTo>
                      <a:pt x="69" y="245"/>
                      <a:pt x="69" y="245"/>
                      <a:pt x="69" y="245"/>
                    </a:cubicBezTo>
                    <a:cubicBezTo>
                      <a:pt x="43" y="241"/>
                      <a:pt x="18" y="230"/>
                      <a:pt x="0" y="214"/>
                    </a:cubicBezTo>
                    <a:cubicBezTo>
                      <a:pt x="20" y="175"/>
                      <a:pt x="20" y="175"/>
                      <a:pt x="20" y="175"/>
                    </a:cubicBezTo>
                    <a:cubicBezTo>
                      <a:pt x="40" y="193"/>
                      <a:pt x="71" y="205"/>
                      <a:pt x="92" y="205"/>
                    </a:cubicBezTo>
                    <a:cubicBezTo>
                      <a:pt x="108" y="205"/>
                      <a:pt x="118" y="199"/>
                      <a:pt x="118" y="188"/>
                    </a:cubicBezTo>
                    <a:cubicBezTo>
                      <a:pt x="118" y="152"/>
                      <a:pt x="12" y="173"/>
                      <a:pt x="12" y="102"/>
                    </a:cubicBezTo>
                    <a:cubicBezTo>
                      <a:pt x="12" y="71"/>
                      <a:pt x="34" y="50"/>
                      <a:pt x="69" y="43"/>
                    </a:cubicBezTo>
                    <a:cubicBezTo>
                      <a:pt x="69" y="0"/>
                      <a:pt x="69" y="0"/>
                      <a:pt x="69" y="0"/>
                    </a:cubicBezTo>
                    <a:cubicBezTo>
                      <a:pt x="106" y="0"/>
                      <a:pt x="106" y="0"/>
                      <a:pt x="106" y="0"/>
                    </a:cubicBezTo>
                    <a:cubicBezTo>
                      <a:pt x="106" y="42"/>
                      <a:pt x="106" y="42"/>
                      <a:pt x="106" y="42"/>
                    </a:cubicBezTo>
                    <a:cubicBezTo>
                      <a:pt x="130" y="44"/>
                      <a:pt x="154" y="52"/>
                      <a:pt x="171" y="63"/>
                    </a:cubicBezTo>
                    <a:cubicBezTo>
                      <a:pt x="152" y="104"/>
                      <a:pt x="152" y="104"/>
                      <a:pt x="152" y="104"/>
                    </a:cubicBezTo>
                    <a:cubicBezTo>
                      <a:pt x="131" y="91"/>
                      <a:pt x="104" y="83"/>
                      <a:pt x="88" y="83"/>
                    </a:cubicBezTo>
                    <a:cubicBezTo>
                      <a:pt x="75" y="83"/>
                      <a:pt x="66" y="87"/>
                      <a:pt x="66" y="97"/>
                    </a:cubicBezTo>
                    <a:cubicBezTo>
                      <a:pt x="66" y="132"/>
                      <a:pt x="172" y="112"/>
                      <a:pt x="172" y="185"/>
                    </a:cubicBezTo>
                    <a:cubicBezTo>
                      <a:pt x="172" y="221"/>
                      <a:pt x="144" y="242"/>
                      <a:pt x="106" y="246"/>
                    </a:cubicBezTo>
                    <a:close/>
                  </a:path>
                </a:pathLst>
              </a:custGeom>
              <a:solidFill>
                <a:srgbClr val="FFC56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84" name="矩形 683"/>
              <p:cNvSpPr/>
              <p:nvPr/>
            </p:nvSpPr>
            <p:spPr bwMode="auto">
              <a:xfrm>
                <a:off x="6485746" y="5067865"/>
                <a:ext cx="856796" cy="168783"/>
              </a:xfrm>
              <a:prstGeom prst="rect">
                <a:avLst/>
              </a:prstGeom>
              <a:solidFill>
                <a:srgbClr val="FFC56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685" name="任意多边形: 形状 684"/>
              <p:cNvSpPr/>
              <p:nvPr/>
            </p:nvSpPr>
            <p:spPr bwMode="auto">
              <a:xfrm>
                <a:off x="6511514" y="5085903"/>
                <a:ext cx="28345" cy="132707"/>
              </a:xfrm>
              <a:custGeom>
                <a:avLst/>
                <a:gdLst>
                  <a:gd name="T0" fmla="*/ 11 w 11"/>
                  <a:gd name="T1" fmla="*/ 46 h 52"/>
                  <a:gd name="T2" fmla="*/ 6 w 11"/>
                  <a:gd name="T3" fmla="*/ 52 h 52"/>
                  <a:gd name="T4" fmla="*/ 6 w 11"/>
                  <a:gd name="T5" fmla="*/ 52 h 52"/>
                  <a:gd name="T6" fmla="*/ 0 w 11"/>
                  <a:gd name="T7" fmla="*/ 46 h 52"/>
                  <a:gd name="T8" fmla="*/ 0 w 11"/>
                  <a:gd name="T9" fmla="*/ 5 h 52"/>
                  <a:gd name="T10" fmla="*/ 6 w 11"/>
                  <a:gd name="T11" fmla="*/ 0 h 52"/>
                  <a:gd name="T12" fmla="*/ 6 w 11"/>
                  <a:gd name="T13" fmla="*/ 0 h 52"/>
                  <a:gd name="T14" fmla="*/ 11 w 11"/>
                  <a:gd name="T15" fmla="*/ 5 h 52"/>
                  <a:gd name="T16" fmla="*/ 11 w 11"/>
                  <a:gd name="T17" fmla="*/ 4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52">
                    <a:moveTo>
                      <a:pt x="11" y="46"/>
                    </a:moveTo>
                    <a:cubicBezTo>
                      <a:pt x="11" y="49"/>
                      <a:pt x="9" y="52"/>
                      <a:pt x="6" y="52"/>
                    </a:cubicBezTo>
                    <a:cubicBezTo>
                      <a:pt x="6" y="52"/>
                      <a:pt x="6" y="52"/>
                      <a:pt x="6" y="52"/>
                    </a:cubicBezTo>
                    <a:cubicBezTo>
                      <a:pt x="3" y="52"/>
                      <a:pt x="0" y="49"/>
                      <a:pt x="0" y="46"/>
                    </a:cubicBezTo>
                    <a:cubicBezTo>
                      <a:pt x="0" y="5"/>
                      <a:pt x="0" y="5"/>
                      <a:pt x="0" y="5"/>
                    </a:cubicBezTo>
                    <a:cubicBezTo>
                      <a:pt x="0" y="2"/>
                      <a:pt x="3" y="0"/>
                      <a:pt x="6" y="0"/>
                    </a:cubicBezTo>
                    <a:cubicBezTo>
                      <a:pt x="6" y="0"/>
                      <a:pt x="6" y="0"/>
                      <a:pt x="6" y="0"/>
                    </a:cubicBezTo>
                    <a:cubicBezTo>
                      <a:pt x="9" y="0"/>
                      <a:pt x="11" y="2"/>
                      <a:pt x="11" y="5"/>
                    </a:cubicBezTo>
                    <a:lnTo>
                      <a:pt x="11" y="46"/>
                    </a:lnTo>
                    <a:close/>
                  </a:path>
                </a:pathLst>
              </a:cu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86" name="任意多边形: 形状 685"/>
              <p:cNvSpPr/>
              <p:nvPr/>
            </p:nvSpPr>
            <p:spPr bwMode="auto">
              <a:xfrm>
                <a:off x="6623606" y="5085903"/>
                <a:ext cx="28345" cy="132707"/>
              </a:xfrm>
              <a:custGeom>
                <a:avLst/>
                <a:gdLst>
                  <a:gd name="T0" fmla="*/ 11 w 11"/>
                  <a:gd name="T1" fmla="*/ 46 h 52"/>
                  <a:gd name="T2" fmla="*/ 5 w 11"/>
                  <a:gd name="T3" fmla="*/ 52 h 52"/>
                  <a:gd name="T4" fmla="*/ 5 w 11"/>
                  <a:gd name="T5" fmla="*/ 52 h 52"/>
                  <a:gd name="T6" fmla="*/ 0 w 11"/>
                  <a:gd name="T7" fmla="*/ 46 h 52"/>
                  <a:gd name="T8" fmla="*/ 0 w 11"/>
                  <a:gd name="T9" fmla="*/ 5 h 52"/>
                  <a:gd name="T10" fmla="*/ 5 w 11"/>
                  <a:gd name="T11" fmla="*/ 0 h 52"/>
                  <a:gd name="T12" fmla="*/ 5 w 11"/>
                  <a:gd name="T13" fmla="*/ 0 h 52"/>
                  <a:gd name="T14" fmla="*/ 11 w 11"/>
                  <a:gd name="T15" fmla="*/ 5 h 52"/>
                  <a:gd name="T16" fmla="*/ 11 w 11"/>
                  <a:gd name="T17" fmla="*/ 4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52">
                    <a:moveTo>
                      <a:pt x="11" y="46"/>
                    </a:moveTo>
                    <a:cubicBezTo>
                      <a:pt x="11" y="49"/>
                      <a:pt x="8" y="52"/>
                      <a:pt x="5" y="52"/>
                    </a:cubicBezTo>
                    <a:cubicBezTo>
                      <a:pt x="5" y="52"/>
                      <a:pt x="5" y="52"/>
                      <a:pt x="5" y="52"/>
                    </a:cubicBezTo>
                    <a:cubicBezTo>
                      <a:pt x="2" y="52"/>
                      <a:pt x="0" y="49"/>
                      <a:pt x="0" y="46"/>
                    </a:cubicBezTo>
                    <a:cubicBezTo>
                      <a:pt x="0" y="5"/>
                      <a:pt x="0" y="5"/>
                      <a:pt x="0" y="5"/>
                    </a:cubicBezTo>
                    <a:cubicBezTo>
                      <a:pt x="0" y="2"/>
                      <a:pt x="2" y="0"/>
                      <a:pt x="5" y="0"/>
                    </a:cubicBezTo>
                    <a:cubicBezTo>
                      <a:pt x="5" y="0"/>
                      <a:pt x="5" y="0"/>
                      <a:pt x="5" y="0"/>
                    </a:cubicBezTo>
                    <a:cubicBezTo>
                      <a:pt x="8" y="0"/>
                      <a:pt x="11" y="2"/>
                      <a:pt x="11" y="5"/>
                    </a:cubicBezTo>
                    <a:lnTo>
                      <a:pt x="11" y="46"/>
                    </a:lnTo>
                    <a:close/>
                  </a:path>
                </a:pathLst>
              </a:cu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87" name="任意多边形: 形状 686"/>
              <p:cNvSpPr/>
              <p:nvPr/>
            </p:nvSpPr>
            <p:spPr bwMode="auto">
              <a:xfrm>
                <a:off x="6733121" y="5085903"/>
                <a:ext cx="28345" cy="132707"/>
              </a:xfrm>
              <a:custGeom>
                <a:avLst/>
                <a:gdLst>
                  <a:gd name="T0" fmla="*/ 11 w 11"/>
                  <a:gd name="T1" fmla="*/ 46 h 52"/>
                  <a:gd name="T2" fmla="*/ 6 w 11"/>
                  <a:gd name="T3" fmla="*/ 52 h 52"/>
                  <a:gd name="T4" fmla="*/ 6 w 11"/>
                  <a:gd name="T5" fmla="*/ 52 h 52"/>
                  <a:gd name="T6" fmla="*/ 0 w 11"/>
                  <a:gd name="T7" fmla="*/ 46 h 52"/>
                  <a:gd name="T8" fmla="*/ 0 w 11"/>
                  <a:gd name="T9" fmla="*/ 5 h 52"/>
                  <a:gd name="T10" fmla="*/ 6 w 11"/>
                  <a:gd name="T11" fmla="*/ 0 h 52"/>
                  <a:gd name="T12" fmla="*/ 6 w 11"/>
                  <a:gd name="T13" fmla="*/ 0 h 52"/>
                  <a:gd name="T14" fmla="*/ 11 w 11"/>
                  <a:gd name="T15" fmla="*/ 5 h 52"/>
                  <a:gd name="T16" fmla="*/ 11 w 11"/>
                  <a:gd name="T17" fmla="*/ 4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52">
                    <a:moveTo>
                      <a:pt x="11" y="46"/>
                    </a:moveTo>
                    <a:cubicBezTo>
                      <a:pt x="11" y="49"/>
                      <a:pt x="9" y="52"/>
                      <a:pt x="6" y="52"/>
                    </a:cubicBezTo>
                    <a:cubicBezTo>
                      <a:pt x="6" y="52"/>
                      <a:pt x="6" y="52"/>
                      <a:pt x="6" y="52"/>
                    </a:cubicBezTo>
                    <a:cubicBezTo>
                      <a:pt x="3" y="52"/>
                      <a:pt x="0" y="49"/>
                      <a:pt x="0" y="46"/>
                    </a:cubicBezTo>
                    <a:cubicBezTo>
                      <a:pt x="0" y="5"/>
                      <a:pt x="0" y="5"/>
                      <a:pt x="0" y="5"/>
                    </a:cubicBezTo>
                    <a:cubicBezTo>
                      <a:pt x="0" y="2"/>
                      <a:pt x="3" y="0"/>
                      <a:pt x="6" y="0"/>
                    </a:cubicBezTo>
                    <a:cubicBezTo>
                      <a:pt x="6" y="0"/>
                      <a:pt x="6" y="0"/>
                      <a:pt x="6" y="0"/>
                    </a:cubicBezTo>
                    <a:cubicBezTo>
                      <a:pt x="9" y="0"/>
                      <a:pt x="11" y="2"/>
                      <a:pt x="11" y="5"/>
                    </a:cubicBezTo>
                    <a:lnTo>
                      <a:pt x="11" y="46"/>
                    </a:lnTo>
                    <a:close/>
                  </a:path>
                </a:pathLst>
              </a:cu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88" name="任意多边形: 形状 687"/>
              <p:cNvSpPr/>
              <p:nvPr/>
            </p:nvSpPr>
            <p:spPr bwMode="auto">
              <a:xfrm>
                <a:off x="6845213" y="5085903"/>
                <a:ext cx="28345" cy="132707"/>
              </a:xfrm>
              <a:custGeom>
                <a:avLst/>
                <a:gdLst>
                  <a:gd name="T0" fmla="*/ 11 w 11"/>
                  <a:gd name="T1" fmla="*/ 46 h 52"/>
                  <a:gd name="T2" fmla="*/ 5 w 11"/>
                  <a:gd name="T3" fmla="*/ 52 h 52"/>
                  <a:gd name="T4" fmla="*/ 5 w 11"/>
                  <a:gd name="T5" fmla="*/ 52 h 52"/>
                  <a:gd name="T6" fmla="*/ 0 w 11"/>
                  <a:gd name="T7" fmla="*/ 46 h 52"/>
                  <a:gd name="T8" fmla="*/ 0 w 11"/>
                  <a:gd name="T9" fmla="*/ 5 h 52"/>
                  <a:gd name="T10" fmla="*/ 5 w 11"/>
                  <a:gd name="T11" fmla="*/ 0 h 52"/>
                  <a:gd name="T12" fmla="*/ 5 w 11"/>
                  <a:gd name="T13" fmla="*/ 0 h 52"/>
                  <a:gd name="T14" fmla="*/ 11 w 11"/>
                  <a:gd name="T15" fmla="*/ 5 h 52"/>
                  <a:gd name="T16" fmla="*/ 11 w 11"/>
                  <a:gd name="T17" fmla="*/ 4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52">
                    <a:moveTo>
                      <a:pt x="11" y="46"/>
                    </a:moveTo>
                    <a:cubicBezTo>
                      <a:pt x="11" y="49"/>
                      <a:pt x="8" y="52"/>
                      <a:pt x="5" y="52"/>
                    </a:cubicBezTo>
                    <a:cubicBezTo>
                      <a:pt x="5" y="52"/>
                      <a:pt x="5" y="52"/>
                      <a:pt x="5" y="52"/>
                    </a:cubicBezTo>
                    <a:cubicBezTo>
                      <a:pt x="2" y="52"/>
                      <a:pt x="0" y="49"/>
                      <a:pt x="0" y="46"/>
                    </a:cubicBezTo>
                    <a:cubicBezTo>
                      <a:pt x="0" y="5"/>
                      <a:pt x="0" y="5"/>
                      <a:pt x="0" y="5"/>
                    </a:cubicBezTo>
                    <a:cubicBezTo>
                      <a:pt x="0" y="2"/>
                      <a:pt x="2" y="0"/>
                      <a:pt x="5" y="0"/>
                    </a:cubicBezTo>
                    <a:cubicBezTo>
                      <a:pt x="5" y="0"/>
                      <a:pt x="5" y="0"/>
                      <a:pt x="5" y="0"/>
                    </a:cubicBezTo>
                    <a:cubicBezTo>
                      <a:pt x="8" y="0"/>
                      <a:pt x="11" y="2"/>
                      <a:pt x="11" y="5"/>
                    </a:cubicBezTo>
                    <a:lnTo>
                      <a:pt x="11" y="46"/>
                    </a:lnTo>
                    <a:close/>
                  </a:path>
                </a:pathLst>
              </a:cu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89" name="任意多边形: 形状 688"/>
              <p:cNvSpPr/>
              <p:nvPr/>
            </p:nvSpPr>
            <p:spPr bwMode="auto">
              <a:xfrm>
                <a:off x="6954729" y="5085903"/>
                <a:ext cx="28345" cy="132707"/>
              </a:xfrm>
              <a:custGeom>
                <a:avLst/>
                <a:gdLst>
                  <a:gd name="T0" fmla="*/ 11 w 11"/>
                  <a:gd name="T1" fmla="*/ 46 h 52"/>
                  <a:gd name="T2" fmla="*/ 6 w 11"/>
                  <a:gd name="T3" fmla="*/ 52 h 52"/>
                  <a:gd name="T4" fmla="*/ 6 w 11"/>
                  <a:gd name="T5" fmla="*/ 52 h 52"/>
                  <a:gd name="T6" fmla="*/ 0 w 11"/>
                  <a:gd name="T7" fmla="*/ 46 h 52"/>
                  <a:gd name="T8" fmla="*/ 0 w 11"/>
                  <a:gd name="T9" fmla="*/ 5 h 52"/>
                  <a:gd name="T10" fmla="*/ 6 w 11"/>
                  <a:gd name="T11" fmla="*/ 0 h 52"/>
                  <a:gd name="T12" fmla="*/ 6 w 11"/>
                  <a:gd name="T13" fmla="*/ 0 h 52"/>
                  <a:gd name="T14" fmla="*/ 11 w 11"/>
                  <a:gd name="T15" fmla="*/ 5 h 52"/>
                  <a:gd name="T16" fmla="*/ 11 w 11"/>
                  <a:gd name="T17" fmla="*/ 4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52">
                    <a:moveTo>
                      <a:pt x="11" y="46"/>
                    </a:moveTo>
                    <a:cubicBezTo>
                      <a:pt x="11" y="49"/>
                      <a:pt x="9" y="52"/>
                      <a:pt x="6" y="52"/>
                    </a:cubicBezTo>
                    <a:cubicBezTo>
                      <a:pt x="6" y="52"/>
                      <a:pt x="6" y="52"/>
                      <a:pt x="6" y="52"/>
                    </a:cubicBezTo>
                    <a:cubicBezTo>
                      <a:pt x="3" y="52"/>
                      <a:pt x="0" y="49"/>
                      <a:pt x="0" y="46"/>
                    </a:cubicBezTo>
                    <a:cubicBezTo>
                      <a:pt x="0" y="5"/>
                      <a:pt x="0" y="5"/>
                      <a:pt x="0" y="5"/>
                    </a:cubicBezTo>
                    <a:cubicBezTo>
                      <a:pt x="0" y="2"/>
                      <a:pt x="3" y="0"/>
                      <a:pt x="6" y="0"/>
                    </a:cubicBezTo>
                    <a:cubicBezTo>
                      <a:pt x="6" y="0"/>
                      <a:pt x="6" y="0"/>
                      <a:pt x="6" y="0"/>
                    </a:cubicBezTo>
                    <a:cubicBezTo>
                      <a:pt x="9" y="0"/>
                      <a:pt x="11" y="2"/>
                      <a:pt x="11" y="5"/>
                    </a:cubicBezTo>
                    <a:lnTo>
                      <a:pt x="11" y="46"/>
                    </a:lnTo>
                    <a:close/>
                  </a:path>
                </a:pathLst>
              </a:cu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90" name="任意多边形: 形状 689"/>
              <p:cNvSpPr/>
              <p:nvPr/>
            </p:nvSpPr>
            <p:spPr bwMode="auto">
              <a:xfrm>
                <a:off x="7066820" y="5085903"/>
                <a:ext cx="28345" cy="132707"/>
              </a:xfrm>
              <a:custGeom>
                <a:avLst/>
                <a:gdLst>
                  <a:gd name="T0" fmla="*/ 11 w 11"/>
                  <a:gd name="T1" fmla="*/ 46 h 52"/>
                  <a:gd name="T2" fmla="*/ 5 w 11"/>
                  <a:gd name="T3" fmla="*/ 52 h 52"/>
                  <a:gd name="T4" fmla="*/ 5 w 11"/>
                  <a:gd name="T5" fmla="*/ 52 h 52"/>
                  <a:gd name="T6" fmla="*/ 0 w 11"/>
                  <a:gd name="T7" fmla="*/ 46 h 52"/>
                  <a:gd name="T8" fmla="*/ 0 w 11"/>
                  <a:gd name="T9" fmla="*/ 5 h 52"/>
                  <a:gd name="T10" fmla="*/ 5 w 11"/>
                  <a:gd name="T11" fmla="*/ 0 h 52"/>
                  <a:gd name="T12" fmla="*/ 5 w 11"/>
                  <a:gd name="T13" fmla="*/ 0 h 52"/>
                  <a:gd name="T14" fmla="*/ 11 w 11"/>
                  <a:gd name="T15" fmla="*/ 5 h 52"/>
                  <a:gd name="T16" fmla="*/ 11 w 11"/>
                  <a:gd name="T17" fmla="*/ 4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52">
                    <a:moveTo>
                      <a:pt x="11" y="46"/>
                    </a:moveTo>
                    <a:cubicBezTo>
                      <a:pt x="11" y="49"/>
                      <a:pt x="8" y="52"/>
                      <a:pt x="5" y="52"/>
                    </a:cubicBezTo>
                    <a:cubicBezTo>
                      <a:pt x="5" y="52"/>
                      <a:pt x="5" y="52"/>
                      <a:pt x="5" y="52"/>
                    </a:cubicBezTo>
                    <a:cubicBezTo>
                      <a:pt x="2" y="52"/>
                      <a:pt x="0" y="49"/>
                      <a:pt x="0" y="46"/>
                    </a:cubicBezTo>
                    <a:cubicBezTo>
                      <a:pt x="0" y="5"/>
                      <a:pt x="0" y="5"/>
                      <a:pt x="0" y="5"/>
                    </a:cubicBezTo>
                    <a:cubicBezTo>
                      <a:pt x="0" y="2"/>
                      <a:pt x="2" y="0"/>
                      <a:pt x="5" y="0"/>
                    </a:cubicBezTo>
                    <a:cubicBezTo>
                      <a:pt x="5" y="0"/>
                      <a:pt x="5" y="0"/>
                      <a:pt x="5" y="0"/>
                    </a:cubicBezTo>
                    <a:cubicBezTo>
                      <a:pt x="8" y="0"/>
                      <a:pt x="11" y="2"/>
                      <a:pt x="11" y="5"/>
                    </a:cubicBezTo>
                    <a:lnTo>
                      <a:pt x="11" y="46"/>
                    </a:lnTo>
                    <a:close/>
                  </a:path>
                </a:pathLst>
              </a:cu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91" name="任意多边形: 形状 690"/>
              <p:cNvSpPr/>
              <p:nvPr/>
            </p:nvSpPr>
            <p:spPr bwMode="auto">
              <a:xfrm>
                <a:off x="7176336" y="5085903"/>
                <a:ext cx="28345" cy="132707"/>
              </a:xfrm>
              <a:custGeom>
                <a:avLst/>
                <a:gdLst>
                  <a:gd name="T0" fmla="*/ 11 w 11"/>
                  <a:gd name="T1" fmla="*/ 46 h 52"/>
                  <a:gd name="T2" fmla="*/ 6 w 11"/>
                  <a:gd name="T3" fmla="*/ 52 h 52"/>
                  <a:gd name="T4" fmla="*/ 6 w 11"/>
                  <a:gd name="T5" fmla="*/ 52 h 52"/>
                  <a:gd name="T6" fmla="*/ 0 w 11"/>
                  <a:gd name="T7" fmla="*/ 46 h 52"/>
                  <a:gd name="T8" fmla="*/ 0 w 11"/>
                  <a:gd name="T9" fmla="*/ 5 h 52"/>
                  <a:gd name="T10" fmla="*/ 6 w 11"/>
                  <a:gd name="T11" fmla="*/ 0 h 52"/>
                  <a:gd name="T12" fmla="*/ 6 w 11"/>
                  <a:gd name="T13" fmla="*/ 0 h 52"/>
                  <a:gd name="T14" fmla="*/ 11 w 11"/>
                  <a:gd name="T15" fmla="*/ 5 h 52"/>
                  <a:gd name="T16" fmla="*/ 11 w 11"/>
                  <a:gd name="T17" fmla="*/ 4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52">
                    <a:moveTo>
                      <a:pt x="11" y="46"/>
                    </a:moveTo>
                    <a:cubicBezTo>
                      <a:pt x="11" y="49"/>
                      <a:pt x="9" y="52"/>
                      <a:pt x="6" y="52"/>
                    </a:cubicBezTo>
                    <a:cubicBezTo>
                      <a:pt x="6" y="52"/>
                      <a:pt x="6" y="52"/>
                      <a:pt x="6" y="52"/>
                    </a:cubicBezTo>
                    <a:cubicBezTo>
                      <a:pt x="3" y="52"/>
                      <a:pt x="0" y="49"/>
                      <a:pt x="0" y="46"/>
                    </a:cubicBezTo>
                    <a:cubicBezTo>
                      <a:pt x="0" y="5"/>
                      <a:pt x="0" y="5"/>
                      <a:pt x="0" y="5"/>
                    </a:cubicBezTo>
                    <a:cubicBezTo>
                      <a:pt x="0" y="2"/>
                      <a:pt x="3" y="0"/>
                      <a:pt x="6" y="0"/>
                    </a:cubicBezTo>
                    <a:cubicBezTo>
                      <a:pt x="6" y="0"/>
                      <a:pt x="6" y="0"/>
                      <a:pt x="6" y="0"/>
                    </a:cubicBezTo>
                    <a:cubicBezTo>
                      <a:pt x="9" y="0"/>
                      <a:pt x="11" y="2"/>
                      <a:pt x="11" y="5"/>
                    </a:cubicBezTo>
                    <a:lnTo>
                      <a:pt x="11" y="46"/>
                    </a:lnTo>
                    <a:close/>
                  </a:path>
                </a:pathLst>
              </a:cu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92" name="任意多边形: 形状 691"/>
              <p:cNvSpPr/>
              <p:nvPr/>
            </p:nvSpPr>
            <p:spPr bwMode="auto">
              <a:xfrm>
                <a:off x="7289717" y="5085903"/>
                <a:ext cx="27057" cy="132707"/>
              </a:xfrm>
              <a:custGeom>
                <a:avLst/>
                <a:gdLst>
                  <a:gd name="T0" fmla="*/ 11 w 11"/>
                  <a:gd name="T1" fmla="*/ 46 h 52"/>
                  <a:gd name="T2" fmla="*/ 5 w 11"/>
                  <a:gd name="T3" fmla="*/ 52 h 52"/>
                  <a:gd name="T4" fmla="*/ 5 w 11"/>
                  <a:gd name="T5" fmla="*/ 52 h 52"/>
                  <a:gd name="T6" fmla="*/ 0 w 11"/>
                  <a:gd name="T7" fmla="*/ 46 h 52"/>
                  <a:gd name="T8" fmla="*/ 0 w 11"/>
                  <a:gd name="T9" fmla="*/ 5 h 52"/>
                  <a:gd name="T10" fmla="*/ 5 w 11"/>
                  <a:gd name="T11" fmla="*/ 0 h 52"/>
                  <a:gd name="T12" fmla="*/ 5 w 11"/>
                  <a:gd name="T13" fmla="*/ 0 h 52"/>
                  <a:gd name="T14" fmla="*/ 11 w 11"/>
                  <a:gd name="T15" fmla="*/ 5 h 52"/>
                  <a:gd name="T16" fmla="*/ 11 w 11"/>
                  <a:gd name="T17" fmla="*/ 4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52">
                    <a:moveTo>
                      <a:pt x="11" y="46"/>
                    </a:moveTo>
                    <a:cubicBezTo>
                      <a:pt x="11" y="49"/>
                      <a:pt x="8" y="52"/>
                      <a:pt x="5" y="52"/>
                    </a:cubicBezTo>
                    <a:cubicBezTo>
                      <a:pt x="5" y="52"/>
                      <a:pt x="5" y="52"/>
                      <a:pt x="5" y="52"/>
                    </a:cubicBezTo>
                    <a:cubicBezTo>
                      <a:pt x="2" y="52"/>
                      <a:pt x="0" y="49"/>
                      <a:pt x="0" y="46"/>
                    </a:cubicBezTo>
                    <a:cubicBezTo>
                      <a:pt x="0" y="5"/>
                      <a:pt x="0" y="5"/>
                      <a:pt x="0" y="5"/>
                    </a:cubicBezTo>
                    <a:cubicBezTo>
                      <a:pt x="0" y="2"/>
                      <a:pt x="2" y="0"/>
                      <a:pt x="5" y="0"/>
                    </a:cubicBezTo>
                    <a:cubicBezTo>
                      <a:pt x="5" y="0"/>
                      <a:pt x="5" y="0"/>
                      <a:pt x="5" y="0"/>
                    </a:cubicBezTo>
                    <a:cubicBezTo>
                      <a:pt x="8" y="0"/>
                      <a:pt x="11" y="2"/>
                      <a:pt x="11" y="5"/>
                    </a:cubicBezTo>
                    <a:lnTo>
                      <a:pt x="11" y="46"/>
                    </a:lnTo>
                    <a:close/>
                  </a:path>
                </a:pathLst>
              </a:cu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93" name="任意多边形: 形状 692"/>
              <p:cNvSpPr/>
              <p:nvPr/>
            </p:nvSpPr>
            <p:spPr bwMode="auto">
              <a:xfrm>
                <a:off x="6485746" y="5067865"/>
                <a:ext cx="856796" cy="168783"/>
              </a:xfrm>
              <a:custGeom>
                <a:avLst/>
                <a:gdLst>
                  <a:gd name="T0" fmla="*/ 0 w 336"/>
                  <a:gd name="T1" fmla="*/ 52 h 66"/>
                  <a:gd name="T2" fmla="*/ 300 w 336"/>
                  <a:gd name="T3" fmla="*/ 0 h 66"/>
                  <a:gd name="T4" fmla="*/ 336 w 336"/>
                  <a:gd name="T5" fmla="*/ 0 h 66"/>
                  <a:gd name="T6" fmla="*/ 336 w 336"/>
                  <a:gd name="T7" fmla="*/ 66 h 66"/>
                  <a:gd name="T8" fmla="*/ 0 w 336"/>
                  <a:gd name="T9" fmla="*/ 66 h 66"/>
                  <a:gd name="T10" fmla="*/ 0 w 336"/>
                  <a:gd name="T11" fmla="*/ 52 h 66"/>
                </a:gdLst>
                <a:ahLst/>
                <a:cxnLst>
                  <a:cxn ang="0">
                    <a:pos x="T0" y="T1"/>
                  </a:cxn>
                  <a:cxn ang="0">
                    <a:pos x="T2" y="T3"/>
                  </a:cxn>
                  <a:cxn ang="0">
                    <a:pos x="T4" y="T5"/>
                  </a:cxn>
                  <a:cxn ang="0">
                    <a:pos x="T6" y="T7"/>
                  </a:cxn>
                  <a:cxn ang="0">
                    <a:pos x="T8" y="T9"/>
                  </a:cxn>
                  <a:cxn ang="0">
                    <a:pos x="T10" y="T11"/>
                  </a:cxn>
                </a:cxnLst>
                <a:rect l="0" t="0" r="r" b="b"/>
                <a:pathLst>
                  <a:path w="336" h="66">
                    <a:moveTo>
                      <a:pt x="0" y="52"/>
                    </a:moveTo>
                    <a:cubicBezTo>
                      <a:pt x="0" y="52"/>
                      <a:pt x="300" y="65"/>
                      <a:pt x="300" y="0"/>
                    </a:cubicBezTo>
                    <a:cubicBezTo>
                      <a:pt x="336" y="0"/>
                      <a:pt x="336" y="0"/>
                      <a:pt x="336" y="0"/>
                    </a:cubicBezTo>
                    <a:cubicBezTo>
                      <a:pt x="336" y="66"/>
                      <a:pt x="336" y="66"/>
                      <a:pt x="336" y="66"/>
                    </a:cubicBezTo>
                    <a:cubicBezTo>
                      <a:pt x="0" y="66"/>
                      <a:pt x="0" y="66"/>
                      <a:pt x="0" y="66"/>
                    </a:cubicBezTo>
                    <a:lnTo>
                      <a:pt x="0" y="52"/>
                    </a:lnTo>
                    <a:close/>
                  </a:path>
                </a:pathLst>
              </a:custGeom>
              <a:solidFill>
                <a:srgbClr val="0A0A0A">
                  <a:alpha val="10000"/>
                </a:srgbClr>
              </a:solidFill>
              <a:ln>
                <a:noFill/>
              </a:ln>
            </p:spPr>
            <p:txBody>
              <a:bodyPr vert="horz" wrap="square" lIns="91440" tIns="45720" rIns="91440" bIns="45720" numCol="1" anchor="t" anchorCtr="0" compatLnSpc="1"/>
              <a:lstStyle/>
              <a:p>
                <a:endParaRPr lang="zh-CN" altLang="en-US"/>
              </a:p>
            </p:txBody>
          </p:sp>
          <p:sp>
            <p:nvSpPr>
              <p:cNvPr id="694" name="矩形 693"/>
              <p:cNvSpPr/>
              <p:nvPr/>
            </p:nvSpPr>
            <p:spPr bwMode="auto">
              <a:xfrm>
                <a:off x="6542436" y="4897794"/>
                <a:ext cx="854220" cy="170071"/>
              </a:xfrm>
              <a:prstGeom prst="rect">
                <a:avLst/>
              </a:prstGeom>
              <a:solidFill>
                <a:srgbClr val="FFC56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695" name="任意多边形: 形状 694"/>
              <p:cNvSpPr/>
              <p:nvPr/>
            </p:nvSpPr>
            <p:spPr bwMode="auto">
              <a:xfrm>
                <a:off x="6568204" y="4914543"/>
                <a:ext cx="27057" cy="132707"/>
              </a:xfrm>
              <a:custGeom>
                <a:avLst/>
                <a:gdLst>
                  <a:gd name="T0" fmla="*/ 11 w 11"/>
                  <a:gd name="T1" fmla="*/ 47 h 52"/>
                  <a:gd name="T2" fmla="*/ 5 w 11"/>
                  <a:gd name="T3" fmla="*/ 52 h 52"/>
                  <a:gd name="T4" fmla="*/ 5 w 11"/>
                  <a:gd name="T5" fmla="*/ 52 h 52"/>
                  <a:gd name="T6" fmla="*/ 0 w 11"/>
                  <a:gd name="T7" fmla="*/ 47 h 52"/>
                  <a:gd name="T8" fmla="*/ 0 w 11"/>
                  <a:gd name="T9" fmla="*/ 6 h 52"/>
                  <a:gd name="T10" fmla="*/ 5 w 11"/>
                  <a:gd name="T11" fmla="*/ 0 h 52"/>
                  <a:gd name="T12" fmla="*/ 5 w 11"/>
                  <a:gd name="T13" fmla="*/ 0 h 52"/>
                  <a:gd name="T14" fmla="*/ 11 w 11"/>
                  <a:gd name="T15" fmla="*/ 6 h 52"/>
                  <a:gd name="T16" fmla="*/ 11 w 11"/>
                  <a:gd name="T17" fmla="*/ 47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52">
                    <a:moveTo>
                      <a:pt x="11" y="47"/>
                    </a:moveTo>
                    <a:cubicBezTo>
                      <a:pt x="11" y="50"/>
                      <a:pt x="8" y="52"/>
                      <a:pt x="5" y="52"/>
                    </a:cubicBezTo>
                    <a:cubicBezTo>
                      <a:pt x="5" y="52"/>
                      <a:pt x="5" y="52"/>
                      <a:pt x="5" y="52"/>
                    </a:cubicBezTo>
                    <a:cubicBezTo>
                      <a:pt x="2" y="52"/>
                      <a:pt x="0" y="50"/>
                      <a:pt x="0" y="47"/>
                    </a:cubicBezTo>
                    <a:cubicBezTo>
                      <a:pt x="0" y="6"/>
                      <a:pt x="0" y="6"/>
                      <a:pt x="0" y="6"/>
                    </a:cubicBezTo>
                    <a:cubicBezTo>
                      <a:pt x="0" y="3"/>
                      <a:pt x="2" y="0"/>
                      <a:pt x="5" y="0"/>
                    </a:cubicBezTo>
                    <a:cubicBezTo>
                      <a:pt x="5" y="0"/>
                      <a:pt x="5" y="0"/>
                      <a:pt x="5" y="0"/>
                    </a:cubicBezTo>
                    <a:cubicBezTo>
                      <a:pt x="8" y="0"/>
                      <a:pt x="11" y="3"/>
                      <a:pt x="11" y="6"/>
                    </a:cubicBezTo>
                    <a:lnTo>
                      <a:pt x="11" y="47"/>
                    </a:lnTo>
                    <a:close/>
                  </a:path>
                </a:pathLst>
              </a:cu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96" name="任意多边形: 形状 695"/>
              <p:cNvSpPr/>
              <p:nvPr/>
            </p:nvSpPr>
            <p:spPr bwMode="auto">
              <a:xfrm>
                <a:off x="6677719" y="4914543"/>
                <a:ext cx="27057" cy="132707"/>
              </a:xfrm>
              <a:custGeom>
                <a:avLst/>
                <a:gdLst>
                  <a:gd name="T0" fmla="*/ 11 w 11"/>
                  <a:gd name="T1" fmla="*/ 47 h 52"/>
                  <a:gd name="T2" fmla="*/ 6 w 11"/>
                  <a:gd name="T3" fmla="*/ 52 h 52"/>
                  <a:gd name="T4" fmla="*/ 6 w 11"/>
                  <a:gd name="T5" fmla="*/ 52 h 52"/>
                  <a:gd name="T6" fmla="*/ 0 w 11"/>
                  <a:gd name="T7" fmla="*/ 47 h 52"/>
                  <a:gd name="T8" fmla="*/ 0 w 11"/>
                  <a:gd name="T9" fmla="*/ 6 h 52"/>
                  <a:gd name="T10" fmla="*/ 6 w 11"/>
                  <a:gd name="T11" fmla="*/ 0 h 52"/>
                  <a:gd name="T12" fmla="*/ 6 w 11"/>
                  <a:gd name="T13" fmla="*/ 0 h 52"/>
                  <a:gd name="T14" fmla="*/ 11 w 11"/>
                  <a:gd name="T15" fmla="*/ 6 h 52"/>
                  <a:gd name="T16" fmla="*/ 11 w 11"/>
                  <a:gd name="T17" fmla="*/ 47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52">
                    <a:moveTo>
                      <a:pt x="11" y="47"/>
                    </a:moveTo>
                    <a:cubicBezTo>
                      <a:pt x="11" y="50"/>
                      <a:pt x="9" y="52"/>
                      <a:pt x="6" y="52"/>
                    </a:cubicBezTo>
                    <a:cubicBezTo>
                      <a:pt x="6" y="52"/>
                      <a:pt x="6" y="52"/>
                      <a:pt x="6" y="52"/>
                    </a:cubicBezTo>
                    <a:cubicBezTo>
                      <a:pt x="3" y="52"/>
                      <a:pt x="0" y="50"/>
                      <a:pt x="0" y="47"/>
                    </a:cubicBezTo>
                    <a:cubicBezTo>
                      <a:pt x="0" y="6"/>
                      <a:pt x="0" y="6"/>
                      <a:pt x="0" y="6"/>
                    </a:cubicBezTo>
                    <a:cubicBezTo>
                      <a:pt x="0" y="3"/>
                      <a:pt x="3" y="0"/>
                      <a:pt x="6" y="0"/>
                    </a:cubicBezTo>
                    <a:cubicBezTo>
                      <a:pt x="6" y="0"/>
                      <a:pt x="6" y="0"/>
                      <a:pt x="6" y="0"/>
                    </a:cubicBezTo>
                    <a:cubicBezTo>
                      <a:pt x="9" y="0"/>
                      <a:pt x="11" y="3"/>
                      <a:pt x="11" y="6"/>
                    </a:cubicBezTo>
                    <a:lnTo>
                      <a:pt x="11" y="47"/>
                    </a:lnTo>
                    <a:close/>
                  </a:path>
                </a:pathLst>
              </a:cu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97" name="任意多边形: 形状 696"/>
              <p:cNvSpPr/>
              <p:nvPr/>
            </p:nvSpPr>
            <p:spPr bwMode="auto">
              <a:xfrm>
                <a:off x="6789812" y="4914543"/>
                <a:ext cx="27057" cy="132707"/>
              </a:xfrm>
              <a:custGeom>
                <a:avLst/>
                <a:gdLst>
                  <a:gd name="T0" fmla="*/ 11 w 11"/>
                  <a:gd name="T1" fmla="*/ 47 h 52"/>
                  <a:gd name="T2" fmla="*/ 5 w 11"/>
                  <a:gd name="T3" fmla="*/ 52 h 52"/>
                  <a:gd name="T4" fmla="*/ 5 w 11"/>
                  <a:gd name="T5" fmla="*/ 52 h 52"/>
                  <a:gd name="T6" fmla="*/ 0 w 11"/>
                  <a:gd name="T7" fmla="*/ 47 h 52"/>
                  <a:gd name="T8" fmla="*/ 0 w 11"/>
                  <a:gd name="T9" fmla="*/ 6 h 52"/>
                  <a:gd name="T10" fmla="*/ 5 w 11"/>
                  <a:gd name="T11" fmla="*/ 0 h 52"/>
                  <a:gd name="T12" fmla="*/ 5 w 11"/>
                  <a:gd name="T13" fmla="*/ 0 h 52"/>
                  <a:gd name="T14" fmla="*/ 11 w 11"/>
                  <a:gd name="T15" fmla="*/ 6 h 52"/>
                  <a:gd name="T16" fmla="*/ 11 w 11"/>
                  <a:gd name="T17" fmla="*/ 47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52">
                    <a:moveTo>
                      <a:pt x="11" y="47"/>
                    </a:moveTo>
                    <a:cubicBezTo>
                      <a:pt x="11" y="50"/>
                      <a:pt x="8" y="52"/>
                      <a:pt x="5" y="52"/>
                    </a:cubicBezTo>
                    <a:cubicBezTo>
                      <a:pt x="5" y="52"/>
                      <a:pt x="5" y="52"/>
                      <a:pt x="5" y="52"/>
                    </a:cubicBezTo>
                    <a:cubicBezTo>
                      <a:pt x="2" y="52"/>
                      <a:pt x="0" y="50"/>
                      <a:pt x="0" y="47"/>
                    </a:cubicBezTo>
                    <a:cubicBezTo>
                      <a:pt x="0" y="6"/>
                      <a:pt x="0" y="6"/>
                      <a:pt x="0" y="6"/>
                    </a:cubicBezTo>
                    <a:cubicBezTo>
                      <a:pt x="0" y="3"/>
                      <a:pt x="2" y="0"/>
                      <a:pt x="5" y="0"/>
                    </a:cubicBezTo>
                    <a:cubicBezTo>
                      <a:pt x="5" y="0"/>
                      <a:pt x="5" y="0"/>
                      <a:pt x="5" y="0"/>
                    </a:cubicBezTo>
                    <a:cubicBezTo>
                      <a:pt x="8" y="0"/>
                      <a:pt x="11" y="3"/>
                      <a:pt x="11" y="6"/>
                    </a:cubicBezTo>
                    <a:lnTo>
                      <a:pt x="11" y="47"/>
                    </a:lnTo>
                    <a:close/>
                  </a:path>
                </a:pathLst>
              </a:cu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98" name="任意多边形: 形状 697"/>
              <p:cNvSpPr/>
              <p:nvPr/>
            </p:nvSpPr>
            <p:spPr bwMode="auto">
              <a:xfrm>
                <a:off x="6901903" y="4914543"/>
                <a:ext cx="25768" cy="132707"/>
              </a:xfrm>
              <a:custGeom>
                <a:avLst/>
                <a:gdLst>
                  <a:gd name="T0" fmla="*/ 10 w 10"/>
                  <a:gd name="T1" fmla="*/ 47 h 52"/>
                  <a:gd name="T2" fmla="*/ 5 w 10"/>
                  <a:gd name="T3" fmla="*/ 52 h 52"/>
                  <a:gd name="T4" fmla="*/ 5 w 10"/>
                  <a:gd name="T5" fmla="*/ 52 h 52"/>
                  <a:gd name="T6" fmla="*/ 0 w 10"/>
                  <a:gd name="T7" fmla="*/ 47 h 52"/>
                  <a:gd name="T8" fmla="*/ 0 w 10"/>
                  <a:gd name="T9" fmla="*/ 6 h 52"/>
                  <a:gd name="T10" fmla="*/ 5 w 10"/>
                  <a:gd name="T11" fmla="*/ 0 h 52"/>
                  <a:gd name="T12" fmla="*/ 5 w 10"/>
                  <a:gd name="T13" fmla="*/ 0 h 52"/>
                  <a:gd name="T14" fmla="*/ 10 w 10"/>
                  <a:gd name="T15" fmla="*/ 6 h 52"/>
                  <a:gd name="T16" fmla="*/ 10 w 10"/>
                  <a:gd name="T17" fmla="*/ 47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52">
                    <a:moveTo>
                      <a:pt x="10" y="47"/>
                    </a:moveTo>
                    <a:cubicBezTo>
                      <a:pt x="10" y="50"/>
                      <a:pt x="8" y="52"/>
                      <a:pt x="5" y="52"/>
                    </a:cubicBezTo>
                    <a:cubicBezTo>
                      <a:pt x="5" y="52"/>
                      <a:pt x="5" y="52"/>
                      <a:pt x="5" y="52"/>
                    </a:cubicBezTo>
                    <a:cubicBezTo>
                      <a:pt x="2" y="52"/>
                      <a:pt x="0" y="50"/>
                      <a:pt x="0" y="47"/>
                    </a:cubicBezTo>
                    <a:cubicBezTo>
                      <a:pt x="0" y="6"/>
                      <a:pt x="0" y="6"/>
                      <a:pt x="0" y="6"/>
                    </a:cubicBezTo>
                    <a:cubicBezTo>
                      <a:pt x="0" y="3"/>
                      <a:pt x="2" y="0"/>
                      <a:pt x="5" y="0"/>
                    </a:cubicBezTo>
                    <a:cubicBezTo>
                      <a:pt x="5" y="0"/>
                      <a:pt x="5" y="0"/>
                      <a:pt x="5" y="0"/>
                    </a:cubicBezTo>
                    <a:cubicBezTo>
                      <a:pt x="8" y="0"/>
                      <a:pt x="10" y="3"/>
                      <a:pt x="10" y="6"/>
                    </a:cubicBezTo>
                    <a:lnTo>
                      <a:pt x="10" y="47"/>
                    </a:lnTo>
                    <a:close/>
                  </a:path>
                </a:pathLst>
              </a:cu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99" name="任意多边形: 形状 698"/>
              <p:cNvSpPr/>
              <p:nvPr/>
            </p:nvSpPr>
            <p:spPr bwMode="auto">
              <a:xfrm>
                <a:off x="7011419" y="4914543"/>
                <a:ext cx="28345" cy="132707"/>
              </a:xfrm>
              <a:custGeom>
                <a:avLst/>
                <a:gdLst>
                  <a:gd name="T0" fmla="*/ 11 w 11"/>
                  <a:gd name="T1" fmla="*/ 47 h 52"/>
                  <a:gd name="T2" fmla="*/ 5 w 11"/>
                  <a:gd name="T3" fmla="*/ 52 h 52"/>
                  <a:gd name="T4" fmla="*/ 5 w 11"/>
                  <a:gd name="T5" fmla="*/ 52 h 52"/>
                  <a:gd name="T6" fmla="*/ 0 w 11"/>
                  <a:gd name="T7" fmla="*/ 47 h 52"/>
                  <a:gd name="T8" fmla="*/ 0 w 11"/>
                  <a:gd name="T9" fmla="*/ 6 h 52"/>
                  <a:gd name="T10" fmla="*/ 5 w 11"/>
                  <a:gd name="T11" fmla="*/ 0 h 52"/>
                  <a:gd name="T12" fmla="*/ 5 w 11"/>
                  <a:gd name="T13" fmla="*/ 0 h 52"/>
                  <a:gd name="T14" fmla="*/ 11 w 11"/>
                  <a:gd name="T15" fmla="*/ 6 h 52"/>
                  <a:gd name="T16" fmla="*/ 11 w 11"/>
                  <a:gd name="T17" fmla="*/ 47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52">
                    <a:moveTo>
                      <a:pt x="11" y="47"/>
                    </a:moveTo>
                    <a:cubicBezTo>
                      <a:pt x="11" y="50"/>
                      <a:pt x="8" y="52"/>
                      <a:pt x="5" y="52"/>
                    </a:cubicBezTo>
                    <a:cubicBezTo>
                      <a:pt x="5" y="52"/>
                      <a:pt x="5" y="52"/>
                      <a:pt x="5" y="52"/>
                    </a:cubicBezTo>
                    <a:cubicBezTo>
                      <a:pt x="2" y="52"/>
                      <a:pt x="0" y="50"/>
                      <a:pt x="0" y="47"/>
                    </a:cubicBezTo>
                    <a:cubicBezTo>
                      <a:pt x="0" y="6"/>
                      <a:pt x="0" y="6"/>
                      <a:pt x="0" y="6"/>
                    </a:cubicBezTo>
                    <a:cubicBezTo>
                      <a:pt x="0" y="3"/>
                      <a:pt x="2" y="0"/>
                      <a:pt x="5" y="0"/>
                    </a:cubicBezTo>
                    <a:cubicBezTo>
                      <a:pt x="5" y="0"/>
                      <a:pt x="5" y="0"/>
                      <a:pt x="5" y="0"/>
                    </a:cubicBezTo>
                    <a:cubicBezTo>
                      <a:pt x="8" y="0"/>
                      <a:pt x="11" y="3"/>
                      <a:pt x="11" y="6"/>
                    </a:cubicBezTo>
                    <a:lnTo>
                      <a:pt x="11" y="47"/>
                    </a:lnTo>
                    <a:close/>
                  </a:path>
                </a:pathLst>
              </a:cu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00" name="任意多边形: 形状 699"/>
              <p:cNvSpPr/>
              <p:nvPr/>
            </p:nvSpPr>
            <p:spPr bwMode="auto">
              <a:xfrm>
                <a:off x="7123511" y="4914543"/>
                <a:ext cx="25768" cy="132707"/>
              </a:xfrm>
              <a:custGeom>
                <a:avLst/>
                <a:gdLst>
                  <a:gd name="T0" fmla="*/ 10 w 10"/>
                  <a:gd name="T1" fmla="*/ 47 h 52"/>
                  <a:gd name="T2" fmla="*/ 5 w 10"/>
                  <a:gd name="T3" fmla="*/ 52 h 52"/>
                  <a:gd name="T4" fmla="*/ 5 w 10"/>
                  <a:gd name="T5" fmla="*/ 52 h 52"/>
                  <a:gd name="T6" fmla="*/ 0 w 10"/>
                  <a:gd name="T7" fmla="*/ 47 h 52"/>
                  <a:gd name="T8" fmla="*/ 0 w 10"/>
                  <a:gd name="T9" fmla="*/ 6 h 52"/>
                  <a:gd name="T10" fmla="*/ 5 w 10"/>
                  <a:gd name="T11" fmla="*/ 0 h 52"/>
                  <a:gd name="T12" fmla="*/ 5 w 10"/>
                  <a:gd name="T13" fmla="*/ 0 h 52"/>
                  <a:gd name="T14" fmla="*/ 10 w 10"/>
                  <a:gd name="T15" fmla="*/ 6 h 52"/>
                  <a:gd name="T16" fmla="*/ 10 w 10"/>
                  <a:gd name="T17" fmla="*/ 47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52">
                    <a:moveTo>
                      <a:pt x="10" y="47"/>
                    </a:moveTo>
                    <a:cubicBezTo>
                      <a:pt x="10" y="50"/>
                      <a:pt x="8" y="52"/>
                      <a:pt x="5" y="52"/>
                    </a:cubicBezTo>
                    <a:cubicBezTo>
                      <a:pt x="5" y="52"/>
                      <a:pt x="5" y="52"/>
                      <a:pt x="5" y="52"/>
                    </a:cubicBezTo>
                    <a:cubicBezTo>
                      <a:pt x="2" y="52"/>
                      <a:pt x="0" y="50"/>
                      <a:pt x="0" y="47"/>
                    </a:cubicBezTo>
                    <a:cubicBezTo>
                      <a:pt x="0" y="6"/>
                      <a:pt x="0" y="6"/>
                      <a:pt x="0" y="6"/>
                    </a:cubicBezTo>
                    <a:cubicBezTo>
                      <a:pt x="0" y="3"/>
                      <a:pt x="2" y="0"/>
                      <a:pt x="5" y="0"/>
                    </a:cubicBezTo>
                    <a:cubicBezTo>
                      <a:pt x="5" y="0"/>
                      <a:pt x="5" y="0"/>
                      <a:pt x="5" y="0"/>
                    </a:cubicBezTo>
                    <a:cubicBezTo>
                      <a:pt x="8" y="0"/>
                      <a:pt x="10" y="3"/>
                      <a:pt x="10" y="6"/>
                    </a:cubicBezTo>
                    <a:lnTo>
                      <a:pt x="10" y="47"/>
                    </a:lnTo>
                    <a:close/>
                  </a:path>
                </a:pathLst>
              </a:cu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01" name="任意多边形: 形状 700"/>
              <p:cNvSpPr/>
              <p:nvPr/>
            </p:nvSpPr>
            <p:spPr bwMode="auto">
              <a:xfrm>
                <a:off x="7233026" y="4914543"/>
                <a:ext cx="28345" cy="132707"/>
              </a:xfrm>
              <a:custGeom>
                <a:avLst/>
                <a:gdLst>
                  <a:gd name="T0" fmla="*/ 11 w 11"/>
                  <a:gd name="T1" fmla="*/ 47 h 52"/>
                  <a:gd name="T2" fmla="*/ 5 w 11"/>
                  <a:gd name="T3" fmla="*/ 52 h 52"/>
                  <a:gd name="T4" fmla="*/ 5 w 11"/>
                  <a:gd name="T5" fmla="*/ 52 h 52"/>
                  <a:gd name="T6" fmla="*/ 0 w 11"/>
                  <a:gd name="T7" fmla="*/ 47 h 52"/>
                  <a:gd name="T8" fmla="*/ 0 w 11"/>
                  <a:gd name="T9" fmla="*/ 6 h 52"/>
                  <a:gd name="T10" fmla="*/ 5 w 11"/>
                  <a:gd name="T11" fmla="*/ 0 h 52"/>
                  <a:gd name="T12" fmla="*/ 5 w 11"/>
                  <a:gd name="T13" fmla="*/ 0 h 52"/>
                  <a:gd name="T14" fmla="*/ 11 w 11"/>
                  <a:gd name="T15" fmla="*/ 6 h 52"/>
                  <a:gd name="T16" fmla="*/ 11 w 11"/>
                  <a:gd name="T17" fmla="*/ 47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52">
                    <a:moveTo>
                      <a:pt x="11" y="47"/>
                    </a:moveTo>
                    <a:cubicBezTo>
                      <a:pt x="11" y="50"/>
                      <a:pt x="8" y="52"/>
                      <a:pt x="5" y="52"/>
                    </a:cubicBezTo>
                    <a:cubicBezTo>
                      <a:pt x="5" y="52"/>
                      <a:pt x="5" y="52"/>
                      <a:pt x="5" y="52"/>
                    </a:cubicBezTo>
                    <a:cubicBezTo>
                      <a:pt x="2" y="52"/>
                      <a:pt x="0" y="50"/>
                      <a:pt x="0" y="47"/>
                    </a:cubicBezTo>
                    <a:cubicBezTo>
                      <a:pt x="0" y="6"/>
                      <a:pt x="0" y="6"/>
                      <a:pt x="0" y="6"/>
                    </a:cubicBezTo>
                    <a:cubicBezTo>
                      <a:pt x="0" y="3"/>
                      <a:pt x="2" y="0"/>
                      <a:pt x="5" y="0"/>
                    </a:cubicBezTo>
                    <a:cubicBezTo>
                      <a:pt x="5" y="0"/>
                      <a:pt x="5" y="0"/>
                      <a:pt x="5" y="0"/>
                    </a:cubicBezTo>
                    <a:cubicBezTo>
                      <a:pt x="8" y="0"/>
                      <a:pt x="11" y="3"/>
                      <a:pt x="11" y="6"/>
                    </a:cubicBezTo>
                    <a:lnTo>
                      <a:pt x="11" y="47"/>
                    </a:lnTo>
                    <a:close/>
                  </a:path>
                </a:pathLst>
              </a:cu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02" name="任意多边形: 形状 701"/>
              <p:cNvSpPr/>
              <p:nvPr/>
            </p:nvSpPr>
            <p:spPr bwMode="auto">
              <a:xfrm>
                <a:off x="7345118" y="4914543"/>
                <a:ext cx="25768" cy="132707"/>
              </a:xfrm>
              <a:custGeom>
                <a:avLst/>
                <a:gdLst>
                  <a:gd name="T0" fmla="*/ 10 w 10"/>
                  <a:gd name="T1" fmla="*/ 47 h 52"/>
                  <a:gd name="T2" fmla="*/ 5 w 10"/>
                  <a:gd name="T3" fmla="*/ 52 h 52"/>
                  <a:gd name="T4" fmla="*/ 5 w 10"/>
                  <a:gd name="T5" fmla="*/ 52 h 52"/>
                  <a:gd name="T6" fmla="*/ 0 w 10"/>
                  <a:gd name="T7" fmla="*/ 47 h 52"/>
                  <a:gd name="T8" fmla="*/ 0 w 10"/>
                  <a:gd name="T9" fmla="*/ 6 h 52"/>
                  <a:gd name="T10" fmla="*/ 5 w 10"/>
                  <a:gd name="T11" fmla="*/ 0 h 52"/>
                  <a:gd name="T12" fmla="*/ 5 w 10"/>
                  <a:gd name="T13" fmla="*/ 0 h 52"/>
                  <a:gd name="T14" fmla="*/ 10 w 10"/>
                  <a:gd name="T15" fmla="*/ 6 h 52"/>
                  <a:gd name="T16" fmla="*/ 10 w 10"/>
                  <a:gd name="T17" fmla="*/ 47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52">
                    <a:moveTo>
                      <a:pt x="10" y="47"/>
                    </a:moveTo>
                    <a:cubicBezTo>
                      <a:pt x="10" y="50"/>
                      <a:pt x="8" y="52"/>
                      <a:pt x="5" y="52"/>
                    </a:cubicBezTo>
                    <a:cubicBezTo>
                      <a:pt x="5" y="52"/>
                      <a:pt x="5" y="52"/>
                      <a:pt x="5" y="52"/>
                    </a:cubicBezTo>
                    <a:cubicBezTo>
                      <a:pt x="2" y="52"/>
                      <a:pt x="0" y="50"/>
                      <a:pt x="0" y="47"/>
                    </a:cubicBezTo>
                    <a:cubicBezTo>
                      <a:pt x="0" y="6"/>
                      <a:pt x="0" y="6"/>
                      <a:pt x="0" y="6"/>
                    </a:cubicBezTo>
                    <a:cubicBezTo>
                      <a:pt x="0" y="3"/>
                      <a:pt x="2" y="0"/>
                      <a:pt x="5" y="0"/>
                    </a:cubicBezTo>
                    <a:cubicBezTo>
                      <a:pt x="5" y="0"/>
                      <a:pt x="5" y="0"/>
                      <a:pt x="5" y="0"/>
                    </a:cubicBezTo>
                    <a:cubicBezTo>
                      <a:pt x="8" y="0"/>
                      <a:pt x="10" y="3"/>
                      <a:pt x="10" y="6"/>
                    </a:cubicBezTo>
                    <a:lnTo>
                      <a:pt x="10" y="47"/>
                    </a:lnTo>
                    <a:close/>
                  </a:path>
                </a:pathLst>
              </a:cu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03" name="任意多边形: 形状 702"/>
              <p:cNvSpPr/>
              <p:nvPr/>
            </p:nvSpPr>
            <p:spPr bwMode="auto">
              <a:xfrm>
                <a:off x="6542436" y="4897794"/>
                <a:ext cx="854220" cy="170071"/>
              </a:xfrm>
              <a:custGeom>
                <a:avLst/>
                <a:gdLst>
                  <a:gd name="T0" fmla="*/ 0 w 335"/>
                  <a:gd name="T1" fmla="*/ 53 h 67"/>
                  <a:gd name="T2" fmla="*/ 299 w 335"/>
                  <a:gd name="T3" fmla="*/ 0 h 67"/>
                  <a:gd name="T4" fmla="*/ 335 w 335"/>
                  <a:gd name="T5" fmla="*/ 0 h 67"/>
                  <a:gd name="T6" fmla="*/ 335 w 335"/>
                  <a:gd name="T7" fmla="*/ 67 h 67"/>
                  <a:gd name="T8" fmla="*/ 0 w 335"/>
                  <a:gd name="T9" fmla="*/ 67 h 67"/>
                  <a:gd name="T10" fmla="*/ 0 w 335"/>
                  <a:gd name="T11" fmla="*/ 53 h 67"/>
                </a:gdLst>
                <a:ahLst/>
                <a:cxnLst>
                  <a:cxn ang="0">
                    <a:pos x="T0" y="T1"/>
                  </a:cxn>
                  <a:cxn ang="0">
                    <a:pos x="T2" y="T3"/>
                  </a:cxn>
                  <a:cxn ang="0">
                    <a:pos x="T4" y="T5"/>
                  </a:cxn>
                  <a:cxn ang="0">
                    <a:pos x="T6" y="T7"/>
                  </a:cxn>
                  <a:cxn ang="0">
                    <a:pos x="T8" y="T9"/>
                  </a:cxn>
                  <a:cxn ang="0">
                    <a:pos x="T10" y="T11"/>
                  </a:cxn>
                </a:cxnLst>
                <a:rect l="0" t="0" r="r" b="b"/>
                <a:pathLst>
                  <a:path w="335" h="67">
                    <a:moveTo>
                      <a:pt x="0" y="53"/>
                    </a:moveTo>
                    <a:cubicBezTo>
                      <a:pt x="0" y="53"/>
                      <a:pt x="299" y="66"/>
                      <a:pt x="299" y="0"/>
                    </a:cubicBezTo>
                    <a:cubicBezTo>
                      <a:pt x="335" y="0"/>
                      <a:pt x="335" y="0"/>
                      <a:pt x="335" y="0"/>
                    </a:cubicBezTo>
                    <a:cubicBezTo>
                      <a:pt x="335" y="67"/>
                      <a:pt x="335" y="67"/>
                      <a:pt x="335" y="67"/>
                    </a:cubicBezTo>
                    <a:cubicBezTo>
                      <a:pt x="0" y="67"/>
                      <a:pt x="0" y="67"/>
                      <a:pt x="0" y="67"/>
                    </a:cubicBezTo>
                    <a:lnTo>
                      <a:pt x="0" y="53"/>
                    </a:lnTo>
                    <a:close/>
                  </a:path>
                </a:pathLst>
              </a:custGeom>
              <a:solidFill>
                <a:srgbClr val="0A0A0A">
                  <a:alpha val="10000"/>
                </a:srgbClr>
              </a:solidFill>
              <a:ln>
                <a:noFill/>
              </a:ln>
            </p:spPr>
            <p:txBody>
              <a:bodyPr vert="horz" wrap="square" lIns="91440" tIns="45720" rIns="91440" bIns="45720" numCol="1" anchor="t" anchorCtr="0" compatLnSpc="1"/>
              <a:lstStyle/>
              <a:p>
                <a:endParaRPr lang="zh-CN" altLang="en-US"/>
              </a:p>
            </p:txBody>
          </p:sp>
          <p:sp>
            <p:nvSpPr>
              <p:cNvPr id="704" name="矩形 703"/>
              <p:cNvSpPr/>
              <p:nvPr/>
            </p:nvSpPr>
            <p:spPr bwMode="auto">
              <a:xfrm>
                <a:off x="6501207" y="4729011"/>
                <a:ext cx="854220" cy="168783"/>
              </a:xfrm>
              <a:prstGeom prst="rect">
                <a:avLst/>
              </a:prstGeom>
              <a:solidFill>
                <a:srgbClr val="FFC56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705" name="任意多边形: 形状 704"/>
              <p:cNvSpPr/>
              <p:nvPr/>
            </p:nvSpPr>
            <p:spPr bwMode="auto">
              <a:xfrm>
                <a:off x="6526975" y="4747049"/>
                <a:ext cx="28345" cy="132707"/>
              </a:xfrm>
              <a:custGeom>
                <a:avLst/>
                <a:gdLst>
                  <a:gd name="T0" fmla="*/ 11 w 11"/>
                  <a:gd name="T1" fmla="*/ 46 h 52"/>
                  <a:gd name="T2" fmla="*/ 5 w 11"/>
                  <a:gd name="T3" fmla="*/ 52 h 52"/>
                  <a:gd name="T4" fmla="*/ 5 w 11"/>
                  <a:gd name="T5" fmla="*/ 52 h 52"/>
                  <a:gd name="T6" fmla="*/ 0 w 11"/>
                  <a:gd name="T7" fmla="*/ 46 h 52"/>
                  <a:gd name="T8" fmla="*/ 0 w 11"/>
                  <a:gd name="T9" fmla="*/ 5 h 52"/>
                  <a:gd name="T10" fmla="*/ 5 w 11"/>
                  <a:gd name="T11" fmla="*/ 0 h 52"/>
                  <a:gd name="T12" fmla="*/ 5 w 11"/>
                  <a:gd name="T13" fmla="*/ 0 h 52"/>
                  <a:gd name="T14" fmla="*/ 11 w 11"/>
                  <a:gd name="T15" fmla="*/ 5 h 52"/>
                  <a:gd name="T16" fmla="*/ 11 w 11"/>
                  <a:gd name="T17" fmla="*/ 4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52">
                    <a:moveTo>
                      <a:pt x="11" y="46"/>
                    </a:moveTo>
                    <a:cubicBezTo>
                      <a:pt x="11" y="50"/>
                      <a:pt x="8" y="52"/>
                      <a:pt x="5" y="52"/>
                    </a:cubicBezTo>
                    <a:cubicBezTo>
                      <a:pt x="5" y="52"/>
                      <a:pt x="5" y="52"/>
                      <a:pt x="5" y="52"/>
                    </a:cubicBezTo>
                    <a:cubicBezTo>
                      <a:pt x="2" y="52"/>
                      <a:pt x="0" y="50"/>
                      <a:pt x="0" y="46"/>
                    </a:cubicBezTo>
                    <a:cubicBezTo>
                      <a:pt x="0" y="5"/>
                      <a:pt x="0" y="5"/>
                      <a:pt x="0" y="5"/>
                    </a:cubicBezTo>
                    <a:cubicBezTo>
                      <a:pt x="0" y="2"/>
                      <a:pt x="2" y="0"/>
                      <a:pt x="5" y="0"/>
                    </a:cubicBezTo>
                    <a:cubicBezTo>
                      <a:pt x="5" y="0"/>
                      <a:pt x="5" y="0"/>
                      <a:pt x="5" y="0"/>
                    </a:cubicBezTo>
                    <a:cubicBezTo>
                      <a:pt x="8" y="0"/>
                      <a:pt x="11" y="2"/>
                      <a:pt x="11" y="5"/>
                    </a:cubicBezTo>
                    <a:lnTo>
                      <a:pt x="11" y="46"/>
                    </a:lnTo>
                    <a:close/>
                  </a:path>
                </a:pathLst>
              </a:cu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06" name="任意多边形: 形状 705"/>
              <p:cNvSpPr/>
              <p:nvPr/>
            </p:nvSpPr>
            <p:spPr bwMode="auto">
              <a:xfrm>
                <a:off x="6636490" y="4747049"/>
                <a:ext cx="28345" cy="132707"/>
              </a:xfrm>
              <a:custGeom>
                <a:avLst/>
                <a:gdLst>
                  <a:gd name="T0" fmla="*/ 11 w 11"/>
                  <a:gd name="T1" fmla="*/ 46 h 52"/>
                  <a:gd name="T2" fmla="*/ 6 w 11"/>
                  <a:gd name="T3" fmla="*/ 52 h 52"/>
                  <a:gd name="T4" fmla="*/ 6 w 11"/>
                  <a:gd name="T5" fmla="*/ 52 h 52"/>
                  <a:gd name="T6" fmla="*/ 0 w 11"/>
                  <a:gd name="T7" fmla="*/ 46 h 52"/>
                  <a:gd name="T8" fmla="*/ 0 w 11"/>
                  <a:gd name="T9" fmla="*/ 5 h 52"/>
                  <a:gd name="T10" fmla="*/ 6 w 11"/>
                  <a:gd name="T11" fmla="*/ 0 h 52"/>
                  <a:gd name="T12" fmla="*/ 6 w 11"/>
                  <a:gd name="T13" fmla="*/ 0 h 52"/>
                  <a:gd name="T14" fmla="*/ 11 w 11"/>
                  <a:gd name="T15" fmla="*/ 5 h 52"/>
                  <a:gd name="T16" fmla="*/ 11 w 11"/>
                  <a:gd name="T17" fmla="*/ 4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52">
                    <a:moveTo>
                      <a:pt x="11" y="46"/>
                    </a:moveTo>
                    <a:cubicBezTo>
                      <a:pt x="11" y="50"/>
                      <a:pt x="9" y="52"/>
                      <a:pt x="6" y="52"/>
                    </a:cubicBezTo>
                    <a:cubicBezTo>
                      <a:pt x="6" y="52"/>
                      <a:pt x="6" y="52"/>
                      <a:pt x="6" y="52"/>
                    </a:cubicBezTo>
                    <a:cubicBezTo>
                      <a:pt x="3" y="52"/>
                      <a:pt x="0" y="50"/>
                      <a:pt x="0" y="46"/>
                    </a:cubicBezTo>
                    <a:cubicBezTo>
                      <a:pt x="0" y="5"/>
                      <a:pt x="0" y="5"/>
                      <a:pt x="0" y="5"/>
                    </a:cubicBezTo>
                    <a:cubicBezTo>
                      <a:pt x="0" y="2"/>
                      <a:pt x="3" y="0"/>
                      <a:pt x="6" y="0"/>
                    </a:cubicBezTo>
                    <a:cubicBezTo>
                      <a:pt x="6" y="0"/>
                      <a:pt x="6" y="0"/>
                      <a:pt x="6" y="0"/>
                    </a:cubicBezTo>
                    <a:cubicBezTo>
                      <a:pt x="9" y="0"/>
                      <a:pt x="11" y="2"/>
                      <a:pt x="11" y="5"/>
                    </a:cubicBezTo>
                    <a:lnTo>
                      <a:pt x="11" y="46"/>
                    </a:lnTo>
                    <a:close/>
                  </a:path>
                </a:pathLst>
              </a:cu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07" name="任意多边形: 形状 706"/>
              <p:cNvSpPr/>
              <p:nvPr/>
            </p:nvSpPr>
            <p:spPr bwMode="auto">
              <a:xfrm>
                <a:off x="6748582" y="4747049"/>
                <a:ext cx="28345" cy="132707"/>
              </a:xfrm>
              <a:custGeom>
                <a:avLst/>
                <a:gdLst>
                  <a:gd name="T0" fmla="*/ 11 w 11"/>
                  <a:gd name="T1" fmla="*/ 46 h 52"/>
                  <a:gd name="T2" fmla="*/ 5 w 11"/>
                  <a:gd name="T3" fmla="*/ 52 h 52"/>
                  <a:gd name="T4" fmla="*/ 5 w 11"/>
                  <a:gd name="T5" fmla="*/ 52 h 52"/>
                  <a:gd name="T6" fmla="*/ 0 w 11"/>
                  <a:gd name="T7" fmla="*/ 46 h 52"/>
                  <a:gd name="T8" fmla="*/ 0 w 11"/>
                  <a:gd name="T9" fmla="*/ 5 h 52"/>
                  <a:gd name="T10" fmla="*/ 5 w 11"/>
                  <a:gd name="T11" fmla="*/ 0 h 52"/>
                  <a:gd name="T12" fmla="*/ 5 w 11"/>
                  <a:gd name="T13" fmla="*/ 0 h 52"/>
                  <a:gd name="T14" fmla="*/ 11 w 11"/>
                  <a:gd name="T15" fmla="*/ 5 h 52"/>
                  <a:gd name="T16" fmla="*/ 11 w 11"/>
                  <a:gd name="T17" fmla="*/ 4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52">
                    <a:moveTo>
                      <a:pt x="11" y="46"/>
                    </a:moveTo>
                    <a:cubicBezTo>
                      <a:pt x="11" y="50"/>
                      <a:pt x="8" y="52"/>
                      <a:pt x="5" y="52"/>
                    </a:cubicBezTo>
                    <a:cubicBezTo>
                      <a:pt x="5" y="52"/>
                      <a:pt x="5" y="52"/>
                      <a:pt x="5" y="52"/>
                    </a:cubicBezTo>
                    <a:cubicBezTo>
                      <a:pt x="2" y="52"/>
                      <a:pt x="0" y="50"/>
                      <a:pt x="0" y="46"/>
                    </a:cubicBezTo>
                    <a:cubicBezTo>
                      <a:pt x="0" y="5"/>
                      <a:pt x="0" y="5"/>
                      <a:pt x="0" y="5"/>
                    </a:cubicBezTo>
                    <a:cubicBezTo>
                      <a:pt x="0" y="2"/>
                      <a:pt x="2" y="0"/>
                      <a:pt x="5" y="0"/>
                    </a:cubicBezTo>
                    <a:cubicBezTo>
                      <a:pt x="5" y="0"/>
                      <a:pt x="5" y="0"/>
                      <a:pt x="5" y="0"/>
                    </a:cubicBezTo>
                    <a:cubicBezTo>
                      <a:pt x="8" y="0"/>
                      <a:pt x="11" y="2"/>
                      <a:pt x="11" y="5"/>
                    </a:cubicBezTo>
                    <a:lnTo>
                      <a:pt x="11" y="46"/>
                    </a:lnTo>
                    <a:close/>
                  </a:path>
                </a:pathLst>
              </a:cu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08" name="任意多边形: 形状 707"/>
              <p:cNvSpPr/>
              <p:nvPr/>
            </p:nvSpPr>
            <p:spPr bwMode="auto">
              <a:xfrm>
                <a:off x="6858097" y="4747049"/>
                <a:ext cx="28345" cy="132707"/>
              </a:xfrm>
              <a:custGeom>
                <a:avLst/>
                <a:gdLst>
                  <a:gd name="T0" fmla="*/ 11 w 11"/>
                  <a:gd name="T1" fmla="*/ 46 h 52"/>
                  <a:gd name="T2" fmla="*/ 6 w 11"/>
                  <a:gd name="T3" fmla="*/ 52 h 52"/>
                  <a:gd name="T4" fmla="*/ 6 w 11"/>
                  <a:gd name="T5" fmla="*/ 52 h 52"/>
                  <a:gd name="T6" fmla="*/ 0 w 11"/>
                  <a:gd name="T7" fmla="*/ 46 h 52"/>
                  <a:gd name="T8" fmla="*/ 0 w 11"/>
                  <a:gd name="T9" fmla="*/ 5 h 52"/>
                  <a:gd name="T10" fmla="*/ 6 w 11"/>
                  <a:gd name="T11" fmla="*/ 0 h 52"/>
                  <a:gd name="T12" fmla="*/ 6 w 11"/>
                  <a:gd name="T13" fmla="*/ 0 h 52"/>
                  <a:gd name="T14" fmla="*/ 11 w 11"/>
                  <a:gd name="T15" fmla="*/ 5 h 52"/>
                  <a:gd name="T16" fmla="*/ 11 w 11"/>
                  <a:gd name="T17" fmla="*/ 4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52">
                    <a:moveTo>
                      <a:pt x="11" y="46"/>
                    </a:moveTo>
                    <a:cubicBezTo>
                      <a:pt x="11" y="50"/>
                      <a:pt x="9" y="52"/>
                      <a:pt x="6" y="52"/>
                    </a:cubicBezTo>
                    <a:cubicBezTo>
                      <a:pt x="6" y="52"/>
                      <a:pt x="6" y="52"/>
                      <a:pt x="6" y="52"/>
                    </a:cubicBezTo>
                    <a:cubicBezTo>
                      <a:pt x="3" y="52"/>
                      <a:pt x="0" y="50"/>
                      <a:pt x="0" y="46"/>
                    </a:cubicBezTo>
                    <a:cubicBezTo>
                      <a:pt x="0" y="5"/>
                      <a:pt x="0" y="5"/>
                      <a:pt x="0" y="5"/>
                    </a:cubicBezTo>
                    <a:cubicBezTo>
                      <a:pt x="0" y="2"/>
                      <a:pt x="3" y="0"/>
                      <a:pt x="6" y="0"/>
                    </a:cubicBezTo>
                    <a:cubicBezTo>
                      <a:pt x="6" y="0"/>
                      <a:pt x="6" y="0"/>
                      <a:pt x="6" y="0"/>
                    </a:cubicBezTo>
                    <a:cubicBezTo>
                      <a:pt x="9" y="0"/>
                      <a:pt x="11" y="2"/>
                      <a:pt x="11" y="5"/>
                    </a:cubicBezTo>
                    <a:lnTo>
                      <a:pt x="11" y="46"/>
                    </a:lnTo>
                    <a:close/>
                  </a:path>
                </a:pathLst>
              </a:cu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09" name="任意多边形: 形状 708"/>
              <p:cNvSpPr/>
              <p:nvPr/>
            </p:nvSpPr>
            <p:spPr bwMode="auto">
              <a:xfrm>
                <a:off x="6970190" y="4747049"/>
                <a:ext cx="28345" cy="132707"/>
              </a:xfrm>
              <a:custGeom>
                <a:avLst/>
                <a:gdLst>
                  <a:gd name="T0" fmla="*/ 11 w 11"/>
                  <a:gd name="T1" fmla="*/ 46 h 52"/>
                  <a:gd name="T2" fmla="*/ 5 w 11"/>
                  <a:gd name="T3" fmla="*/ 52 h 52"/>
                  <a:gd name="T4" fmla="*/ 5 w 11"/>
                  <a:gd name="T5" fmla="*/ 52 h 52"/>
                  <a:gd name="T6" fmla="*/ 0 w 11"/>
                  <a:gd name="T7" fmla="*/ 46 h 52"/>
                  <a:gd name="T8" fmla="*/ 0 w 11"/>
                  <a:gd name="T9" fmla="*/ 5 h 52"/>
                  <a:gd name="T10" fmla="*/ 5 w 11"/>
                  <a:gd name="T11" fmla="*/ 0 h 52"/>
                  <a:gd name="T12" fmla="*/ 5 w 11"/>
                  <a:gd name="T13" fmla="*/ 0 h 52"/>
                  <a:gd name="T14" fmla="*/ 11 w 11"/>
                  <a:gd name="T15" fmla="*/ 5 h 52"/>
                  <a:gd name="T16" fmla="*/ 11 w 11"/>
                  <a:gd name="T17" fmla="*/ 4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52">
                    <a:moveTo>
                      <a:pt x="11" y="46"/>
                    </a:moveTo>
                    <a:cubicBezTo>
                      <a:pt x="11" y="50"/>
                      <a:pt x="8" y="52"/>
                      <a:pt x="5" y="52"/>
                    </a:cubicBezTo>
                    <a:cubicBezTo>
                      <a:pt x="5" y="52"/>
                      <a:pt x="5" y="52"/>
                      <a:pt x="5" y="52"/>
                    </a:cubicBezTo>
                    <a:cubicBezTo>
                      <a:pt x="2" y="52"/>
                      <a:pt x="0" y="50"/>
                      <a:pt x="0" y="46"/>
                    </a:cubicBezTo>
                    <a:cubicBezTo>
                      <a:pt x="0" y="5"/>
                      <a:pt x="0" y="5"/>
                      <a:pt x="0" y="5"/>
                    </a:cubicBezTo>
                    <a:cubicBezTo>
                      <a:pt x="0" y="2"/>
                      <a:pt x="2" y="0"/>
                      <a:pt x="5" y="0"/>
                    </a:cubicBezTo>
                    <a:cubicBezTo>
                      <a:pt x="5" y="0"/>
                      <a:pt x="5" y="0"/>
                      <a:pt x="5" y="0"/>
                    </a:cubicBezTo>
                    <a:cubicBezTo>
                      <a:pt x="8" y="0"/>
                      <a:pt x="11" y="2"/>
                      <a:pt x="11" y="5"/>
                    </a:cubicBezTo>
                    <a:lnTo>
                      <a:pt x="11" y="46"/>
                    </a:lnTo>
                    <a:close/>
                  </a:path>
                </a:pathLst>
              </a:cu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10" name="任意多边形: 形状 709"/>
              <p:cNvSpPr/>
              <p:nvPr/>
            </p:nvSpPr>
            <p:spPr bwMode="auto">
              <a:xfrm>
                <a:off x="7079705" y="4747049"/>
                <a:ext cx="28345" cy="132707"/>
              </a:xfrm>
              <a:custGeom>
                <a:avLst/>
                <a:gdLst>
                  <a:gd name="T0" fmla="*/ 11 w 11"/>
                  <a:gd name="T1" fmla="*/ 46 h 52"/>
                  <a:gd name="T2" fmla="*/ 6 w 11"/>
                  <a:gd name="T3" fmla="*/ 52 h 52"/>
                  <a:gd name="T4" fmla="*/ 6 w 11"/>
                  <a:gd name="T5" fmla="*/ 52 h 52"/>
                  <a:gd name="T6" fmla="*/ 0 w 11"/>
                  <a:gd name="T7" fmla="*/ 46 h 52"/>
                  <a:gd name="T8" fmla="*/ 0 w 11"/>
                  <a:gd name="T9" fmla="*/ 5 h 52"/>
                  <a:gd name="T10" fmla="*/ 6 w 11"/>
                  <a:gd name="T11" fmla="*/ 0 h 52"/>
                  <a:gd name="T12" fmla="*/ 6 w 11"/>
                  <a:gd name="T13" fmla="*/ 0 h 52"/>
                  <a:gd name="T14" fmla="*/ 11 w 11"/>
                  <a:gd name="T15" fmla="*/ 5 h 52"/>
                  <a:gd name="T16" fmla="*/ 11 w 11"/>
                  <a:gd name="T17" fmla="*/ 4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52">
                    <a:moveTo>
                      <a:pt x="11" y="46"/>
                    </a:moveTo>
                    <a:cubicBezTo>
                      <a:pt x="11" y="50"/>
                      <a:pt x="9" y="52"/>
                      <a:pt x="6" y="52"/>
                    </a:cubicBezTo>
                    <a:cubicBezTo>
                      <a:pt x="6" y="52"/>
                      <a:pt x="6" y="52"/>
                      <a:pt x="6" y="52"/>
                    </a:cubicBezTo>
                    <a:cubicBezTo>
                      <a:pt x="3" y="52"/>
                      <a:pt x="0" y="50"/>
                      <a:pt x="0" y="46"/>
                    </a:cubicBezTo>
                    <a:cubicBezTo>
                      <a:pt x="0" y="5"/>
                      <a:pt x="0" y="5"/>
                      <a:pt x="0" y="5"/>
                    </a:cubicBezTo>
                    <a:cubicBezTo>
                      <a:pt x="0" y="2"/>
                      <a:pt x="3" y="0"/>
                      <a:pt x="6" y="0"/>
                    </a:cubicBezTo>
                    <a:cubicBezTo>
                      <a:pt x="6" y="0"/>
                      <a:pt x="6" y="0"/>
                      <a:pt x="6" y="0"/>
                    </a:cubicBezTo>
                    <a:cubicBezTo>
                      <a:pt x="9" y="0"/>
                      <a:pt x="11" y="2"/>
                      <a:pt x="11" y="5"/>
                    </a:cubicBezTo>
                    <a:lnTo>
                      <a:pt x="11" y="46"/>
                    </a:lnTo>
                    <a:close/>
                  </a:path>
                </a:pathLst>
              </a:cu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11" name="任意多边形: 形状 710"/>
              <p:cNvSpPr/>
              <p:nvPr/>
            </p:nvSpPr>
            <p:spPr bwMode="auto">
              <a:xfrm>
                <a:off x="7191797" y="4747049"/>
                <a:ext cx="28345" cy="132707"/>
              </a:xfrm>
              <a:custGeom>
                <a:avLst/>
                <a:gdLst>
                  <a:gd name="T0" fmla="*/ 11 w 11"/>
                  <a:gd name="T1" fmla="*/ 46 h 52"/>
                  <a:gd name="T2" fmla="*/ 5 w 11"/>
                  <a:gd name="T3" fmla="*/ 52 h 52"/>
                  <a:gd name="T4" fmla="*/ 5 w 11"/>
                  <a:gd name="T5" fmla="*/ 52 h 52"/>
                  <a:gd name="T6" fmla="*/ 0 w 11"/>
                  <a:gd name="T7" fmla="*/ 46 h 52"/>
                  <a:gd name="T8" fmla="*/ 0 w 11"/>
                  <a:gd name="T9" fmla="*/ 5 h 52"/>
                  <a:gd name="T10" fmla="*/ 5 w 11"/>
                  <a:gd name="T11" fmla="*/ 0 h 52"/>
                  <a:gd name="T12" fmla="*/ 5 w 11"/>
                  <a:gd name="T13" fmla="*/ 0 h 52"/>
                  <a:gd name="T14" fmla="*/ 11 w 11"/>
                  <a:gd name="T15" fmla="*/ 5 h 52"/>
                  <a:gd name="T16" fmla="*/ 11 w 11"/>
                  <a:gd name="T17" fmla="*/ 4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52">
                    <a:moveTo>
                      <a:pt x="11" y="46"/>
                    </a:moveTo>
                    <a:cubicBezTo>
                      <a:pt x="11" y="50"/>
                      <a:pt x="8" y="52"/>
                      <a:pt x="5" y="52"/>
                    </a:cubicBezTo>
                    <a:cubicBezTo>
                      <a:pt x="5" y="52"/>
                      <a:pt x="5" y="52"/>
                      <a:pt x="5" y="52"/>
                    </a:cubicBezTo>
                    <a:cubicBezTo>
                      <a:pt x="2" y="52"/>
                      <a:pt x="0" y="50"/>
                      <a:pt x="0" y="46"/>
                    </a:cubicBezTo>
                    <a:cubicBezTo>
                      <a:pt x="0" y="5"/>
                      <a:pt x="0" y="5"/>
                      <a:pt x="0" y="5"/>
                    </a:cubicBezTo>
                    <a:cubicBezTo>
                      <a:pt x="0" y="2"/>
                      <a:pt x="2" y="0"/>
                      <a:pt x="5" y="0"/>
                    </a:cubicBezTo>
                    <a:cubicBezTo>
                      <a:pt x="5" y="0"/>
                      <a:pt x="5" y="0"/>
                      <a:pt x="5" y="0"/>
                    </a:cubicBezTo>
                    <a:cubicBezTo>
                      <a:pt x="8" y="0"/>
                      <a:pt x="11" y="2"/>
                      <a:pt x="11" y="5"/>
                    </a:cubicBezTo>
                    <a:lnTo>
                      <a:pt x="11" y="46"/>
                    </a:lnTo>
                    <a:close/>
                  </a:path>
                </a:pathLst>
              </a:cu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12" name="任意多边形: 形状 711"/>
              <p:cNvSpPr/>
              <p:nvPr/>
            </p:nvSpPr>
            <p:spPr bwMode="auto">
              <a:xfrm>
                <a:off x="7301312" y="4747049"/>
                <a:ext cx="28345" cy="132707"/>
              </a:xfrm>
              <a:custGeom>
                <a:avLst/>
                <a:gdLst>
                  <a:gd name="T0" fmla="*/ 11 w 11"/>
                  <a:gd name="T1" fmla="*/ 46 h 52"/>
                  <a:gd name="T2" fmla="*/ 6 w 11"/>
                  <a:gd name="T3" fmla="*/ 52 h 52"/>
                  <a:gd name="T4" fmla="*/ 6 w 11"/>
                  <a:gd name="T5" fmla="*/ 52 h 52"/>
                  <a:gd name="T6" fmla="*/ 0 w 11"/>
                  <a:gd name="T7" fmla="*/ 46 h 52"/>
                  <a:gd name="T8" fmla="*/ 0 w 11"/>
                  <a:gd name="T9" fmla="*/ 5 h 52"/>
                  <a:gd name="T10" fmla="*/ 6 w 11"/>
                  <a:gd name="T11" fmla="*/ 0 h 52"/>
                  <a:gd name="T12" fmla="*/ 6 w 11"/>
                  <a:gd name="T13" fmla="*/ 0 h 52"/>
                  <a:gd name="T14" fmla="*/ 11 w 11"/>
                  <a:gd name="T15" fmla="*/ 5 h 52"/>
                  <a:gd name="T16" fmla="*/ 11 w 11"/>
                  <a:gd name="T17" fmla="*/ 4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52">
                    <a:moveTo>
                      <a:pt x="11" y="46"/>
                    </a:moveTo>
                    <a:cubicBezTo>
                      <a:pt x="11" y="50"/>
                      <a:pt x="9" y="52"/>
                      <a:pt x="6" y="52"/>
                    </a:cubicBezTo>
                    <a:cubicBezTo>
                      <a:pt x="6" y="52"/>
                      <a:pt x="6" y="52"/>
                      <a:pt x="6" y="52"/>
                    </a:cubicBezTo>
                    <a:cubicBezTo>
                      <a:pt x="3" y="52"/>
                      <a:pt x="0" y="50"/>
                      <a:pt x="0" y="46"/>
                    </a:cubicBezTo>
                    <a:cubicBezTo>
                      <a:pt x="0" y="5"/>
                      <a:pt x="0" y="5"/>
                      <a:pt x="0" y="5"/>
                    </a:cubicBezTo>
                    <a:cubicBezTo>
                      <a:pt x="0" y="2"/>
                      <a:pt x="3" y="0"/>
                      <a:pt x="6" y="0"/>
                    </a:cubicBezTo>
                    <a:cubicBezTo>
                      <a:pt x="6" y="0"/>
                      <a:pt x="6" y="0"/>
                      <a:pt x="6" y="0"/>
                    </a:cubicBezTo>
                    <a:cubicBezTo>
                      <a:pt x="9" y="0"/>
                      <a:pt x="11" y="2"/>
                      <a:pt x="11" y="5"/>
                    </a:cubicBezTo>
                    <a:lnTo>
                      <a:pt x="11" y="46"/>
                    </a:lnTo>
                    <a:close/>
                  </a:path>
                </a:pathLst>
              </a:cu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13" name="任意多边形: 形状 712"/>
              <p:cNvSpPr/>
              <p:nvPr/>
            </p:nvSpPr>
            <p:spPr bwMode="auto">
              <a:xfrm>
                <a:off x="6501207" y="4729011"/>
                <a:ext cx="854220" cy="168783"/>
              </a:xfrm>
              <a:custGeom>
                <a:avLst/>
                <a:gdLst>
                  <a:gd name="T0" fmla="*/ 0 w 335"/>
                  <a:gd name="T1" fmla="*/ 52 h 66"/>
                  <a:gd name="T2" fmla="*/ 299 w 335"/>
                  <a:gd name="T3" fmla="*/ 0 h 66"/>
                  <a:gd name="T4" fmla="*/ 335 w 335"/>
                  <a:gd name="T5" fmla="*/ 0 h 66"/>
                  <a:gd name="T6" fmla="*/ 335 w 335"/>
                  <a:gd name="T7" fmla="*/ 66 h 66"/>
                  <a:gd name="T8" fmla="*/ 0 w 335"/>
                  <a:gd name="T9" fmla="*/ 66 h 66"/>
                  <a:gd name="T10" fmla="*/ 0 w 335"/>
                  <a:gd name="T11" fmla="*/ 52 h 66"/>
                </a:gdLst>
                <a:ahLst/>
                <a:cxnLst>
                  <a:cxn ang="0">
                    <a:pos x="T0" y="T1"/>
                  </a:cxn>
                  <a:cxn ang="0">
                    <a:pos x="T2" y="T3"/>
                  </a:cxn>
                  <a:cxn ang="0">
                    <a:pos x="T4" y="T5"/>
                  </a:cxn>
                  <a:cxn ang="0">
                    <a:pos x="T6" y="T7"/>
                  </a:cxn>
                  <a:cxn ang="0">
                    <a:pos x="T8" y="T9"/>
                  </a:cxn>
                  <a:cxn ang="0">
                    <a:pos x="T10" y="T11"/>
                  </a:cxn>
                </a:cxnLst>
                <a:rect l="0" t="0" r="r" b="b"/>
                <a:pathLst>
                  <a:path w="335" h="66">
                    <a:moveTo>
                      <a:pt x="0" y="52"/>
                    </a:moveTo>
                    <a:cubicBezTo>
                      <a:pt x="0" y="52"/>
                      <a:pt x="299" y="65"/>
                      <a:pt x="299" y="0"/>
                    </a:cubicBezTo>
                    <a:cubicBezTo>
                      <a:pt x="335" y="0"/>
                      <a:pt x="335" y="0"/>
                      <a:pt x="335" y="0"/>
                    </a:cubicBezTo>
                    <a:cubicBezTo>
                      <a:pt x="335" y="66"/>
                      <a:pt x="335" y="66"/>
                      <a:pt x="335" y="66"/>
                    </a:cubicBezTo>
                    <a:cubicBezTo>
                      <a:pt x="0" y="66"/>
                      <a:pt x="0" y="66"/>
                      <a:pt x="0" y="66"/>
                    </a:cubicBezTo>
                    <a:lnTo>
                      <a:pt x="0" y="52"/>
                    </a:lnTo>
                    <a:close/>
                  </a:path>
                </a:pathLst>
              </a:custGeom>
              <a:solidFill>
                <a:srgbClr val="0A0A0A">
                  <a:alpha val="10000"/>
                </a:srgbClr>
              </a:solidFill>
              <a:ln>
                <a:noFill/>
              </a:ln>
            </p:spPr>
            <p:txBody>
              <a:bodyPr vert="horz" wrap="square" lIns="91440" tIns="45720" rIns="91440" bIns="45720" numCol="1" anchor="t" anchorCtr="0" compatLnSpc="1"/>
              <a:lstStyle/>
              <a:p>
                <a:endParaRPr lang="zh-CN" altLang="en-US"/>
              </a:p>
            </p:txBody>
          </p:sp>
          <p:sp>
            <p:nvSpPr>
              <p:cNvPr id="714" name="矩形 713"/>
              <p:cNvSpPr/>
              <p:nvPr/>
            </p:nvSpPr>
            <p:spPr bwMode="auto">
              <a:xfrm>
                <a:off x="6386537" y="4557652"/>
                <a:ext cx="854220" cy="171360"/>
              </a:xfrm>
              <a:prstGeom prst="rect">
                <a:avLst/>
              </a:prstGeom>
              <a:solidFill>
                <a:srgbClr val="FFC56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715" name="任意多边形: 形状 714"/>
              <p:cNvSpPr/>
              <p:nvPr/>
            </p:nvSpPr>
            <p:spPr bwMode="auto">
              <a:xfrm>
                <a:off x="6412306" y="4575690"/>
                <a:ext cx="28345" cy="135284"/>
              </a:xfrm>
              <a:custGeom>
                <a:avLst/>
                <a:gdLst>
                  <a:gd name="T0" fmla="*/ 11 w 11"/>
                  <a:gd name="T1" fmla="*/ 47 h 53"/>
                  <a:gd name="T2" fmla="*/ 5 w 11"/>
                  <a:gd name="T3" fmla="*/ 53 h 53"/>
                  <a:gd name="T4" fmla="*/ 5 w 11"/>
                  <a:gd name="T5" fmla="*/ 53 h 53"/>
                  <a:gd name="T6" fmla="*/ 0 w 11"/>
                  <a:gd name="T7" fmla="*/ 47 h 53"/>
                  <a:gd name="T8" fmla="*/ 0 w 11"/>
                  <a:gd name="T9" fmla="*/ 6 h 53"/>
                  <a:gd name="T10" fmla="*/ 5 w 11"/>
                  <a:gd name="T11" fmla="*/ 0 h 53"/>
                  <a:gd name="T12" fmla="*/ 5 w 11"/>
                  <a:gd name="T13" fmla="*/ 0 h 53"/>
                  <a:gd name="T14" fmla="*/ 11 w 11"/>
                  <a:gd name="T15" fmla="*/ 6 h 53"/>
                  <a:gd name="T16" fmla="*/ 11 w 11"/>
                  <a:gd name="T17" fmla="*/ 4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53">
                    <a:moveTo>
                      <a:pt x="11" y="47"/>
                    </a:moveTo>
                    <a:cubicBezTo>
                      <a:pt x="11" y="50"/>
                      <a:pt x="8" y="53"/>
                      <a:pt x="5" y="53"/>
                    </a:cubicBezTo>
                    <a:cubicBezTo>
                      <a:pt x="5" y="53"/>
                      <a:pt x="5" y="53"/>
                      <a:pt x="5" y="53"/>
                    </a:cubicBezTo>
                    <a:cubicBezTo>
                      <a:pt x="2" y="53"/>
                      <a:pt x="0" y="50"/>
                      <a:pt x="0" y="47"/>
                    </a:cubicBezTo>
                    <a:cubicBezTo>
                      <a:pt x="0" y="6"/>
                      <a:pt x="0" y="6"/>
                      <a:pt x="0" y="6"/>
                    </a:cubicBezTo>
                    <a:cubicBezTo>
                      <a:pt x="0" y="3"/>
                      <a:pt x="2" y="0"/>
                      <a:pt x="5" y="0"/>
                    </a:cubicBezTo>
                    <a:cubicBezTo>
                      <a:pt x="5" y="0"/>
                      <a:pt x="5" y="0"/>
                      <a:pt x="5" y="0"/>
                    </a:cubicBezTo>
                    <a:cubicBezTo>
                      <a:pt x="8" y="0"/>
                      <a:pt x="11" y="3"/>
                      <a:pt x="11" y="6"/>
                    </a:cubicBezTo>
                    <a:lnTo>
                      <a:pt x="11" y="47"/>
                    </a:lnTo>
                    <a:close/>
                  </a:path>
                </a:pathLst>
              </a:cu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16" name="任意多边形: 形状 715"/>
              <p:cNvSpPr/>
              <p:nvPr/>
            </p:nvSpPr>
            <p:spPr bwMode="auto">
              <a:xfrm>
                <a:off x="6521821" y="4575690"/>
                <a:ext cx="28345" cy="135284"/>
              </a:xfrm>
              <a:custGeom>
                <a:avLst/>
                <a:gdLst>
                  <a:gd name="T0" fmla="*/ 11 w 11"/>
                  <a:gd name="T1" fmla="*/ 47 h 53"/>
                  <a:gd name="T2" fmla="*/ 6 w 11"/>
                  <a:gd name="T3" fmla="*/ 53 h 53"/>
                  <a:gd name="T4" fmla="*/ 6 w 11"/>
                  <a:gd name="T5" fmla="*/ 53 h 53"/>
                  <a:gd name="T6" fmla="*/ 0 w 11"/>
                  <a:gd name="T7" fmla="*/ 47 h 53"/>
                  <a:gd name="T8" fmla="*/ 0 w 11"/>
                  <a:gd name="T9" fmla="*/ 6 h 53"/>
                  <a:gd name="T10" fmla="*/ 6 w 11"/>
                  <a:gd name="T11" fmla="*/ 0 h 53"/>
                  <a:gd name="T12" fmla="*/ 6 w 11"/>
                  <a:gd name="T13" fmla="*/ 0 h 53"/>
                  <a:gd name="T14" fmla="*/ 11 w 11"/>
                  <a:gd name="T15" fmla="*/ 6 h 53"/>
                  <a:gd name="T16" fmla="*/ 11 w 11"/>
                  <a:gd name="T17" fmla="*/ 4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53">
                    <a:moveTo>
                      <a:pt x="11" y="47"/>
                    </a:moveTo>
                    <a:cubicBezTo>
                      <a:pt x="11" y="50"/>
                      <a:pt x="9" y="53"/>
                      <a:pt x="6" y="53"/>
                    </a:cubicBezTo>
                    <a:cubicBezTo>
                      <a:pt x="6" y="53"/>
                      <a:pt x="6" y="53"/>
                      <a:pt x="6" y="53"/>
                    </a:cubicBezTo>
                    <a:cubicBezTo>
                      <a:pt x="3" y="53"/>
                      <a:pt x="0" y="50"/>
                      <a:pt x="0" y="47"/>
                    </a:cubicBezTo>
                    <a:cubicBezTo>
                      <a:pt x="0" y="6"/>
                      <a:pt x="0" y="6"/>
                      <a:pt x="0" y="6"/>
                    </a:cubicBezTo>
                    <a:cubicBezTo>
                      <a:pt x="0" y="3"/>
                      <a:pt x="3" y="0"/>
                      <a:pt x="6" y="0"/>
                    </a:cubicBezTo>
                    <a:cubicBezTo>
                      <a:pt x="6" y="0"/>
                      <a:pt x="6" y="0"/>
                      <a:pt x="6" y="0"/>
                    </a:cubicBezTo>
                    <a:cubicBezTo>
                      <a:pt x="9" y="0"/>
                      <a:pt x="11" y="3"/>
                      <a:pt x="11" y="6"/>
                    </a:cubicBezTo>
                    <a:lnTo>
                      <a:pt x="11" y="47"/>
                    </a:lnTo>
                    <a:close/>
                  </a:path>
                </a:pathLst>
              </a:cu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17" name="任意多边形: 形状 716"/>
              <p:cNvSpPr/>
              <p:nvPr/>
            </p:nvSpPr>
            <p:spPr bwMode="auto">
              <a:xfrm>
                <a:off x="6633913" y="4575690"/>
                <a:ext cx="28345" cy="135284"/>
              </a:xfrm>
              <a:custGeom>
                <a:avLst/>
                <a:gdLst>
                  <a:gd name="T0" fmla="*/ 11 w 11"/>
                  <a:gd name="T1" fmla="*/ 47 h 53"/>
                  <a:gd name="T2" fmla="*/ 5 w 11"/>
                  <a:gd name="T3" fmla="*/ 53 h 53"/>
                  <a:gd name="T4" fmla="*/ 5 w 11"/>
                  <a:gd name="T5" fmla="*/ 53 h 53"/>
                  <a:gd name="T6" fmla="*/ 0 w 11"/>
                  <a:gd name="T7" fmla="*/ 47 h 53"/>
                  <a:gd name="T8" fmla="*/ 0 w 11"/>
                  <a:gd name="T9" fmla="*/ 6 h 53"/>
                  <a:gd name="T10" fmla="*/ 5 w 11"/>
                  <a:gd name="T11" fmla="*/ 0 h 53"/>
                  <a:gd name="T12" fmla="*/ 5 w 11"/>
                  <a:gd name="T13" fmla="*/ 0 h 53"/>
                  <a:gd name="T14" fmla="*/ 11 w 11"/>
                  <a:gd name="T15" fmla="*/ 6 h 53"/>
                  <a:gd name="T16" fmla="*/ 11 w 11"/>
                  <a:gd name="T17" fmla="*/ 4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53">
                    <a:moveTo>
                      <a:pt x="11" y="47"/>
                    </a:moveTo>
                    <a:cubicBezTo>
                      <a:pt x="11" y="50"/>
                      <a:pt x="8" y="53"/>
                      <a:pt x="5" y="53"/>
                    </a:cubicBezTo>
                    <a:cubicBezTo>
                      <a:pt x="5" y="53"/>
                      <a:pt x="5" y="53"/>
                      <a:pt x="5" y="53"/>
                    </a:cubicBezTo>
                    <a:cubicBezTo>
                      <a:pt x="2" y="53"/>
                      <a:pt x="0" y="50"/>
                      <a:pt x="0" y="47"/>
                    </a:cubicBezTo>
                    <a:cubicBezTo>
                      <a:pt x="0" y="6"/>
                      <a:pt x="0" y="6"/>
                      <a:pt x="0" y="6"/>
                    </a:cubicBezTo>
                    <a:cubicBezTo>
                      <a:pt x="0" y="3"/>
                      <a:pt x="2" y="0"/>
                      <a:pt x="5" y="0"/>
                    </a:cubicBezTo>
                    <a:cubicBezTo>
                      <a:pt x="5" y="0"/>
                      <a:pt x="5" y="0"/>
                      <a:pt x="5" y="0"/>
                    </a:cubicBezTo>
                    <a:cubicBezTo>
                      <a:pt x="8" y="0"/>
                      <a:pt x="11" y="3"/>
                      <a:pt x="11" y="6"/>
                    </a:cubicBezTo>
                    <a:lnTo>
                      <a:pt x="11" y="47"/>
                    </a:lnTo>
                    <a:close/>
                  </a:path>
                </a:pathLst>
              </a:cu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18" name="任意多边形: 形状 717"/>
              <p:cNvSpPr/>
              <p:nvPr/>
            </p:nvSpPr>
            <p:spPr bwMode="auto">
              <a:xfrm>
                <a:off x="6743429" y="4575690"/>
                <a:ext cx="28345" cy="135284"/>
              </a:xfrm>
              <a:custGeom>
                <a:avLst/>
                <a:gdLst>
                  <a:gd name="T0" fmla="*/ 11 w 11"/>
                  <a:gd name="T1" fmla="*/ 47 h 53"/>
                  <a:gd name="T2" fmla="*/ 6 w 11"/>
                  <a:gd name="T3" fmla="*/ 53 h 53"/>
                  <a:gd name="T4" fmla="*/ 6 w 11"/>
                  <a:gd name="T5" fmla="*/ 53 h 53"/>
                  <a:gd name="T6" fmla="*/ 0 w 11"/>
                  <a:gd name="T7" fmla="*/ 47 h 53"/>
                  <a:gd name="T8" fmla="*/ 0 w 11"/>
                  <a:gd name="T9" fmla="*/ 6 h 53"/>
                  <a:gd name="T10" fmla="*/ 6 w 11"/>
                  <a:gd name="T11" fmla="*/ 0 h 53"/>
                  <a:gd name="T12" fmla="*/ 6 w 11"/>
                  <a:gd name="T13" fmla="*/ 0 h 53"/>
                  <a:gd name="T14" fmla="*/ 11 w 11"/>
                  <a:gd name="T15" fmla="*/ 6 h 53"/>
                  <a:gd name="T16" fmla="*/ 11 w 11"/>
                  <a:gd name="T17" fmla="*/ 4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53">
                    <a:moveTo>
                      <a:pt x="11" y="47"/>
                    </a:moveTo>
                    <a:cubicBezTo>
                      <a:pt x="11" y="50"/>
                      <a:pt x="9" y="53"/>
                      <a:pt x="6" y="53"/>
                    </a:cubicBezTo>
                    <a:cubicBezTo>
                      <a:pt x="6" y="53"/>
                      <a:pt x="6" y="53"/>
                      <a:pt x="6" y="53"/>
                    </a:cubicBezTo>
                    <a:cubicBezTo>
                      <a:pt x="3" y="53"/>
                      <a:pt x="0" y="50"/>
                      <a:pt x="0" y="47"/>
                    </a:cubicBezTo>
                    <a:cubicBezTo>
                      <a:pt x="0" y="6"/>
                      <a:pt x="0" y="6"/>
                      <a:pt x="0" y="6"/>
                    </a:cubicBezTo>
                    <a:cubicBezTo>
                      <a:pt x="0" y="3"/>
                      <a:pt x="3" y="0"/>
                      <a:pt x="6" y="0"/>
                    </a:cubicBezTo>
                    <a:cubicBezTo>
                      <a:pt x="6" y="0"/>
                      <a:pt x="6" y="0"/>
                      <a:pt x="6" y="0"/>
                    </a:cubicBezTo>
                    <a:cubicBezTo>
                      <a:pt x="9" y="0"/>
                      <a:pt x="11" y="3"/>
                      <a:pt x="11" y="6"/>
                    </a:cubicBezTo>
                    <a:lnTo>
                      <a:pt x="11" y="47"/>
                    </a:lnTo>
                    <a:close/>
                  </a:path>
                </a:pathLst>
              </a:cu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19" name="任意多边形: 形状 718"/>
              <p:cNvSpPr/>
              <p:nvPr/>
            </p:nvSpPr>
            <p:spPr bwMode="auto">
              <a:xfrm>
                <a:off x="6855520" y="4575690"/>
                <a:ext cx="28345" cy="135284"/>
              </a:xfrm>
              <a:custGeom>
                <a:avLst/>
                <a:gdLst>
                  <a:gd name="T0" fmla="*/ 11 w 11"/>
                  <a:gd name="T1" fmla="*/ 47 h 53"/>
                  <a:gd name="T2" fmla="*/ 5 w 11"/>
                  <a:gd name="T3" fmla="*/ 53 h 53"/>
                  <a:gd name="T4" fmla="*/ 5 w 11"/>
                  <a:gd name="T5" fmla="*/ 53 h 53"/>
                  <a:gd name="T6" fmla="*/ 0 w 11"/>
                  <a:gd name="T7" fmla="*/ 47 h 53"/>
                  <a:gd name="T8" fmla="*/ 0 w 11"/>
                  <a:gd name="T9" fmla="*/ 6 h 53"/>
                  <a:gd name="T10" fmla="*/ 5 w 11"/>
                  <a:gd name="T11" fmla="*/ 0 h 53"/>
                  <a:gd name="T12" fmla="*/ 5 w 11"/>
                  <a:gd name="T13" fmla="*/ 0 h 53"/>
                  <a:gd name="T14" fmla="*/ 11 w 11"/>
                  <a:gd name="T15" fmla="*/ 6 h 53"/>
                  <a:gd name="T16" fmla="*/ 11 w 11"/>
                  <a:gd name="T17" fmla="*/ 4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53">
                    <a:moveTo>
                      <a:pt x="11" y="47"/>
                    </a:moveTo>
                    <a:cubicBezTo>
                      <a:pt x="11" y="50"/>
                      <a:pt x="8" y="53"/>
                      <a:pt x="5" y="53"/>
                    </a:cubicBezTo>
                    <a:cubicBezTo>
                      <a:pt x="5" y="53"/>
                      <a:pt x="5" y="53"/>
                      <a:pt x="5" y="53"/>
                    </a:cubicBezTo>
                    <a:cubicBezTo>
                      <a:pt x="2" y="53"/>
                      <a:pt x="0" y="50"/>
                      <a:pt x="0" y="47"/>
                    </a:cubicBezTo>
                    <a:cubicBezTo>
                      <a:pt x="0" y="6"/>
                      <a:pt x="0" y="6"/>
                      <a:pt x="0" y="6"/>
                    </a:cubicBezTo>
                    <a:cubicBezTo>
                      <a:pt x="0" y="3"/>
                      <a:pt x="2" y="0"/>
                      <a:pt x="5" y="0"/>
                    </a:cubicBezTo>
                    <a:cubicBezTo>
                      <a:pt x="5" y="0"/>
                      <a:pt x="5" y="0"/>
                      <a:pt x="5" y="0"/>
                    </a:cubicBezTo>
                    <a:cubicBezTo>
                      <a:pt x="8" y="0"/>
                      <a:pt x="11" y="3"/>
                      <a:pt x="11" y="6"/>
                    </a:cubicBezTo>
                    <a:lnTo>
                      <a:pt x="11" y="47"/>
                    </a:lnTo>
                    <a:close/>
                  </a:path>
                </a:pathLst>
              </a:cu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20" name="任意多边形: 形状 719"/>
              <p:cNvSpPr/>
              <p:nvPr/>
            </p:nvSpPr>
            <p:spPr bwMode="auto">
              <a:xfrm>
                <a:off x="6965036" y="4575690"/>
                <a:ext cx="28345" cy="135284"/>
              </a:xfrm>
              <a:custGeom>
                <a:avLst/>
                <a:gdLst>
                  <a:gd name="T0" fmla="*/ 11 w 11"/>
                  <a:gd name="T1" fmla="*/ 47 h 53"/>
                  <a:gd name="T2" fmla="*/ 6 w 11"/>
                  <a:gd name="T3" fmla="*/ 53 h 53"/>
                  <a:gd name="T4" fmla="*/ 6 w 11"/>
                  <a:gd name="T5" fmla="*/ 53 h 53"/>
                  <a:gd name="T6" fmla="*/ 0 w 11"/>
                  <a:gd name="T7" fmla="*/ 47 h 53"/>
                  <a:gd name="T8" fmla="*/ 0 w 11"/>
                  <a:gd name="T9" fmla="*/ 6 h 53"/>
                  <a:gd name="T10" fmla="*/ 6 w 11"/>
                  <a:gd name="T11" fmla="*/ 0 h 53"/>
                  <a:gd name="T12" fmla="*/ 6 w 11"/>
                  <a:gd name="T13" fmla="*/ 0 h 53"/>
                  <a:gd name="T14" fmla="*/ 11 w 11"/>
                  <a:gd name="T15" fmla="*/ 6 h 53"/>
                  <a:gd name="T16" fmla="*/ 11 w 11"/>
                  <a:gd name="T17" fmla="*/ 4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53">
                    <a:moveTo>
                      <a:pt x="11" y="47"/>
                    </a:moveTo>
                    <a:cubicBezTo>
                      <a:pt x="11" y="50"/>
                      <a:pt x="9" y="53"/>
                      <a:pt x="6" y="53"/>
                    </a:cubicBezTo>
                    <a:cubicBezTo>
                      <a:pt x="6" y="53"/>
                      <a:pt x="6" y="53"/>
                      <a:pt x="6" y="53"/>
                    </a:cubicBezTo>
                    <a:cubicBezTo>
                      <a:pt x="3" y="53"/>
                      <a:pt x="0" y="50"/>
                      <a:pt x="0" y="47"/>
                    </a:cubicBezTo>
                    <a:cubicBezTo>
                      <a:pt x="0" y="6"/>
                      <a:pt x="0" y="6"/>
                      <a:pt x="0" y="6"/>
                    </a:cubicBezTo>
                    <a:cubicBezTo>
                      <a:pt x="0" y="3"/>
                      <a:pt x="3" y="0"/>
                      <a:pt x="6" y="0"/>
                    </a:cubicBezTo>
                    <a:cubicBezTo>
                      <a:pt x="6" y="0"/>
                      <a:pt x="6" y="0"/>
                      <a:pt x="6" y="0"/>
                    </a:cubicBezTo>
                    <a:cubicBezTo>
                      <a:pt x="9" y="0"/>
                      <a:pt x="11" y="3"/>
                      <a:pt x="11" y="6"/>
                    </a:cubicBezTo>
                    <a:lnTo>
                      <a:pt x="11" y="47"/>
                    </a:lnTo>
                    <a:close/>
                  </a:path>
                </a:pathLst>
              </a:cu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21" name="任意多边形: 形状 720"/>
              <p:cNvSpPr/>
              <p:nvPr/>
            </p:nvSpPr>
            <p:spPr bwMode="auto">
              <a:xfrm>
                <a:off x="7077128" y="4575690"/>
                <a:ext cx="28345" cy="135284"/>
              </a:xfrm>
              <a:custGeom>
                <a:avLst/>
                <a:gdLst>
                  <a:gd name="T0" fmla="*/ 11 w 11"/>
                  <a:gd name="T1" fmla="*/ 47 h 53"/>
                  <a:gd name="T2" fmla="*/ 5 w 11"/>
                  <a:gd name="T3" fmla="*/ 53 h 53"/>
                  <a:gd name="T4" fmla="*/ 5 w 11"/>
                  <a:gd name="T5" fmla="*/ 53 h 53"/>
                  <a:gd name="T6" fmla="*/ 0 w 11"/>
                  <a:gd name="T7" fmla="*/ 47 h 53"/>
                  <a:gd name="T8" fmla="*/ 0 w 11"/>
                  <a:gd name="T9" fmla="*/ 6 h 53"/>
                  <a:gd name="T10" fmla="*/ 5 w 11"/>
                  <a:gd name="T11" fmla="*/ 0 h 53"/>
                  <a:gd name="T12" fmla="*/ 5 w 11"/>
                  <a:gd name="T13" fmla="*/ 0 h 53"/>
                  <a:gd name="T14" fmla="*/ 11 w 11"/>
                  <a:gd name="T15" fmla="*/ 6 h 53"/>
                  <a:gd name="T16" fmla="*/ 11 w 11"/>
                  <a:gd name="T17" fmla="*/ 4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53">
                    <a:moveTo>
                      <a:pt x="11" y="47"/>
                    </a:moveTo>
                    <a:cubicBezTo>
                      <a:pt x="11" y="50"/>
                      <a:pt x="8" y="53"/>
                      <a:pt x="5" y="53"/>
                    </a:cubicBezTo>
                    <a:cubicBezTo>
                      <a:pt x="5" y="53"/>
                      <a:pt x="5" y="53"/>
                      <a:pt x="5" y="53"/>
                    </a:cubicBezTo>
                    <a:cubicBezTo>
                      <a:pt x="2" y="53"/>
                      <a:pt x="0" y="50"/>
                      <a:pt x="0" y="47"/>
                    </a:cubicBezTo>
                    <a:cubicBezTo>
                      <a:pt x="0" y="6"/>
                      <a:pt x="0" y="6"/>
                      <a:pt x="0" y="6"/>
                    </a:cubicBezTo>
                    <a:cubicBezTo>
                      <a:pt x="0" y="3"/>
                      <a:pt x="2" y="0"/>
                      <a:pt x="5" y="0"/>
                    </a:cubicBezTo>
                    <a:cubicBezTo>
                      <a:pt x="5" y="0"/>
                      <a:pt x="5" y="0"/>
                      <a:pt x="5" y="0"/>
                    </a:cubicBezTo>
                    <a:cubicBezTo>
                      <a:pt x="8" y="0"/>
                      <a:pt x="11" y="3"/>
                      <a:pt x="11" y="6"/>
                    </a:cubicBezTo>
                    <a:lnTo>
                      <a:pt x="11" y="47"/>
                    </a:lnTo>
                    <a:close/>
                  </a:path>
                </a:pathLst>
              </a:cu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22" name="任意多边形: 形状 721"/>
              <p:cNvSpPr/>
              <p:nvPr/>
            </p:nvSpPr>
            <p:spPr bwMode="auto">
              <a:xfrm>
                <a:off x="7186643" y="4575690"/>
                <a:ext cx="28345" cy="135284"/>
              </a:xfrm>
              <a:custGeom>
                <a:avLst/>
                <a:gdLst>
                  <a:gd name="T0" fmla="*/ 11 w 11"/>
                  <a:gd name="T1" fmla="*/ 47 h 53"/>
                  <a:gd name="T2" fmla="*/ 6 w 11"/>
                  <a:gd name="T3" fmla="*/ 53 h 53"/>
                  <a:gd name="T4" fmla="*/ 6 w 11"/>
                  <a:gd name="T5" fmla="*/ 53 h 53"/>
                  <a:gd name="T6" fmla="*/ 0 w 11"/>
                  <a:gd name="T7" fmla="*/ 47 h 53"/>
                  <a:gd name="T8" fmla="*/ 0 w 11"/>
                  <a:gd name="T9" fmla="*/ 6 h 53"/>
                  <a:gd name="T10" fmla="*/ 6 w 11"/>
                  <a:gd name="T11" fmla="*/ 0 h 53"/>
                  <a:gd name="T12" fmla="*/ 6 w 11"/>
                  <a:gd name="T13" fmla="*/ 0 h 53"/>
                  <a:gd name="T14" fmla="*/ 11 w 11"/>
                  <a:gd name="T15" fmla="*/ 6 h 53"/>
                  <a:gd name="T16" fmla="*/ 11 w 11"/>
                  <a:gd name="T17" fmla="*/ 4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53">
                    <a:moveTo>
                      <a:pt x="11" y="47"/>
                    </a:moveTo>
                    <a:cubicBezTo>
                      <a:pt x="11" y="50"/>
                      <a:pt x="9" y="53"/>
                      <a:pt x="6" y="53"/>
                    </a:cubicBezTo>
                    <a:cubicBezTo>
                      <a:pt x="6" y="53"/>
                      <a:pt x="6" y="53"/>
                      <a:pt x="6" y="53"/>
                    </a:cubicBezTo>
                    <a:cubicBezTo>
                      <a:pt x="3" y="53"/>
                      <a:pt x="0" y="50"/>
                      <a:pt x="0" y="47"/>
                    </a:cubicBezTo>
                    <a:cubicBezTo>
                      <a:pt x="0" y="6"/>
                      <a:pt x="0" y="6"/>
                      <a:pt x="0" y="6"/>
                    </a:cubicBezTo>
                    <a:cubicBezTo>
                      <a:pt x="0" y="3"/>
                      <a:pt x="3" y="0"/>
                      <a:pt x="6" y="0"/>
                    </a:cubicBezTo>
                    <a:cubicBezTo>
                      <a:pt x="6" y="0"/>
                      <a:pt x="6" y="0"/>
                      <a:pt x="6" y="0"/>
                    </a:cubicBezTo>
                    <a:cubicBezTo>
                      <a:pt x="9" y="0"/>
                      <a:pt x="11" y="3"/>
                      <a:pt x="11" y="6"/>
                    </a:cubicBezTo>
                    <a:lnTo>
                      <a:pt x="11" y="47"/>
                    </a:lnTo>
                    <a:close/>
                  </a:path>
                </a:pathLst>
              </a:cu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23" name="任意多边形: 形状 722"/>
              <p:cNvSpPr/>
              <p:nvPr/>
            </p:nvSpPr>
            <p:spPr bwMode="auto">
              <a:xfrm>
                <a:off x="6386537" y="4557652"/>
                <a:ext cx="854220" cy="171360"/>
              </a:xfrm>
              <a:custGeom>
                <a:avLst/>
                <a:gdLst>
                  <a:gd name="T0" fmla="*/ 0 w 335"/>
                  <a:gd name="T1" fmla="*/ 53 h 67"/>
                  <a:gd name="T2" fmla="*/ 299 w 335"/>
                  <a:gd name="T3" fmla="*/ 0 h 67"/>
                  <a:gd name="T4" fmla="*/ 335 w 335"/>
                  <a:gd name="T5" fmla="*/ 0 h 67"/>
                  <a:gd name="T6" fmla="*/ 335 w 335"/>
                  <a:gd name="T7" fmla="*/ 67 h 67"/>
                  <a:gd name="T8" fmla="*/ 0 w 335"/>
                  <a:gd name="T9" fmla="*/ 67 h 67"/>
                  <a:gd name="T10" fmla="*/ 0 w 335"/>
                  <a:gd name="T11" fmla="*/ 53 h 67"/>
                </a:gdLst>
                <a:ahLst/>
                <a:cxnLst>
                  <a:cxn ang="0">
                    <a:pos x="T0" y="T1"/>
                  </a:cxn>
                  <a:cxn ang="0">
                    <a:pos x="T2" y="T3"/>
                  </a:cxn>
                  <a:cxn ang="0">
                    <a:pos x="T4" y="T5"/>
                  </a:cxn>
                  <a:cxn ang="0">
                    <a:pos x="T6" y="T7"/>
                  </a:cxn>
                  <a:cxn ang="0">
                    <a:pos x="T8" y="T9"/>
                  </a:cxn>
                  <a:cxn ang="0">
                    <a:pos x="T10" y="T11"/>
                  </a:cxn>
                </a:cxnLst>
                <a:rect l="0" t="0" r="r" b="b"/>
                <a:pathLst>
                  <a:path w="335" h="67">
                    <a:moveTo>
                      <a:pt x="0" y="53"/>
                    </a:moveTo>
                    <a:cubicBezTo>
                      <a:pt x="0" y="53"/>
                      <a:pt x="299" y="66"/>
                      <a:pt x="299" y="0"/>
                    </a:cubicBezTo>
                    <a:cubicBezTo>
                      <a:pt x="335" y="0"/>
                      <a:pt x="335" y="0"/>
                      <a:pt x="335" y="0"/>
                    </a:cubicBezTo>
                    <a:cubicBezTo>
                      <a:pt x="335" y="67"/>
                      <a:pt x="335" y="67"/>
                      <a:pt x="335" y="67"/>
                    </a:cubicBezTo>
                    <a:cubicBezTo>
                      <a:pt x="0" y="67"/>
                      <a:pt x="0" y="67"/>
                      <a:pt x="0" y="67"/>
                    </a:cubicBezTo>
                    <a:lnTo>
                      <a:pt x="0" y="53"/>
                    </a:lnTo>
                    <a:close/>
                  </a:path>
                </a:pathLst>
              </a:custGeom>
              <a:solidFill>
                <a:srgbClr val="0A0A0A">
                  <a:alpha val="10000"/>
                </a:srgbClr>
              </a:solidFill>
              <a:ln>
                <a:noFill/>
              </a:ln>
            </p:spPr>
            <p:txBody>
              <a:bodyPr vert="horz" wrap="square" lIns="91440" tIns="45720" rIns="91440" bIns="45720" numCol="1" anchor="t" anchorCtr="0" compatLnSpc="1"/>
              <a:lstStyle/>
              <a:p>
                <a:endParaRPr lang="zh-CN" altLang="en-US"/>
              </a:p>
            </p:txBody>
          </p:sp>
          <p:sp>
            <p:nvSpPr>
              <p:cNvPr id="724" name="矩形 723"/>
              <p:cNvSpPr/>
              <p:nvPr/>
            </p:nvSpPr>
            <p:spPr bwMode="auto">
              <a:xfrm>
                <a:off x="6529552" y="4390158"/>
                <a:ext cx="854220" cy="167494"/>
              </a:xfrm>
              <a:prstGeom prst="rect">
                <a:avLst/>
              </a:prstGeom>
              <a:solidFill>
                <a:srgbClr val="FFC56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725" name="任意多边形: 形状 724"/>
              <p:cNvSpPr/>
              <p:nvPr/>
            </p:nvSpPr>
            <p:spPr bwMode="auto">
              <a:xfrm>
                <a:off x="6555320" y="4408196"/>
                <a:ext cx="24480" cy="132707"/>
              </a:xfrm>
              <a:custGeom>
                <a:avLst/>
                <a:gdLst>
                  <a:gd name="T0" fmla="*/ 10 w 10"/>
                  <a:gd name="T1" fmla="*/ 47 h 52"/>
                  <a:gd name="T2" fmla="*/ 5 w 10"/>
                  <a:gd name="T3" fmla="*/ 52 h 52"/>
                  <a:gd name="T4" fmla="*/ 5 w 10"/>
                  <a:gd name="T5" fmla="*/ 52 h 52"/>
                  <a:gd name="T6" fmla="*/ 0 w 10"/>
                  <a:gd name="T7" fmla="*/ 47 h 52"/>
                  <a:gd name="T8" fmla="*/ 0 w 10"/>
                  <a:gd name="T9" fmla="*/ 5 h 52"/>
                  <a:gd name="T10" fmla="*/ 5 w 10"/>
                  <a:gd name="T11" fmla="*/ 0 h 52"/>
                  <a:gd name="T12" fmla="*/ 5 w 10"/>
                  <a:gd name="T13" fmla="*/ 0 h 52"/>
                  <a:gd name="T14" fmla="*/ 10 w 10"/>
                  <a:gd name="T15" fmla="*/ 5 h 52"/>
                  <a:gd name="T16" fmla="*/ 10 w 10"/>
                  <a:gd name="T17" fmla="*/ 47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52">
                    <a:moveTo>
                      <a:pt x="10" y="47"/>
                    </a:moveTo>
                    <a:cubicBezTo>
                      <a:pt x="10" y="50"/>
                      <a:pt x="8" y="52"/>
                      <a:pt x="5" y="52"/>
                    </a:cubicBezTo>
                    <a:cubicBezTo>
                      <a:pt x="5" y="52"/>
                      <a:pt x="5" y="52"/>
                      <a:pt x="5" y="52"/>
                    </a:cubicBezTo>
                    <a:cubicBezTo>
                      <a:pt x="2" y="52"/>
                      <a:pt x="0" y="50"/>
                      <a:pt x="0" y="47"/>
                    </a:cubicBezTo>
                    <a:cubicBezTo>
                      <a:pt x="0" y="5"/>
                      <a:pt x="0" y="5"/>
                      <a:pt x="0" y="5"/>
                    </a:cubicBezTo>
                    <a:cubicBezTo>
                      <a:pt x="0" y="2"/>
                      <a:pt x="2" y="0"/>
                      <a:pt x="5" y="0"/>
                    </a:cubicBezTo>
                    <a:cubicBezTo>
                      <a:pt x="5" y="0"/>
                      <a:pt x="5" y="0"/>
                      <a:pt x="5" y="0"/>
                    </a:cubicBezTo>
                    <a:cubicBezTo>
                      <a:pt x="8" y="0"/>
                      <a:pt x="10" y="2"/>
                      <a:pt x="10" y="5"/>
                    </a:cubicBezTo>
                    <a:lnTo>
                      <a:pt x="10" y="47"/>
                    </a:lnTo>
                    <a:close/>
                  </a:path>
                </a:pathLst>
              </a:cu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26" name="任意多边形: 形状 725"/>
              <p:cNvSpPr/>
              <p:nvPr/>
            </p:nvSpPr>
            <p:spPr bwMode="auto">
              <a:xfrm>
                <a:off x="6664835" y="4408196"/>
                <a:ext cx="28345" cy="132707"/>
              </a:xfrm>
              <a:custGeom>
                <a:avLst/>
                <a:gdLst>
                  <a:gd name="T0" fmla="*/ 11 w 11"/>
                  <a:gd name="T1" fmla="*/ 47 h 52"/>
                  <a:gd name="T2" fmla="*/ 5 w 11"/>
                  <a:gd name="T3" fmla="*/ 52 h 52"/>
                  <a:gd name="T4" fmla="*/ 5 w 11"/>
                  <a:gd name="T5" fmla="*/ 52 h 52"/>
                  <a:gd name="T6" fmla="*/ 0 w 11"/>
                  <a:gd name="T7" fmla="*/ 47 h 52"/>
                  <a:gd name="T8" fmla="*/ 0 w 11"/>
                  <a:gd name="T9" fmla="*/ 5 h 52"/>
                  <a:gd name="T10" fmla="*/ 5 w 11"/>
                  <a:gd name="T11" fmla="*/ 0 h 52"/>
                  <a:gd name="T12" fmla="*/ 5 w 11"/>
                  <a:gd name="T13" fmla="*/ 0 h 52"/>
                  <a:gd name="T14" fmla="*/ 11 w 11"/>
                  <a:gd name="T15" fmla="*/ 5 h 52"/>
                  <a:gd name="T16" fmla="*/ 11 w 11"/>
                  <a:gd name="T17" fmla="*/ 47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52">
                    <a:moveTo>
                      <a:pt x="11" y="47"/>
                    </a:moveTo>
                    <a:cubicBezTo>
                      <a:pt x="11" y="50"/>
                      <a:pt x="9" y="52"/>
                      <a:pt x="5" y="52"/>
                    </a:cubicBezTo>
                    <a:cubicBezTo>
                      <a:pt x="5" y="52"/>
                      <a:pt x="5" y="52"/>
                      <a:pt x="5" y="52"/>
                    </a:cubicBezTo>
                    <a:cubicBezTo>
                      <a:pt x="2" y="52"/>
                      <a:pt x="0" y="50"/>
                      <a:pt x="0" y="47"/>
                    </a:cubicBezTo>
                    <a:cubicBezTo>
                      <a:pt x="0" y="5"/>
                      <a:pt x="0" y="5"/>
                      <a:pt x="0" y="5"/>
                    </a:cubicBezTo>
                    <a:cubicBezTo>
                      <a:pt x="0" y="2"/>
                      <a:pt x="2" y="0"/>
                      <a:pt x="5" y="0"/>
                    </a:cubicBezTo>
                    <a:cubicBezTo>
                      <a:pt x="5" y="0"/>
                      <a:pt x="5" y="0"/>
                      <a:pt x="5" y="0"/>
                    </a:cubicBezTo>
                    <a:cubicBezTo>
                      <a:pt x="9" y="0"/>
                      <a:pt x="11" y="2"/>
                      <a:pt x="11" y="5"/>
                    </a:cubicBezTo>
                    <a:lnTo>
                      <a:pt x="11" y="47"/>
                    </a:lnTo>
                    <a:close/>
                  </a:path>
                </a:pathLst>
              </a:cu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27" name="任意多边形: 形状 726"/>
              <p:cNvSpPr/>
              <p:nvPr/>
            </p:nvSpPr>
            <p:spPr bwMode="auto">
              <a:xfrm>
                <a:off x="6776928" y="4408196"/>
                <a:ext cx="25768" cy="132707"/>
              </a:xfrm>
              <a:custGeom>
                <a:avLst/>
                <a:gdLst>
                  <a:gd name="T0" fmla="*/ 10 w 10"/>
                  <a:gd name="T1" fmla="*/ 47 h 52"/>
                  <a:gd name="T2" fmla="*/ 5 w 10"/>
                  <a:gd name="T3" fmla="*/ 52 h 52"/>
                  <a:gd name="T4" fmla="*/ 5 w 10"/>
                  <a:gd name="T5" fmla="*/ 52 h 52"/>
                  <a:gd name="T6" fmla="*/ 0 w 10"/>
                  <a:gd name="T7" fmla="*/ 47 h 52"/>
                  <a:gd name="T8" fmla="*/ 0 w 10"/>
                  <a:gd name="T9" fmla="*/ 5 h 52"/>
                  <a:gd name="T10" fmla="*/ 5 w 10"/>
                  <a:gd name="T11" fmla="*/ 0 h 52"/>
                  <a:gd name="T12" fmla="*/ 5 w 10"/>
                  <a:gd name="T13" fmla="*/ 0 h 52"/>
                  <a:gd name="T14" fmla="*/ 10 w 10"/>
                  <a:gd name="T15" fmla="*/ 5 h 52"/>
                  <a:gd name="T16" fmla="*/ 10 w 10"/>
                  <a:gd name="T17" fmla="*/ 47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52">
                    <a:moveTo>
                      <a:pt x="10" y="47"/>
                    </a:moveTo>
                    <a:cubicBezTo>
                      <a:pt x="10" y="50"/>
                      <a:pt x="8" y="52"/>
                      <a:pt x="5" y="52"/>
                    </a:cubicBezTo>
                    <a:cubicBezTo>
                      <a:pt x="5" y="52"/>
                      <a:pt x="5" y="52"/>
                      <a:pt x="5" y="52"/>
                    </a:cubicBezTo>
                    <a:cubicBezTo>
                      <a:pt x="2" y="52"/>
                      <a:pt x="0" y="50"/>
                      <a:pt x="0" y="47"/>
                    </a:cubicBezTo>
                    <a:cubicBezTo>
                      <a:pt x="0" y="5"/>
                      <a:pt x="0" y="5"/>
                      <a:pt x="0" y="5"/>
                    </a:cubicBezTo>
                    <a:cubicBezTo>
                      <a:pt x="0" y="2"/>
                      <a:pt x="2" y="0"/>
                      <a:pt x="5" y="0"/>
                    </a:cubicBezTo>
                    <a:cubicBezTo>
                      <a:pt x="5" y="0"/>
                      <a:pt x="5" y="0"/>
                      <a:pt x="5" y="0"/>
                    </a:cubicBezTo>
                    <a:cubicBezTo>
                      <a:pt x="8" y="0"/>
                      <a:pt x="10" y="2"/>
                      <a:pt x="10" y="5"/>
                    </a:cubicBezTo>
                    <a:lnTo>
                      <a:pt x="10" y="47"/>
                    </a:lnTo>
                    <a:close/>
                  </a:path>
                </a:pathLst>
              </a:cu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28" name="任意多边形: 形状 727"/>
              <p:cNvSpPr/>
              <p:nvPr/>
            </p:nvSpPr>
            <p:spPr bwMode="auto">
              <a:xfrm>
                <a:off x="6886442" y="4408196"/>
                <a:ext cx="28345" cy="132707"/>
              </a:xfrm>
              <a:custGeom>
                <a:avLst/>
                <a:gdLst>
                  <a:gd name="T0" fmla="*/ 11 w 11"/>
                  <a:gd name="T1" fmla="*/ 47 h 52"/>
                  <a:gd name="T2" fmla="*/ 5 w 11"/>
                  <a:gd name="T3" fmla="*/ 52 h 52"/>
                  <a:gd name="T4" fmla="*/ 5 w 11"/>
                  <a:gd name="T5" fmla="*/ 52 h 52"/>
                  <a:gd name="T6" fmla="*/ 0 w 11"/>
                  <a:gd name="T7" fmla="*/ 47 h 52"/>
                  <a:gd name="T8" fmla="*/ 0 w 11"/>
                  <a:gd name="T9" fmla="*/ 5 h 52"/>
                  <a:gd name="T10" fmla="*/ 5 w 11"/>
                  <a:gd name="T11" fmla="*/ 0 h 52"/>
                  <a:gd name="T12" fmla="*/ 5 w 11"/>
                  <a:gd name="T13" fmla="*/ 0 h 52"/>
                  <a:gd name="T14" fmla="*/ 11 w 11"/>
                  <a:gd name="T15" fmla="*/ 5 h 52"/>
                  <a:gd name="T16" fmla="*/ 11 w 11"/>
                  <a:gd name="T17" fmla="*/ 47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52">
                    <a:moveTo>
                      <a:pt x="11" y="47"/>
                    </a:moveTo>
                    <a:cubicBezTo>
                      <a:pt x="11" y="50"/>
                      <a:pt x="9" y="52"/>
                      <a:pt x="5" y="52"/>
                    </a:cubicBezTo>
                    <a:cubicBezTo>
                      <a:pt x="5" y="52"/>
                      <a:pt x="5" y="52"/>
                      <a:pt x="5" y="52"/>
                    </a:cubicBezTo>
                    <a:cubicBezTo>
                      <a:pt x="2" y="52"/>
                      <a:pt x="0" y="50"/>
                      <a:pt x="0" y="47"/>
                    </a:cubicBezTo>
                    <a:cubicBezTo>
                      <a:pt x="0" y="5"/>
                      <a:pt x="0" y="5"/>
                      <a:pt x="0" y="5"/>
                    </a:cubicBezTo>
                    <a:cubicBezTo>
                      <a:pt x="0" y="2"/>
                      <a:pt x="2" y="0"/>
                      <a:pt x="5" y="0"/>
                    </a:cubicBezTo>
                    <a:cubicBezTo>
                      <a:pt x="5" y="0"/>
                      <a:pt x="5" y="0"/>
                      <a:pt x="5" y="0"/>
                    </a:cubicBezTo>
                    <a:cubicBezTo>
                      <a:pt x="9" y="0"/>
                      <a:pt x="11" y="2"/>
                      <a:pt x="11" y="5"/>
                    </a:cubicBezTo>
                    <a:lnTo>
                      <a:pt x="11" y="47"/>
                    </a:lnTo>
                    <a:close/>
                  </a:path>
                </a:pathLst>
              </a:cu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29" name="任意多边形: 形状 728"/>
              <p:cNvSpPr/>
              <p:nvPr/>
            </p:nvSpPr>
            <p:spPr bwMode="auto">
              <a:xfrm>
                <a:off x="6998535" y="4408196"/>
                <a:ext cx="25768" cy="132707"/>
              </a:xfrm>
              <a:custGeom>
                <a:avLst/>
                <a:gdLst>
                  <a:gd name="T0" fmla="*/ 10 w 10"/>
                  <a:gd name="T1" fmla="*/ 47 h 52"/>
                  <a:gd name="T2" fmla="*/ 5 w 10"/>
                  <a:gd name="T3" fmla="*/ 52 h 52"/>
                  <a:gd name="T4" fmla="*/ 5 w 10"/>
                  <a:gd name="T5" fmla="*/ 52 h 52"/>
                  <a:gd name="T6" fmla="*/ 0 w 10"/>
                  <a:gd name="T7" fmla="*/ 47 h 52"/>
                  <a:gd name="T8" fmla="*/ 0 w 10"/>
                  <a:gd name="T9" fmla="*/ 5 h 52"/>
                  <a:gd name="T10" fmla="*/ 5 w 10"/>
                  <a:gd name="T11" fmla="*/ 0 h 52"/>
                  <a:gd name="T12" fmla="*/ 5 w 10"/>
                  <a:gd name="T13" fmla="*/ 0 h 52"/>
                  <a:gd name="T14" fmla="*/ 10 w 10"/>
                  <a:gd name="T15" fmla="*/ 5 h 52"/>
                  <a:gd name="T16" fmla="*/ 10 w 10"/>
                  <a:gd name="T17" fmla="*/ 47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52">
                    <a:moveTo>
                      <a:pt x="10" y="47"/>
                    </a:moveTo>
                    <a:cubicBezTo>
                      <a:pt x="10" y="50"/>
                      <a:pt x="8" y="52"/>
                      <a:pt x="5" y="52"/>
                    </a:cubicBezTo>
                    <a:cubicBezTo>
                      <a:pt x="5" y="52"/>
                      <a:pt x="5" y="52"/>
                      <a:pt x="5" y="52"/>
                    </a:cubicBezTo>
                    <a:cubicBezTo>
                      <a:pt x="2" y="52"/>
                      <a:pt x="0" y="50"/>
                      <a:pt x="0" y="47"/>
                    </a:cubicBezTo>
                    <a:cubicBezTo>
                      <a:pt x="0" y="5"/>
                      <a:pt x="0" y="5"/>
                      <a:pt x="0" y="5"/>
                    </a:cubicBezTo>
                    <a:cubicBezTo>
                      <a:pt x="0" y="2"/>
                      <a:pt x="2" y="0"/>
                      <a:pt x="5" y="0"/>
                    </a:cubicBezTo>
                    <a:cubicBezTo>
                      <a:pt x="5" y="0"/>
                      <a:pt x="5" y="0"/>
                      <a:pt x="5" y="0"/>
                    </a:cubicBezTo>
                    <a:cubicBezTo>
                      <a:pt x="8" y="0"/>
                      <a:pt x="10" y="2"/>
                      <a:pt x="10" y="5"/>
                    </a:cubicBezTo>
                    <a:lnTo>
                      <a:pt x="10" y="47"/>
                    </a:lnTo>
                    <a:close/>
                  </a:path>
                </a:pathLst>
              </a:cu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30" name="任意多边形: 形状 729"/>
              <p:cNvSpPr/>
              <p:nvPr/>
            </p:nvSpPr>
            <p:spPr bwMode="auto">
              <a:xfrm>
                <a:off x="7108050" y="4408196"/>
                <a:ext cx="28345" cy="132707"/>
              </a:xfrm>
              <a:custGeom>
                <a:avLst/>
                <a:gdLst>
                  <a:gd name="T0" fmla="*/ 11 w 11"/>
                  <a:gd name="T1" fmla="*/ 47 h 52"/>
                  <a:gd name="T2" fmla="*/ 6 w 11"/>
                  <a:gd name="T3" fmla="*/ 52 h 52"/>
                  <a:gd name="T4" fmla="*/ 6 w 11"/>
                  <a:gd name="T5" fmla="*/ 52 h 52"/>
                  <a:gd name="T6" fmla="*/ 0 w 11"/>
                  <a:gd name="T7" fmla="*/ 47 h 52"/>
                  <a:gd name="T8" fmla="*/ 0 w 11"/>
                  <a:gd name="T9" fmla="*/ 5 h 52"/>
                  <a:gd name="T10" fmla="*/ 6 w 11"/>
                  <a:gd name="T11" fmla="*/ 0 h 52"/>
                  <a:gd name="T12" fmla="*/ 6 w 11"/>
                  <a:gd name="T13" fmla="*/ 0 h 52"/>
                  <a:gd name="T14" fmla="*/ 11 w 11"/>
                  <a:gd name="T15" fmla="*/ 5 h 52"/>
                  <a:gd name="T16" fmla="*/ 11 w 11"/>
                  <a:gd name="T17" fmla="*/ 47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52">
                    <a:moveTo>
                      <a:pt x="11" y="47"/>
                    </a:moveTo>
                    <a:cubicBezTo>
                      <a:pt x="11" y="50"/>
                      <a:pt x="9" y="52"/>
                      <a:pt x="6" y="52"/>
                    </a:cubicBezTo>
                    <a:cubicBezTo>
                      <a:pt x="6" y="52"/>
                      <a:pt x="6" y="52"/>
                      <a:pt x="6" y="52"/>
                    </a:cubicBezTo>
                    <a:cubicBezTo>
                      <a:pt x="2" y="52"/>
                      <a:pt x="0" y="50"/>
                      <a:pt x="0" y="47"/>
                    </a:cubicBezTo>
                    <a:cubicBezTo>
                      <a:pt x="0" y="5"/>
                      <a:pt x="0" y="5"/>
                      <a:pt x="0" y="5"/>
                    </a:cubicBezTo>
                    <a:cubicBezTo>
                      <a:pt x="0" y="2"/>
                      <a:pt x="2" y="0"/>
                      <a:pt x="6" y="0"/>
                    </a:cubicBezTo>
                    <a:cubicBezTo>
                      <a:pt x="6" y="0"/>
                      <a:pt x="6" y="0"/>
                      <a:pt x="6" y="0"/>
                    </a:cubicBezTo>
                    <a:cubicBezTo>
                      <a:pt x="9" y="0"/>
                      <a:pt x="11" y="2"/>
                      <a:pt x="11" y="5"/>
                    </a:cubicBezTo>
                    <a:lnTo>
                      <a:pt x="11" y="47"/>
                    </a:lnTo>
                    <a:close/>
                  </a:path>
                </a:pathLst>
              </a:cu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31" name="任意多边形: 形状 730"/>
              <p:cNvSpPr/>
              <p:nvPr/>
            </p:nvSpPr>
            <p:spPr bwMode="auto">
              <a:xfrm>
                <a:off x="7220142" y="4408196"/>
                <a:ext cx="25768" cy="132707"/>
              </a:xfrm>
              <a:custGeom>
                <a:avLst/>
                <a:gdLst>
                  <a:gd name="T0" fmla="*/ 10 w 10"/>
                  <a:gd name="T1" fmla="*/ 47 h 52"/>
                  <a:gd name="T2" fmla="*/ 5 w 10"/>
                  <a:gd name="T3" fmla="*/ 52 h 52"/>
                  <a:gd name="T4" fmla="*/ 5 w 10"/>
                  <a:gd name="T5" fmla="*/ 52 h 52"/>
                  <a:gd name="T6" fmla="*/ 0 w 10"/>
                  <a:gd name="T7" fmla="*/ 47 h 52"/>
                  <a:gd name="T8" fmla="*/ 0 w 10"/>
                  <a:gd name="T9" fmla="*/ 5 h 52"/>
                  <a:gd name="T10" fmla="*/ 5 w 10"/>
                  <a:gd name="T11" fmla="*/ 0 h 52"/>
                  <a:gd name="T12" fmla="*/ 5 w 10"/>
                  <a:gd name="T13" fmla="*/ 0 h 52"/>
                  <a:gd name="T14" fmla="*/ 10 w 10"/>
                  <a:gd name="T15" fmla="*/ 5 h 52"/>
                  <a:gd name="T16" fmla="*/ 10 w 10"/>
                  <a:gd name="T17" fmla="*/ 47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52">
                    <a:moveTo>
                      <a:pt x="10" y="47"/>
                    </a:moveTo>
                    <a:cubicBezTo>
                      <a:pt x="10" y="50"/>
                      <a:pt x="8" y="52"/>
                      <a:pt x="5" y="52"/>
                    </a:cubicBezTo>
                    <a:cubicBezTo>
                      <a:pt x="5" y="52"/>
                      <a:pt x="5" y="52"/>
                      <a:pt x="5" y="52"/>
                    </a:cubicBezTo>
                    <a:cubicBezTo>
                      <a:pt x="2" y="52"/>
                      <a:pt x="0" y="50"/>
                      <a:pt x="0" y="47"/>
                    </a:cubicBezTo>
                    <a:cubicBezTo>
                      <a:pt x="0" y="5"/>
                      <a:pt x="0" y="5"/>
                      <a:pt x="0" y="5"/>
                    </a:cubicBezTo>
                    <a:cubicBezTo>
                      <a:pt x="0" y="2"/>
                      <a:pt x="2" y="0"/>
                      <a:pt x="5" y="0"/>
                    </a:cubicBezTo>
                    <a:cubicBezTo>
                      <a:pt x="5" y="0"/>
                      <a:pt x="5" y="0"/>
                      <a:pt x="5" y="0"/>
                    </a:cubicBezTo>
                    <a:cubicBezTo>
                      <a:pt x="8" y="0"/>
                      <a:pt x="10" y="2"/>
                      <a:pt x="10" y="5"/>
                    </a:cubicBezTo>
                    <a:lnTo>
                      <a:pt x="10" y="47"/>
                    </a:lnTo>
                    <a:close/>
                  </a:path>
                </a:pathLst>
              </a:cu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32" name="任意多边形: 形状 731"/>
              <p:cNvSpPr/>
              <p:nvPr/>
            </p:nvSpPr>
            <p:spPr bwMode="auto">
              <a:xfrm>
                <a:off x="7329657" y="4408196"/>
                <a:ext cx="28345" cy="132707"/>
              </a:xfrm>
              <a:custGeom>
                <a:avLst/>
                <a:gdLst>
                  <a:gd name="T0" fmla="*/ 11 w 11"/>
                  <a:gd name="T1" fmla="*/ 47 h 52"/>
                  <a:gd name="T2" fmla="*/ 6 w 11"/>
                  <a:gd name="T3" fmla="*/ 52 h 52"/>
                  <a:gd name="T4" fmla="*/ 6 w 11"/>
                  <a:gd name="T5" fmla="*/ 52 h 52"/>
                  <a:gd name="T6" fmla="*/ 0 w 11"/>
                  <a:gd name="T7" fmla="*/ 47 h 52"/>
                  <a:gd name="T8" fmla="*/ 0 w 11"/>
                  <a:gd name="T9" fmla="*/ 5 h 52"/>
                  <a:gd name="T10" fmla="*/ 6 w 11"/>
                  <a:gd name="T11" fmla="*/ 0 h 52"/>
                  <a:gd name="T12" fmla="*/ 6 w 11"/>
                  <a:gd name="T13" fmla="*/ 0 h 52"/>
                  <a:gd name="T14" fmla="*/ 11 w 11"/>
                  <a:gd name="T15" fmla="*/ 5 h 52"/>
                  <a:gd name="T16" fmla="*/ 11 w 11"/>
                  <a:gd name="T17" fmla="*/ 47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52">
                    <a:moveTo>
                      <a:pt x="11" y="47"/>
                    </a:moveTo>
                    <a:cubicBezTo>
                      <a:pt x="11" y="50"/>
                      <a:pt x="9" y="52"/>
                      <a:pt x="6" y="52"/>
                    </a:cubicBezTo>
                    <a:cubicBezTo>
                      <a:pt x="6" y="52"/>
                      <a:pt x="6" y="52"/>
                      <a:pt x="6" y="52"/>
                    </a:cubicBezTo>
                    <a:cubicBezTo>
                      <a:pt x="3" y="52"/>
                      <a:pt x="0" y="50"/>
                      <a:pt x="0" y="47"/>
                    </a:cubicBezTo>
                    <a:cubicBezTo>
                      <a:pt x="0" y="5"/>
                      <a:pt x="0" y="5"/>
                      <a:pt x="0" y="5"/>
                    </a:cubicBezTo>
                    <a:cubicBezTo>
                      <a:pt x="0" y="2"/>
                      <a:pt x="3" y="0"/>
                      <a:pt x="6" y="0"/>
                    </a:cubicBezTo>
                    <a:cubicBezTo>
                      <a:pt x="6" y="0"/>
                      <a:pt x="6" y="0"/>
                      <a:pt x="6" y="0"/>
                    </a:cubicBezTo>
                    <a:cubicBezTo>
                      <a:pt x="9" y="0"/>
                      <a:pt x="11" y="2"/>
                      <a:pt x="11" y="5"/>
                    </a:cubicBezTo>
                    <a:lnTo>
                      <a:pt x="11" y="47"/>
                    </a:lnTo>
                    <a:close/>
                  </a:path>
                </a:pathLst>
              </a:cu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33" name="任意多边形: 形状 732"/>
              <p:cNvSpPr/>
              <p:nvPr/>
            </p:nvSpPr>
            <p:spPr bwMode="auto">
              <a:xfrm>
                <a:off x="6529552" y="4390158"/>
                <a:ext cx="854220" cy="167494"/>
              </a:xfrm>
              <a:custGeom>
                <a:avLst/>
                <a:gdLst>
                  <a:gd name="T0" fmla="*/ 0 w 335"/>
                  <a:gd name="T1" fmla="*/ 53 h 66"/>
                  <a:gd name="T2" fmla="*/ 299 w 335"/>
                  <a:gd name="T3" fmla="*/ 0 h 66"/>
                  <a:gd name="T4" fmla="*/ 335 w 335"/>
                  <a:gd name="T5" fmla="*/ 0 h 66"/>
                  <a:gd name="T6" fmla="*/ 335 w 335"/>
                  <a:gd name="T7" fmla="*/ 66 h 66"/>
                  <a:gd name="T8" fmla="*/ 0 w 335"/>
                  <a:gd name="T9" fmla="*/ 66 h 66"/>
                  <a:gd name="T10" fmla="*/ 0 w 335"/>
                  <a:gd name="T11" fmla="*/ 53 h 66"/>
                </a:gdLst>
                <a:ahLst/>
                <a:cxnLst>
                  <a:cxn ang="0">
                    <a:pos x="T0" y="T1"/>
                  </a:cxn>
                  <a:cxn ang="0">
                    <a:pos x="T2" y="T3"/>
                  </a:cxn>
                  <a:cxn ang="0">
                    <a:pos x="T4" y="T5"/>
                  </a:cxn>
                  <a:cxn ang="0">
                    <a:pos x="T6" y="T7"/>
                  </a:cxn>
                  <a:cxn ang="0">
                    <a:pos x="T8" y="T9"/>
                  </a:cxn>
                  <a:cxn ang="0">
                    <a:pos x="T10" y="T11"/>
                  </a:cxn>
                </a:cxnLst>
                <a:rect l="0" t="0" r="r" b="b"/>
                <a:pathLst>
                  <a:path w="335" h="66">
                    <a:moveTo>
                      <a:pt x="0" y="53"/>
                    </a:moveTo>
                    <a:cubicBezTo>
                      <a:pt x="0" y="53"/>
                      <a:pt x="299" y="65"/>
                      <a:pt x="299" y="0"/>
                    </a:cubicBezTo>
                    <a:cubicBezTo>
                      <a:pt x="335" y="0"/>
                      <a:pt x="335" y="0"/>
                      <a:pt x="335" y="0"/>
                    </a:cubicBezTo>
                    <a:cubicBezTo>
                      <a:pt x="335" y="66"/>
                      <a:pt x="335" y="66"/>
                      <a:pt x="335" y="66"/>
                    </a:cubicBezTo>
                    <a:cubicBezTo>
                      <a:pt x="0" y="66"/>
                      <a:pt x="0" y="66"/>
                      <a:pt x="0" y="66"/>
                    </a:cubicBezTo>
                    <a:lnTo>
                      <a:pt x="0" y="53"/>
                    </a:lnTo>
                    <a:close/>
                  </a:path>
                </a:pathLst>
              </a:custGeom>
              <a:solidFill>
                <a:srgbClr val="0A0A0A">
                  <a:alpha val="10000"/>
                </a:srgbClr>
              </a:solidFill>
              <a:ln>
                <a:noFill/>
              </a:ln>
            </p:spPr>
            <p:txBody>
              <a:bodyPr vert="horz" wrap="square" lIns="91440" tIns="45720" rIns="91440" bIns="45720" numCol="1" anchor="t" anchorCtr="0" compatLnSpc="1"/>
              <a:lstStyle/>
              <a:p>
                <a:endParaRPr lang="zh-CN" altLang="en-US"/>
              </a:p>
            </p:txBody>
          </p:sp>
          <p:sp>
            <p:nvSpPr>
              <p:cNvPr id="734" name="椭圆 733"/>
              <p:cNvSpPr/>
              <p:nvPr/>
            </p:nvSpPr>
            <p:spPr bwMode="auto">
              <a:xfrm>
                <a:off x="6623606" y="3676377"/>
                <a:ext cx="637766" cy="642919"/>
              </a:xfrm>
              <a:prstGeom prst="ellipse">
                <a:avLst/>
              </a:pr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35" name="任意多边形: 形状 734"/>
              <p:cNvSpPr/>
              <p:nvPr/>
            </p:nvSpPr>
            <p:spPr bwMode="auto">
              <a:xfrm>
                <a:off x="6810426" y="3798776"/>
                <a:ext cx="246088" cy="412293"/>
              </a:xfrm>
              <a:custGeom>
                <a:avLst/>
                <a:gdLst>
                  <a:gd name="T0" fmla="*/ 60 w 97"/>
                  <a:gd name="T1" fmla="*/ 137 h 162"/>
                  <a:gd name="T2" fmla="*/ 60 w 97"/>
                  <a:gd name="T3" fmla="*/ 162 h 162"/>
                  <a:gd name="T4" fmla="*/ 39 w 97"/>
                  <a:gd name="T5" fmla="*/ 162 h 162"/>
                  <a:gd name="T6" fmla="*/ 39 w 97"/>
                  <a:gd name="T7" fmla="*/ 137 h 162"/>
                  <a:gd name="T8" fmla="*/ 0 w 97"/>
                  <a:gd name="T9" fmla="*/ 120 h 162"/>
                  <a:gd name="T10" fmla="*/ 11 w 97"/>
                  <a:gd name="T11" fmla="*/ 98 h 162"/>
                  <a:gd name="T12" fmla="*/ 52 w 97"/>
                  <a:gd name="T13" fmla="*/ 114 h 162"/>
                  <a:gd name="T14" fmla="*/ 67 w 97"/>
                  <a:gd name="T15" fmla="*/ 105 h 162"/>
                  <a:gd name="T16" fmla="*/ 7 w 97"/>
                  <a:gd name="T17" fmla="*/ 57 h 162"/>
                  <a:gd name="T18" fmla="*/ 39 w 97"/>
                  <a:gd name="T19" fmla="*/ 24 h 162"/>
                  <a:gd name="T20" fmla="*/ 39 w 97"/>
                  <a:gd name="T21" fmla="*/ 0 h 162"/>
                  <a:gd name="T22" fmla="*/ 60 w 97"/>
                  <a:gd name="T23" fmla="*/ 0 h 162"/>
                  <a:gd name="T24" fmla="*/ 60 w 97"/>
                  <a:gd name="T25" fmla="*/ 23 h 162"/>
                  <a:gd name="T26" fmla="*/ 96 w 97"/>
                  <a:gd name="T27" fmla="*/ 35 h 162"/>
                  <a:gd name="T28" fmla="*/ 86 w 97"/>
                  <a:gd name="T29" fmla="*/ 58 h 162"/>
                  <a:gd name="T30" fmla="*/ 50 w 97"/>
                  <a:gd name="T31" fmla="*/ 46 h 162"/>
                  <a:gd name="T32" fmla="*/ 37 w 97"/>
                  <a:gd name="T33" fmla="*/ 54 h 162"/>
                  <a:gd name="T34" fmla="*/ 97 w 97"/>
                  <a:gd name="T35" fmla="*/ 103 h 162"/>
                  <a:gd name="T36" fmla="*/ 60 w 97"/>
                  <a:gd name="T37" fmla="*/ 137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7" h="162">
                    <a:moveTo>
                      <a:pt x="60" y="137"/>
                    </a:moveTo>
                    <a:cubicBezTo>
                      <a:pt x="60" y="162"/>
                      <a:pt x="60" y="162"/>
                      <a:pt x="60" y="162"/>
                    </a:cubicBezTo>
                    <a:cubicBezTo>
                      <a:pt x="39" y="162"/>
                      <a:pt x="39" y="162"/>
                      <a:pt x="39" y="162"/>
                    </a:cubicBezTo>
                    <a:cubicBezTo>
                      <a:pt x="39" y="137"/>
                      <a:pt x="39" y="137"/>
                      <a:pt x="39" y="137"/>
                    </a:cubicBezTo>
                    <a:cubicBezTo>
                      <a:pt x="24" y="134"/>
                      <a:pt x="11" y="128"/>
                      <a:pt x="0" y="120"/>
                    </a:cubicBezTo>
                    <a:cubicBezTo>
                      <a:pt x="11" y="98"/>
                      <a:pt x="11" y="98"/>
                      <a:pt x="11" y="98"/>
                    </a:cubicBezTo>
                    <a:cubicBezTo>
                      <a:pt x="23" y="108"/>
                      <a:pt x="40" y="114"/>
                      <a:pt x="52" y="114"/>
                    </a:cubicBezTo>
                    <a:cubicBezTo>
                      <a:pt x="61" y="114"/>
                      <a:pt x="67" y="111"/>
                      <a:pt x="67" y="105"/>
                    </a:cubicBezTo>
                    <a:cubicBezTo>
                      <a:pt x="67" y="85"/>
                      <a:pt x="7" y="97"/>
                      <a:pt x="7" y="57"/>
                    </a:cubicBezTo>
                    <a:cubicBezTo>
                      <a:pt x="7" y="39"/>
                      <a:pt x="19" y="27"/>
                      <a:pt x="39" y="24"/>
                    </a:cubicBezTo>
                    <a:cubicBezTo>
                      <a:pt x="39" y="0"/>
                      <a:pt x="39" y="0"/>
                      <a:pt x="39" y="0"/>
                    </a:cubicBezTo>
                    <a:cubicBezTo>
                      <a:pt x="60" y="0"/>
                      <a:pt x="60" y="0"/>
                      <a:pt x="60" y="0"/>
                    </a:cubicBezTo>
                    <a:cubicBezTo>
                      <a:pt x="60" y="23"/>
                      <a:pt x="60" y="23"/>
                      <a:pt x="60" y="23"/>
                    </a:cubicBezTo>
                    <a:cubicBezTo>
                      <a:pt x="73" y="24"/>
                      <a:pt x="87" y="29"/>
                      <a:pt x="96" y="35"/>
                    </a:cubicBezTo>
                    <a:cubicBezTo>
                      <a:pt x="86" y="58"/>
                      <a:pt x="86" y="58"/>
                      <a:pt x="86" y="58"/>
                    </a:cubicBezTo>
                    <a:cubicBezTo>
                      <a:pt x="74" y="51"/>
                      <a:pt x="59" y="46"/>
                      <a:pt x="50" y="46"/>
                    </a:cubicBezTo>
                    <a:cubicBezTo>
                      <a:pt x="42" y="46"/>
                      <a:pt x="37" y="48"/>
                      <a:pt x="37" y="54"/>
                    </a:cubicBezTo>
                    <a:cubicBezTo>
                      <a:pt x="37" y="73"/>
                      <a:pt x="97" y="62"/>
                      <a:pt x="97" y="103"/>
                    </a:cubicBezTo>
                    <a:cubicBezTo>
                      <a:pt x="97" y="123"/>
                      <a:pt x="81" y="135"/>
                      <a:pt x="60" y="137"/>
                    </a:cubicBezTo>
                    <a:close/>
                  </a:path>
                </a:pathLst>
              </a:custGeom>
              <a:solidFill>
                <a:srgbClr val="FFC56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grpSp>
        <p:grpSp>
          <p:nvGrpSpPr>
            <p:cNvPr id="154" name="组合 153"/>
            <p:cNvGrpSpPr/>
            <p:nvPr/>
          </p:nvGrpSpPr>
          <p:grpSpPr>
            <a:xfrm>
              <a:off x="7928822" y="2811147"/>
              <a:ext cx="626800" cy="2453282"/>
              <a:chOff x="8235362" y="2811147"/>
              <a:chExt cx="626800" cy="2453282"/>
            </a:xfrm>
          </p:grpSpPr>
          <p:cxnSp>
            <p:nvCxnSpPr>
              <p:cNvPr id="93" name="直接连接符 92"/>
              <p:cNvCxnSpPr/>
              <p:nvPr/>
            </p:nvCxnSpPr>
            <p:spPr>
              <a:xfrm>
                <a:off x="8235362" y="2811148"/>
                <a:ext cx="0" cy="2453281"/>
              </a:xfrm>
              <a:prstGeom prst="line">
                <a:avLst/>
              </a:prstGeom>
              <a:ln>
                <a:solidFill>
                  <a:schemeClr val="tx2">
                    <a:alpha val="50000"/>
                  </a:schemeClr>
                </a:solidFill>
              </a:ln>
            </p:spPr>
            <p:style>
              <a:lnRef idx="1">
                <a:schemeClr val="accent1"/>
              </a:lnRef>
              <a:fillRef idx="0">
                <a:schemeClr val="accent1"/>
              </a:fillRef>
              <a:effectRef idx="0">
                <a:schemeClr val="accent1"/>
              </a:effectRef>
              <a:fontRef idx="minor">
                <a:schemeClr val="tx1"/>
              </a:fontRef>
            </p:style>
          </p:cxnSp>
          <p:cxnSp>
            <p:nvCxnSpPr>
              <p:cNvPr id="94" name="直接连接符 93"/>
              <p:cNvCxnSpPr/>
              <p:nvPr/>
            </p:nvCxnSpPr>
            <p:spPr>
              <a:xfrm>
                <a:off x="8235362" y="2811147"/>
                <a:ext cx="626800" cy="0"/>
              </a:xfrm>
              <a:prstGeom prst="line">
                <a:avLst/>
              </a:prstGeom>
              <a:ln>
                <a:solidFill>
                  <a:schemeClr val="tx2">
                    <a:alpha val="50000"/>
                  </a:schemeClr>
                </a:solidFill>
              </a:ln>
            </p:spPr>
            <p:style>
              <a:lnRef idx="1">
                <a:schemeClr val="accent1"/>
              </a:lnRef>
              <a:fillRef idx="0">
                <a:schemeClr val="accent1"/>
              </a:fillRef>
              <a:effectRef idx="0">
                <a:schemeClr val="accent1"/>
              </a:effectRef>
              <a:fontRef idx="minor">
                <a:schemeClr val="tx1"/>
              </a:fontRef>
            </p:style>
          </p:cxnSp>
          <p:cxnSp>
            <p:nvCxnSpPr>
              <p:cNvPr id="96" name="直接连接符 95"/>
              <p:cNvCxnSpPr/>
              <p:nvPr/>
            </p:nvCxnSpPr>
            <p:spPr>
              <a:xfrm flipH="1">
                <a:off x="8235362" y="5264429"/>
                <a:ext cx="626800" cy="0"/>
              </a:xfrm>
              <a:prstGeom prst="line">
                <a:avLst/>
              </a:prstGeom>
              <a:ln>
                <a:solidFill>
                  <a:schemeClr val="tx2">
                    <a:alpha val="50000"/>
                  </a:schemeClr>
                </a:solidFill>
              </a:ln>
            </p:spPr>
            <p:style>
              <a:lnRef idx="1">
                <a:schemeClr val="accent1"/>
              </a:lnRef>
              <a:fillRef idx="0">
                <a:schemeClr val="accent1"/>
              </a:fillRef>
              <a:effectRef idx="0">
                <a:schemeClr val="accent1"/>
              </a:effectRef>
              <a:fontRef idx="minor">
                <a:schemeClr val="tx1"/>
              </a:fontRef>
            </p:style>
          </p:cxnSp>
        </p:grpSp>
        <p:grpSp>
          <p:nvGrpSpPr>
            <p:cNvPr id="153" name="组合 152"/>
            <p:cNvGrpSpPr/>
            <p:nvPr/>
          </p:nvGrpSpPr>
          <p:grpSpPr>
            <a:xfrm>
              <a:off x="3600741" y="2811619"/>
              <a:ext cx="626800" cy="2456308"/>
              <a:chOff x="3272339" y="2811619"/>
              <a:chExt cx="626800" cy="2456308"/>
            </a:xfrm>
          </p:grpSpPr>
          <p:cxnSp>
            <p:nvCxnSpPr>
              <p:cNvPr id="98" name="直接连接符 97"/>
              <p:cNvCxnSpPr/>
              <p:nvPr/>
            </p:nvCxnSpPr>
            <p:spPr>
              <a:xfrm flipH="1">
                <a:off x="3899139" y="2811619"/>
                <a:ext cx="0" cy="2453280"/>
              </a:xfrm>
              <a:prstGeom prst="line">
                <a:avLst/>
              </a:prstGeom>
              <a:ln>
                <a:solidFill>
                  <a:schemeClr val="tx2">
                    <a:alpha val="50000"/>
                  </a:schemeClr>
                </a:solidFill>
              </a:ln>
            </p:spPr>
            <p:style>
              <a:lnRef idx="1">
                <a:schemeClr val="accent1"/>
              </a:lnRef>
              <a:fillRef idx="0">
                <a:schemeClr val="accent1"/>
              </a:fillRef>
              <a:effectRef idx="0">
                <a:schemeClr val="accent1"/>
              </a:effectRef>
              <a:fontRef idx="minor">
                <a:schemeClr val="tx1"/>
              </a:fontRef>
            </p:style>
          </p:cxnSp>
          <p:cxnSp>
            <p:nvCxnSpPr>
              <p:cNvPr id="99" name="直接连接符 98"/>
              <p:cNvCxnSpPr/>
              <p:nvPr/>
            </p:nvCxnSpPr>
            <p:spPr>
              <a:xfrm flipH="1">
                <a:off x="3272339" y="2814647"/>
                <a:ext cx="626800" cy="0"/>
              </a:xfrm>
              <a:prstGeom prst="line">
                <a:avLst/>
              </a:prstGeom>
              <a:ln>
                <a:solidFill>
                  <a:schemeClr val="tx2">
                    <a:alpha val="50000"/>
                  </a:schemeClr>
                </a:solidFill>
              </a:ln>
            </p:spPr>
            <p:style>
              <a:lnRef idx="1">
                <a:schemeClr val="accent1"/>
              </a:lnRef>
              <a:fillRef idx="0">
                <a:schemeClr val="accent1"/>
              </a:fillRef>
              <a:effectRef idx="0">
                <a:schemeClr val="accent1"/>
              </a:effectRef>
              <a:fontRef idx="minor">
                <a:schemeClr val="tx1"/>
              </a:fontRef>
            </p:style>
          </p:cxnSp>
          <p:cxnSp>
            <p:nvCxnSpPr>
              <p:cNvPr id="101" name="直接连接符 100"/>
              <p:cNvCxnSpPr/>
              <p:nvPr/>
            </p:nvCxnSpPr>
            <p:spPr>
              <a:xfrm>
                <a:off x="3272339" y="5267927"/>
                <a:ext cx="626800" cy="0"/>
              </a:xfrm>
              <a:prstGeom prst="line">
                <a:avLst/>
              </a:prstGeom>
              <a:ln>
                <a:solidFill>
                  <a:schemeClr val="tx2">
                    <a:alpha val="50000"/>
                  </a:schemeClr>
                </a:solidFill>
              </a:ln>
            </p:spPr>
            <p:style>
              <a:lnRef idx="1">
                <a:schemeClr val="accent1"/>
              </a:lnRef>
              <a:fillRef idx="0">
                <a:schemeClr val="accent1"/>
              </a:fillRef>
              <a:effectRef idx="0">
                <a:schemeClr val="accent1"/>
              </a:effectRef>
              <a:fontRef idx="minor">
                <a:schemeClr val="tx1"/>
              </a:fontRef>
            </p:style>
          </p:cxnSp>
        </p:grpSp>
        <p:grpSp>
          <p:nvGrpSpPr>
            <p:cNvPr id="149" name="组合 148"/>
            <p:cNvGrpSpPr/>
            <p:nvPr/>
          </p:nvGrpSpPr>
          <p:grpSpPr>
            <a:xfrm>
              <a:off x="8553613" y="2391578"/>
              <a:ext cx="2720512" cy="848117"/>
              <a:chOff x="8733197" y="3578548"/>
              <a:chExt cx="2720512" cy="848117"/>
            </a:xfrm>
          </p:grpSpPr>
          <p:grpSp>
            <p:nvGrpSpPr>
              <p:cNvPr id="120" name="组合 119"/>
              <p:cNvGrpSpPr/>
              <p:nvPr/>
            </p:nvGrpSpPr>
            <p:grpSpPr>
              <a:xfrm>
                <a:off x="8733197" y="3723467"/>
                <a:ext cx="540000" cy="540000"/>
                <a:chOff x="7285060" y="5599496"/>
                <a:chExt cx="540000" cy="540000"/>
              </a:xfrm>
            </p:grpSpPr>
            <p:sp>
              <p:nvSpPr>
                <p:cNvPr id="121" name="文本框 120"/>
                <p:cNvSpPr txBox="1"/>
                <p:nvPr/>
              </p:nvSpPr>
              <p:spPr>
                <a:xfrm>
                  <a:off x="7285060" y="5599496"/>
                  <a:ext cx="540000" cy="540000"/>
                </a:xfrm>
                <a:prstGeom prst="roundRect">
                  <a:avLst>
                    <a:gd name="adj" fmla="val 50000"/>
                  </a:avLst>
                </a:prstGeom>
                <a:solidFill>
                  <a:schemeClr val="tx2">
                    <a:alpha val="80000"/>
                  </a:schemeClr>
                </a:solidFill>
              </p:spPr>
              <p:txBody>
                <a:bodyPr wrap="none" lIns="108000" tIns="108000" rIns="108000" bIns="108000" rtlCol="0" anchor="ctr" anchorCtr="0">
                  <a:noAutofit/>
                </a:bodyPr>
                <a:lstStyle/>
                <a:p>
                  <a:pPr algn="ctr"/>
                  <a:endParaRPr kumimoji="1" lang="zh-CN" altLang="en-US" sz="2000" b="1" dirty="0">
                    <a:noFill/>
                  </a:endParaRPr>
                </a:p>
              </p:txBody>
            </p:sp>
            <p:sp>
              <p:nvSpPr>
                <p:cNvPr id="122" name="任意多边形: 形状 121"/>
                <p:cNvSpPr/>
                <p:nvPr/>
              </p:nvSpPr>
              <p:spPr>
                <a:xfrm>
                  <a:off x="7422275" y="5763760"/>
                  <a:ext cx="265570" cy="211472"/>
                </a:xfrm>
                <a:custGeom>
                  <a:avLst/>
                  <a:gdLst>
                    <a:gd name="connsiteX0" fmla="*/ 486767 w 514350"/>
                    <a:gd name="connsiteY0" fmla="*/ 621 h 409575"/>
                    <a:gd name="connsiteX1" fmla="*/ 515342 w 514350"/>
                    <a:gd name="connsiteY1" fmla="*/ 29196 h 409575"/>
                    <a:gd name="connsiteX2" fmla="*/ 515342 w 514350"/>
                    <a:gd name="connsiteY2" fmla="*/ 324471 h 409575"/>
                    <a:gd name="connsiteX3" fmla="*/ 486767 w 514350"/>
                    <a:gd name="connsiteY3" fmla="*/ 353046 h 409575"/>
                    <a:gd name="connsiteX4" fmla="*/ 192445 w 514350"/>
                    <a:gd name="connsiteY4" fmla="*/ 353046 h 409575"/>
                    <a:gd name="connsiteX5" fmla="*/ 115292 w 514350"/>
                    <a:gd name="connsiteY5" fmla="*/ 410196 h 409575"/>
                    <a:gd name="connsiteX6" fmla="*/ 115292 w 514350"/>
                    <a:gd name="connsiteY6" fmla="*/ 353046 h 409575"/>
                    <a:gd name="connsiteX7" fmla="*/ 29567 w 514350"/>
                    <a:gd name="connsiteY7" fmla="*/ 353046 h 409575"/>
                    <a:gd name="connsiteX8" fmla="*/ 992 w 514350"/>
                    <a:gd name="connsiteY8" fmla="*/ 324471 h 409575"/>
                    <a:gd name="connsiteX9" fmla="*/ 992 w 514350"/>
                    <a:gd name="connsiteY9" fmla="*/ 29196 h 409575"/>
                    <a:gd name="connsiteX10" fmla="*/ 29567 w 514350"/>
                    <a:gd name="connsiteY10" fmla="*/ 621 h 409575"/>
                    <a:gd name="connsiteX11" fmla="*/ 486767 w 514350"/>
                    <a:gd name="connsiteY11" fmla="*/ 621 h 409575"/>
                    <a:gd name="connsiteX12" fmla="*/ 124817 w 514350"/>
                    <a:gd name="connsiteY12" fmla="*/ 143496 h 409575"/>
                    <a:gd name="connsiteX13" fmla="*/ 91480 w 514350"/>
                    <a:gd name="connsiteY13" fmla="*/ 176834 h 409575"/>
                    <a:gd name="connsiteX14" fmla="*/ 124817 w 514350"/>
                    <a:gd name="connsiteY14" fmla="*/ 210171 h 409575"/>
                    <a:gd name="connsiteX15" fmla="*/ 158155 w 514350"/>
                    <a:gd name="connsiteY15" fmla="*/ 176834 h 409575"/>
                    <a:gd name="connsiteX16" fmla="*/ 124817 w 514350"/>
                    <a:gd name="connsiteY16" fmla="*/ 143496 h 409575"/>
                    <a:gd name="connsiteX17" fmla="*/ 258167 w 514350"/>
                    <a:gd name="connsiteY17" fmla="*/ 143496 h 409575"/>
                    <a:gd name="connsiteX18" fmla="*/ 224830 w 514350"/>
                    <a:gd name="connsiteY18" fmla="*/ 176834 h 409575"/>
                    <a:gd name="connsiteX19" fmla="*/ 258167 w 514350"/>
                    <a:gd name="connsiteY19" fmla="*/ 210171 h 409575"/>
                    <a:gd name="connsiteX20" fmla="*/ 291505 w 514350"/>
                    <a:gd name="connsiteY20" fmla="*/ 176834 h 409575"/>
                    <a:gd name="connsiteX21" fmla="*/ 258167 w 514350"/>
                    <a:gd name="connsiteY21" fmla="*/ 143496 h 409575"/>
                    <a:gd name="connsiteX22" fmla="*/ 391517 w 514350"/>
                    <a:gd name="connsiteY22" fmla="*/ 143496 h 409575"/>
                    <a:gd name="connsiteX23" fmla="*/ 358180 w 514350"/>
                    <a:gd name="connsiteY23" fmla="*/ 176834 h 409575"/>
                    <a:gd name="connsiteX24" fmla="*/ 391517 w 514350"/>
                    <a:gd name="connsiteY24" fmla="*/ 210171 h 409575"/>
                    <a:gd name="connsiteX25" fmla="*/ 424855 w 514350"/>
                    <a:gd name="connsiteY25" fmla="*/ 176834 h 409575"/>
                    <a:gd name="connsiteX26" fmla="*/ 391517 w 514350"/>
                    <a:gd name="connsiteY26" fmla="*/ 143496 h 409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14350" h="409575">
                      <a:moveTo>
                        <a:pt x="486767" y="621"/>
                      </a:moveTo>
                      <a:cubicBezTo>
                        <a:pt x="502960" y="621"/>
                        <a:pt x="515342" y="13004"/>
                        <a:pt x="515342" y="29196"/>
                      </a:cubicBezTo>
                      <a:lnTo>
                        <a:pt x="515342" y="324471"/>
                      </a:lnTo>
                      <a:cubicBezTo>
                        <a:pt x="515342" y="340664"/>
                        <a:pt x="502960" y="353046"/>
                        <a:pt x="486767" y="353046"/>
                      </a:cubicBezTo>
                      <a:lnTo>
                        <a:pt x="192445" y="353046"/>
                      </a:lnTo>
                      <a:lnTo>
                        <a:pt x="115292" y="410196"/>
                      </a:lnTo>
                      <a:lnTo>
                        <a:pt x="115292" y="353046"/>
                      </a:lnTo>
                      <a:lnTo>
                        <a:pt x="29567" y="353046"/>
                      </a:lnTo>
                      <a:cubicBezTo>
                        <a:pt x="13374" y="353046"/>
                        <a:pt x="992" y="340664"/>
                        <a:pt x="992" y="324471"/>
                      </a:cubicBezTo>
                      <a:lnTo>
                        <a:pt x="992" y="29196"/>
                      </a:lnTo>
                      <a:cubicBezTo>
                        <a:pt x="992" y="13004"/>
                        <a:pt x="13374" y="621"/>
                        <a:pt x="29567" y="621"/>
                      </a:cubicBezTo>
                      <a:lnTo>
                        <a:pt x="486767" y="621"/>
                      </a:lnTo>
                      <a:close/>
                      <a:moveTo>
                        <a:pt x="124817" y="143496"/>
                      </a:moveTo>
                      <a:cubicBezTo>
                        <a:pt x="106720" y="143496"/>
                        <a:pt x="91480" y="158736"/>
                        <a:pt x="91480" y="176834"/>
                      </a:cubicBezTo>
                      <a:cubicBezTo>
                        <a:pt x="91480" y="194931"/>
                        <a:pt x="106720" y="210171"/>
                        <a:pt x="124817" y="210171"/>
                      </a:cubicBezTo>
                      <a:cubicBezTo>
                        <a:pt x="142914" y="210171"/>
                        <a:pt x="158155" y="194931"/>
                        <a:pt x="158155" y="176834"/>
                      </a:cubicBezTo>
                      <a:cubicBezTo>
                        <a:pt x="158155" y="157784"/>
                        <a:pt x="142914" y="143496"/>
                        <a:pt x="124817" y="143496"/>
                      </a:cubicBezTo>
                      <a:close/>
                      <a:moveTo>
                        <a:pt x="258167" y="143496"/>
                      </a:moveTo>
                      <a:cubicBezTo>
                        <a:pt x="240070" y="143496"/>
                        <a:pt x="224830" y="158736"/>
                        <a:pt x="224830" y="176834"/>
                      </a:cubicBezTo>
                      <a:cubicBezTo>
                        <a:pt x="224830" y="194931"/>
                        <a:pt x="240070" y="210171"/>
                        <a:pt x="258167" y="210171"/>
                      </a:cubicBezTo>
                      <a:cubicBezTo>
                        <a:pt x="276264" y="210171"/>
                        <a:pt x="291505" y="194931"/>
                        <a:pt x="291505" y="176834"/>
                      </a:cubicBezTo>
                      <a:cubicBezTo>
                        <a:pt x="291505" y="157784"/>
                        <a:pt x="276264" y="143496"/>
                        <a:pt x="258167" y="143496"/>
                      </a:cubicBezTo>
                      <a:close/>
                      <a:moveTo>
                        <a:pt x="391517" y="143496"/>
                      </a:moveTo>
                      <a:cubicBezTo>
                        <a:pt x="373420" y="143496"/>
                        <a:pt x="358180" y="158736"/>
                        <a:pt x="358180" y="176834"/>
                      </a:cubicBezTo>
                      <a:cubicBezTo>
                        <a:pt x="358180" y="194931"/>
                        <a:pt x="373420" y="210171"/>
                        <a:pt x="391517" y="210171"/>
                      </a:cubicBezTo>
                      <a:cubicBezTo>
                        <a:pt x="409614" y="210171"/>
                        <a:pt x="424855" y="194931"/>
                        <a:pt x="424855" y="176834"/>
                      </a:cubicBezTo>
                      <a:cubicBezTo>
                        <a:pt x="424855" y="157784"/>
                        <a:pt x="409614" y="143496"/>
                        <a:pt x="391517" y="143496"/>
                      </a:cubicBezTo>
                      <a:close/>
                    </a:path>
                  </a:pathLst>
                </a:custGeom>
                <a:solidFill>
                  <a:schemeClr val="bg1"/>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grpSp>
          <p:grpSp>
            <p:nvGrpSpPr>
              <p:cNvPr id="129" name="组合 128"/>
              <p:cNvGrpSpPr/>
              <p:nvPr/>
            </p:nvGrpSpPr>
            <p:grpSpPr>
              <a:xfrm>
                <a:off x="9389812" y="3578548"/>
                <a:ext cx="2063897" cy="848117"/>
                <a:chOff x="9355944" y="1957083"/>
                <a:chExt cx="2063897" cy="848117"/>
              </a:xfrm>
            </p:grpSpPr>
            <p:sp>
              <p:nvSpPr>
                <p:cNvPr id="130" name="矩形 129"/>
                <p:cNvSpPr/>
                <p:nvPr/>
              </p:nvSpPr>
              <p:spPr>
                <a:xfrm>
                  <a:off x="9355945" y="2295637"/>
                  <a:ext cx="2063896" cy="5095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p>
                  <a:pPr>
                    <a:lnSpc>
                      <a:spcPct val="130000"/>
                    </a:lnSpc>
                  </a:pPr>
                  <a:r>
                    <a:rPr kumimoji="1" lang="en-US" altLang="zh-CN" sz="1100" dirty="0">
                      <a:solidFill>
                        <a:schemeClr val="tx1"/>
                      </a:solidFill>
                      <a:latin typeface="Arial" panose="020B0604020202090204" pitchFamily="34" charset="0"/>
                      <a:ea typeface="华文楷体" panose="02010600040101010101" pitchFamily="2" charset="-122"/>
                    </a:rPr>
                    <a:t>Nunc viverra imperdiet enim. Fusce est. Vivamus a </a:t>
                  </a:r>
                  <a:r>
                    <a:rPr kumimoji="1" lang="en-US" altLang="zh-CN" sz="1100" dirty="0" err="1">
                      <a:solidFill>
                        <a:schemeClr val="tx1"/>
                      </a:solidFill>
                      <a:latin typeface="Arial" panose="020B0604020202090204" pitchFamily="34" charset="0"/>
                      <a:ea typeface="华文楷体" panose="02010600040101010101" pitchFamily="2" charset="-122"/>
                    </a:rPr>
                    <a:t>tellus</a:t>
                  </a:r>
                  <a:r>
                    <a:rPr kumimoji="1" lang="en-US" altLang="zh-CN" sz="1100" dirty="0">
                      <a:solidFill>
                        <a:schemeClr val="tx1"/>
                      </a:solidFill>
                      <a:latin typeface="Arial" panose="020B0604020202090204" pitchFamily="34" charset="0"/>
                      <a:ea typeface="华文楷体" panose="02010600040101010101" pitchFamily="2" charset="-122"/>
                    </a:rPr>
                    <a:t>.</a:t>
                  </a:r>
                  <a:endParaRPr kumimoji="1" lang="en-US" altLang="zh-CN" sz="1100" dirty="0">
                    <a:solidFill>
                      <a:schemeClr val="tx1"/>
                    </a:solidFill>
                    <a:latin typeface="Arial" panose="020B0604020202090204" pitchFamily="34" charset="0"/>
                    <a:ea typeface="华文楷体" panose="02010600040101010101" pitchFamily="2" charset="-122"/>
                  </a:endParaRPr>
                </a:p>
              </p:txBody>
            </p:sp>
            <p:sp>
              <p:nvSpPr>
                <p:cNvPr id="131" name="矩形 130"/>
                <p:cNvSpPr/>
                <p:nvPr/>
              </p:nvSpPr>
              <p:spPr>
                <a:xfrm>
                  <a:off x="9355944" y="1957083"/>
                  <a:ext cx="2063896"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p>
                  <a:r>
                    <a:rPr kumimoji="1" lang="en-US" altLang="zh-CN" sz="1600" b="1" dirty="0">
                      <a:solidFill>
                        <a:schemeClr val="tx1"/>
                      </a:solidFill>
                      <a:latin typeface="Arial" panose="020B0604020202090204" pitchFamily="34" charset="0"/>
                      <a:ea typeface="华文楷体" panose="02010600040101010101" pitchFamily="2" charset="-122"/>
                    </a:rPr>
                    <a:t>Texthere</a:t>
                  </a:r>
                  <a:endParaRPr kumimoji="1" lang="en-US" altLang="zh-CN" sz="1600" b="1" dirty="0">
                    <a:solidFill>
                      <a:schemeClr val="tx1"/>
                    </a:solidFill>
                    <a:latin typeface="Arial" panose="020B0604020202090204" pitchFamily="34" charset="0"/>
                    <a:ea typeface="华文楷体" panose="02010600040101010101" pitchFamily="2" charset="-122"/>
                  </a:endParaRPr>
                </a:p>
              </p:txBody>
            </p:sp>
          </p:grpSp>
        </p:grpSp>
        <p:grpSp>
          <p:nvGrpSpPr>
            <p:cNvPr id="150" name="组合 149"/>
            <p:cNvGrpSpPr/>
            <p:nvPr/>
          </p:nvGrpSpPr>
          <p:grpSpPr>
            <a:xfrm>
              <a:off x="8554808" y="4840370"/>
              <a:ext cx="2719317" cy="848117"/>
              <a:chOff x="8734392" y="5188474"/>
              <a:chExt cx="2719317" cy="848117"/>
            </a:xfrm>
          </p:grpSpPr>
          <p:grpSp>
            <p:nvGrpSpPr>
              <p:cNvPr id="117" name="组合 116"/>
              <p:cNvGrpSpPr/>
              <p:nvPr/>
            </p:nvGrpSpPr>
            <p:grpSpPr>
              <a:xfrm>
                <a:off x="8734392" y="5326384"/>
                <a:ext cx="540000" cy="540000"/>
                <a:chOff x="5460031" y="5599496"/>
                <a:chExt cx="540000" cy="540000"/>
              </a:xfrm>
            </p:grpSpPr>
            <p:sp>
              <p:nvSpPr>
                <p:cNvPr id="118" name="文本框 117"/>
                <p:cNvSpPr txBox="1"/>
                <p:nvPr/>
              </p:nvSpPr>
              <p:spPr>
                <a:xfrm>
                  <a:off x="5460031" y="5599496"/>
                  <a:ext cx="540000" cy="540000"/>
                </a:xfrm>
                <a:prstGeom prst="roundRect">
                  <a:avLst>
                    <a:gd name="adj" fmla="val 50000"/>
                  </a:avLst>
                </a:prstGeom>
                <a:solidFill>
                  <a:schemeClr val="accent1"/>
                </a:solidFill>
              </p:spPr>
              <p:txBody>
                <a:bodyPr wrap="none" lIns="108000" tIns="108000" rIns="108000" bIns="108000" rtlCol="0" anchor="ctr" anchorCtr="0">
                  <a:noAutofit/>
                </a:bodyPr>
                <a:lstStyle/>
                <a:p>
                  <a:pPr algn="ctr"/>
                  <a:endParaRPr kumimoji="1" lang="zh-CN" altLang="en-US" sz="2000" b="1" dirty="0">
                    <a:noFill/>
                  </a:endParaRPr>
                </a:p>
              </p:txBody>
            </p:sp>
            <p:sp>
              <p:nvSpPr>
                <p:cNvPr id="119" name="任意多边形: 形状 118"/>
                <p:cNvSpPr/>
                <p:nvPr/>
              </p:nvSpPr>
              <p:spPr>
                <a:xfrm>
                  <a:off x="5604182" y="5734497"/>
                  <a:ext cx="251698" cy="269998"/>
                </a:xfrm>
                <a:custGeom>
                  <a:avLst/>
                  <a:gdLst>
                    <a:gd name="connsiteX0" fmla="*/ 8356 w 487477"/>
                    <a:gd name="connsiteY0" fmla="*/ 512114 h 522922"/>
                    <a:gd name="connsiteX1" fmla="*/ 8356 w 487477"/>
                    <a:gd name="connsiteY1" fmla="*/ 512114 h 522922"/>
                    <a:gd name="connsiteX2" fmla="*/ 8356 w 487477"/>
                    <a:gd name="connsiteY2" fmla="*/ 512114 h 522922"/>
                    <a:gd name="connsiteX3" fmla="*/ 7404 w 487477"/>
                    <a:gd name="connsiteY3" fmla="*/ 511161 h 522922"/>
                    <a:gd name="connsiteX4" fmla="*/ 5499 w 487477"/>
                    <a:gd name="connsiteY4" fmla="*/ 508303 h 522922"/>
                    <a:gd name="connsiteX5" fmla="*/ 5499 w 487477"/>
                    <a:gd name="connsiteY5" fmla="*/ 508303 h 522922"/>
                    <a:gd name="connsiteX6" fmla="*/ 5499 w 487477"/>
                    <a:gd name="connsiteY6" fmla="*/ 507351 h 522922"/>
                    <a:gd name="connsiteX7" fmla="*/ 4546 w 487477"/>
                    <a:gd name="connsiteY7" fmla="*/ 505446 h 522922"/>
                    <a:gd name="connsiteX8" fmla="*/ 3593 w 487477"/>
                    <a:gd name="connsiteY8" fmla="*/ 503541 h 522922"/>
                    <a:gd name="connsiteX9" fmla="*/ 3593 w 487477"/>
                    <a:gd name="connsiteY9" fmla="*/ 503541 h 522922"/>
                    <a:gd name="connsiteX10" fmla="*/ 3593 w 487477"/>
                    <a:gd name="connsiteY10" fmla="*/ 503541 h 522922"/>
                    <a:gd name="connsiteX11" fmla="*/ 3593 w 487477"/>
                    <a:gd name="connsiteY11" fmla="*/ 503541 h 522922"/>
                    <a:gd name="connsiteX12" fmla="*/ 2641 w 487477"/>
                    <a:gd name="connsiteY12" fmla="*/ 501636 h 522922"/>
                    <a:gd name="connsiteX13" fmla="*/ 2641 w 487477"/>
                    <a:gd name="connsiteY13" fmla="*/ 500684 h 522922"/>
                    <a:gd name="connsiteX14" fmla="*/ 1689 w 487477"/>
                    <a:gd name="connsiteY14" fmla="*/ 498778 h 522922"/>
                    <a:gd name="connsiteX15" fmla="*/ 736 w 487477"/>
                    <a:gd name="connsiteY15" fmla="*/ 494968 h 522922"/>
                    <a:gd name="connsiteX16" fmla="*/ 736 w 487477"/>
                    <a:gd name="connsiteY16" fmla="*/ 492111 h 522922"/>
                    <a:gd name="connsiteX17" fmla="*/ 736 w 487477"/>
                    <a:gd name="connsiteY17" fmla="*/ 485443 h 522922"/>
                    <a:gd name="connsiteX18" fmla="*/ 5499 w 487477"/>
                    <a:gd name="connsiteY18" fmla="*/ 467346 h 522922"/>
                    <a:gd name="connsiteX19" fmla="*/ 155041 w 487477"/>
                    <a:gd name="connsiteY19" fmla="*/ 151116 h 522922"/>
                    <a:gd name="connsiteX20" fmla="*/ 158851 w 487477"/>
                    <a:gd name="connsiteY20" fmla="*/ 134924 h 522922"/>
                    <a:gd name="connsiteX21" fmla="*/ 158851 w 487477"/>
                    <a:gd name="connsiteY21" fmla="*/ 19671 h 522922"/>
                    <a:gd name="connsiteX22" fmla="*/ 120751 w 487477"/>
                    <a:gd name="connsiteY22" fmla="*/ 19671 h 522922"/>
                    <a:gd name="connsiteX23" fmla="*/ 120751 w 487477"/>
                    <a:gd name="connsiteY23" fmla="*/ 621 h 522922"/>
                    <a:gd name="connsiteX24" fmla="*/ 368401 w 487477"/>
                    <a:gd name="connsiteY24" fmla="*/ 621 h 522922"/>
                    <a:gd name="connsiteX25" fmla="*/ 368401 w 487477"/>
                    <a:gd name="connsiteY25" fmla="*/ 19671 h 522922"/>
                    <a:gd name="connsiteX26" fmla="*/ 330301 w 487477"/>
                    <a:gd name="connsiteY26" fmla="*/ 19671 h 522922"/>
                    <a:gd name="connsiteX27" fmla="*/ 330301 w 487477"/>
                    <a:gd name="connsiteY27" fmla="*/ 134924 h 522922"/>
                    <a:gd name="connsiteX28" fmla="*/ 334111 w 487477"/>
                    <a:gd name="connsiteY28" fmla="*/ 151116 h 522922"/>
                    <a:gd name="connsiteX29" fmla="*/ 483654 w 487477"/>
                    <a:gd name="connsiteY29" fmla="*/ 467346 h 522922"/>
                    <a:gd name="connsiteX30" fmla="*/ 485558 w 487477"/>
                    <a:gd name="connsiteY30" fmla="*/ 504493 h 522922"/>
                    <a:gd name="connsiteX31" fmla="*/ 485558 w 487477"/>
                    <a:gd name="connsiteY31" fmla="*/ 504493 h 522922"/>
                    <a:gd name="connsiteX32" fmla="*/ 484606 w 487477"/>
                    <a:gd name="connsiteY32" fmla="*/ 506399 h 522922"/>
                    <a:gd name="connsiteX33" fmla="*/ 459841 w 487477"/>
                    <a:gd name="connsiteY33" fmla="*/ 523543 h 522922"/>
                    <a:gd name="connsiteX34" fmla="*/ 457936 w 487477"/>
                    <a:gd name="connsiteY34" fmla="*/ 523543 h 522922"/>
                    <a:gd name="connsiteX35" fmla="*/ 32168 w 487477"/>
                    <a:gd name="connsiteY35" fmla="*/ 523543 h 522922"/>
                    <a:gd name="connsiteX36" fmla="*/ 30264 w 487477"/>
                    <a:gd name="connsiteY36" fmla="*/ 523543 h 522922"/>
                    <a:gd name="connsiteX37" fmla="*/ 27406 w 487477"/>
                    <a:gd name="connsiteY37" fmla="*/ 523543 h 522922"/>
                    <a:gd name="connsiteX38" fmla="*/ 23596 w 487477"/>
                    <a:gd name="connsiteY38" fmla="*/ 522591 h 522922"/>
                    <a:gd name="connsiteX39" fmla="*/ 23596 w 487477"/>
                    <a:gd name="connsiteY39" fmla="*/ 522591 h 522922"/>
                    <a:gd name="connsiteX40" fmla="*/ 17881 w 487477"/>
                    <a:gd name="connsiteY40" fmla="*/ 520686 h 522922"/>
                    <a:gd name="connsiteX41" fmla="*/ 15976 w 487477"/>
                    <a:gd name="connsiteY41" fmla="*/ 519734 h 522922"/>
                    <a:gd name="connsiteX42" fmla="*/ 15024 w 487477"/>
                    <a:gd name="connsiteY42" fmla="*/ 518781 h 522922"/>
                    <a:gd name="connsiteX43" fmla="*/ 10261 w 487477"/>
                    <a:gd name="connsiteY43" fmla="*/ 514971 h 522922"/>
                    <a:gd name="connsiteX44" fmla="*/ 8356 w 487477"/>
                    <a:gd name="connsiteY44" fmla="*/ 512114 h 522922"/>
                    <a:gd name="connsiteX45" fmla="*/ 8356 w 487477"/>
                    <a:gd name="connsiteY45" fmla="*/ 512114 h 522922"/>
                    <a:gd name="connsiteX46" fmla="*/ 255054 w 487477"/>
                    <a:gd name="connsiteY46" fmla="*/ 402576 h 522922"/>
                    <a:gd name="connsiteX47" fmla="*/ 252196 w 487477"/>
                    <a:gd name="connsiteY47" fmla="*/ 404481 h 522922"/>
                    <a:gd name="connsiteX48" fmla="*/ 246481 w 487477"/>
                    <a:gd name="connsiteY48" fmla="*/ 408291 h 522922"/>
                    <a:gd name="connsiteX49" fmla="*/ 55029 w 487477"/>
                    <a:gd name="connsiteY49" fmla="*/ 414959 h 522922"/>
                    <a:gd name="connsiteX50" fmla="*/ 51218 w 487477"/>
                    <a:gd name="connsiteY50" fmla="*/ 413053 h 522922"/>
                    <a:gd name="connsiteX51" fmla="*/ 22643 w 487477"/>
                    <a:gd name="connsiteY51" fmla="*/ 474014 h 522922"/>
                    <a:gd name="connsiteX52" fmla="*/ 21691 w 487477"/>
                    <a:gd name="connsiteY52" fmla="*/ 475918 h 522922"/>
                    <a:gd name="connsiteX53" fmla="*/ 21691 w 487477"/>
                    <a:gd name="connsiteY53" fmla="*/ 495921 h 522922"/>
                    <a:gd name="connsiteX54" fmla="*/ 29311 w 487477"/>
                    <a:gd name="connsiteY54" fmla="*/ 502589 h 522922"/>
                    <a:gd name="connsiteX55" fmla="*/ 30264 w 487477"/>
                    <a:gd name="connsiteY55" fmla="*/ 502589 h 522922"/>
                    <a:gd name="connsiteX56" fmla="*/ 31216 w 487477"/>
                    <a:gd name="connsiteY56" fmla="*/ 502589 h 522922"/>
                    <a:gd name="connsiteX57" fmla="*/ 456983 w 487477"/>
                    <a:gd name="connsiteY57" fmla="*/ 502589 h 522922"/>
                    <a:gd name="connsiteX58" fmla="*/ 457936 w 487477"/>
                    <a:gd name="connsiteY58" fmla="*/ 502589 h 522922"/>
                    <a:gd name="connsiteX59" fmla="*/ 466508 w 487477"/>
                    <a:gd name="connsiteY59" fmla="*/ 495921 h 522922"/>
                    <a:gd name="connsiteX60" fmla="*/ 467461 w 487477"/>
                    <a:gd name="connsiteY60" fmla="*/ 477824 h 522922"/>
                    <a:gd name="connsiteX61" fmla="*/ 466508 w 487477"/>
                    <a:gd name="connsiteY61" fmla="*/ 475918 h 522922"/>
                    <a:gd name="connsiteX62" fmla="*/ 465556 w 487477"/>
                    <a:gd name="connsiteY62" fmla="*/ 474014 h 522922"/>
                    <a:gd name="connsiteX63" fmla="*/ 423646 w 487477"/>
                    <a:gd name="connsiteY63" fmla="*/ 385431 h 522922"/>
                    <a:gd name="connsiteX64" fmla="*/ 255054 w 487477"/>
                    <a:gd name="connsiteY64" fmla="*/ 402576 h 522922"/>
                    <a:gd name="connsiteX65" fmla="*/ 305536 w 487477"/>
                    <a:gd name="connsiteY65" fmla="*/ 255891 h 522922"/>
                    <a:gd name="connsiteX66" fmla="*/ 272199 w 487477"/>
                    <a:gd name="connsiteY66" fmla="*/ 289228 h 522922"/>
                    <a:gd name="connsiteX67" fmla="*/ 305536 w 487477"/>
                    <a:gd name="connsiteY67" fmla="*/ 322566 h 522922"/>
                    <a:gd name="connsiteX68" fmla="*/ 338874 w 487477"/>
                    <a:gd name="connsiteY68" fmla="*/ 289228 h 522922"/>
                    <a:gd name="connsiteX69" fmla="*/ 305536 w 487477"/>
                    <a:gd name="connsiteY69" fmla="*/ 255891 h 52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487477" h="522922">
                      <a:moveTo>
                        <a:pt x="8356" y="512114"/>
                      </a:moveTo>
                      <a:lnTo>
                        <a:pt x="8356" y="512114"/>
                      </a:lnTo>
                      <a:lnTo>
                        <a:pt x="8356" y="512114"/>
                      </a:lnTo>
                      <a:lnTo>
                        <a:pt x="7404" y="511161"/>
                      </a:lnTo>
                      <a:cubicBezTo>
                        <a:pt x="6451" y="510209"/>
                        <a:pt x="6451" y="509256"/>
                        <a:pt x="5499" y="508303"/>
                      </a:cubicBezTo>
                      <a:lnTo>
                        <a:pt x="5499" y="508303"/>
                      </a:lnTo>
                      <a:lnTo>
                        <a:pt x="5499" y="507351"/>
                      </a:lnTo>
                      <a:lnTo>
                        <a:pt x="4546" y="505446"/>
                      </a:lnTo>
                      <a:lnTo>
                        <a:pt x="3593" y="503541"/>
                      </a:lnTo>
                      <a:lnTo>
                        <a:pt x="3593" y="503541"/>
                      </a:lnTo>
                      <a:lnTo>
                        <a:pt x="3593" y="503541"/>
                      </a:lnTo>
                      <a:lnTo>
                        <a:pt x="3593" y="503541"/>
                      </a:lnTo>
                      <a:lnTo>
                        <a:pt x="2641" y="501636"/>
                      </a:lnTo>
                      <a:cubicBezTo>
                        <a:pt x="2641" y="501636"/>
                        <a:pt x="2641" y="500684"/>
                        <a:pt x="2641" y="500684"/>
                      </a:cubicBezTo>
                      <a:cubicBezTo>
                        <a:pt x="2641" y="499731"/>
                        <a:pt x="2641" y="499731"/>
                        <a:pt x="1689" y="498778"/>
                      </a:cubicBezTo>
                      <a:cubicBezTo>
                        <a:pt x="1689" y="497826"/>
                        <a:pt x="736" y="495921"/>
                        <a:pt x="736" y="494968"/>
                      </a:cubicBezTo>
                      <a:lnTo>
                        <a:pt x="736" y="492111"/>
                      </a:lnTo>
                      <a:cubicBezTo>
                        <a:pt x="736" y="490206"/>
                        <a:pt x="736" y="487349"/>
                        <a:pt x="736" y="485443"/>
                      </a:cubicBezTo>
                      <a:cubicBezTo>
                        <a:pt x="736" y="478776"/>
                        <a:pt x="2641" y="473061"/>
                        <a:pt x="5499" y="467346"/>
                      </a:cubicBezTo>
                      <a:lnTo>
                        <a:pt x="155041" y="151116"/>
                      </a:lnTo>
                      <a:cubicBezTo>
                        <a:pt x="157899" y="146353"/>
                        <a:pt x="158851" y="140639"/>
                        <a:pt x="158851" y="134924"/>
                      </a:cubicBezTo>
                      <a:lnTo>
                        <a:pt x="158851" y="19671"/>
                      </a:lnTo>
                      <a:lnTo>
                        <a:pt x="120751" y="19671"/>
                      </a:lnTo>
                      <a:lnTo>
                        <a:pt x="120751" y="621"/>
                      </a:lnTo>
                      <a:lnTo>
                        <a:pt x="368401" y="621"/>
                      </a:lnTo>
                      <a:lnTo>
                        <a:pt x="368401" y="19671"/>
                      </a:lnTo>
                      <a:lnTo>
                        <a:pt x="330301" y="19671"/>
                      </a:lnTo>
                      <a:lnTo>
                        <a:pt x="330301" y="134924"/>
                      </a:lnTo>
                      <a:cubicBezTo>
                        <a:pt x="330301" y="140639"/>
                        <a:pt x="331254" y="146353"/>
                        <a:pt x="334111" y="151116"/>
                      </a:cubicBezTo>
                      <a:lnTo>
                        <a:pt x="483654" y="467346"/>
                      </a:lnTo>
                      <a:cubicBezTo>
                        <a:pt x="489368" y="478776"/>
                        <a:pt x="489368" y="492111"/>
                        <a:pt x="485558" y="504493"/>
                      </a:cubicBezTo>
                      <a:lnTo>
                        <a:pt x="485558" y="504493"/>
                      </a:lnTo>
                      <a:lnTo>
                        <a:pt x="484606" y="506399"/>
                      </a:lnTo>
                      <a:cubicBezTo>
                        <a:pt x="479843" y="515924"/>
                        <a:pt x="470318" y="522591"/>
                        <a:pt x="459841" y="523543"/>
                      </a:cubicBezTo>
                      <a:lnTo>
                        <a:pt x="457936" y="523543"/>
                      </a:lnTo>
                      <a:lnTo>
                        <a:pt x="32168" y="523543"/>
                      </a:lnTo>
                      <a:lnTo>
                        <a:pt x="30264" y="523543"/>
                      </a:lnTo>
                      <a:cubicBezTo>
                        <a:pt x="29311" y="523543"/>
                        <a:pt x="28358" y="523543"/>
                        <a:pt x="27406" y="523543"/>
                      </a:cubicBezTo>
                      <a:cubicBezTo>
                        <a:pt x="26454" y="523543"/>
                        <a:pt x="24549" y="523543"/>
                        <a:pt x="23596" y="522591"/>
                      </a:cubicBezTo>
                      <a:lnTo>
                        <a:pt x="23596" y="522591"/>
                      </a:lnTo>
                      <a:cubicBezTo>
                        <a:pt x="21691" y="521639"/>
                        <a:pt x="19786" y="521639"/>
                        <a:pt x="17881" y="520686"/>
                      </a:cubicBezTo>
                      <a:lnTo>
                        <a:pt x="15976" y="519734"/>
                      </a:lnTo>
                      <a:cubicBezTo>
                        <a:pt x="15976" y="519734"/>
                        <a:pt x="15024" y="519734"/>
                        <a:pt x="15024" y="518781"/>
                      </a:cubicBezTo>
                      <a:cubicBezTo>
                        <a:pt x="13118" y="517828"/>
                        <a:pt x="11214" y="515924"/>
                        <a:pt x="10261" y="514971"/>
                      </a:cubicBezTo>
                      <a:lnTo>
                        <a:pt x="8356" y="512114"/>
                      </a:lnTo>
                      <a:lnTo>
                        <a:pt x="8356" y="512114"/>
                      </a:lnTo>
                      <a:close/>
                      <a:moveTo>
                        <a:pt x="255054" y="402576"/>
                      </a:moveTo>
                      <a:lnTo>
                        <a:pt x="252196" y="404481"/>
                      </a:lnTo>
                      <a:lnTo>
                        <a:pt x="246481" y="408291"/>
                      </a:lnTo>
                      <a:cubicBezTo>
                        <a:pt x="198856" y="439724"/>
                        <a:pt x="119799" y="440676"/>
                        <a:pt x="55029" y="414959"/>
                      </a:cubicBezTo>
                      <a:lnTo>
                        <a:pt x="51218" y="413053"/>
                      </a:lnTo>
                      <a:lnTo>
                        <a:pt x="22643" y="474014"/>
                      </a:lnTo>
                      <a:lnTo>
                        <a:pt x="21691" y="475918"/>
                      </a:lnTo>
                      <a:cubicBezTo>
                        <a:pt x="18833" y="482586"/>
                        <a:pt x="18833" y="490206"/>
                        <a:pt x="21691" y="495921"/>
                      </a:cubicBezTo>
                      <a:cubicBezTo>
                        <a:pt x="22643" y="498778"/>
                        <a:pt x="25501" y="501636"/>
                        <a:pt x="29311" y="502589"/>
                      </a:cubicBezTo>
                      <a:lnTo>
                        <a:pt x="30264" y="502589"/>
                      </a:lnTo>
                      <a:lnTo>
                        <a:pt x="31216" y="502589"/>
                      </a:lnTo>
                      <a:lnTo>
                        <a:pt x="456983" y="502589"/>
                      </a:lnTo>
                      <a:lnTo>
                        <a:pt x="457936" y="502589"/>
                      </a:lnTo>
                      <a:cubicBezTo>
                        <a:pt x="461746" y="502589"/>
                        <a:pt x="464604" y="499731"/>
                        <a:pt x="466508" y="495921"/>
                      </a:cubicBezTo>
                      <a:cubicBezTo>
                        <a:pt x="468414" y="490206"/>
                        <a:pt x="469366" y="483539"/>
                        <a:pt x="467461" y="477824"/>
                      </a:cubicBezTo>
                      <a:lnTo>
                        <a:pt x="466508" y="475918"/>
                      </a:lnTo>
                      <a:lnTo>
                        <a:pt x="465556" y="474014"/>
                      </a:lnTo>
                      <a:lnTo>
                        <a:pt x="423646" y="385431"/>
                      </a:lnTo>
                      <a:cubicBezTo>
                        <a:pt x="365543" y="372096"/>
                        <a:pt x="296011" y="376859"/>
                        <a:pt x="255054" y="402576"/>
                      </a:cubicBezTo>
                      <a:close/>
                      <a:moveTo>
                        <a:pt x="305536" y="255891"/>
                      </a:moveTo>
                      <a:cubicBezTo>
                        <a:pt x="287439" y="255891"/>
                        <a:pt x="272199" y="271131"/>
                        <a:pt x="272199" y="289228"/>
                      </a:cubicBezTo>
                      <a:cubicBezTo>
                        <a:pt x="272199" y="307326"/>
                        <a:pt x="287439" y="322566"/>
                        <a:pt x="305536" y="322566"/>
                      </a:cubicBezTo>
                      <a:cubicBezTo>
                        <a:pt x="323633" y="322566"/>
                        <a:pt x="338874" y="307326"/>
                        <a:pt x="338874" y="289228"/>
                      </a:cubicBezTo>
                      <a:cubicBezTo>
                        <a:pt x="338874" y="270178"/>
                        <a:pt x="323633" y="255891"/>
                        <a:pt x="305536" y="255891"/>
                      </a:cubicBezTo>
                      <a:close/>
                    </a:path>
                  </a:pathLst>
                </a:custGeom>
                <a:solidFill>
                  <a:srgbClr val="FFFFFF"/>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grpSp>
          <p:grpSp>
            <p:nvGrpSpPr>
              <p:cNvPr id="132" name="组合 131"/>
              <p:cNvGrpSpPr/>
              <p:nvPr/>
            </p:nvGrpSpPr>
            <p:grpSpPr>
              <a:xfrm>
                <a:off x="9389812" y="5188474"/>
                <a:ext cx="2063897" cy="848117"/>
                <a:chOff x="9355944" y="1957083"/>
                <a:chExt cx="2063897" cy="848117"/>
              </a:xfrm>
            </p:grpSpPr>
            <p:sp>
              <p:nvSpPr>
                <p:cNvPr id="133" name="矩形 132"/>
                <p:cNvSpPr/>
                <p:nvPr/>
              </p:nvSpPr>
              <p:spPr>
                <a:xfrm>
                  <a:off x="9355945" y="2295637"/>
                  <a:ext cx="2063896" cy="5095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p>
                  <a:pPr>
                    <a:lnSpc>
                      <a:spcPct val="130000"/>
                    </a:lnSpc>
                  </a:pPr>
                  <a:r>
                    <a:rPr kumimoji="1" lang="en-US" altLang="zh-CN" sz="1100" dirty="0">
                      <a:solidFill>
                        <a:schemeClr val="tx1"/>
                      </a:solidFill>
                      <a:latin typeface="Arial" panose="020B0604020202090204" pitchFamily="34" charset="0"/>
                      <a:ea typeface="华文楷体" panose="02010600040101010101" pitchFamily="2" charset="-122"/>
                    </a:rPr>
                    <a:t>Nunc viverra imperdiet enim. Fusce est. Vivamus a </a:t>
                  </a:r>
                  <a:r>
                    <a:rPr kumimoji="1" lang="en-US" altLang="zh-CN" sz="1100" dirty="0" err="1">
                      <a:solidFill>
                        <a:schemeClr val="tx1"/>
                      </a:solidFill>
                      <a:latin typeface="Arial" panose="020B0604020202090204" pitchFamily="34" charset="0"/>
                      <a:ea typeface="华文楷体" panose="02010600040101010101" pitchFamily="2" charset="-122"/>
                    </a:rPr>
                    <a:t>tellus</a:t>
                  </a:r>
                  <a:r>
                    <a:rPr kumimoji="1" lang="en-US" altLang="zh-CN" sz="1100" dirty="0">
                      <a:solidFill>
                        <a:schemeClr val="tx1"/>
                      </a:solidFill>
                      <a:latin typeface="Arial" panose="020B0604020202090204" pitchFamily="34" charset="0"/>
                      <a:ea typeface="华文楷体" panose="02010600040101010101" pitchFamily="2" charset="-122"/>
                    </a:rPr>
                    <a:t>.</a:t>
                  </a:r>
                  <a:endParaRPr kumimoji="1" lang="en-US" altLang="zh-CN" sz="1100" dirty="0">
                    <a:solidFill>
                      <a:schemeClr val="tx1"/>
                    </a:solidFill>
                    <a:latin typeface="Arial" panose="020B0604020202090204" pitchFamily="34" charset="0"/>
                    <a:ea typeface="华文楷体" panose="02010600040101010101" pitchFamily="2" charset="-122"/>
                  </a:endParaRPr>
                </a:p>
              </p:txBody>
            </p:sp>
            <p:sp>
              <p:nvSpPr>
                <p:cNvPr id="134" name="矩形 133"/>
                <p:cNvSpPr/>
                <p:nvPr/>
              </p:nvSpPr>
              <p:spPr>
                <a:xfrm>
                  <a:off x="9355944" y="1957083"/>
                  <a:ext cx="2063896"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p>
                  <a:r>
                    <a:rPr kumimoji="1" lang="en-US" altLang="zh-CN" sz="1600" b="1" dirty="0">
                      <a:solidFill>
                        <a:schemeClr val="tx1"/>
                      </a:solidFill>
                      <a:latin typeface="Arial" panose="020B0604020202090204" pitchFamily="34" charset="0"/>
                      <a:ea typeface="华文楷体" panose="02010600040101010101" pitchFamily="2" charset="-122"/>
                    </a:rPr>
                    <a:t>Texthere</a:t>
                  </a:r>
                  <a:endParaRPr kumimoji="1" lang="en-US" altLang="zh-CN" sz="1600" b="1" dirty="0">
                    <a:solidFill>
                      <a:schemeClr val="tx1"/>
                    </a:solidFill>
                    <a:latin typeface="Arial" panose="020B0604020202090204" pitchFamily="34" charset="0"/>
                    <a:ea typeface="华文楷体" panose="02010600040101010101" pitchFamily="2" charset="-122"/>
                  </a:endParaRPr>
                </a:p>
              </p:txBody>
            </p:sp>
          </p:grpSp>
        </p:grpSp>
        <p:grpSp>
          <p:nvGrpSpPr>
            <p:cNvPr id="144" name="组合 143"/>
            <p:cNvGrpSpPr/>
            <p:nvPr/>
          </p:nvGrpSpPr>
          <p:grpSpPr>
            <a:xfrm>
              <a:off x="888516" y="2384805"/>
              <a:ext cx="2715655" cy="848117"/>
              <a:chOff x="660400" y="1957083"/>
              <a:chExt cx="2715655" cy="848117"/>
            </a:xfrm>
          </p:grpSpPr>
          <p:grpSp>
            <p:nvGrpSpPr>
              <p:cNvPr id="108" name="组合 107"/>
              <p:cNvGrpSpPr/>
              <p:nvPr/>
            </p:nvGrpSpPr>
            <p:grpSpPr>
              <a:xfrm>
                <a:off x="2836055" y="2142601"/>
                <a:ext cx="540000" cy="540000"/>
                <a:chOff x="2832175" y="5599496"/>
                <a:chExt cx="540000" cy="540000"/>
              </a:xfrm>
            </p:grpSpPr>
            <p:sp>
              <p:nvSpPr>
                <p:cNvPr id="109" name="文本框 108"/>
                <p:cNvSpPr txBox="1"/>
                <p:nvPr/>
              </p:nvSpPr>
              <p:spPr>
                <a:xfrm>
                  <a:off x="2832175" y="5599496"/>
                  <a:ext cx="540000" cy="540000"/>
                </a:xfrm>
                <a:prstGeom prst="roundRect">
                  <a:avLst>
                    <a:gd name="adj" fmla="val 50000"/>
                  </a:avLst>
                </a:prstGeom>
                <a:solidFill>
                  <a:schemeClr val="accent1"/>
                </a:solidFill>
              </p:spPr>
              <p:txBody>
                <a:bodyPr wrap="none" lIns="108000" tIns="108000" rIns="108000" bIns="108000" rtlCol="0" anchor="ctr" anchorCtr="0">
                  <a:noAutofit/>
                </a:bodyPr>
                <a:lstStyle/>
                <a:p>
                  <a:pPr algn="ctr"/>
                  <a:endParaRPr kumimoji="1" lang="zh-CN" altLang="en-US" sz="2000" b="1" dirty="0">
                    <a:noFill/>
                  </a:endParaRPr>
                </a:p>
              </p:txBody>
            </p:sp>
            <p:sp>
              <p:nvSpPr>
                <p:cNvPr id="110" name="任意多边形: 形状 109"/>
                <p:cNvSpPr/>
                <p:nvPr/>
              </p:nvSpPr>
              <p:spPr>
                <a:xfrm>
                  <a:off x="2989061" y="5731793"/>
                  <a:ext cx="226228" cy="275406"/>
                </a:xfrm>
                <a:custGeom>
                  <a:avLst/>
                  <a:gdLst>
                    <a:gd name="connsiteX0" fmla="*/ 284197 w 438150"/>
                    <a:gd name="connsiteY0" fmla="*/ 621 h 533400"/>
                    <a:gd name="connsiteX1" fmla="*/ 286102 w 438150"/>
                    <a:gd name="connsiteY1" fmla="*/ 621 h 533400"/>
                    <a:gd name="connsiteX2" fmla="*/ 286102 w 438150"/>
                    <a:gd name="connsiteY2" fmla="*/ 124446 h 533400"/>
                    <a:gd name="connsiteX3" fmla="*/ 286102 w 438150"/>
                    <a:gd name="connsiteY3" fmla="*/ 126351 h 533400"/>
                    <a:gd name="connsiteX4" fmla="*/ 314677 w 438150"/>
                    <a:gd name="connsiteY4" fmla="*/ 153021 h 533400"/>
                    <a:gd name="connsiteX5" fmla="*/ 314677 w 438150"/>
                    <a:gd name="connsiteY5" fmla="*/ 153021 h 533400"/>
                    <a:gd name="connsiteX6" fmla="*/ 438502 w 438150"/>
                    <a:gd name="connsiteY6" fmla="*/ 153021 h 533400"/>
                    <a:gd name="connsiteX7" fmla="*/ 438502 w 438150"/>
                    <a:gd name="connsiteY7" fmla="*/ 154926 h 533400"/>
                    <a:gd name="connsiteX8" fmla="*/ 438502 w 438150"/>
                    <a:gd name="connsiteY8" fmla="*/ 505446 h 533400"/>
                    <a:gd name="connsiteX9" fmla="*/ 409927 w 438150"/>
                    <a:gd name="connsiteY9" fmla="*/ 534021 h 533400"/>
                    <a:gd name="connsiteX10" fmla="*/ 28927 w 438150"/>
                    <a:gd name="connsiteY10" fmla="*/ 534021 h 533400"/>
                    <a:gd name="connsiteX11" fmla="*/ 352 w 438150"/>
                    <a:gd name="connsiteY11" fmla="*/ 505446 h 533400"/>
                    <a:gd name="connsiteX12" fmla="*/ 352 w 438150"/>
                    <a:gd name="connsiteY12" fmla="*/ 29196 h 533400"/>
                    <a:gd name="connsiteX13" fmla="*/ 28927 w 438150"/>
                    <a:gd name="connsiteY13" fmla="*/ 621 h 533400"/>
                    <a:gd name="connsiteX14" fmla="*/ 284197 w 438150"/>
                    <a:gd name="connsiteY14" fmla="*/ 621 h 533400"/>
                    <a:gd name="connsiteX15" fmla="*/ 248002 w 438150"/>
                    <a:gd name="connsiteY15" fmla="*/ 200646 h 533400"/>
                    <a:gd name="connsiteX16" fmla="*/ 152752 w 438150"/>
                    <a:gd name="connsiteY16" fmla="*/ 200646 h 533400"/>
                    <a:gd name="connsiteX17" fmla="*/ 152752 w 438150"/>
                    <a:gd name="connsiteY17" fmla="*/ 410196 h 533400"/>
                    <a:gd name="connsiteX18" fmla="*/ 171802 w 438150"/>
                    <a:gd name="connsiteY18" fmla="*/ 410196 h 533400"/>
                    <a:gd name="connsiteX19" fmla="*/ 171802 w 438150"/>
                    <a:gd name="connsiteY19" fmla="*/ 314946 h 533400"/>
                    <a:gd name="connsiteX20" fmla="*/ 248002 w 438150"/>
                    <a:gd name="connsiteY20" fmla="*/ 314946 h 533400"/>
                    <a:gd name="connsiteX21" fmla="*/ 249907 w 438150"/>
                    <a:gd name="connsiteY21" fmla="*/ 314946 h 533400"/>
                    <a:gd name="connsiteX22" fmla="*/ 305152 w 438150"/>
                    <a:gd name="connsiteY22" fmla="*/ 257796 h 533400"/>
                    <a:gd name="connsiteX23" fmla="*/ 248002 w 438150"/>
                    <a:gd name="connsiteY23" fmla="*/ 200646 h 533400"/>
                    <a:gd name="connsiteX24" fmla="*/ 248002 w 438150"/>
                    <a:gd name="connsiteY24" fmla="*/ 200646 h 533400"/>
                    <a:gd name="connsiteX25" fmla="*/ 248002 w 438150"/>
                    <a:gd name="connsiteY25" fmla="*/ 219696 h 533400"/>
                    <a:gd name="connsiteX26" fmla="*/ 286102 w 438150"/>
                    <a:gd name="connsiteY26" fmla="*/ 257796 h 533400"/>
                    <a:gd name="connsiteX27" fmla="*/ 248002 w 438150"/>
                    <a:gd name="connsiteY27" fmla="*/ 295896 h 533400"/>
                    <a:gd name="connsiteX28" fmla="*/ 248002 w 438150"/>
                    <a:gd name="connsiteY28" fmla="*/ 295896 h 533400"/>
                    <a:gd name="connsiteX29" fmla="*/ 171802 w 438150"/>
                    <a:gd name="connsiteY29" fmla="*/ 295896 h 533400"/>
                    <a:gd name="connsiteX30" fmla="*/ 171802 w 438150"/>
                    <a:gd name="connsiteY30" fmla="*/ 219696 h 533400"/>
                    <a:gd name="connsiteX31" fmla="*/ 248002 w 438150"/>
                    <a:gd name="connsiteY31" fmla="*/ 219696 h 533400"/>
                    <a:gd name="connsiteX32" fmla="*/ 428977 w 438150"/>
                    <a:gd name="connsiteY32" fmla="*/ 133971 h 533400"/>
                    <a:gd name="connsiteX33" fmla="*/ 314677 w 438150"/>
                    <a:gd name="connsiteY33" fmla="*/ 133971 h 533400"/>
                    <a:gd name="connsiteX34" fmla="*/ 313724 w 438150"/>
                    <a:gd name="connsiteY34" fmla="*/ 133971 h 533400"/>
                    <a:gd name="connsiteX35" fmla="*/ 305152 w 438150"/>
                    <a:gd name="connsiteY35" fmla="*/ 124446 h 533400"/>
                    <a:gd name="connsiteX36" fmla="*/ 305152 w 438150"/>
                    <a:gd name="connsiteY36" fmla="*/ 124446 h 533400"/>
                    <a:gd name="connsiteX37" fmla="*/ 305152 w 438150"/>
                    <a:gd name="connsiteY37" fmla="*/ 10146 h 533400"/>
                    <a:gd name="connsiteX38" fmla="*/ 428977 w 438150"/>
                    <a:gd name="connsiteY38" fmla="*/ 133971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38150" h="533400">
                      <a:moveTo>
                        <a:pt x="284197" y="621"/>
                      </a:moveTo>
                      <a:cubicBezTo>
                        <a:pt x="285149" y="621"/>
                        <a:pt x="286102" y="621"/>
                        <a:pt x="286102" y="621"/>
                      </a:cubicBezTo>
                      <a:lnTo>
                        <a:pt x="286102" y="124446"/>
                      </a:lnTo>
                      <a:lnTo>
                        <a:pt x="286102" y="126351"/>
                      </a:lnTo>
                      <a:cubicBezTo>
                        <a:pt x="287055" y="141591"/>
                        <a:pt x="299437" y="153021"/>
                        <a:pt x="314677" y="153021"/>
                      </a:cubicBezTo>
                      <a:lnTo>
                        <a:pt x="314677" y="153021"/>
                      </a:lnTo>
                      <a:lnTo>
                        <a:pt x="438502" y="153021"/>
                      </a:lnTo>
                      <a:cubicBezTo>
                        <a:pt x="438502" y="153974"/>
                        <a:pt x="438502" y="154926"/>
                        <a:pt x="438502" y="154926"/>
                      </a:cubicBezTo>
                      <a:lnTo>
                        <a:pt x="438502" y="505446"/>
                      </a:lnTo>
                      <a:cubicBezTo>
                        <a:pt x="438502" y="521639"/>
                        <a:pt x="426120" y="534021"/>
                        <a:pt x="409927" y="534021"/>
                      </a:cubicBezTo>
                      <a:lnTo>
                        <a:pt x="28927" y="534021"/>
                      </a:lnTo>
                      <a:cubicBezTo>
                        <a:pt x="12734" y="534021"/>
                        <a:pt x="352" y="521639"/>
                        <a:pt x="352" y="505446"/>
                      </a:cubicBezTo>
                      <a:lnTo>
                        <a:pt x="352" y="29196"/>
                      </a:lnTo>
                      <a:cubicBezTo>
                        <a:pt x="352" y="13004"/>
                        <a:pt x="12734" y="621"/>
                        <a:pt x="28927" y="621"/>
                      </a:cubicBezTo>
                      <a:lnTo>
                        <a:pt x="284197" y="621"/>
                      </a:lnTo>
                      <a:close/>
                      <a:moveTo>
                        <a:pt x="248002" y="200646"/>
                      </a:moveTo>
                      <a:lnTo>
                        <a:pt x="152752" y="200646"/>
                      </a:lnTo>
                      <a:lnTo>
                        <a:pt x="152752" y="410196"/>
                      </a:lnTo>
                      <a:lnTo>
                        <a:pt x="171802" y="410196"/>
                      </a:lnTo>
                      <a:lnTo>
                        <a:pt x="171802" y="314946"/>
                      </a:lnTo>
                      <a:lnTo>
                        <a:pt x="248002" y="314946"/>
                      </a:lnTo>
                      <a:lnTo>
                        <a:pt x="249907" y="314946"/>
                      </a:lnTo>
                      <a:cubicBezTo>
                        <a:pt x="280387" y="313994"/>
                        <a:pt x="305152" y="288276"/>
                        <a:pt x="305152" y="257796"/>
                      </a:cubicBezTo>
                      <a:cubicBezTo>
                        <a:pt x="305152" y="226364"/>
                        <a:pt x="279434" y="200646"/>
                        <a:pt x="248002" y="200646"/>
                      </a:cubicBezTo>
                      <a:lnTo>
                        <a:pt x="248002" y="200646"/>
                      </a:lnTo>
                      <a:close/>
                      <a:moveTo>
                        <a:pt x="248002" y="219696"/>
                      </a:moveTo>
                      <a:cubicBezTo>
                        <a:pt x="268957" y="219696"/>
                        <a:pt x="286102" y="236841"/>
                        <a:pt x="286102" y="257796"/>
                      </a:cubicBezTo>
                      <a:cubicBezTo>
                        <a:pt x="286102" y="278751"/>
                        <a:pt x="268957" y="295896"/>
                        <a:pt x="248002" y="295896"/>
                      </a:cubicBezTo>
                      <a:lnTo>
                        <a:pt x="248002" y="295896"/>
                      </a:lnTo>
                      <a:lnTo>
                        <a:pt x="171802" y="295896"/>
                      </a:lnTo>
                      <a:lnTo>
                        <a:pt x="171802" y="219696"/>
                      </a:lnTo>
                      <a:lnTo>
                        <a:pt x="248002" y="219696"/>
                      </a:lnTo>
                      <a:close/>
                      <a:moveTo>
                        <a:pt x="428977" y="133971"/>
                      </a:moveTo>
                      <a:lnTo>
                        <a:pt x="314677" y="133971"/>
                      </a:lnTo>
                      <a:lnTo>
                        <a:pt x="313724" y="133971"/>
                      </a:lnTo>
                      <a:cubicBezTo>
                        <a:pt x="308962" y="133019"/>
                        <a:pt x="305152" y="129209"/>
                        <a:pt x="305152" y="124446"/>
                      </a:cubicBezTo>
                      <a:lnTo>
                        <a:pt x="305152" y="124446"/>
                      </a:lnTo>
                      <a:lnTo>
                        <a:pt x="305152" y="10146"/>
                      </a:lnTo>
                      <a:lnTo>
                        <a:pt x="428977" y="133971"/>
                      </a:lnTo>
                      <a:close/>
                    </a:path>
                  </a:pathLst>
                </a:custGeom>
                <a:solidFill>
                  <a:srgbClr val="FFFFFF"/>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grpSp>
          <p:grpSp>
            <p:nvGrpSpPr>
              <p:cNvPr id="135" name="组合 134"/>
              <p:cNvGrpSpPr/>
              <p:nvPr/>
            </p:nvGrpSpPr>
            <p:grpSpPr>
              <a:xfrm>
                <a:off x="660400" y="1957083"/>
                <a:ext cx="2063897" cy="848117"/>
                <a:chOff x="9355944" y="1957083"/>
                <a:chExt cx="2063897" cy="848117"/>
              </a:xfrm>
            </p:grpSpPr>
            <p:sp>
              <p:nvSpPr>
                <p:cNvPr id="136" name="矩形 135"/>
                <p:cNvSpPr/>
                <p:nvPr/>
              </p:nvSpPr>
              <p:spPr>
                <a:xfrm>
                  <a:off x="9355945" y="2295637"/>
                  <a:ext cx="2063896" cy="5095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p>
                  <a:pPr algn="r">
                    <a:lnSpc>
                      <a:spcPct val="130000"/>
                    </a:lnSpc>
                  </a:pPr>
                  <a:r>
                    <a:rPr kumimoji="1" lang="en-US" altLang="zh-CN" sz="1100" dirty="0">
                      <a:solidFill>
                        <a:schemeClr val="tx1"/>
                      </a:solidFill>
                      <a:latin typeface="Arial" panose="020B0604020202090204" pitchFamily="34" charset="0"/>
                      <a:ea typeface="华文楷体" panose="02010600040101010101" pitchFamily="2" charset="-122"/>
                    </a:rPr>
                    <a:t>Nunc viverra imperdiet enim. Fusce est. Vivamus a </a:t>
                  </a:r>
                  <a:r>
                    <a:rPr kumimoji="1" lang="en-US" altLang="zh-CN" sz="1100" dirty="0" err="1">
                      <a:solidFill>
                        <a:schemeClr val="tx1"/>
                      </a:solidFill>
                      <a:latin typeface="Arial" panose="020B0604020202090204" pitchFamily="34" charset="0"/>
                      <a:ea typeface="华文楷体" panose="02010600040101010101" pitchFamily="2" charset="-122"/>
                    </a:rPr>
                    <a:t>tellus</a:t>
                  </a:r>
                  <a:r>
                    <a:rPr kumimoji="1" lang="en-US" altLang="zh-CN" sz="1100" dirty="0">
                      <a:solidFill>
                        <a:schemeClr val="tx1"/>
                      </a:solidFill>
                      <a:latin typeface="Arial" panose="020B0604020202090204" pitchFamily="34" charset="0"/>
                      <a:ea typeface="华文楷体" panose="02010600040101010101" pitchFamily="2" charset="-122"/>
                    </a:rPr>
                    <a:t>.</a:t>
                  </a:r>
                  <a:endParaRPr kumimoji="1" lang="en-US" altLang="zh-CN" sz="1100" dirty="0">
                    <a:solidFill>
                      <a:schemeClr val="tx1"/>
                    </a:solidFill>
                    <a:latin typeface="Arial" panose="020B0604020202090204" pitchFamily="34" charset="0"/>
                    <a:ea typeface="华文楷体" panose="02010600040101010101" pitchFamily="2" charset="-122"/>
                  </a:endParaRPr>
                </a:p>
              </p:txBody>
            </p:sp>
            <p:sp>
              <p:nvSpPr>
                <p:cNvPr id="137" name="矩形 136"/>
                <p:cNvSpPr/>
                <p:nvPr/>
              </p:nvSpPr>
              <p:spPr>
                <a:xfrm>
                  <a:off x="9355944" y="1957083"/>
                  <a:ext cx="2063896"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p>
                  <a:pPr algn="r"/>
                  <a:r>
                    <a:rPr kumimoji="1" lang="en-US" altLang="zh-CN" sz="1600" b="1" dirty="0">
                      <a:solidFill>
                        <a:schemeClr val="tx1"/>
                      </a:solidFill>
                      <a:latin typeface="Arial" panose="020B0604020202090204" pitchFamily="34" charset="0"/>
                      <a:ea typeface="华文楷体" panose="02010600040101010101" pitchFamily="2" charset="-122"/>
                    </a:rPr>
                    <a:t>Texthere</a:t>
                  </a:r>
                  <a:endParaRPr kumimoji="1" lang="en-US" altLang="zh-CN" sz="1600" b="1" dirty="0">
                    <a:solidFill>
                      <a:schemeClr val="tx1"/>
                    </a:solidFill>
                    <a:latin typeface="Arial" panose="020B0604020202090204" pitchFamily="34" charset="0"/>
                    <a:ea typeface="华文楷体" panose="02010600040101010101" pitchFamily="2" charset="-122"/>
                  </a:endParaRPr>
                </a:p>
              </p:txBody>
            </p:sp>
          </p:grpSp>
        </p:grpSp>
        <p:grpSp>
          <p:nvGrpSpPr>
            <p:cNvPr id="146" name="组合 145"/>
            <p:cNvGrpSpPr/>
            <p:nvPr/>
          </p:nvGrpSpPr>
          <p:grpSpPr>
            <a:xfrm>
              <a:off x="888516" y="4840370"/>
              <a:ext cx="2715655" cy="848117"/>
              <a:chOff x="660400" y="3578548"/>
              <a:chExt cx="2715655" cy="848117"/>
            </a:xfrm>
          </p:grpSpPr>
          <p:grpSp>
            <p:nvGrpSpPr>
              <p:cNvPr id="123" name="组合 122"/>
              <p:cNvGrpSpPr/>
              <p:nvPr/>
            </p:nvGrpSpPr>
            <p:grpSpPr>
              <a:xfrm>
                <a:off x="2836055" y="3734492"/>
                <a:ext cx="540000" cy="540000"/>
                <a:chOff x="9036964" y="5599496"/>
                <a:chExt cx="540000" cy="540000"/>
              </a:xfrm>
            </p:grpSpPr>
            <p:sp>
              <p:nvSpPr>
                <p:cNvPr id="124" name="文本框 123"/>
                <p:cNvSpPr txBox="1"/>
                <p:nvPr/>
              </p:nvSpPr>
              <p:spPr>
                <a:xfrm>
                  <a:off x="9036964" y="5599496"/>
                  <a:ext cx="540000" cy="540000"/>
                </a:xfrm>
                <a:prstGeom prst="roundRect">
                  <a:avLst>
                    <a:gd name="adj" fmla="val 50000"/>
                  </a:avLst>
                </a:prstGeom>
                <a:solidFill>
                  <a:schemeClr val="tx2">
                    <a:alpha val="80000"/>
                  </a:schemeClr>
                </a:solidFill>
              </p:spPr>
              <p:txBody>
                <a:bodyPr wrap="none" lIns="108000" tIns="108000" rIns="108000" bIns="108000" rtlCol="0" anchor="ctr" anchorCtr="0">
                  <a:noAutofit/>
                </a:bodyPr>
                <a:lstStyle/>
                <a:p>
                  <a:pPr algn="ctr"/>
                  <a:endParaRPr kumimoji="1" lang="zh-CN" altLang="en-US" sz="2000" b="1" dirty="0">
                    <a:noFill/>
                  </a:endParaRPr>
                </a:p>
              </p:txBody>
            </p:sp>
            <p:sp>
              <p:nvSpPr>
                <p:cNvPr id="125" name="任意多边形: 形状 124"/>
                <p:cNvSpPr/>
                <p:nvPr/>
              </p:nvSpPr>
              <p:spPr>
                <a:xfrm>
                  <a:off x="9208605" y="5736711"/>
                  <a:ext cx="196718" cy="265570"/>
                </a:xfrm>
                <a:custGeom>
                  <a:avLst/>
                  <a:gdLst>
                    <a:gd name="connsiteX0" fmla="*/ 86973 w 381000"/>
                    <a:gd name="connsiteY0" fmla="*/ 38721 h 514350"/>
                    <a:gd name="connsiteX1" fmla="*/ 86973 w 381000"/>
                    <a:gd name="connsiteY1" fmla="*/ 57771 h 514350"/>
                    <a:gd name="connsiteX2" fmla="*/ 123168 w 381000"/>
                    <a:gd name="connsiteY2" fmla="*/ 95871 h 514350"/>
                    <a:gd name="connsiteX3" fmla="*/ 125073 w 381000"/>
                    <a:gd name="connsiteY3" fmla="*/ 95871 h 514350"/>
                    <a:gd name="connsiteX4" fmla="*/ 258423 w 381000"/>
                    <a:gd name="connsiteY4" fmla="*/ 95871 h 514350"/>
                    <a:gd name="connsiteX5" fmla="*/ 296523 w 381000"/>
                    <a:gd name="connsiteY5" fmla="*/ 59676 h 514350"/>
                    <a:gd name="connsiteX6" fmla="*/ 296523 w 381000"/>
                    <a:gd name="connsiteY6" fmla="*/ 57771 h 514350"/>
                    <a:gd name="connsiteX7" fmla="*/ 296523 w 381000"/>
                    <a:gd name="connsiteY7" fmla="*/ 38721 h 514350"/>
                    <a:gd name="connsiteX8" fmla="*/ 353673 w 381000"/>
                    <a:gd name="connsiteY8" fmla="*/ 38721 h 514350"/>
                    <a:gd name="connsiteX9" fmla="*/ 382248 w 381000"/>
                    <a:gd name="connsiteY9" fmla="*/ 67296 h 514350"/>
                    <a:gd name="connsiteX10" fmla="*/ 382248 w 381000"/>
                    <a:gd name="connsiteY10" fmla="*/ 486396 h 514350"/>
                    <a:gd name="connsiteX11" fmla="*/ 353673 w 381000"/>
                    <a:gd name="connsiteY11" fmla="*/ 514971 h 514350"/>
                    <a:gd name="connsiteX12" fmla="*/ 29823 w 381000"/>
                    <a:gd name="connsiteY12" fmla="*/ 514971 h 514350"/>
                    <a:gd name="connsiteX13" fmla="*/ 1248 w 381000"/>
                    <a:gd name="connsiteY13" fmla="*/ 486396 h 514350"/>
                    <a:gd name="connsiteX14" fmla="*/ 1248 w 381000"/>
                    <a:gd name="connsiteY14" fmla="*/ 67296 h 514350"/>
                    <a:gd name="connsiteX15" fmla="*/ 29823 w 381000"/>
                    <a:gd name="connsiteY15" fmla="*/ 38721 h 514350"/>
                    <a:gd name="connsiteX16" fmla="*/ 86973 w 381000"/>
                    <a:gd name="connsiteY16" fmla="*/ 38721 h 514350"/>
                    <a:gd name="connsiteX17" fmla="*/ 191748 w 381000"/>
                    <a:gd name="connsiteY17" fmla="*/ 333996 h 514350"/>
                    <a:gd name="connsiteX18" fmla="*/ 77448 w 381000"/>
                    <a:gd name="connsiteY18" fmla="*/ 333996 h 514350"/>
                    <a:gd name="connsiteX19" fmla="*/ 77448 w 381000"/>
                    <a:gd name="connsiteY19" fmla="*/ 353046 h 514350"/>
                    <a:gd name="connsiteX20" fmla="*/ 191748 w 381000"/>
                    <a:gd name="connsiteY20" fmla="*/ 353046 h 514350"/>
                    <a:gd name="connsiteX21" fmla="*/ 191748 w 381000"/>
                    <a:gd name="connsiteY21" fmla="*/ 333996 h 514350"/>
                    <a:gd name="connsiteX22" fmla="*/ 306048 w 381000"/>
                    <a:gd name="connsiteY22" fmla="*/ 257796 h 514350"/>
                    <a:gd name="connsiteX23" fmla="*/ 77448 w 381000"/>
                    <a:gd name="connsiteY23" fmla="*/ 257796 h 514350"/>
                    <a:gd name="connsiteX24" fmla="*/ 77448 w 381000"/>
                    <a:gd name="connsiteY24" fmla="*/ 276846 h 514350"/>
                    <a:gd name="connsiteX25" fmla="*/ 306048 w 381000"/>
                    <a:gd name="connsiteY25" fmla="*/ 276846 h 514350"/>
                    <a:gd name="connsiteX26" fmla="*/ 306048 w 381000"/>
                    <a:gd name="connsiteY26" fmla="*/ 257796 h 514350"/>
                    <a:gd name="connsiteX27" fmla="*/ 306048 w 381000"/>
                    <a:gd name="connsiteY27" fmla="*/ 181596 h 514350"/>
                    <a:gd name="connsiteX28" fmla="*/ 77448 w 381000"/>
                    <a:gd name="connsiteY28" fmla="*/ 181596 h 514350"/>
                    <a:gd name="connsiteX29" fmla="*/ 77448 w 381000"/>
                    <a:gd name="connsiteY29" fmla="*/ 200646 h 514350"/>
                    <a:gd name="connsiteX30" fmla="*/ 306048 w 381000"/>
                    <a:gd name="connsiteY30" fmla="*/ 200646 h 514350"/>
                    <a:gd name="connsiteX31" fmla="*/ 306048 w 381000"/>
                    <a:gd name="connsiteY31" fmla="*/ 181596 h 514350"/>
                    <a:gd name="connsiteX32" fmla="*/ 248898 w 381000"/>
                    <a:gd name="connsiteY32" fmla="*/ 621 h 514350"/>
                    <a:gd name="connsiteX33" fmla="*/ 277473 w 381000"/>
                    <a:gd name="connsiteY33" fmla="*/ 29196 h 514350"/>
                    <a:gd name="connsiteX34" fmla="*/ 277473 w 381000"/>
                    <a:gd name="connsiteY34" fmla="*/ 48246 h 514350"/>
                    <a:gd name="connsiteX35" fmla="*/ 248898 w 381000"/>
                    <a:gd name="connsiteY35" fmla="*/ 76821 h 514350"/>
                    <a:gd name="connsiteX36" fmla="*/ 134598 w 381000"/>
                    <a:gd name="connsiteY36" fmla="*/ 76821 h 514350"/>
                    <a:gd name="connsiteX37" fmla="*/ 106023 w 381000"/>
                    <a:gd name="connsiteY37" fmla="*/ 48246 h 514350"/>
                    <a:gd name="connsiteX38" fmla="*/ 106023 w 381000"/>
                    <a:gd name="connsiteY38" fmla="*/ 29196 h 514350"/>
                    <a:gd name="connsiteX39" fmla="*/ 134598 w 381000"/>
                    <a:gd name="connsiteY39" fmla="*/ 621 h 514350"/>
                    <a:gd name="connsiteX40" fmla="*/ 248898 w 381000"/>
                    <a:gd name="connsiteY40" fmla="*/ 621 h 514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81000" h="514350">
                      <a:moveTo>
                        <a:pt x="86973" y="38721"/>
                      </a:moveTo>
                      <a:lnTo>
                        <a:pt x="86973" y="57771"/>
                      </a:lnTo>
                      <a:cubicBezTo>
                        <a:pt x="86973" y="77774"/>
                        <a:pt x="103166" y="94919"/>
                        <a:pt x="123168" y="95871"/>
                      </a:cubicBezTo>
                      <a:lnTo>
                        <a:pt x="125073" y="95871"/>
                      </a:lnTo>
                      <a:lnTo>
                        <a:pt x="258423" y="95871"/>
                      </a:lnTo>
                      <a:cubicBezTo>
                        <a:pt x="278426" y="95871"/>
                        <a:pt x="295570" y="79679"/>
                        <a:pt x="296523" y="59676"/>
                      </a:cubicBezTo>
                      <a:lnTo>
                        <a:pt x="296523" y="57771"/>
                      </a:lnTo>
                      <a:lnTo>
                        <a:pt x="296523" y="38721"/>
                      </a:lnTo>
                      <a:lnTo>
                        <a:pt x="353673" y="38721"/>
                      </a:lnTo>
                      <a:cubicBezTo>
                        <a:pt x="369866" y="38721"/>
                        <a:pt x="382248" y="51104"/>
                        <a:pt x="382248" y="67296"/>
                      </a:cubicBezTo>
                      <a:lnTo>
                        <a:pt x="382248" y="486396"/>
                      </a:lnTo>
                      <a:cubicBezTo>
                        <a:pt x="382248" y="502589"/>
                        <a:pt x="369866" y="514971"/>
                        <a:pt x="353673" y="514971"/>
                      </a:cubicBezTo>
                      <a:lnTo>
                        <a:pt x="29823" y="514971"/>
                      </a:lnTo>
                      <a:cubicBezTo>
                        <a:pt x="13630" y="514971"/>
                        <a:pt x="1248" y="502589"/>
                        <a:pt x="1248" y="486396"/>
                      </a:cubicBezTo>
                      <a:lnTo>
                        <a:pt x="1248" y="67296"/>
                      </a:lnTo>
                      <a:cubicBezTo>
                        <a:pt x="1248" y="51104"/>
                        <a:pt x="13630" y="38721"/>
                        <a:pt x="29823" y="38721"/>
                      </a:cubicBezTo>
                      <a:lnTo>
                        <a:pt x="86973" y="38721"/>
                      </a:lnTo>
                      <a:close/>
                      <a:moveTo>
                        <a:pt x="191748" y="333996"/>
                      </a:moveTo>
                      <a:lnTo>
                        <a:pt x="77448" y="333996"/>
                      </a:lnTo>
                      <a:lnTo>
                        <a:pt x="77448" y="353046"/>
                      </a:lnTo>
                      <a:lnTo>
                        <a:pt x="191748" y="353046"/>
                      </a:lnTo>
                      <a:lnTo>
                        <a:pt x="191748" y="333996"/>
                      </a:lnTo>
                      <a:close/>
                      <a:moveTo>
                        <a:pt x="306048" y="257796"/>
                      </a:moveTo>
                      <a:lnTo>
                        <a:pt x="77448" y="257796"/>
                      </a:lnTo>
                      <a:lnTo>
                        <a:pt x="77448" y="276846"/>
                      </a:lnTo>
                      <a:lnTo>
                        <a:pt x="306048" y="276846"/>
                      </a:lnTo>
                      <a:lnTo>
                        <a:pt x="306048" y="257796"/>
                      </a:lnTo>
                      <a:close/>
                      <a:moveTo>
                        <a:pt x="306048" y="181596"/>
                      </a:moveTo>
                      <a:lnTo>
                        <a:pt x="77448" y="181596"/>
                      </a:lnTo>
                      <a:lnTo>
                        <a:pt x="77448" y="200646"/>
                      </a:lnTo>
                      <a:lnTo>
                        <a:pt x="306048" y="200646"/>
                      </a:lnTo>
                      <a:lnTo>
                        <a:pt x="306048" y="181596"/>
                      </a:lnTo>
                      <a:close/>
                      <a:moveTo>
                        <a:pt x="248898" y="621"/>
                      </a:moveTo>
                      <a:cubicBezTo>
                        <a:pt x="265091" y="621"/>
                        <a:pt x="277473" y="13004"/>
                        <a:pt x="277473" y="29196"/>
                      </a:cubicBezTo>
                      <a:lnTo>
                        <a:pt x="277473" y="48246"/>
                      </a:lnTo>
                      <a:cubicBezTo>
                        <a:pt x="277473" y="64439"/>
                        <a:pt x="265091" y="76821"/>
                        <a:pt x="248898" y="76821"/>
                      </a:cubicBezTo>
                      <a:lnTo>
                        <a:pt x="134598" y="76821"/>
                      </a:lnTo>
                      <a:cubicBezTo>
                        <a:pt x="118405" y="76821"/>
                        <a:pt x="106023" y="64439"/>
                        <a:pt x="106023" y="48246"/>
                      </a:cubicBezTo>
                      <a:lnTo>
                        <a:pt x="106023" y="29196"/>
                      </a:lnTo>
                      <a:cubicBezTo>
                        <a:pt x="106023" y="13004"/>
                        <a:pt x="118405" y="621"/>
                        <a:pt x="134598" y="621"/>
                      </a:cubicBezTo>
                      <a:lnTo>
                        <a:pt x="248898" y="621"/>
                      </a:lnTo>
                      <a:close/>
                    </a:path>
                  </a:pathLst>
                </a:custGeom>
                <a:solidFill>
                  <a:schemeClr val="bg1"/>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grpSp>
          <p:grpSp>
            <p:nvGrpSpPr>
              <p:cNvPr id="138" name="组合 137"/>
              <p:cNvGrpSpPr/>
              <p:nvPr/>
            </p:nvGrpSpPr>
            <p:grpSpPr>
              <a:xfrm>
                <a:off x="660400" y="3578548"/>
                <a:ext cx="2063897" cy="848117"/>
                <a:chOff x="9355944" y="1957083"/>
                <a:chExt cx="2063897" cy="848117"/>
              </a:xfrm>
            </p:grpSpPr>
            <p:sp>
              <p:nvSpPr>
                <p:cNvPr id="139" name="矩形 138"/>
                <p:cNvSpPr/>
                <p:nvPr/>
              </p:nvSpPr>
              <p:spPr>
                <a:xfrm>
                  <a:off x="9355945" y="2295637"/>
                  <a:ext cx="2063896" cy="5095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p>
                  <a:pPr algn="r">
                    <a:lnSpc>
                      <a:spcPct val="130000"/>
                    </a:lnSpc>
                  </a:pPr>
                  <a:r>
                    <a:rPr kumimoji="1" lang="en-US" altLang="zh-CN" sz="1100" dirty="0">
                      <a:solidFill>
                        <a:schemeClr val="tx1"/>
                      </a:solidFill>
                      <a:latin typeface="Arial" panose="020B0604020202090204" pitchFamily="34" charset="0"/>
                      <a:ea typeface="华文楷体" panose="02010600040101010101" pitchFamily="2" charset="-122"/>
                    </a:rPr>
                    <a:t>Nunc viverra imperdiet enim. Fusce est. Vivamus a </a:t>
                  </a:r>
                  <a:r>
                    <a:rPr kumimoji="1" lang="en-US" altLang="zh-CN" sz="1100" dirty="0" err="1">
                      <a:solidFill>
                        <a:schemeClr val="tx1"/>
                      </a:solidFill>
                      <a:latin typeface="Arial" panose="020B0604020202090204" pitchFamily="34" charset="0"/>
                      <a:ea typeface="华文楷体" panose="02010600040101010101" pitchFamily="2" charset="-122"/>
                    </a:rPr>
                    <a:t>tellus</a:t>
                  </a:r>
                  <a:r>
                    <a:rPr kumimoji="1" lang="en-US" altLang="zh-CN" sz="1100" dirty="0">
                      <a:solidFill>
                        <a:schemeClr val="tx1"/>
                      </a:solidFill>
                      <a:latin typeface="Arial" panose="020B0604020202090204" pitchFamily="34" charset="0"/>
                      <a:ea typeface="华文楷体" panose="02010600040101010101" pitchFamily="2" charset="-122"/>
                    </a:rPr>
                    <a:t>.</a:t>
                  </a:r>
                  <a:endParaRPr kumimoji="1" lang="en-US" altLang="zh-CN" sz="1100" dirty="0">
                    <a:solidFill>
                      <a:schemeClr val="tx1"/>
                    </a:solidFill>
                    <a:latin typeface="Arial" panose="020B0604020202090204" pitchFamily="34" charset="0"/>
                    <a:ea typeface="华文楷体" panose="02010600040101010101" pitchFamily="2" charset="-122"/>
                  </a:endParaRPr>
                </a:p>
              </p:txBody>
            </p:sp>
            <p:sp>
              <p:nvSpPr>
                <p:cNvPr id="140" name="矩形 139"/>
                <p:cNvSpPr/>
                <p:nvPr/>
              </p:nvSpPr>
              <p:spPr>
                <a:xfrm>
                  <a:off x="9355944" y="1957083"/>
                  <a:ext cx="2063896"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p>
                  <a:pPr algn="r"/>
                  <a:r>
                    <a:rPr kumimoji="1" lang="en-US" altLang="zh-CN" sz="1600" b="1" dirty="0">
                      <a:solidFill>
                        <a:schemeClr val="tx1"/>
                      </a:solidFill>
                      <a:latin typeface="Arial" panose="020B0604020202090204" pitchFamily="34" charset="0"/>
                      <a:ea typeface="华文楷体" panose="02010600040101010101" pitchFamily="2" charset="-122"/>
                    </a:rPr>
                    <a:t>Texthere</a:t>
                  </a:r>
                  <a:endParaRPr kumimoji="1" lang="en-US" altLang="zh-CN" sz="1600" b="1" dirty="0">
                    <a:solidFill>
                      <a:schemeClr val="tx1"/>
                    </a:solidFill>
                    <a:latin typeface="Arial" panose="020B0604020202090204" pitchFamily="34" charset="0"/>
                    <a:ea typeface="华文楷体" panose="02010600040101010101" pitchFamily="2" charset="-122"/>
                  </a:endParaRPr>
                </a:p>
              </p:txBody>
            </p:sp>
          </p:grpSp>
        </p:grpSp>
      </p:grpSp>
    </p:spTree>
    <p:custDataLst>
      <p:tags r:id="rId1"/>
    </p:custData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5" name="组合 44"/>
          <p:cNvGrpSpPr/>
          <p:nvPr/>
        </p:nvGrpSpPr>
        <p:grpSpPr>
          <a:xfrm>
            <a:off x="1014565" y="1130300"/>
            <a:ext cx="10150166" cy="5003800"/>
            <a:chOff x="1014565" y="1130300"/>
            <a:chExt cx="10150166" cy="5003800"/>
          </a:xfrm>
        </p:grpSpPr>
        <p:sp>
          <p:nvSpPr>
            <p:cNvPr id="5" name="矩形: 圆角 4"/>
            <p:cNvSpPr/>
            <p:nvPr/>
          </p:nvSpPr>
          <p:spPr>
            <a:xfrm>
              <a:off x="1384921" y="1463368"/>
              <a:ext cx="9409460" cy="2120434"/>
            </a:xfrm>
            <a:prstGeom prst="roundRect">
              <a:avLst/>
            </a:prstGeom>
            <a:noFill/>
            <a:ln>
              <a:solidFill>
                <a:schemeClr val="accent1"/>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矩形: 圆角 6"/>
            <p:cNvSpPr/>
            <p:nvPr/>
          </p:nvSpPr>
          <p:spPr>
            <a:xfrm>
              <a:off x="2895601" y="1130300"/>
              <a:ext cx="6388100" cy="646154"/>
            </a:xfrm>
            <a:prstGeom prst="roundRect">
              <a:avLst/>
            </a:prstGeom>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chorCtr="0">
              <a:normAutofit/>
            </a:bodyPr>
            <a:lstStyle/>
            <a:p>
              <a:pPr algn="ctr"/>
              <a:r>
                <a:rPr lang="en-US" altLang="zh-CN" sz="2400" b="1" dirty="0">
                  <a:latin typeface="Arial" panose="020B0604020202090204" pitchFamily="34" charset="0"/>
                  <a:ea typeface="华文楷体" panose="02010600040101010101" pitchFamily="2" charset="-122"/>
                </a:rPr>
                <a:t>Unified fonts make reading more fluent</a:t>
              </a:r>
              <a:endParaRPr lang="zh-CN" altLang="en-US" sz="2400" b="1" dirty="0">
                <a:latin typeface="Arial" panose="020B0604020202090204" pitchFamily="34" charset="0"/>
                <a:ea typeface="华文楷体" panose="02010600040101010101" pitchFamily="2" charset="-122"/>
              </a:endParaRPr>
            </a:p>
          </p:txBody>
        </p:sp>
        <p:sp>
          <p:nvSpPr>
            <p:cNvPr id="16" name="矩形: 圆角 15"/>
            <p:cNvSpPr/>
            <p:nvPr/>
          </p:nvSpPr>
          <p:spPr>
            <a:xfrm>
              <a:off x="1384921" y="4013666"/>
              <a:ext cx="9409460" cy="2120434"/>
            </a:xfrm>
            <a:prstGeom prst="roundRect">
              <a:avLst/>
            </a:prstGeom>
            <a:noFill/>
            <a:ln>
              <a:solidFill>
                <a:schemeClr val="accent1"/>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箭头: 下 14"/>
            <p:cNvSpPr/>
            <p:nvPr/>
          </p:nvSpPr>
          <p:spPr>
            <a:xfrm>
              <a:off x="5521431" y="3320889"/>
              <a:ext cx="1136437" cy="982010"/>
            </a:xfrm>
            <a:prstGeom prst="downArrow">
              <a:avLst/>
            </a:prstGeom>
            <a:gradFill>
              <a:gsLst>
                <a:gs pos="0">
                  <a:schemeClr val="accent1">
                    <a:lumMod val="5000"/>
                    <a:lumOff val="95000"/>
                    <a:alpha val="0"/>
                  </a:schemeClr>
                </a:gs>
                <a:gs pos="88000">
                  <a:schemeClr val="accent1"/>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40" name="组合 39"/>
            <p:cNvGrpSpPr/>
            <p:nvPr/>
          </p:nvGrpSpPr>
          <p:grpSpPr>
            <a:xfrm>
              <a:off x="1014565" y="2096515"/>
              <a:ext cx="4617519" cy="1224374"/>
              <a:chOff x="1014565" y="2096515"/>
              <a:chExt cx="4617519" cy="1224374"/>
            </a:xfrm>
          </p:grpSpPr>
          <p:sp>
            <p:nvSpPr>
              <p:cNvPr id="6" name="椭圆 5"/>
              <p:cNvSpPr/>
              <p:nvPr/>
            </p:nvSpPr>
            <p:spPr>
              <a:xfrm>
                <a:off x="1014565" y="2153231"/>
                <a:ext cx="740706" cy="740706"/>
              </a:xfrm>
              <a:prstGeom prst="ellipse">
                <a:avLst/>
              </a:prstGeom>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rmAutofit/>
              </a:bodyPr>
              <a:lstStyle/>
              <a:p>
                <a:pPr algn="ctr"/>
                <a:r>
                  <a:rPr lang="en-US" altLang="zh-CN" sz="2000" b="1" dirty="0">
                    <a:latin typeface="Arial" panose="020B0604020202090204" pitchFamily="34" charset="0"/>
                    <a:ea typeface="华文楷体" panose="02010600040101010101" pitchFamily="2" charset="-122"/>
                  </a:rPr>
                  <a:t>01</a:t>
                </a:r>
                <a:endParaRPr lang="zh-CN" altLang="en-US" sz="2000" b="1" dirty="0">
                  <a:latin typeface="Arial" panose="020B0604020202090204" pitchFamily="34" charset="0"/>
                  <a:ea typeface="华文楷体" panose="02010600040101010101" pitchFamily="2" charset="-122"/>
                </a:endParaRPr>
              </a:p>
            </p:txBody>
          </p:sp>
          <p:sp>
            <p:nvSpPr>
              <p:cNvPr id="9" name="矩形: 对角圆角 8"/>
              <p:cNvSpPr/>
              <p:nvPr/>
            </p:nvSpPr>
            <p:spPr>
              <a:xfrm>
                <a:off x="2164206" y="2096515"/>
                <a:ext cx="3467878" cy="544188"/>
              </a:xfrm>
              <a:prstGeom prst="round2Diag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chorCtr="1">
                <a:normAutofit/>
              </a:bodyPr>
              <a:lstStyle/>
              <a:p>
                <a:pPr algn="ctr"/>
                <a:r>
                  <a:rPr kumimoji="1" lang="en-US" altLang="zh-CN" b="1">
                    <a:solidFill>
                      <a:schemeClr val="tx1"/>
                    </a:solidFill>
                    <a:latin typeface="Arial" panose="020B0604020202090204" pitchFamily="34" charset="0"/>
                    <a:ea typeface="华文楷体" panose="02010600040101010101" pitchFamily="2" charset="-122"/>
                  </a:rPr>
                  <a:t>Click to add text</a:t>
                </a:r>
                <a:endParaRPr kumimoji="1" lang="en-US" altLang="zh-CN" b="1" dirty="0">
                  <a:solidFill>
                    <a:schemeClr val="tx1"/>
                  </a:solidFill>
                  <a:latin typeface="Arial" panose="020B0604020202090204" pitchFamily="34" charset="0"/>
                  <a:ea typeface="华文楷体" panose="02010600040101010101" pitchFamily="2" charset="-122"/>
                </a:endParaRPr>
              </a:p>
            </p:txBody>
          </p:sp>
          <p:sp>
            <p:nvSpPr>
              <p:cNvPr id="10" name="矩形 9"/>
              <p:cNvSpPr/>
              <p:nvPr/>
            </p:nvSpPr>
            <p:spPr>
              <a:xfrm flipH="1">
                <a:off x="2164206" y="2697419"/>
                <a:ext cx="3467872" cy="6234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1">
                <a:normAutofit/>
              </a:bodyPr>
              <a:lstStyle/>
              <a:p>
                <a:pPr algn="ctr">
                  <a:lnSpc>
                    <a:spcPct val="120000"/>
                  </a:lnSpc>
                </a:pPr>
                <a:r>
                  <a:rPr kumimoji="1" lang="nl-NL" altLang="zh-CN" sz="1200" dirty="0">
                    <a:solidFill>
                      <a:schemeClr val="tx1"/>
                    </a:solidFill>
                    <a:latin typeface="Arial" panose="020B0604020202090204" pitchFamily="34" charset="0"/>
                    <a:ea typeface="华文楷体" panose="02010600040101010101" pitchFamily="2" charset="-122"/>
                  </a:rPr>
                  <a:t>Et stet et takimata dolore eu lorem nonumy ut in in vero.</a:t>
                </a:r>
                <a:endParaRPr kumimoji="1" lang="en-US" altLang="zh-CN" sz="1200" dirty="0">
                  <a:solidFill>
                    <a:schemeClr val="tx1"/>
                  </a:solidFill>
                  <a:latin typeface="Arial" panose="020B0604020202090204" pitchFamily="34" charset="0"/>
                  <a:ea typeface="华文楷体" panose="02010600040101010101" pitchFamily="2" charset="-122"/>
                </a:endParaRPr>
              </a:p>
            </p:txBody>
          </p:sp>
        </p:grpSp>
        <p:grpSp>
          <p:nvGrpSpPr>
            <p:cNvPr id="41" name="组合 40"/>
            <p:cNvGrpSpPr/>
            <p:nvPr/>
          </p:nvGrpSpPr>
          <p:grpSpPr>
            <a:xfrm>
              <a:off x="6547216" y="2096515"/>
              <a:ext cx="4617515" cy="1224374"/>
              <a:chOff x="6547216" y="2096515"/>
              <a:chExt cx="4617515" cy="1224374"/>
            </a:xfrm>
          </p:grpSpPr>
          <p:sp>
            <p:nvSpPr>
              <p:cNvPr id="8" name="椭圆 7"/>
              <p:cNvSpPr/>
              <p:nvPr/>
            </p:nvSpPr>
            <p:spPr>
              <a:xfrm>
                <a:off x="10424025" y="2153231"/>
                <a:ext cx="740706" cy="740706"/>
              </a:xfrm>
              <a:prstGeom prst="ellipse">
                <a:avLst/>
              </a:prstGeom>
              <a:solidFill>
                <a:schemeClr val="accent2"/>
              </a:solidFill>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rmAutofit/>
              </a:bodyPr>
              <a:lstStyle/>
              <a:p>
                <a:pPr algn="ctr"/>
                <a:r>
                  <a:rPr lang="en-US" altLang="zh-CN" sz="2000" b="1" dirty="0">
                    <a:solidFill>
                      <a:srgbClr val="FFFFFF"/>
                    </a:solidFill>
                    <a:latin typeface="Arial" panose="020B0604020202090204" pitchFamily="34" charset="0"/>
                    <a:ea typeface="华文楷体" panose="02010600040101010101" pitchFamily="2" charset="-122"/>
                  </a:rPr>
                  <a:t>02</a:t>
                </a:r>
                <a:endParaRPr lang="zh-CN" altLang="en-US" sz="2000" b="1" dirty="0">
                  <a:solidFill>
                    <a:srgbClr val="FFFFFF"/>
                  </a:solidFill>
                  <a:latin typeface="Arial" panose="020B0604020202090204" pitchFamily="34" charset="0"/>
                  <a:ea typeface="华文楷体" panose="02010600040101010101" pitchFamily="2" charset="-122"/>
                </a:endParaRPr>
              </a:p>
            </p:txBody>
          </p:sp>
          <p:sp>
            <p:nvSpPr>
              <p:cNvPr id="11" name="矩形: 对角圆角 10"/>
              <p:cNvSpPr/>
              <p:nvPr/>
            </p:nvSpPr>
            <p:spPr>
              <a:xfrm>
                <a:off x="6547216" y="2096515"/>
                <a:ext cx="3467878" cy="544188"/>
              </a:xfrm>
              <a:prstGeom prst="round2DiagRect">
                <a:avLst/>
              </a:prstGeom>
              <a:solidFill>
                <a:schemeClr val="accent2">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chorCtr="1">
                <a:normAutofit/>
              </a:bodyPr>
              <a:lstStyle/>
              <a:p>
                <a:pPr algn="ctr"/>
                <a:r>
                  <a:rPr kumimoji="1" lang="en-US" altLang="zh-CN" b="1">
                    <a:solidFill>
                      <a:schemeClr val="tx1"/>
                    </a:solidFill>
                    <a:latin typeface="Arial" panose="020B0604020202090204" pitchFamily="34" charset="0"/>
                    <a:ea typeface="华文楷体" panose="02010600040101010101" pitchFamily="2" charset="-122"/>
                  </a:rPr>
                  <a:t>Click to add text</a:t>
                </a:r>
                <a:endParaRPr kumimoji="1" lang="en-US" altLang="zh-CN" b="1" dirty="0">
                  <a:solidFill>
                    <a:schemeClr val="tx1"/>
                  </a:solidFill>
                  <a:latin typeface="Arial" panose="020B0604020202090204" pitchFamily="34" charset="0"/>
                  <a:ea typeface="华文楷体" panose="02010600040101010101" pitchFamily="2" charset="-122"/>
                </a:endParaRPr>
              </a:p>
            </p:txBody>
          </p:sp>
          <p:sp>
            <p:nvSpPr>
              <p:cNvPr id="12" name="矩形 11"/>
              <p:cNvSpPr/>
              <p:nvPr/>
            </p:nvSpPr>
            <p:spPr>
              <a:xfrm flipH="1">
                <a:off x="6547216" y="2697419"/>
                <a:ext cx="3467872" cy="6234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1">
                <a:normAutofit/>
              </a:bodyPr>
              <a:lstStyle/>
              <a:p>
                <a:pPr algn="ctr">
                  <a:lnSpc>
                    <a:spcPct val="120000"/>
                  </a:lnSpc>
                </a:pPr>
                <a:r>
                  <a:rPr kumimoji="1" lang="nn-NO" altLang="zh-CN" sz="1200">
                    <a:solidFill>
                      <a:schemeClr val="tx1"/>
                    </a:solidFill>
                    <a:latin typeface="Arial" panose="020B0604020202090204" pitchFamily="34" charset="0"/>
                    <a:ea typeface="华文楷体" panose="02010600040101010101" pitchFamily="2" charset="-122"/>
                  </a:rPr>
                  <a:t>Stet minim sit gubergren eleifend consetetur no amet.</a:t>
                </a:r>
                <a:endParaRPr kumimoji="1" lang="en-US" altLang="zh-CN" sz="1200" dirty="0">
                  <a:solidFill>
                    <a:schemeClr val="tx1"/>
                  </a:solidFill>
                  <a:latin typeface="Arial" panose="020B0604020202090204" pitchFamily="34" charset="0"/>
                  <a:ea typeface="华文楷体" panose="02010600040101010101" pitchFamily="2" charset="-122"/>
                </a:endParaRPr>
              </a:p>
            </p:txBody>
          </p:sp>
        </p:grpSp>
        <p:grpSp>
          <p:nvGrpSpPr>
            <p:cNvPr id="42" name="组合 41"/>
            <p:cNvGrpSpPr/>
            <p:nvPr/>
          </p:nvGrpSpPr>
          <p:grpSpPr>
            <a:xfrm>
              <a:off x="1014565" y="4606312"/>
              <a:ext cx="4617519" cy="1224374"/>
              <a:chOff x="1014565" y="4606312"/>
              <a:chExt cx="4617519" cy="1224374"/>
            </a:xfrm>
          </p:grpSpPr>
          <p:sp>
            <p:nvSpPr>
              <p:cNvPr id="17" name="椭圆 16"/>
              <p:cNvSpPr/>
              <p:nvPr/>
            </p:nvSpPr>
            <p:spPr>
              <a:xfrm>
                <a:off x="1014565" y="4703529"/>
                <a:ext cx="740706" cy="740706"/>
              </a:xfrm>
              <a:prstGeom prst="ellipse">
                <a:avLst/>
              </a:prstGeom>
              <a:solidFill>
                <a:schemeClr val="accent2"/>
              </a:solidFill>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rmAutofit/>
              </a:bodyPr>
              <a:lstStyle/>
              <a:p>
                <a:pPr algn="ctr"/>
                <a:r>
                  <a:rPr lang="en-US" altLang="zh-CN" sz="2000" b="1" dirty="0">
                    <a:solidFill>
                      <a:srgbClr val="FFFFFF"/>
                    </a:solidFill>
                    <a:latin typeface="Arial" panose="020B0604020202090204" pitchFamily="34" charset="0"/>
                    <a:ea typeface="华文楷体" panose="02010600040101010101" pitchFamily="2" charset="-122"/>
                  </a:rPr>
                  <a:t>03</a:t>
                </a:r>
                <a:endParaRPr lang="zh-CN" altLang="en-US" sz="2000" b="1" dirty="0">
                  <a:solidFill>
                    <a:srgbClr val="FFFFFF"/>
                  </a:solidFill>
                  <a:latin typeface="Arial" panose="020B0604020202090204" pitchFamily="34" charset="0"/>
                  <a:ea typeface="华文楷体" panose="02010600040101010101" pitchFamily="2" charset="-122"/>
                </a:endParaRPr>
              </a:p>
            </p:txBody>
          </p:sp>
          <p:sp>
            <p:nvSpPr>
              <p:cNvPr id="35" name="矩形: 对角圆角 34"/>
              <p:cNvSpPr/>
              <p:nvPr/>
            </p:nvSpPr>
            <p:spPr>
              <a:xfrm>
                <a:off x="2164206" y="4606312"/>
                <a:ext cx="3467878" cy="544188"/>
              </a:xfrm>
              <a:prstGeom prst="round2DiagRect">
                <a:avLst/>
              </a:prstGeom>
              <a:solidFill>
                <a:schemeClr val="accent2">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chorCtr="1">
                <a:normAutofit/>
              </a:bodyPr>
              <a:lstStyle/>
              <a:p>
                <a:pPr algn="ctr"/>
                <a:r>
                  <a:rPr kumimoji="1" lang="en-US" altLang="zh-CN" b="1" dirty="0">
                    <a:solidFill>
                      <a:schemeClr val="tx1"/>
                    </a:solidFill>
                    <a:latin typeface="Arial" panose="020B0604020202090204" pitchFamily="34" charset="0"/>
                    <a:ea typeface="华文楷体" panose="02010600040101010101" pitchFamily="2" charset="-122"/>
                  </a:rPr>
                  <a:t>Click to add text</a:t>
                </a:r>
                <a:endParaRPr kumimoji="1" lang="en-US" altLang="zh-CN" b="1" dirty="0">
                  <a:solidFill>
                    <a:schemeClr val="tx1"/>
                  </a:solidFill>
                  <a:latin typeface="Arial" panose="020B0604020202090204" pitchFamily="34" charset="0"/>
                  <a:ea typeface="华文楷体" panose="02010600040101010101" pitchFamily="2" charset="-122"/>
                </a:endParaRPr>
              </a:p>
            </p:txBody>
          </p:sp>
          <p:sp>
            <p:nvSpPr>
              <p:cNvPr id="36" name="矩形 35"/>
              <p:cNvSpPr/>
              <p:nvPr/>
            </p:nvSpPr>
            <p:spPr>
              <a:xfrm flipH="1">
                <a:off x="2164206" y="5207216"/>
                <a:ext cx="3467872" cy="6234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1">
                <a:normAutofit/>
              </a:bodyPr>
              <a:lstStyle/>
              <a:p>
                <a:pPr algn="ctr">
                  <a:lnSpc>
                    <a:spcPct val="120000"/>
                  </a:lnSpc>
                </a:pPr>
                <a:r>
                  <a:rPr kumimoji="1" lang="nl-NL" altLang="zh-CN" sz="1200">
                    <a:solidFill>
                      <a:schemeClr val="tx1"/>
                    </a:solidFill>
                    <a:latin typeface="Arial" panose="020B0604020202090204" pitchFamily="34" charset="0"/>
                    <a:ea typeface="华文楷体" panose="02010600040101010101" pitchFamily="2" charset="-122"/>
                  </a:rPr>
                  <a:t>Augue nonumy ea erat hendrerit eu elitr no dolore stet at.</a:t>
                </a:r>
                <a:endParaRPr kumimoji="1" lang="en-US" altLang="zh-CN" sz="1200" dirty="0">
                  <a:solidFill>
                    <a:schemeClr val="tx1"/>
                  </a:solidFill>
                  <a:latin typeface="Arial" panose="020B0604020202090204" pitchFamily="34" charset="0"/>
                  <a:ea typeface="华文楷体" panose="02010600040101010101" pitchFamily="2" charset="-122"/>
                </a:endParaRPr>
              </a:p>
            </p:txBody>
          </p:sp>
        </p:grpSp>
        <p:grpSp>
          <p:nvGrpSpPr>
            <p:cNvPr id="43" name="组合 42"/>
            <p:cNvGrpSpPr/>
            <p:nvPr/>
          </p:nvGrpSpPr>
          <p:grpSpPr>
            <a:xfrm>
              <a:off x="6547216" y="4606312"/>
              <a:ext cx="4617515" cy="1224374"/>
              <a:chOff x="6547216" y="4606312"/>
              <a:chExt cx="4617515" cy="1224374"/>
            </a:xfrm>
          </p:grpSpPr>
          <p:sp>
            <p:nvSpPr>
              <p:cNvPr id="18" name="椭圆 17"/>
              <p:cNvSpPr/>
              <p:nvPr/>
            </p:nvSpPr>
            <p:spPr>
              <a:xfrm>
                <a:off x="10424025" y="4703529"/>
                <a:ext cx="740706" cy="740706"/>
              </a:xfrm>
              <a:prstGeom prst="ellipse">
                <a:avLst/>
              </a:prstGeom>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rmAutofit/>
              </a:bodyPr>
              <a:lstStyle/>
              <a:p>
                <a:pPr algn="ctr"/>
                <a:r>
                  <a:rPr lang="en-US" altLang="zh-CN" sz="2000" b="1" dirty="0">
                    <a:latin typeface="Arial" panose="020B0604020202090204" pitchFamily="34" charset="0"/>
                    <a:ea typeface="华文楷体" panose="02010600040101010101" pitchFamily="2" charset="-122"/>
                  </a:rPr>
                  <a:t>04</a:t>
                </a:r>
                <a:endParaRPr lang="zh-CN" altLang="en-US" sz="2000" b="1" dirty="0">
                  <a:latin typeface="Arial" panose="020B0604020202090204" pitchFamily="34" charset="0"/>
                  <a:ea typeface="华文楷体" panose="02010600040101010101" pitchFamily="2" charset="-122"/>
                </a:endParaRPr>
              </a:p>
            </p:txBody>
          </p:sp>
          <p:sp>
            <p:nvSpPr>
              <p:cNvPr id="38" name="矩形: 对角圆角 37"/>
              <p:cNvSpPr/>
              <p:nvPr/>
            </p:nvSpPr>
            <p:spPr>
              <a:xfrm>
                <a:off x="6547216" y="4606312"/>
                <a:ext cx="3467878" cy="544188"/>
              </a:xfrm>
              <a:prstGeom prst="round2Diag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chorCtr="1">
                <a:normAutofit/>
              </a:bodyPr>
              <a:lstStyle/>
              <a:p>
                <a:pPr algn="ctr"/>
                <a:r>
                  <a:rPr kumimoji="1" lang="en-US" altLang="zh-CN" b="1">
                    <a:solidFill>
                      <a:schemeClr val="tx1"/>
                    </a:solidFill>
                    <a:latin typeface="Arial" panose="020B0604020202090204" pitchFamily="34" charset="0"/>
                    <a:ea typeface="华文楷体" panose="02010600040101010101" pitchFamily="2" charset="-122"/>
                  </a:rPr>
                  <a:t>Click to add text</a:t>
                </a:r>
                <a:endParaRPr kumimoji="1" lang="en-US" altLang="zh-CN" b="1" dirty="0">
                  <a:solidFill>
                    <a:schemeClr val="tx1"/>
                  </a:solidFill>
                  <a:latin typeface="Arial" panose="020B0604020202090204" pitchFamily="34" charset="0"/>
                  <a:ea typeface="华文楷体" panose="02010600040101010101" pitchFamily="2" charset="-122"/>
                </a:endParaRPr>
              </a:p>
            </p:txBody>
          </p:sp>
          <p:sp>
            <p:nvSpPr>
              <p:cNvPr id="39" name="矩形 38"/>
              <p:cNvSpPr/>
              <p:nvPr/>
            </p:nvSpPr>
            <p:spPr>
              <a:xfrm flipH="1">
                <a:off x="6547216" y="5207216"/>
                <a:ext cx="3467872" cy="6234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1">
                <a:normAutofit/>
              </a:bodyPr>
              <a:lstStyle/>
              <a:p>
                <a:pPr algn="ctr">
                  <a:lnSpc>
                    <a:spcPct val="120000"/>
                  </a:lnSpc>
                </a:pPr>
                <a:r>
                  <a:rPr kumimoji="1" lang="en-US" altLang="zh-CN" sz="1200">
                    <a:solidFill>
                      <a:schemeClr val="tx1"/>
                    </a:solidFill>
                    <a:latin typeface="Arial" panose="020B0604020202090204" pitchFamily="34" charset="0"/>
                    <a:ea typeface="华文楷体" panose="02010600040101010101" pitchFamily="2" charset="-122"/>
                  </a:rPr>
                  <a:t>Dolor consectetuer dignissim nulla elit dolor lorem et.</a:t>
                </a:r>
                <a:endParaRPr kumimoji="1" lang="en-US" altLang="zh-CN" sz="1200" dirty="0">
                  <a:solidFill>
                    <a:schemeClr val="tx1"/>
                  </a:solidFill>
                  <a:latin typeface="Arial" panose="020B0604020202090204" pitchFamily="34" charset="0"/>
                  <a:ea typeface="华文楷体" panose="02010600040101010101" pitchFamily="2" charset="-122"/>
                </a:endParaRPr>
              </a:p>
            </p:txBody>
          </p:sp>
        </p:grpSp>
      </p:grpSp>
    </p:spTree>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5" name="组合 224"/>
          <p:cNvGrpSpPr/>
          <p:nvPr/>
        </p:nvGrpSpPr>
        <p:grpSpPr>
          <a:xfrm>
            <a:off x="660400" y="1137434"/>
            <a:ext cx="10858500" cy="4986192"/>
            <a:chOff x="660400" y="1137434"/>
            <a:chExt cx="10858500" cy="4986192"/>
          </a:xfrm>
        </p:grpSpPr>
        <p:sp>
          <p:nvSpPr>
            <p:cNvPr id="90" name="箭头: 下 89"/>
            <p:cNvSpPr/>
            <p:nvPr/>
          </p:nvSpPr>
          <p:spPr>
            <a:xfrm>
              <a:off x="5778530" y="3330162"/>
              <a:ext cx="622240" cy="537686"/>
            </a:xfrm>
            <a:prstGeom prst="downArrow">
              <a:avLst/>
            </a:prstGeom>
            <a:gradFill>
              <a:gsLst>
                <a:gs pos="0">
                  <a:schemeClr val="accent1">
                    <a:lumMod val="5000"/>
                    <a:lumOff val="95000"/>
                    <a:alpha val="0"/>
                  </a:schemeClr>
                </a:gs>
                <a:gs pos="88000">
                  <a:schemeClr val="accent1"/>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4" name="文本框 93"/>
            <p:cNvSpPr txBox="1"/>
            <p:nvPr/>
          </p:nvSpPr>
          <p:spPr>
            <a:xfrm>
              <a:off x="2321621" y="1137434"/>
              <a:ext cx="7536058" cy="675047"/>
            </a:xfrm>
            <a:prstGeom prst="snip2DiagRect">
              <a:avLst/>
            </a:prstGeom>
            <a:solidFill>
              <a:schemeClr val="accent1"/>
            </a:solidFill>
            <a:ln w="25400">
              <a:noFill/>
            </a:ln>
          </p:spPr>
          <p:txBody>
            <a:bodyPr wrap="square" lIns="91440" tIns="45720" rIns="91440" bIns="45720" rtlCol="0" anchor="ctr" anchorCtr="0">
              <a:normAutofit/>
            </a:bodyPr>
            <a:lstStyle/>
            <a:p>
              <a:pPr algn="ctr"/>
              <a:r>
                <a:rPr kumimoji="1" lang="en-US" altLang="zh-CN" sz="2400" b="1" dirty="0">
                  <a:solidFill>
                    <a:srgbClr val="FFFFFF"/>
                  </a:solidFill>
                  <a:latin typeface="Arial" panose="020B0604020202090204" pitchFamily="34" charset="0"/>
                  <a:ea typeface="华文楷体" panose="02010600040101010101" pitchFamily="2" charset="-122"/>
                </a:rPr>
                <a:t>Unified fonts make reading more fluent</a:t>
              </a:r>
              <a:endParaRPr kumimoji="1" lang="zh-CN" altLang="en-US" sz="2400" b="1" dirty="0">
                <a:solidFill>
                  <a:srgbClr val="FFFFFF"/>
                </a:solidFill>
                <a:latin typeface="Arial" panose="020B0604020202090204" pitchFamily="34" charset="0"/>
                <a:ea typeface="华文楷体" panose="02010600040101010101" pitchFamily="2" charset="-122"/>
              </a:endParaRPr>
            </a:p>
          </p:txBody>
        </p:sp>
        <p:cxnSp>
          <p:nvCxnSpPr>
            <p:cNvPr id="142" name="直接箭头连接符 141"/>
            <p:cNvCxnSpPr/>
            <p:nvPr/>
          </p:nvCxnSpPr>
          <p:spPr>
            <a:xfrm>
              <a:off x="6089650" y="1812481"/>
              <a:ext cx="0" cy="159194"/>
            </a:xfrm>
            <a:prstGeom prst="straightConnector1">
              <a:avLst/>
            </a:prstGeom>
            <a:ln w="9525">
              <a:solidFill>
                <a:schemeClr val="accent1">
                  <a:alpha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170" name="直接箭头连接符 169"/>
            <p:cNvCxnSpPr/>
            <p:nvPr/>
          </p:nvCxnSpPr>
          <p:spPr>
            <a:xfrm flipH="1" flipV="1">
              <a:off x="1910489" y="1971675"/>
              <a:ext cx="8358322" cy="9653"/>
            </a:xfrm>
            <a:prstGeom prst="straightConnector1">
              <a:avLst/>
            </a:prstGeom>
            <a:ln w="9525">
              <a:solidFill>
                <a:schemeClr val="accent1">
                  <a:alpha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172" name="直接箭头连接符 171"/>
            <p:cNvCxnSpPr/>
            <p:nvPr/>
          </p:nvCxnSpPr>
          <p:spPr>
            <a:xfrm>
              <a:off x="1910493" y="1981328"/>
              <a:ext cx="3" cy="186116"/>
            </a:xfrm>
            <a:prstGeom prst="straightConnector1">
              <a:avLst/>
            </a:prstGeom>
            <a:ln w="9525">
              <a:solidFill>
                <a:schemeClr val="accent1">
                  <a:alpha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176" name="直接箭头连接符 175"/>
            <p:cNvCxnSpPr/>
            <p:nvPr/>
          </p:nvCxnSpPr>
          <p:spPr>
            <a:xfrm>
              <a:off x="4696600" y="1981328"/>
              <a:ext cx="3" cy="186116"/>
            </a:xfrm>
            <a:prstGeom prst="straightConnector1">
              <a:avLst/>
            </a:prstGeom>
            <a:ln w="9525">
              <a:solidFill>
                <a:schemeClr val="accent1">
                  <a:alpha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177" name="直接箭头连接符 176"/>
            <p:cNvCxnSpPr/>
            <p:nvPr/>
          </p:nvCxnSpPr>
          <p:spPr>
            <a:xfrm>
              <a:off x="7483281" y="1981328"/>
              <a:ext cx="3" cy="186116"/>
            </a:xfrm>
            <a:prstGeom prst="straightConnector1">
              <a:avLst/>
            </a:prstGeom>
            <a:ln w="9525">
              <a:solidFill>
                <a:schemeClr val="accent1">
                  <a:alpha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178" name="直接箭头连接符 177"/>
            <p:cNvCxnSpPr/>
            <p:nvPr/>
          </p:nvCxnSpPr>
          <p:spPr>
            <a:xfrm>
              <a:off x="10268813" y="1981328"/>
              <a:ext cx="3" cy="186116"/>
            </a:xfrm>
            <a:prstGeom prst="straightConnector1">
              <a:avLst/>
            </a:prstGeom>
            <a:ln w="9525">
              <a:solidFill>
                <a:schemeClr val="accent1">
                  <a:alpha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189" name="文本框 188"/>
            <p:cNvSpPr txBox="1"/>
            <p:nvPr/>
          </p:nvSpPr>
          <p:spPr>
            <a:xfrm>
              <a:off x="4986767" y="4090010"/>
              <a:ext cx="2205766" cy="504185"/>
            </a:xfrm>
            <a:prstGeom prst="snip2DiagRect">
              <a:avLst/>
            </a:prstGeom>
            <a:solidFill>
              <a:schemeClr val="accent1"/>
            </a:solidFill>
            <a:ln w="25400">
              <a:noFill/>
            </a:ln>
          </p:spPr>
          <p:txBody>
            <a:bodyPr wrap="square" lIns="91440" tIns="45720" rIns="91440" bIns="45720" rtlCol="0" anchor="ctr" anchorCtr="1">
              <a:normAutofit fontScale="92500" lnSpcReduction="10000"/>
            </a:bodyPr>
            <a:lstStyle/>
            <a:p>
              <a:pPr algn="ctr"/>
              <a:r>
                <a:rPr kumimoji="1" lang="en-US" altLang="zh-CN" sz="2400" i="1" dirty="0">
                  <a:solidFill>
                    <a:srgbClr val="FFFFFF"/>
                  </a:solidFill>
                  <a:latin typeface="Arial" panose="020B0604020202090204" pitchFamily="34" charset="0"/>
                  <a:ea typeface="华文楷体" panose="02010600040101010101" pitchFamily="2" charset="-122"/>
                </a:rPr>
                <a:t>20XX</a:t>
              </a:r>
              <a:endParaRPr kumimoji="1" lang="zh-CN" altLang="en-US" sz="2400" i="1" dirty="0">
                <a:solidFill>
                  <a:srgbClr val="FFFFFF"/>
                </a:solidFill>
                <a:latin typeface="Arial" panose="020B0604020202090204" pitchFamily="34" charset="0"/>
                <a:ea typeface="华文楷体" panose="02010600040101010101" pitchFamily="2" charset="-122"/>
              </a:endParaRPr>
            </a:p>
          </p:txBody>
        </p:sp>
        <p:cxnSp>
          <p:nvCxnSpPr>
            <p:cNvPr id="190" name="直接箭头连接符 189"/>
            <p:cNvCxnSpPr/>
            <p:nvPr/>
          </p:nvCxnSpPr>
          <p:spPr>
            <a:xfrm>
              <a:off x="6089650" y="4594195"/>
              <a:ext cx="0" cy="159194"/>
            </a:xfrm>
            <a:prstGeom prst="straightConnector1">
              <a:avLst/>
            </a:prstGeom>
            <a:ln w="9525">
              <a:solidFill>
                <a:schemeClr val="accent1">
                  <a:alpha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191" name="直接箭头连接符 190"/>
            <p:cNvCxnSpPr/>
            <p:nvPr/>
          </p:nvCxnSpPr>
          <p:spPr>
            <a:xfrm flipH="1" flipV="1">
              <a:off x="1910489" y="4753389"/>
              <a:ext cx="8358322" cy="9653"/>
            </a:xfrm>
            <a:prstGeom prst="straightConnector1">
              <a:avLst/>
            </a:prstGeom>
            <a:ln w="9525">
              <a:solidFill>
                <a:schemeClr val="accent1">
                  <a:alpha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192" name="直接箭头连接符 191"/>
            <p:cNvCxnSpPr/>
            <p:nvPr/>
          </p:nvCxnSpPr>
          <p:spPr>
            <a:xfrm>
              <a:off x="1910493" y="4763042"/>
              <a:ext cx="3" cy="186116"/>
            </a:xfrm>
            <a:prstGeom prst="straightConnector1">
              <a:avLst/>
            </a:prstGeom>
            <a:ln w="9525">
              <a:solidFill>
                <a:schemeClr val="accent1">
                  <a:alpha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193" name="直接箭头连接符 192"/>
            <p:cNvCxnSpPr/>
            <p:nvPr/>
          </p:nvCxnSpPr>
          <p:spPr>
            <a:xfrm>
              <a:off x="4696600" y="4763042"/>
              <a:ext cx="3" cy="186116"/>
            </a:xfrm>
            <a:prstGeom prst="straightConnector1">
              <a:avLst/>
            </a:prstGeom>
            <a:ln w="9525">
              <a:solidFill>
                <a:schemeClr val="accent1">
                  <a:alpha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194" name="直接箭头连接符 193"/>
            <p:cNvCxnSpPr/>
            <p:nvPr/>
          </p:nvCxnSpPr>
          <p:spPr>
            <a:xfrm>
              <a:off x="7483281" y="4763042"/>
              <a:ext cx="3" cy="186116"/>
            </a:xfrm>
            <a:prstGeom prst="straightConnector1">
              <a:avLst/>
            </a:prstGeom>
            <a:ln w="9525">
              <a:solidFill>
                <a:schemeClr val="accent1">
                  <a:alpha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195" name="直接箭头连接符 194"/>
            <p:cNvCxnSpPr/>
            <p:nvPr/>
          </p:nvCxnSpPr>
          <p:spPr>
            <a:xfrm>
              <a:off x="10268813" y="4763042"/>
              <a:ext cx="3" cy="186116"/>
            </a:xfrm>
            <a:prstGeom prst="straightConnector1">
              <a:avLst/>
            </a:prstGeom>
            <a:ln w="9525">
              <a:solidFill>
                <a:schemeClr val="accent1">
                  <a:alpha val="50000"/>
                </a:schemeClr>
              </a:solidFill>
              <a:tailEnd type="none"/>
            </a:ln>
          </p:spPr>
          <p:style>
            <a:lnRef idx="1">
              <a:schemeClr val="accent1"/>
            </a:lnRef>
            <a:fillRef idx="0">
              <a:schemeClr val="accent1"/>
            </a:fillRef>
            <a:effectRef idx="0">
              <a:schemeClr val="accent1"/>
            </a:effectRef>
            <a:fontRef idx="minor">
              <a:schemeClr val="tx1"/>
            </a:fontRef>
          </p:style>
        </p:cxnSp>
        <p:grpSp>
          <p:nvGrpSpPr>
            <p:cNvPr id="216" name="组合 215"/>
            <p:cNvGrpSpPr/>
            <p:nvPr/>
          </p:nvGrpSpPr>
          <p:grpSpPr>
            <a:xfrm>
              <a:off x="714008" y="2167444"/>
              <a:ext cx="2392972" cy="1162718"/>
              <a:chOff x="714008" y="2167444"/>
              <a:chExt cx="2392972" cy="1162718"/>
            </a:xfrm>
          </p:grpSpPr>
          <p:sp>
            <p:nvSpPr>
              <p:cNvPr id="132" name="矩形: 圆角 131"/>
              <p:cNvSpPr/>
              <p:nvPr/>
            </p:nvSpPr>
            <p:spPr>
              <a:xfrm>
                <a:off x="714016" y="2167444"/>
                <a:ext cx="2392956" cy="1162718"/>
              </a:xfrm>
              <a:prstGeom prst="roundRect">
                <a:avLst>
                  <a:gd name="adj" fmla="val 4796"/>
                </a:avLst>
              </a:prstGeom>
              <a:noFill/>
              <a:ln>
                <a:solidFill>
                  <a:schemeClr val="accent1">
                    <a:alpha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3" name="矩形 132"/>
              <p:cNvSpPr/>
              <p:nvPr/>
            </p:nvSpPr>
            <p:spPr>
              <a:xfrm>
                <a:off x="714008" y="2167444"/>
                <a:ext cx="2392972" cy="4028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1">
                <a:normAutofit/>
              </a:bodyPr>
              <a:lstStyle/>
              <a:p>
                <a:pPr algn="ctr"/>
                <a:r>
                  <a:rPr kumimoji="1" lang="en-US" altLang="zh-CN" b="1">
                    <a:solidFill>
                      <a:schemeClr val="tx1"/>
                    </a:solidFill>
                    <a:latin typeface="Arial" panose="020B0604020202090204" pitchFamily="34" charset="0"/>
                    <a:ea typeface="华文楷体" panose="02010600040101010101" pitchFamily="2" charset="-122"/>
                  </a:rPr>
                  <a:t>Click to add text</a:t>
                </a:r>
                <a:endParaRPr kumimoji="1" lang="en-US" altLang="zh-CN" b="1" dirty="0">
                  <a:solidFill>
                    <a:schemeClr val="tx1"/>
                  </a:solidFill>
                  <a:latin typeface="Arial" panose="020B0604020202090204" pitchFamily="34" charset="0"/>
                  <a:ea typeface="华文楷体" panose="02010600040101010101" pitchFamily="2" charset="-122"/>
                </a:endParaRPr>
              </a:p>
            </p:txBody>
          </p:sp>
          <p:sp>
            <p:nvSpPr>
              <p:cNvPr id="134" name="矩形 133"/>
              <p:cNvSpPr/>
              <p:nvPr/>
            </p:nvSpPr>
            <p:spPr>
              <a:xfrm flipH="1">
                <a:off x="714009" y="2610953"/>
                <a:ext cx="2392970" cy="6835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1">
                <a:normAutofit/>
              </a:bodyPr>
              <a:lstStyle/>
              <a:p>
                <a:pPr algn="ctr">
                  <a:lnSpc>
                    <a:spcPct val="120000"/>
                  </a:lnSpc>
                </a:pPr>
                <a:r>
                  <a:rPr kumimoji="1" lang="fr-FR" altLang="zh-CN" sz="1200">
                    <a:solidFill>
                      <a:schemeClr val="tx1"/>
                    </a:solidFill>
                    <a:latin typeface="Arial" panose="020B0604020202090204" pitchFamily="34" charset="0"/>
                    <a:ea typeface="华文楷体" panose="02010600040101010101" pitchFamily="2" charset="-122"/>
                  </a:rPr>
                  <a:t>Dolore diam vero est nonummy ipsum wisi ullamcorper.</a:t>
                </a:r>
                <a:endParaRPr kumimoji="1" lang="en-US" altLang="zh-CN" sz="1200" dirty="0">
                  <a:solidFill>
                    <a:schemeClr val="tx1"/>
                  </a:solidFill>
                  <a:latin typeface="Arial" panose="020B0604020202090204" pitchFamily="34" charset="0"/>
                  <a:ea typeface="华文楷体" panose="02010600040101010101" pitchFamily="2" charset="-122"/>
                </a:endParaRPr>
              </a:p>
            </p:txBody>
          </p:sp>
        </p:grpSp>
        <p:grpSp>
          <p:nvGrpSpPr>
            <p:cNvPr id="217" name="组合 216"/>
            <p:cNvGrpSpPr/>
            <p:nvPr/>
          </p:nvGrpSpPr>
          <p:grpSpPr>
            <a:xfrm>
              <a:off x="3500117" y="2167444"/>
              <a:ext cx="2392972" cy="1162718"/>
              <a:chOff x="3500117" y="2167444"/>
              <a:chExt cx="2392972" cy="1162718"/>
            </a:xfrm>
          </p:grpSpPr>
          <p:sp>
            <p:nvSpPr>
              <p:cNvPr id="129" name="矩形: 圆角 128"/>
              <p:cNvSpPr/>
              <p:nvPr/>
            </p:nvSpPr>
            <p:spPr>
              <a:xfrm>
                <a:off x="3500125" y="2167444"/>
                <a:ext cx="2392956" cy="1162718"/>
              </a:xfrm>
              <a:prstGeom prst="roundRect">
                <a:avLst>
                  <a:gd name="adj" fmla="val 4796"/>
                </a:avLst>
              </a:prstGeom>
              <a:noFill/>
              <a:ln>
                <a:solidFill>
                  <a:schemeClr val="accent2">
                    <a:alpha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0" name="矩形 129"/>
              <p:cNvSpPr/>
              <p:nvPr/>
            </p:nvSpPr>
            <p:spPr>
              <a:xfrm>
                <a:off x="3500117" y="2167444"/>
                <a:ext cx="2392972" cy="4028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1">
                <a:normAutofit/>
              </a:bodyPr>
              <a:lstStyle/>
              <a:p>
                <a:pPr algn="ctr"/>
                <a:r>
                  <a:rPr kumimoji="1" lang="en-US" altLang="zh-CN" b="1">
                    <a:solidFill>
                      <a:schemeClr val="tx1"/>
                    </a:solidFill>
                    <a:latin typeface="Arial" panose="020B0604020202090204" pitchFamily="34" charset="0"/>
                    <a:ea typeface="华文楷体" panose="02010600040101010101" pitchFamily="2" charset="-122"/>
                  </a:rPr>
                  <a:t>Click to add text</a:t>
                </a:r>
                <a:endParaRPr kumimoji="1" lang="en-US" altLang="zh-CN" b="1" dirty="0">
                  <a:solidFill>
                    <a:schemeClr val="tx1"/>
                  </a:solidFill>
                  <a:latin typeface="Arial" panose="020B0604020202090204" pitchFamily="34" charset="0"/>
                  <a:ea typeface="华文楷体" panose="02010600040101010101" pitchFamily="2" charset="-122"/>
                </a:endParaRPr>
              </a:p>
            </p:txBody>
          </p:sp>
          <p:sp>
            <p:nvSpPr>
              <p:cNvPr id="131" name="矩形 130"/>
              <p:cNvSpPr/>
              <p:nvPr/>
            </p:nvSpPr>
            <p:spPr>
              <a:xfrm flipH="1">
                <a:off x="3500118" y="2610956"/>
                <a:ext cx="2392970" cy="6835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1">
                <a:normAutofit/>
              </a:bodyPr>
              <a:lstStyle/>
              <a:p>
                <a:pPr algn="ctr">
                  <a:lnSpc>
                    <a:spcPct val="120000"/>
                  </a:lnSpc>
                </a:pPr>
                <a:r>
                  <a:rPr kumimoji="1" lang="sv-SE" altLang="zh-CN" sz="1200">
                    <a:solidFill>
                      <a:schemeClr val="tx1"/>
                    </a:solidFill>
                    <a:latin typeface="Arial" panose="020B0604020202090204" pitchFamily="34" charset="0"/>
                    <a:ea typeface="华文楷体" panose="02010600040101010101" pitchFamily="2" charset="-122"/>
                  </a:rPr>
                  <a:t>Elitr sadipscing vero clita nonumy sadipscing sit kasd.</a:t>
                </a:r>
                <a:endParaRPr kumimoji="1" lang="pt-BR" altLang="zh-CN" sz="1200" dirty="0">
                  <a:solidFill>
                    <a:schemeClr val="tx1"/>
                  </a:solidFill>
                  <a:latin typeface="Arial" panose="020B0604020202090204" pitchFamily="34" charset="0"/>
                  <a:ea typeface="华文楷体" panose="02010600040101010101" pitchFamily="2" charset="-122"/>
                </a:endParaRPr>
              </a:p>
            </p:txBody>
          </p:sp>
        </p:grpSp>
        <p:grpSp>
          <p:nvGrpSpPr>
            <p:cNvPr id="218" name="组合 217"/>
            <p:cNvGrpSpPr/>
            <p:nvPr/>
          </p:nvGrpSpPr>
          <p:grpSpPr>
            <a:xfrm>
              <a:off x="6286226" y="2167444"/>
              <a:ext cx="2392956" cy="1162718"/>
              <a:chOff x="6286226" y="2167444"/>
              <a:chExt cx="2392956" cy="1162718"/>
            </a:xfrm>
          </p:grpSpPr>
          <p:sp>
            <p:nvSpPr>
              <p:cNvPr id="126" name="矩形: 圆角 125"/>
              <p:cNvSpPr/>
              <p:nvPr/>
            </p:nvSpPr>
            <p:spPr>
              <a:xfrm>
                <a:off x="6286226" y="2167444"/>
                <a:ext cx="2392956" cy="1162718"/>
              </a:xfrm>
              <a:prstGeom prst="roundRect">
                <a:avLst>
                  <a:gd name="adj" fmla="val 4796"/>
                </a:avLst>
              </a:prstGeom>
              <a:noFill/>
              <a:ln>
                <a:solidFill>
                  <a:schemeClr val="accent1">
                    <a:alpha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7" name="矩形 126"/>
              <p:cNvSpPr/>
              <p:nvPr/>
            </p:nvSpPr>
            <p:spPr>
              <a:xfrm>
                <a:off x="6341935" y="2167444"/>
                <a:ext cx="2281538" cy="4028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1">
                <a:normAutofit/>
              </a:bodyPr>
              <a:lstStyle/>
              <a:p>
                <a:pPr algn="ctr"/>
                <a:r>
                  <a:rPr kumimoji="1" lang="en-US" altLang="zh-CN" b="1">
                    <a:solidFill>
                      <a:schemeClr val="tx1"/>
                    </a:solidFill>
                    <a:latin typeface="Arial" panose="020B0604020202090204" pitchFamily="34" charset="0"/>
                    <a:ea typeface="华文楷体" panose="02010600040101010101" pitchFamily="2" charset="-122"/>
                  </a:rPr>
                  <a:t>Click to add text</a:t>
                </a:r>
                <a:endParaRPr kumimoji="1" lang="en-US" altLang="zh-CN" b="1" dirty="0">
                  <a:solidFill>
                    <a:schemeClr val="tx1"/>
                  </a:solidFill>
                  <a:latin typeface="Arial" panose="020B0604020202090204" pitchFamily="34" charset="0"/>
                  <a:ea typeface="华文楷体" panose="02010600040101010101" pitchFamily="2" charset="-122"/>
                </a:endParaRPr>
              </a:p>
            </p:txBody>
          </p:sp>
          <p:sp>
            <p:nvSpPr>
              <p:cNvPr id="128" name="矩形 127"/>
              <p:cNvSpPr/>
              <p:nvPr/>
            </p:nvSpPr>
            <p:spPr>
              <a:xfrm flipH="1">
                <a:off x="6341935" y="2610954"/>
                <a:ext cx="2281538" cy="6835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1">
                <a:normAutofit/>
              </a:bodyPr>
              <a:lstStyle/>
              <a:p>
                <a:pPr algn="ctr">
                  <a:lnSpc>
                    <a:spcPct val="120000"/>
                  </a:lnSpc>
                </a:pPr>
                <a:r>
                  <a:rPr kumimoji="1" lang="pt-BR" altLang="zh-CN" sz="1200">
                    <a:solidFill>
                      <a:schemeClr val="tx1"/>
                    </a:solidFill>
                    <a:latin typeface="Arial" panose="020B0604020202090204" pitchFamily="34" charset="0"/>
                    <a:ea typeface="华文楷体" panose="02010600040101010101" pitchFamily="2" charset="-122"/>
                  </a:rPr>
                  <a:t>Nam sed elit iriure gubergren sanctus duo iusto gubergren.</a:t>
                </a:r>
                <a:endParaRPr kumimoji="1" lang="en-US" altLang="zh-CN" sz="1200" dirty="0">
                  <a:solidFill>
                    <a:schemeClr val="tx1"/>
                  </a:solidFill>
                  <a:latin typeface="Arial" panose="020B0604020202090204" pitchFamily="34" charset="0"/>
                  <a:ea typeface="华文楷体" panose="02010600040101010101" pitchFamily="2" charset="-122"/>
                </a:endParaRPr>
              </a:p>
            </p:txBody>
          </p:sp>
        </p:grpSp>
        <p:grpSp>
          <p:nvGrpSpPr>
            <p:cNvPr id="219" name="组合 218"/>
            <p:cNvGrpSpPr/>
            <p:nvPr/>
          </p:nvGrpSpPr>
          <p:grpSpPr>
            <a:xfrm>
              <a:off x="9072320" y="2167444"/>
              <a:ext cx="2392972" cy="1162718"/>
              <a:chOff x="9072320" y="2167444"/>
              <a:chExt cx="2392972" cy="1162718"/>
            </a:xfrm>
          </p:grpSpPr>
          <p:sp>
            <p:nvSpPr>
              <p:cNvPr id="123" name="矩形: 圆角 122"/>
              <p:cNvSpPr/>
              <p:nvPr/>
            </p:nvSpPr>
            <p:spPr>
              <a:xfrm>
                <a:off x="9072328" y="2167444"/>
                <a:ext cx="2392956" cy="1162718"/>
              </a:xfrm>
              <a:prstGeom prst="roundRect">
                <a:avLst>
                  <a:gd name="adj" fmla="val 4796"/>
                </a:avLst>
              </a:prstGeom>
              <a:noFill/>
              <a:ln>
                <a:solidFill>
                  <a:schemeClr val="accent2">
                    <a:alpha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4" name="矩形 123"/>
              <p:cNvSpPr/>
              <p:nvPr/>
            </p:nvSpPr>
            <p:spPr>
              <a:xfrm>
                <a:off x="9072320" y="2167444"/>
                <a:ext cx="2392972" cy="4028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1">
                <a:normAutofit/>
              </a:bodyPr>
              <a:lstStyle/>
              <a:p>
                <a:pPr algn="ctr"/>
                <a:r>
                  <a:rPr kumimoji="1" lang="en-US" altLang="zh-CN" b="1">
                    <a:solidFill>
                      <a:schemeClr val="tx1"/>
                    </a:solidFill>
                    <a:latin typeface="Arial" panose="020B0604020202090204" pitchFamily="34" charset="0"/>
                    <a:ea typeface="华文楷体" panose="02010600040101010101" pitchFamily="2" charset="-122"/>
                  </a:rPr>
                  <a:t>Click to add text</a:t>
                </a:r>
                <a:endParaRPr kumimoji="1" lang="en-US" altLang="zh-CN" b="1" dirty="0">
                  <a:solidFill>
                    <a:schemeClr val="tx1"/>
                  </a:solidFill>
                  <a:latin typeface="Arial" panose="020B0604020202090204" pitchFamily="34" charset="0"/>
                  <a:ea typeface="华文楷体" panose="02010600040101010101" pitchFamily="2" charset="-122"/>
                </a:endParaRPr>
              </a:p>
            </p:txBody>
          </p:sp>
          <p:sp>
            <p:nvSpPr>
              <p:cNvPr id="125" name="矩形 124"/>
              <p:cNvSpPr/>
              <p:nvPr/>
            </p:nvSpPr>
            <p:spPr>
              <a:xfrm flipH="1">
                <a:off x="9072321" y="2610953"/>
                <a:ext cx="2392970" cy="6835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1">
                <a:normAutofit/>
              </a:bodyPr>
              <a:lstStyle/>
              <a:p>
                <a:pPr algn="ctr">
                  <a:lnSpc>
                    <a:spcPct val="120000"/>
                  </a:lnSpc>
                </a:pPr>
                <a:r>
                  <a:rPr kumimoji="1" lang="fr-FR" altLang="zh-CN" sz="1200">
                    <a:solidFill>
                      <a:schemeClr val="tx1"/>
                    </a:solidFill>
                    <a:latin typeface="Arial" panose="020B0604020202090204" pitchFamily="34" charset="0"/>
                    <a:ea typeface="华文楷体" panose="02010600040101010101" pitchFamily="2" charset="-122"/>
                  </a:rPr>
                  <a:t>Takimata et diam ut et dolores et nonumy consectetuer.</a:t>
                </a:r>
                <a:endParaRPr kumimoji="1" lang="en-US" altLang="zh-CN" sz="1200" dirty="0">
                  <a:solidFill>
                    <a:schemeClr val="tx1"/>
                  </a:solidFill>
                  <a:latin typeface="Arial" panose="020B0604020202090204" pitchFamily="34" charset="0"/>
                  <a:ea typeface="华文楷体" panose="02010600040101010101" pitchFamily="2" charset="-122"/>
                </a:endParaRPr>
              </a:p>
            </p:txBody>
          </p:sp>
        </p:grpSp>
        <p:grpSp>
          <p:nvGrpSpPr>
            <p:cNvPr id="220" name="组合 219"/>
            <p:cNvGrpSpPr/>
            <p:nvPr/>
          </p:nvGrpSpPr>
          <p:grpSpPr>
            <a:xfrm>
              <a:off x="660400" y="4949158"/>
              <a:ext cx="2603499" cy="1174468"/>
              <a:chOff x="660400" y="4949158"/>
              <a:chExt cx="2603499" cy="1174468"/>
            </a:xfrm>
          </p:grpSpPr>
          <p:sp>
            <p:nvSpPr>
              <p:cNvPr id="150" name="箭头: 五边形 149"/>
              <p:cNvSpPr/>
              <p:nvPr/>
            </p:nvSpPr>
            <p:spPr>
              <a:xfrm>
                <a:off x="660401" y="4949158"/>
                <a:ext cx="2603498" cy="1174468"/>
              </a:xfrm>
              <a:prstGeom prst="homePlate">
                <a:avLst/>
              </a:prstGeom>
              <a:noFill/>
              <a:ln>
                <a:solidFill>
                  <a:schemeClr val="accent1">
                    <a:alpha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0" name="矩形 199"/>
              <p:cNvSpPr/>
              <p:nvPr/>
            </p:nvSpPr>
            <p:spPr>
              <a:xfrm>
                <a:off x="660400" y="4984776"/>
                <a:ext cx="2038593" cy="4028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1">
                <a:normAutofit/>
              </a:bodyPr>
              <a:lstStyle/>
              <a:p>
                <a:pPr algn="ctr"/>
                <a:r>
                  <a:rPr kumimoji="1" lang="en-US" altLang="zh-CN" b="1">
                    <a:solidFill>
                      <a:schemeClr val="tx1"/>
                    </a:solidFill>
                    <a:latin typeface="Arial" panose="020B0604020202090204" pitchFamily="34" charset="0"/>
                    <a:ea typeface="华文楷体" panose="02010600040101010101" pitchFamily="2" charset="-122"/>
                  </a:rPr>
                  <a:t>Click to add text</a:t>
                </a:r>
                <a:endParaRPr kumimoji="1" lang="en-US" altLang="zh-CN" b="1" dirty="0">
                  <a:solidFill>
                    <a:schemeClr val="tx1"/>
                  </a:solidFill>
                  <a:latin typeface="Arial" panose="020B0604020202090204" pitchFamily="34" charset="0"/>
                  <a:ea typeface="华文楷体" panose="02010600040101010101" pitchFamily="2" charset="-122"/>
                </a:endParaRPr>
              </a:p>
            </p:txBody>
          </p:sp>
          <p:sp>
            <p:nvSpPr>
              <p:cNvPr id="201" name="矩形 200"/>
              <p:cNvSpPr/>
              <p:nvPr/>
            </p:nvSpPr>
            <p:spPr>
              <a:xfrm flipH="1">
                <a:off x="660401" y="5428285"/>
                <a:ext cx="2038591" cy="6835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1">
                <a:normAutofit/>
              </a:bodyPr>
              <a:lstStyle/>
              <a:p>
                <a:pPr algn="ctr">
                  <a:lnSpc>
                    <a:spcPct val="120000"/>
                  </a:lnSpc>
                </a:pPr>
                <a:r>
                  <a:rPr kumimoji="1" lang="pt-BR" altLang="zh-CN" sz="1200">
                    <a:solidFill>
                      <a:schemeClr val="tx1"/>
                    </a:solidFill>
                    <a:latin typeface="Arial" panose="020B0604020202090204" pitchFamily="34" charset="0"/>
                    <a:ea typeface="华文楷体" panose="02010600040101010101" pitchFamily="2" charset="-122"/>
                  </a:rPr>
                  <a:t>Lorem at hendrerit eleifend stet accusam luptatum.</a:t>
                </a:r>
                <a:endParaRPr kumimoji="1" lang="en-US" altLang="zh-CN" sz="1200" dirty="0">
                  <a:solidFill>
                    <a:schemeClr val="tx1"/>
                  </a:solidFill>
                  <a:latin typeface="Arial" panose="020B0604020202090204" pitchFamily="34" charset="0"/>
                  <a:ea typeface="华文楷体" panose="02010600040101010101" pitchFamily="2" charset="-122"/>
                </a:endParaRPr>
              </a:p>
            </p:txBody>
          </p:sp>
        </p:grpSp>
        <p:grpSp>
          <p:nvGrpSpPr>
            <p:cNvPr id="221" name="组合 220"/>
            <p:cNvGrpSpPr/>
            <p:nvPr/>
          </p:nvGrpSpPr>
          <p:grpSpPr>
            <a:xfrm>
              <a:off x="3222121" y="4949158"/>
              <a:ext cx="3065940" cy="1174468"/>
              <a:chOff x="3222121" y="4949158"/>
              <a:chExt cx="3065940" cy="1174468"/>
            </a:xfrm>
          </p:grpSpPr>
          <p:sp>
            <p:nvSpPr>
              <p:cNvPr id="151" name="箭头: V 形 150"/>
              <p:cNvSpPr/>
              <p:nvPr/>
            </p:nvSpPr>
            <p:spPr>
              <a:xfrm>
                <a:off x="3222121" y="4949158"/>
                <a:ext cx="3065940" cy="1174468"/>
              </a:xfrm>
              <a:prstGeom prst="chevron">
                <a:avLst/>
              </a:prstGeom>
              <a:noFill/>
              <a:ln>
                <a:solidFill>
                  <a:schemeClr val="accent2">
                    <a:alpha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2" name="矩形 201"/>
              <p:cNvSpPr/>
              <p:nvPr/>
            </p:nvSpPr>
            <p:spPr>
              <a:xfrm>
                <a:off x="3910877" y="4984776"/>
                <a:ext cx="1812281" cy="4028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1">
                <a:normAutofit fontScale="85000" lnSpcReduction="10000"/>
              </a:bodyPr>
              <a:lstStyle/>
              <a:p>
                <a:pPr algn="ctr"/>
                <a:r>
                  <a:rPr kumimoji="1" lang="en-US" altLang="zh-CN" b="1">
                    <a:solidFill>
                      <a:schemeClr val="tx1"/>
                    </a:solidFill>
                    <a:latin typeface="Arial" panose="020B0604020202090204" pitchFamily="34" charset="0"/>
                    <a:ea typeface="华文楷体" panose="02010600040101010101" pitchFamily="2" charset="-122"/>
                  </a:rPr>
                  <a:t>Click to add text</a:t>
                </a:r>
                <a:endParaRPr kumimoji="1" lang="en-US" altLang="zh-CN" b="1" dirty="0">
                  <a:solidFill>
                    <a:schemeClr val="tx1"/>
                  </a:solidFill>
                  <a:latin typeface="Arial" panose="020B0604020202090204" pitchFamily="34" charset="0"/>
                  <a:ea typeface="华文楷体" panose="02010600040101010101" pitchFamily="2" charset="-122"/>
                </a:endParaRPr>
              </a:p>
            </p:txBody>
          </p:sp>
          <p:sp>
            <p:nvSpPr>
              <p:cNvPr id="203" name="矩形 202"/>
              <p:cNvSpPr/>
              <p:nvPr/>
            </p:nvSpPr>
            <p:spPr>
              <a:xfrm flipH="1">
                <a:off x="3910878" y="5428285"/>
                <a:ext cx="1812280" cy="6835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1">
                <a:normAutofit lnSpcReduction="10000"/>
              </a:bodyPr>
              <a:lstStyle/>
              <a:p>
                <a:pPr algn="ctr">
                  <a:lnSpc>
                    <a:spcPct val="120000"/>
                  </a:lnSpc>
                </a:pPr>
                <a:r>
                  <a:rPr kumimoji="1" lang="fr-FR" altLang="zh-CN" sz="1200">
                    <a:solidFill>
                      <a:schemeClr val="tx1"/>
                    </a:solidFill>
                    <a:latin typeface="Arial" panose="020B0604020202090204" pitchFamily="34" charset="0"/>
                    <a:ea typeface="华文楷体" panose="02010600040101010101" pitchFamily="2" charset="-122"/>
                  </a:rPr>
                  <a:t>Sadipscing ea lorem sit erat amet ut justo sea dolore.</a:t>
                </a:r>
                <a:endParaRPr kumimoji="1" lang="en-US" altLang="zh-CN" sz="1200" dirty="0">
                  <a:solidFill>
                    <a:schemeClr val="tx1"/>
                  </a:solidFill>
                  <a:latin typeface="Arial" panose="020B0604020202090204" pitchFamily="34" charset="0"/>
                  <a:ea typeface="华文楷体" panose="02010600040101010101" pitchFamily="2" charset="-122"/>
                </a:endParaRPr>
              </a:p>
            </p:txBody>
          </p:sp>
        </p:grpSp>
        <p:grpSp>
          <p:nvGrpSpPr>
            <p:cNvPr id="222" name="组合 221"/>
            <p:cNvGrpSpPr/>
            <p:nvPr/>
          </p:nvGrpSpPr>
          <p:grpSpPr>
            <a:xfrm>
              <a:off x="6246283" y="4949158"/>
              <a:ext cx="3065940" cy="1174468"/>
              <a:chOff x="6246283" y="4949158"/>
              <a:chExt cx="3065940" cy="1174468"/>
            </a:xfrm>
          </p:grpSpPr>
          <p:sp>
            <p:nvSpPr>
              <p:cNvPr id="152" name="箭头: V 形 151"/>
              <p:cNvSpPr/>
              <p:nvPr/>
            </p:nvSpPr>
            <p:spPr>
              <a:xfrm>
                <a:off x="6246283" y="4949158"/>
                <a:ext cx="3065940" cy="1174468"/>
              </a:xfrm>
              <a:prstGeom prst="chevron">
                <a:avLst/>
              </a:prstGeom>
              <a:noFill/>
              <a:ln>
                <a:solidFill>
                  <a:schemeClr val="accent1">
                    <a:alpha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4" name="矩形 203"/>
              <p:cNvSpPr/>
              <p:nvPr/>
            </p:nvSpPr>
            <p:spPr>
              <a:xfrm>
                <a:off x="6811189" y="4984776"/>
                <a:ext cx="1812281" cy="4028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1">
                <a:normAutofit fontScale="85000" lnSpcReduction="10000"/>
              </a:bodyPr>
              <a:lstStyle/>
              <a:p>
                <a:pPr algn="ctr"/>
                <a:r>
                  <a:rPr kumimoji="1" lang="en-US" altLang="zh-CN" b="1">
                    <a:solidFill>
                      <a:schemeClr val="tx1"/>
                    </a:solidFill>
                    <a:latin typeface="Arial" panose="020B0604020202090204" pitchFamily="34" charset="0"/>
                    <a:ea typeface="华文楷体" panose="02010600040101010101" pitchFamily="2" charset="-122"/>
                  </a:rPr>
                  <a:t>Click to add text</a:t>
                </a:r>
                <a:endParaRPr kumimoji="1" lang="en-US" altLang="zh-CN" b="1" dirty="0">
                  <a:solidFill>
                    <a:schemeClr val="tx1"/>
                  </a:solidFill>
                  <a:latin typeface="Arial" panose="020B0604020202090204" pitchFamily="34" charset="0"/>
                  <a:ea typeface="华文楷体" panose="02010600040101010101" pitchFamily="2" charset="-122"/>
                </a:endParaRPr>
              </a:p>
            </p:txBody>
          </p:sp>
          <p:sp>
            <p:nvSpPr>
              <p:cNvPr id="205" name="矩形 204"/>
              <p:cNvSpPr/>
              <p:nvPr/>
            </p:nvSpPr>
            <p:spPr>
              <a:xfrm flipH="1">
                <a:off x="6811190" y="5428285"/>
                <a:ext cx="1812280" cy="6835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1">
                <a:normAutofit lnSpcReduction="10000"/>
              </a:bodyPr>
              <a:lstStyle/>
              <a:p>
                <a:pPr algn="ctr">
                  <a:lnSpc>
                    <a:spcPct val="120000"/>
                  </a:lnSpc>
                </a:pPr>
                <a:r>
                  <a:rPr kumimoji="1" lang="nb-NO" altLang="zh-CN" sz="1200">
                    <a:solidFill>
                      <a:schemeClr val="tx1"/>
                    </a:solidFill>
                    <a:latin typeface="Arial" panose="020B0604020202090204" pitchFamily="34" charset="0"/>
                    <a:ea typeface="华文楷体" panose="02010600040101010101" pitchFamily="2" charset="-122"/>
                  </a:rPr>
                  <a:t>Dolor stet et et magna labore stet ut at gubergren.</a:t>
                </a:r>
                <a:endParaRPr kumimoji="1" lang="en-US" altLang="zh-CN" sz="1200" dirty="0">
                  <a:solidFill>
                    <a:schemeClr val="tx1"/>
                  </a:solidFill>
                  <a:latin typeface="Arial" panose="020B0604020202090204" pitchFamily="34" charset="0"/>
                  <a:ea typeface="华文楷体" panose="02010600040101010101" pitchFamily="2" charset="-122"/>
                </a:endParaRPr>
              </a:p>
            </p:txBody>
          </p:sp>
        </p:grpSp>
        <p:grpSp>
          <p:nvGrpSpPr>
            <p:cNvPr id="223" name="组合 222"/>
            <p:cNvGrpSpPr/>
            <p:nvPr/>
          </p:nvGrpSpPr>
          <p:grpSpPr>
            <a:xfrm>
              <a:off x="9270445" y="4949158"/>
              <a:ext cx="2248455" cy="1174468"/>
              <a:chOff x="9270445" y="4949158"/>
              <a:chExt cx="2248455" cy="1174468"/>
            </a:xfrm>
          </p:grpSpPr>
          <p:sp>
            <p:nvSpPr>
              <p:cNvPr id="199" name="任意多边形: 形状 198"/>
              <p:cNvSpPr/>
              <p:nvPr/>
            </p:nvSpPr>
            <p:spPr>
              <a:xfrm>
                <a:off x="9270445" y="4949158"/>
                <a:ext cx="2248455" cy="1174468"/>
              </a:xfrm>
              <a:custGeom>
                <a:avLst/>
                <a:gdLst>
                  <a:gd name="connsiteX0" fmla="*/ 2248455 w 2248455"/>
                  <a:gd name="connsiteY0" fmla="*/ 0 h 1174468"/>
                  <a:gd name="connsiteX1" fmla="*/ 0 w 2248455"/>
                  <a:gd name="connsiteY1" fmla="*/ 0 h 1174468"/>
                  <a:gd name="connsiteX2" fmla="*/ 587234 w 2248455"/>
                  <a:gd name="connsiteY2" fmla="*/ 587234 h 1174468"/>
                  <a:gd name="connsiteX3" fmla="*/ 0 w 2248455"/>
                  <a:gd name="connsiteY3" fmla="*/ 1174468 h 1174468"/>
                  <a:gd name="connsiteX4" fmla="*/ 2248455 w 2248455"/>
                  <a:gd name="connsiteY4" fmla="*/ 1174468 h 1174468"/>
                  <a:gd name="connsiteX5" fmla="*/ 2248455 w 2248455"/>
                  <a:gd name="connsiteY5" fmla="*/ 0 h 1174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48455" h="1174468">
                    <a:moveTo>
                      <a:pt x="2248455" y="0"/>
                    </a:moveTo>
                    <a:lnTo>
                      <a:pt x="0" y="0"/>
                    </a:lnTo>
                    <a:lnTo>
                      <a:pt x="587234" y="587234"/>
                    </a:lnTo>
                    <a:lnTo>
                      <a:pt x="0" y="1174468"/>
                    </a:lnTo>
                    <a:lnTo>
                      <a:pt x="2248455" y="1174468"/>
                    </a:lnTo>
                    <a:lnTo>
                      <a:pt x="2248455" y="0"/>
                    </a:lnTo>
                    <a:close/>
                  </a:path>
                </a:pathLst>
              </a:custGeom>
              <a:noFill/>
              <a:ln>
                <a:solidFill>
                  <a:schemeClr val="accent2">
                    <a:alpha val="5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206" name="矩形 205"/>
              <p:cNvSpPr/>
              <p:nvPr/>
            </p:nvSpPr>
            <p:spPr>
              <a:xfrm>
                <a:off x="9598025" y="4984776"/>
                <a:ext cx="1920875" cy="4028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1">
                <a:normAutofit fontScale="92500"/>
              </a:bodyPr>
              <a:lstStyle/>
              <a:p>
                <a:pPr algn="ctr"/>
                <a:r>
                  <a:rPr kumimoji="1" lang="en-US" altLang="zh-CN" b="1">
                    <a:solidFill>
                      <a:schemeClr val="tx1"/>
                    </a:solidFill>
                    <a:latin typeface="Arial" panose="020B0604020202090204" pitchFamily="34" charset="0"/>
                    <a:ea typeface="华文楷体" panose="02010600040101010101" pitchFamily="2" charset="-122"/>
                  </a:rPr>
                  <a:t>Click to add text</a:t>
                </a:r>
                <a:endParaRPr kumimoji="1" lang="en-US" altLang="zh-CN" b="1" dirty="0">
                  <a:solidFill>
                    <a:schemeClr val="tx1"/>
                  </a:solidFill>
                  <a:latin typeface="Arial" panose="020B0604020202090204" pitchFamily="34" charset="0"/>
                  <a:ea typeface="华文楷体" panose="02010600040101010101" pitchFamily="2" charset="-122"/>
                </a:endParaRPr>
              </a:p>
            </p:txBody>
          </p:sp>
          <p:sp>
            <p:nvSpPr>
              <p:cNvPr id="207" name="矩形 206"/>
              <p:cNvSpPr/>
              <p:nvPr/>
            </p:nvSpPr>
            <p:spPr>
              <a:xfrm flipH="1">
                <a:off x="9598024" y="5428285"/>
                <a:ext cx="1920874" cy="6835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1">
                <a:normAutofit lnSpcReduction="10000"/>
              </a:bodyPr>
              <a:lstStyle/>
              <a:p>
                <a:pPr algn="ctr">
                  <a:lnSpc>
                    <a:spcPct val="120000"/>
                  </a:lnSpc>
                </a:pPr>
                <a:r>
                  <a:rPr kumimoji="1" lang="fr-FR" altLang="zh-CN" sz="1200">
                    <a:solidFill>
                      <a:schemeClr val="tx1"/>
                    </a:solidFill>
                    <a:latin typeface="Arial" panose="020B0604020202090204" pitchFamily="34" charset="0"/>
                    <a:ea typeface="华文楷体" panose="02010600040101010101" pitchFamily="2" charset="-122"/>
                  </a:rPr>
                  <a:t>Ea dolores et accusam praesent erat amet takimata.</a:t>
                </a:r>
                <a:endParaRPr kumimoji="1" lang="en-US" altLang="zh-CN" sz="1200" dirty="0">
                  <a:solidFill>
                    <a:schemeClr val="tx1"/>
                  </a:solidFill>
                  <a:latin typeface="Arial" panose="020B0604020202090204" pitchFamily="34" charset="0"/>
                  <a:ea typeface="华文楷体" panose="02010600040101010101" pitchFamily="2" charset="-122"/>
                </a:endParaRPr>
              </a:p>
            </p:txBody>
          </p:sp>
        </p:grpSp>
      </p:grpSp>
    </p:spTree>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组合 2"/>
          <p:cNvGrpSpPr/>
          <p:nvPr/>
        </p:nvGrpSpPr>
        <p:grpSpPr>
          <a:xfrm>
            <a:off x="660398" y="1130300"/>
            <a:ext cx="10858502" cy="5003800"/>
            <a:chOff x="660398" y="1130300"/>
            <a:chExt cx="10858502" cy="5003800"/>
          </a:xfrm>
        </p:grpSpPr>
        <p:sp>
          <p:nvSpPr>
            <p:cNvPr id="2" name="椭圆 1"/>
            <p:cNvSpPr/>
            <p:nvPr/>
          </p:nvSpPr>
          <p:spPr>
            <a:xfrm>
              <a:off x="1694128" y="2210519"/>
              <a:ext cx="8605572" cy="545363"/>
            </a:xfrm>
            <a:prstGeom prst="ellipse">
              <a:avLst/>
            </a:prstGeom>
            <a:noFill/>
            <a:ln>
              <a:solidFill>
                <a:schemeClr val="accent2">
                  <a:alpha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椭圆 9"/>
            <p:cNvSpPr/>
            <p:nvPr/>
          </p:nvSpPr>
          <p:spPr>
            <a:xfrm>
              <a:off x="1694128" y="5332388"/>
              <a:ext cx="8605572" cy="545363"/>
            </a:xfrm>
            <a:prstGeom prst="ellipse">
              <a:avLst/>
            </a:prstGeom>
            <a:noFill/>
            <a:ln>
              <a:solidFill>
                <a:schemeClr val="accent1">
                  <a:alpha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5" name="箭头: 右弧形 34"/>
            <p:cNvSpPr/>
            <p:nvPr/>
          </p:nvSpPr>
          <p:spPr>
            <a:xfrm>
              <a:off x="10968536" y="3171307"/>
              <a:ext cx="550364" cy="1577710"/>
            </a:xfrm>
            <a:prstGeom prst="curvedLeftArrow">
              <a:avLst/>
            </a:prstGeom>
            <a:gradFill>
              <a:gsLst>
                <a:gs pos="0">
                  <a:schemeClr val="accent1">
                    <a:lumMod val="5000"/>
                    <a:lumOff val="95000"/>
                    <a:alpha val="0"/>
                  </a:schemeClr>
                </a:gs>
                <a:gs pos="100000">
                  <a:schemeClr val="accent1"/>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6" name="箭头: 右弧形 35"/>
            <p:cNvSpPr/>
            <p:nvPr/>
          </p:nvSpPr>
          <p:spPr>
            <a:xfrm flipH="1" flipV="1">
              <a:off x="660400" y="3171307"/>
              <a:ext cx="550364" cy="1577710"/>
            </a:xfrm>
            <a:prstGeom prst="curvedLeftArrow">
              <a:avLst/>
            </a:prstGeom>
            <a:gradFill>
              <a:gsLst>
                <a:gs pos="0">
                  <a:schemeClr val="accent1">
                    <a:lumMod val="5000"/>
                    <a:lumOff val="95000"/>
                    <a:alpha val="0"/>
                  </a:schemeClr>
                </a:gs>
                <a:gs pos="100000">
                  <a:schemeClr val="accent2"/>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8" name="矩形: 圆角 37"/>
            <p:cNvSpPr/>
            <p:nvPr/>
          </p:nvSpPr>
          <p:spPr>
            <a:xfrm>
              <a:off x="660398" y="1130300"/>
              <a:ext cx="10858501" cy="653629"/>
            </a:xfrm>
            <a:prstGeom prst="roundRect">
              <a:avLst>
                <a:gd name="adj" fmla="val 8214"/>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t" anchorCtr="0">
              <a:normAutofit/>
            </a:bodyPr>
            <a:lstStyle/>
            <a:p>
              <a:pPr algn="ctr"/>
              <a:r>
                <a:rPr lang="en-US" altLang="zh-CN" sz="2400" b="1" dirty="0">
                  <a:solidFill>
                    <a:schemeClr val="tx1"/>
                  </a:solidFill>
                  <a:latin typeface="Arial" panose="020B0604020202090204" pitchFamily="34" charset="0"/>
                  <a:ea typeface="华文楷体" panose="02010600040101010101" pitchFamily="2" charset="-122"/>
                </a:rPr>
                <a:t>Unified fonts make reading more fluent</a:t>
              </a:r>
              <a:endParaRPr lang="zh-CN" altLang="en-US" sz="2400" b="1" dirty="0">
                <a:solidFill>
                  <a:schemeClr val="tx1"/>
                </a:solidFill>
                <a:latin typeface="Arial" panose="020B0604020202090204" pitchFamily="34" charset="0"/>
                <a:ea typeface="华文楷体" panose="02010600040101010101" pitchFamily="2" charset="-122"/>
              </a:endParaRPr>
            </a:p>
          </p:txBody>
        </p:sp>
        <p:sp>
          <p:nvSpPr>
            <p:cNvPr id="43" name="箭头: 右 42"/>
            <p:cNvSpPr/>
            <p:nvPr/>
          </p:nvSpPr>
          <p:spPr>
            <a:xfrm rot="21422381">
              <a:off x="3829483" y="2066553"/>
              <a:ext cx="348934" cy="172788"/>
            </a:xfrm>
            <a:prstGeom prst="rightArrow">
              <a:avLst/>
            </a:prstGeom>
            <a:gradFill flip="none" rotWithShape="1">
              <a:gsLst>
                <a:gs pos="0">
                  <a:schemeClr val="accent1">
                    <a:lumMod val="5000"/>
                    <a:lumOff val="95000"/>
                    <a:alpha val="0"/>
                  </a:schemeClr>
                </a:gs>
                <a:gs pos="100000">
                  <a:schemeClr val="accent2"/>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4" name="箭头: 右 43"/>
            <p:cNvSpPr/>
            <p:nvPr/>
          </p:nvSpPr>
          <p:spPr>
            <a:xfrm>
              <a:off x="5900251" y="2032731"/>
              <a:ext cx="348934" cy="172788"/>
            </a:xfrm>
            <a:prstGeom prst="rightArrow">
              <a:avLst/>
            </a:prstGeom>
            <a:gradFill flip="none" rotWithShape="1">
              <a:gsLst>
                <a:gs pos="0">
                  <a:schemeClr val="accent1">
                    <a:lumMod val="5000"/>
                    <a:lumOff val="95000"/>
                    <a:alpha val="0"/>
                  </a:schemeClr>
                </a:gs>
                <a:gs pos="100000">
                  <a:schemeClr val="accent2"/>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5" name="箭头: 右 44"/>
            <p:cNvSpPr/>
            <p:nvPr/>
          </p:nvSpPr>
          <p:spPr>
            <a:xfrm rot="175940">
              <a:off x="7983757" y="2066469"/>
              <a:ext cx="348934" cy="172788"/>
            </a:xfrm>
            <a:prstGeom prst="rightArrow">
              <a:avLst/>
            </a:prstGeom>
            <a:gradFill flip="none" rotWithShape="1">
              <a:gsLst>
                <a:gs pos="0">
                  <a:schemeClr val="accent1">
                    <a:lumMod val="5000"/>
                    <a:lumOff val="95000"/>
                    <a:alpha val="0"/>
                  </a:schemeClr>
                </a:gs>
                <a:gs pos="100000">
                  <a:schemeClr val="accent2"/>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6" name="箭头: 右 45"/>
            <p:cNvSpPr/>
            <p:nvPr/>
          </p:nvSpPr>
          <p:spPr>
            <a:xfrm rot="21424060" flipH="1">
              <a:off x="7983757" y="5853580"/>
              <a:ext cx="348934" cy="172788"/>
            </a:xfrm>
            <a:prstGeom prst="rightArrow">
              <a:avLst/>
            </a:prstGeom>
            <a:gradFill flip="none" rotWithShape="1">
              <a:gsLst>
                <a:gs pos="0">
                  <a:schemeClr val="accent1">
                    <a:lumMod val="5000"/>
                    <a:lumOff val="95000"/>
                    <a:alpha val="0"/>
                  </a:schemeClr>
                </a:gs>
                <a:gs pos="100000">
                  <a:schemeClr val="accent1"/>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7" name="箭头: 右 46"/>
            <p:cNvSpPr/>
            <p:nvPr/>
          </p:nvSpPr>
          <p:spPr>
            <a:xfrm flipH="1">
              <a:off x="5907155" y="5882995"/>
              <a:ext cx="348934" cy="172788"/>
            </a:xfrm>
            <a:prstGeom prst="rightArrow">
              <a:avLst/>
            </a:prstGeom>
            <a:gradFill flip="none" rotWithShape="1">
              <a:gsLst>
                <a:gs pos="0">
                  <a:schemeClr val="accent1">
                    <a:lumMod val="5000"/>
                    <a:lumOff val="95000"/>
                    <a:alpha val="0"/>
                  </a:schemeClr>
                </a:gs>
                <a:gs pos="100000">
                  <a:schemeClr val="accent1"/>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8" name="箭头: 右 47"/>
            <p:cNvSpPr/>
            <p:nvPr/>
          </p:nvSpPr>
          <p:spPr>
            <a:xfrm rot="199475" flipH="1">
              <a:off x="3842223" y="5862279"/>
              <a:ext cx="348934" cy="172788"/>
            </a:xfrm>
            <a:prstGeom prst="rightArrow">
              <a:avLst/>
            </a:prstGeom>
            <a:gradFill flip="none" rotWithShape="1">
              <a:gsLst>
                <a:gs pos="0">
                  <a:schemeClr val="accent1">
                    <a:lumMod val="5000"/>
                    <a:lumOff val="95000"/>
                    <a:alpha val="0"/>
                  </a:schemeClr>
                </a:gs>
                <a:gs pos="100000">
                  <a:schemeClr val="accent1"/>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50" name="组合 49"/>
            <p:cNvGrpSpPr/>
            <p:nvPr/>
          </p:nvGrpSpPr>
          <p:grpSpPr>
            <a:xfrm>
              <a:off x="2002764" y="1987540"/>
              <a:ext cx="1944344" cy="1940000"/>
              <a:chOff x="2002764" y="1987540"/>
              <a:chExt cx="1944344" cy="1940000"/>
            </a:xfrm>
          </p:grpSpPr>
          <p:sp>
            <p:nvSpPr>
              <p:cNvPr id="4" name="椭圆 3"/>
              <p:cNvSpPr/>
              <p:nvPr/>
            </p:nvSpPr>
            <p:spPr>
              <a:xfrm>
                <a:off x="2702254" y="1987540"/>
                <a:ext cx="545365" cy="545363"/>
              </a:xfrm>
              <a:prstGeom prst="ellipse">
                <a:avLst/>
              </a:prstGeom>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rmAutofit/>
              </a:bodyPr>
              <a:lstStyle/>
              <a:p>
                <a:pPr algn="ctr"/>
                <a:r>
                  <a:rPr lang="en-US" altLang="zh-CN" b="1" dirty="0">
                    <a:latin typeface="Arial" panose="020B0604020202090204" pitchFamily="34" charset="0"/>
                    <a:ea typeface="华文楷体" panose="02010600040101010101" pitchFamily="2" charset="-122"/>
                  </a:rPr>
                  <a:t>01</a:t>
                </a:r>
                <a:endParaRPr lang="zh-CN" altLang="en-US" b="1" dirty="0">
                  <a:latin typeface="Arial" panose="020B0604020202090204" pitchFamily="34" charset="0"/>
                  <a:ea typeface="华文楷体" panose="02010600040101010101" pitchFamily="2" charset="-122"/>
                </a:endParaRPr>
              </a:p>
            </p:txBody>
          </p:sp>
          <p:sp>
            <p:nvSpPr>
              <p:cNvPr id="15" name="矩形 14"/>
              <p:cNvSpPr/>
              <p:nvPr/>
            </p:nvSpPr>
            <p:spPr>
              <a:xfrm flipH="1">
                <a:off x="2002764" y="3285806"/>
                <a:ext cx="1944344" cy="6417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1">
                <a:normAutofit/>
              </a:bodyPr>
              <a:lstStyle/>
              <a:p>
                <a:pPr algn="ctr">
                  <a:lnSpc>
                    <a:spcPct val="120000"/>
                  </a:lnSpc>
                </a:pPr>
                <a:r>
                  <a:rPr kumimoji="1" lang="en-US" altLang="zh-CN" sz="1200" dirty="0" err="1">
                    <a:solidFill>
                      <a:schemeClr val="tx1"/>
                    </a:solidFill>
                    <a:latin typeface="Arial" panose="020B0604020202090204" pitchFamily="34" charset="0"/>
                    <a:ea typeface="华文楷体" panose="02010600040101010101" pitchFamily="2" charset="-122"/>
                  </a:rPr>
                  <a:t>Laoreet</a:t>
                </a:r>
                <a:r>
                  <a:rPr kumimoji="1" lang="en-US" altLang="zh-CN" sz="1200" dirty="0">
                    <a:solidFill>
                      <a:schemeClr val="tx1"/>
                    </a:solidFill>
                    <a:latin typeface="Arial" panose="020B0604020202090204" pitchFamily="34" charset="0"/>
                    <a:ea typeface="华文楷体" panose="02010600040101010101" pitchFamily="2" charset="-122"/>
                  </a:rPr>
                  <a:t> </a:t>
                </a:r>
                <a:r>
                  <a:rPr kumimoji="1" lang="en-US" altLang="zh-CN" sz="1200" dirty="0" err="1">
                    <a:solidFill>
                      <a:schemeClr val="tx1"/>
                    </a:solidFill>
                    <a:latin typeface="Arial" panose="020B0604020202090204" pitchFamily="34" charset="0"/>
                    <a:ea typeface="华文楷体" panose="02010600040101010101" pitchFamily="2" charset="-122"/>
                  </a:rPr>
                  <a:t>sanctus</a:t>
                </a:r>
                <a:r>
                  <a:rPr kumimoji="1" lang="en-US" altLang="zh-CN" sz="1200" dirty="0">
                    <a:solidFill>
                      <a:schemeClr val="tx1"/>
                    </a:solidFill>
                    <a:latin typeface="Arial" panose="020B0604020202090204" pitchFamily="34" charset="0"/>
                    <a:ea typeface="华文楷体" panose="02010600040101010101" pitchFamily="2" charset="-122"/>
                  </a:rPr>
                  <a:t> lorem sit </a:t>
                </a:r>
                <a:r>
                  <a:rPr kumimoji="1" lang="en-US" altLang="zh-CN" sz="1200" dirty="0" err="1">
                    <a:solidFill>
                      <a:schemeClr val="tx1"/>
                    </a:solidFill>
                    <a:latin typeface="Arial" panose="020B0604020202090204" pitchFamily="34" charset="0"/>
                    <a:ea typeface="华文楷体" panose="02010600040101010101" pitchFamily="2" charset="-122"/>
                  </a:rPr>
                  <a:t>sadipscing</a:t>
                </a:r>
                <a:r>
                  <a:rPr kumimoji="1" lang="en-US" altLang="zh-CN" sz="1200" dirty="0">
                    <a:solidFill>
                      <a:schemeClr val="tx1"/>
                    </a:solidFill>
                    <a:latin typeface="Arial" panose="020B0604020202090204" pitchFamily="34" charset="0"/>
                    <a:ea typeface="华文楷体" panose="02010600040101010101" pitchFamily="2" charset="-122"/>
                  </a:rPr>
                  <a:t> at </a:t>
                </a:r>
                <a:r>
                  <a:rPr kumimoji="1" lang="en-US" altLang="zh-CN" sz="1200" dirty="0" err="1">
                    <a:solidFill>
                      <a:schemeClr val="tx1"/>
                    </a:solidFill>
                    <a:latin typeface="Arial" panose="020B0604020202090204" pitchFamily="34" charset="0"/>
                    <a:ea typeface="华文楷体" panose="02010600040101010101" pitchFamily="2" charset="-122"/>
                  </a:rPr>
                  <a:t>consequat</a:t>
                </a:r>
                <a:r>
                  <a:rPr kumimoji="1" lang="en-US" altLang="zh-CN" sz="1200" dirty="0">
                    <a:solidFill>
                      <a:schemeClr val="tx1"/>
                    </a:solidFill>
                    <a:latin typeface="Arial" panose="020B0604020202090204" pitchFamily="34" charset="0"/>
                    <a:ea typeface="华文楷体" panose="02010600040101010101" pitchFamily="2" charset="-122"/>
                  </a:rPr>
                  <a:t>.</a:t>
                </a:r>
                <a:endParaRPr kumimoji="1" lang="en-US" altLang="zh-CN" sz="1200" dirty="0">
                  <a:solidFill>
                    <a:schemeClr val="tx1"/>
                  </a:solidFill>
                  <a:latin typeface="Arial" panose="020B0604020202090204" pitchFamily="34" charset="0"/>
                  <a:ea typeface="华文楷体" panose="02010600040101010101" pitchFamily="2" charset="-122"/>
                </a:endParaRPr>
              </a:p>
            </p:txBody>
          </p:sp>
          <p:sp>
            <p:nvSpPr>
              <p:cNvPr id="16" name="矩形 15"/>
              <p:cNvSpPr/>
              <p:nvPr/>
            </p:nvSpPr>
            <p:spPr>
              <a:xfrm flipH="1">
                <a:off x="2002764" y="2810806"/>
                <a:ext cx="1944344" cy="4656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1">
                <a:normAutofit fontScale="92500"/>
              </a:bodyPr>
              <a:lstStyle/>
              <a:p>
                <a:pPr algn="ctr"/>
                <a:r>
                  <a:rPr kumimoji="1" lang="en-US" altLang="zh-CN" b="1">
                    <a:solidFill>
                      <a:schemeClr val="tx1"/>
                    </a:solidFill>
                    <a:latin typeface="Arial" panose="020B0604020202090204" pitchFamily="34" charset="0"/>
                    <a:ea typeface="华文楷体" panose="02010600040101010101" pitchFamily="2" charset="-122"/>
                  </a:rPr>
                  <a:t>Click to add text</a:t>
                </a:r>
                <a:endParaRPr kumimoji="1" lang="en-US" altLang="zh-CN" b="1" dirty="0">
                  <a:solidFill>
                    <a:schemeClr val="tx1"/>
                  </a:solidFill>
                  <a:latin typeface="Arial" panose="020B0604020202090204" pitchFamily="34" charset="0"/>
                  <a:ea typeface="华文楷体" panose="02010600040101010101" pitchFamily="2" charset="-122"/>
                </a:endParaRPr>
              </a:p>
            </p:txBody>
          </p:sp>
        </p:grpSp>
        <p:grpSp>
          <p:nvGrpSpPr>
            <p:cNvPr id="52" name="组合 51"/>
            <p:cNvGrpSpPr/>
            <p:nvPr/>
          </p:nvGrpSpPr>
          <p:grpSpPr>
            <a:xfrm>
              <a:off x="4079239" y="1917700"/>
              <a:ext cx="1944344" cy="2009840"/>
              <a:chOff x="4079239" y="1917700"/>
              <a:chExt cx="1944344" cy="2009840"/>
            </a:xfrm>
          </p:grpSpPr>
          <p:sp>
            <p:nvSpPr>
              <p:cNvPr id="5" name="椭圆 4"/>
              <p:cNvSpPr/>
              <p:nvPr/>
            </p:nvSpPr>
            <p:spPr>
              <a:xfrm>
                <a:off x="4774091" y="1917700"/>
                <a:ext cx="545365" cy="545363"/>
              </a:xfrm>
              <a:prstGeom prst="ellipse">
                <a:avLst/>
              </a:prstGeom>
              <a:solidFill>
                <a:schemeClr val="accent2"/>
              </a:solidFill>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rmAutofit/>
              </a:bodyPr>
              <a:lstStyle/>
              <a:p>
                <a:pPr algn="ctr"/>
                <a:r>
                  <a:rPr lang="en-US" altLang="zh-CN" b="1" dirty="0">
                    <a:latin typeface="Arial" panose="020B0604020202090204" pitchFamily="34" charset="0"/>
                    <a:ea typeface="华文楷体" panose="02010600040101010101" pitchFamily="2" charset="-122"/>
                  </a:rPr>
                  <a:t>02</a:t>
                </a:r>
                <a:endParaRPr lang="zh-CN" altLang="en-US" b="1" dirty="0">
                  <a:latin typeface="Arial" panose="020B0604020202090204" pitchFamily="34" charset="0"/>
                  <a:ea typeface="华文楷体" panose="02010600040101010101" pitchFamily="2" charset="-122"/>
                </a:endParaRPr>
              </a:p>
            </p:txBody>
          </p:sp>
          <p:sp>
            <p:nvSpPr>
              <p:cNvPr id="23" name="矩形 22"/>
              <p:cNvSpPr/>
              <p:nvPr/>
            </p:nvSpPr>
            <p:spPr>
              <a:xfrm flipH="1">
                <a:off x="4079239" y="3285806"/>
                <a:ext cx="1944344" cy="6417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1">
                <a:normAutofit fontScale="92500" lnSpcReduction="10000"/>
              </a:bodyPr>
              <a:lstStyle/>
              <a:p>
                <a:pPr algn="ctr">
                  <a:lnSpc>
                    <a:spcPct val="120000"/>
                  </a:lnSpc>
                </a:pPr>
                <a:r>
                  <a:rPr kumimoji="1" lang="fr-FR" altLang="zh-CN" sz="1200">
                    <a:solidFill>
                      <a:schemeClr val="tx1"/>
                    </a:solidFill>
                    <a:latin typeface="Arial" panose="020B0604020202090204" pitchFamily="34" charset="0"/>
                    <a:ea typeface="华文楷体" panose="02010600040101010101" pitchFamily="2" charset="-122"/>
                  </a:rPr>
                  <a:t>Lorem dolor stet voluptua dolores aliquip takimata feugiat.</a:t>
                </a:r>
                <a:endParaRPr kumimoji="1" lang="en-US" altLang="zh-CN" sz="1200" dirty="0">
                  <a:solidFill>
                    <a:schemeClr val="tx1"/>
                  </a:solidFill>
                  <a:latin typeface="Arial" panose="020B0604020202090204" pitchFamily="34" charset="0"/>
                  <a:ea typeface="华文楷体" panose="02010600040101010101" pitchFamily="2" charset="-122"/>
                </a:endParaRPr>
              </a:p>
            </p:txBody>
          </p:sp>
          <p:sp>
            <p:nvSpPr>
              <p:cNvPr id="24" name="矩形 23"/>
              <p:cNvSpPr/>
              <p:nvPr/>
            </p:nvSpPr>
            <p:spPr>
              <a:xfrm flipH="1">
                <a:off x="4079239" y="2810806"/>
                <a:ext cx="1944344" cy="4656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1">
                <a:normAutofit fontScale="92500"/>
              </a:bodyPr>
              <a:lstStyle/>
              <a:p>
                <a:pPr algn="ctr"/>
                <a:r>
                  <a:rPr kumimoji="1" lang="en-US" altLang="zh-CN" b="1">
                    <a:solidFill>
                      <a:schemeClr val="tx1"/>
                    </a:solidFill>
                    <a:latin typeface="Arial" panose="020B0604020202090204" pitchFamily="34" charset="0"/>
                    <a:ea typeface="华文楷体" panose="02010600040101010101" pitchFamily="2" charset="-122"/>
                  </a:rPr>
                  <a:t>Click to add text</a:t>
                </a:r>
                <a:endParaRPr kumimoji="1" lang="en-US" altLang="zh-CN" b="1" dirty="0">
                  <a:solidFill>
                    <a:schemeClr val="tx1"/>
                  </a:solidFill>
                  <a:latin typeface="Arial" panose="020B0604020202090204" pitchFamily="34" charset="0"/>
                  <a:ea typeface="华文楷体" panose="02010600040101010101" pitchFamily="2" charset="-122"/>
                </a:endParaRPr>
              </a:p>
            </p:txBody>
          </p:sp>
        </p:grpSp>
        <p:grpSp>
          <p:nvGrpSpPr>
            <p:cNvPr id="54" name="组合 53"/>
            <p:cNvGrpSpPr/>
            <p:nvPr/>
          </p:nvGrpSpPr>
          <p:grpSpPr>
            <a:xfrm>
              <a:off x="6155715" y="1917700"/>
              <a:ext cx="1944344" cy="2009840"/>
              <a:chOff x="6155715" y="1917700"/>
              <a:chExt cx="1944344" cy="2009840"/>
            </a:xfrm>
          </p:grpSpPr>
          <p:sp>
            <p:nvSpPr>
              <p:cNvPr id="6" name="椭圆 5"/>
              <p:cNvSpPr/>
              <p:nvPr/>
            </p:nvSpPr>
            <p:spPr>
              <a:xfrm>
                <a:off x="6843789" y="1917700"/>
                <a:ext cx="545365" cy="545363"/>
              </a:xfrm>
              <a:prstGeom prst="ellipse">
                <a:avLst/>
              </a:prstGeom>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rmAutofit/>
              </a:bodyPr>
              <a:lstStyle/>
              <a:p>
                <a:pPr algn="ctr"/>
                <a:r>
                  <a:rPr lang="en-US" altLang="zh-CN" b="1" dirty="0">
                    <a:latin typeface="Arial" panose="020B0604020202090204" pitchFamily="34" charset="0"/>
                    <a:ea typeface="华文楷体" panose="02010600040101010101" pitchFamily="2" charset="-122"/>
                  </a:rPr>
                  <a:t>03</a:t>
                </a:r>
                <a:endParaRPr lang="zh-CN" altLang="en-US" b="1" dirty="0">
                  <a:latin typeface="Arial" panose="020B0604020202090204" pitchFamily="34" charset="0"/>
                  <a:ea typeface="华文楷体" panose="02010600040101010101" pitchFamily="2" charset="-122"/>
                </a:endParaRPr>
              </a:p>
            </p:txBody>
          </p:sp>
          <p:sp>
            <p:nvSpPr>
              <p:cNvPr id="27" name="矩形 26"/>
              <p:cNvSpPr/>
              <p:nvPr/>
            </p:nvSpPr>
            <p:spPr>
              <a:xfrm flipH="1">
                <a:off x="6155715" y="3285806"/>
                <a:ext cx="1944344" cy="6417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1">
                <a:normAutofit fontScale="92500" lnSpcReduction="10000"/>
              </a:bodyPr>
              <a:lstStyle/>
              <a:p>
                <a:pPr algn="ctr">
                  <a:lnSpc>
                    <a:spcPct val="120000"/>
                  </a:lnSpc>
                </a:pPr>
                <a:r>
                  <a:rPr kumimoji="1" lang="fr-FR" altLang="zh-CN" sz="1200">
                    <a:solidFill>
                      <a:schemeClr val="tx1"/>
                    </a:solidFill>
                    <a:latin typeface="Arial" panose="020B0604020202090204" pitchFamily="34" charset="0"/>
                    <a:ea typeface="华文楷体" panose="02010600040101010101" pitchFamily="2" charset="-122"/>
                  </a:rPr>
                  <a:t>Sed gubergren et dolore duis no rebum nonummy eos eos.</a:t>
                </a:r>
                <a:endParaRPr kumimoji="1" lang="en-US" altLang="zh-CN" sz="1200" dirty="0">
                  <a:solidFill>
                    <a:schemeClr val="tx1"/>
                  </a:solidFill>
                  <a:latin typeface="Arial" panose="020B0604020202090204" pitchFamily="34" charset="0"/>
                  <a:ea typeface="华文楷体" panose="02010600040101010101" pitchFamily="2" charset="-122"/>
                </a:endParaRPr>
              </a:p>
            </p:txBody>
          </p:sp>
          <p:sp>
            <p:nvSpPr>
              <p:cNvPr id="28" name="矩形 27"/>
              <p:cNvSpPr/>
              <p:nvPr/>
            </p:nvSpPr>
            <p:spPr>
              <a:xfrm flipH="1">
                <a:off x="6155715" y="2810806"/>
                <a:ext cx="1944344" cy="4656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1">
                <a:normAutofit fontScale="92500"/>
              </a:bodyPr>
              <a:lstStyle/>
              <a:p>
                <a:pPr algn="ctr"/>
                <a:r>
                  <a:rPr kumimoji="1" lang="en-US" altLang="zh-CN" b="1">
                    <a:solidFill>
                      <a:schemeClr val="tx1"/>
                    </a:solidFill>
                    <a:latin typeface="Arial" panose="020B0604020202090204" pitchFamily="34" charset="0"/>
                    <a:ea typeface="华文楷体" panose="02010600040101010101" pitchFamily="2" charset="-122"/>
                  </a:rPr>
                  <a:t>Click to add text</a:t>
                </a:r>
                <a:endParaRPr kumimoji="1" lang="en-US" altLang="zh-CN" b="1" dirty="0">
                  <a:solidFill>
                    <a:schemeClr val="tx1"/>
                  </a:solidFill>
                  <a:latin typeface="Arial" panose="020B0604020202090204" pitchFamily="34" charset="0"/>
                  <a:ea typeface="华文楷体" panose="02010600040101010101" pitchFamily="2" charset="-122"/>
                </a:endParaRPr>
              </a:p>
            </p:txBody>
          </p:sp>
        </p:grpSp>
        <p:grpSp>
          <p:nvGrpSpPr>
            <p:cNvPr id="56" name="组合 55"/>
            <p:cNvGrpSpPr/>
            <p:nvPr/>
          </p:nvGrpSpPr>
          <p:grpSpPr>
            <a:xfrm>
              <a:off x="8232191" y="1987540"/>
              <a:ext cx="1944344" cy="1940000"/>
              <a:chOff x="8232191" y="1987540"/>
              <a:chExt cx="1944344" cy="1940000"/>
            </a:xfrm>
          </p:grpSpPr>
          <p:sp>
            <p:nvSpPr>
              <p:cNvPr id="9" name="椭圆 8"/>
              <p:cNvSpPr/>
              <p:nvPr/>
            </p:nvSpPr>
            <p:spPr>
              <a:xfrm>
                <a:off x="8927297" y="1987540"/>
                <a:ext cx="545365" cy="545363"/>
              </a:xfrm>
              <a:prstGeom prst="ellipse">
                <a:avLst/>
              </a:prstGeom>
              <a:solidFill>
                <a:schemeClr val="accent2"/>
              </a:solidFill>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rmAutofit/>
              </a:bodyPr>
              <a:lstStyle/>
              <a:p>
                <a:pPr algn="ctr"/>
                <a:r>
                  <a:rPr lang="en-US" altLang="zh-CN" b="1" dirty="0">
                    <a:latin typeface="Arial" panose="020B0604020202090204" pitchFamily="34" charset="0"/>
                    <a:ea typeface="华文楷体" panose="02010600040101010101" pitchFamily="2" charset="-122"/>
                  </a:rPr>
                  <a:t>04</a:t>
                </a:r>
                <a:endParaRPr lang="zh-CN" altLang="en-US" b="1" dirty="0">
                  <a:latin typeface="Arial" panose="020B0604020202090204" pitchFamily="34" charset="0"/>
                  <a:ea typeface="华文楷体" panose="02010600040101010101" pitchFamily="2" charset="-122"/>
                </a:endParaRPr>
              </a:p>
            </p:txBody>
          </p:sp>
          <p:sp>
            <p:nvSpPr>
              <p:cNvPr id="31" name="矩形 30"/>
              <p:cNvSpPr/>
              <p:nvPr/>
            </p:nvSpPr>
            <p:spPr>
              <a:xfrm flipH="1">
                <a:off x="8232191" y="3285806"/>
                <a:ext cx="1944344" cy="6417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1">
                <a:normAutofit fontScale="92500" lnSpcReduction="10000"/>
              </a:bodyPr>
              <a:lstStyle/>
              <a:p>
                <a:pPr algn="ctr">
                  <a:lnSpc>
                    <a:spcPct val="120000"/>
                  </a:lnSpc>
                </a:pPr>
                <a:r>
                  <a:rPr kumimoji="1" lang="fr-FR" altLang="zh-CN" sz="1200">
                    <a:solidFill>
                      <a:schemeClr val="tx1"/>
                    </a:solidFill>
                    <a:latin typeface="Arial" panose="020B0604020202090204" pitchFamily="34" charset="0"/>
                    <a:ea typeface="华文楷体" panose="02010600040101010101" pitchFamily="2" charset="-122"/>
                  </a:rPr>
                  <a:t>Elitr vulputate nonumy eos lorem ipsum magna dolores ipsum.</a:t>
                </a:r>
                <a:endParaRPr kumimoji="1" lang="en-US" altLang="zh-CN" sz="1200" dirty="0">
                  <a:solidFill>
                    <a:schemeClr val="tx1"/>
                  </a:solidFill>
                  <a:latin typeface="Arial" panose="020B0604020202090204" pitchFamily="34" charset="0"/>
                  <a:ea typeface="华文楷体" panose="02010600040101010101" pitchFamily="2" charset="-122"/>
                </a:endParaRPr>
              </a:p>
            </p:txBody>
          </p:sp>
          <p:sp>
            <p:nvSpPr>
              <p:cNvPr id="32" name="矩形 31"/>
              <p:cNvSpPr/>
              <p:nvPr/>
            </p:nvSpPr>
            <p:spPr>
              <a:xfrm flipH="1">
                <a:off x="8232191" y="2810806"/>
                <a:ext cx="1944344" cy="4656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1">
                <a:normAutofit fontScale="92500"/>
              </a:bodyPr>
              <a:lstStyle/>
              <a:p>
                <a:pPr algn="ctr"/>
                <a:r>
                  <a:rPr kumimoji="1" lang="en-US" altLang="zh-CN" b="1">
                    <a:solidFill>
                      <a:schemeClr val="tx1"/>
                    </a:solidFill>
                    <a:latin typeface="Arial" panose="020B0604020202090204" pitchFamily="34" charset="0"/>
                    <a:ea typeface="华文楷体" panose="02010600040101010101" pitchFamily="2" charset="-122"/>
                  </a:rPr>
                  <a:t>Click to add text</a:t>
                </a:r>
                <a:endParaRPr kumimoji="1" lang="en-US" altLang="zh-CN" b="1" dirty="0">
                  <a:solidFill>
                    <a:schemeClr val="tx1"/>
                  </a:solidFill>
                  <a:latin typeface="Arial" panose="020B0604020202090204" pitchFamily="34" charset="0"/>
                  <a:ea typeface="华文楷体" panose="02010600040101010101" pitchFamily="2" charset="-122"/>
                </a:endParaRPr>
              </a:p>
            </p:txBody>
          </p:sp>
        </p:grpSp>
        <p:grpSp>
          <p:nvGrpSpPr>
            <p:cNvPr id="57" name="组合 56"/>
            <p:cNvGrpSpPr/>
            <p:nvPr/>
          </p:nvGrpSpPr>
          <p:grpSpPr>
            <a:xfrm>
              <a:off x="8232191" y="4210409"/>
              <a:ext cx="1944344" cy="1870183"/>
              <a:chOff x="8232191" y="4210409"/>
              <a:chExt cx="1944344" cy="1870183"/>
            </a:xfrm>
          </p:grpSpPr>
          <p:sp>
            <p:nvSpPr>
              <p:cNvPr id="14" name="椭圆 13"/>
              <p:cNvSpPr/>
              <p:nvPr/>
            </p:nvSpPr>
            <p:spPr>
              <a:xfrm>
                <a:off x="8927297" y="5535229"/>
                <a:ext cx="545365" cy="545363"/>
              </a:xfrm>
              <a:prstGeom prst="ellipse">
                <a:avLst/>
              </a:prstGeom>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rmAutofit/>
              </a:bodyPr>
              <a:lstStyle/>
              <a:p>
                <a:pPr algn="ctr"/>
                <a:r>
                  <a:rPr lang="en-US" altLang="zh-CN" b="1" dirty="0">
                    <a:latin typeface="Arial" panose="020B0604020202090204" pitchFamily="34" charset="0"/>
                    <a:ea typeface="华文楷体" panose="02010600040101010101" pitchFamily="2" charset="-122"/>
                  </a:rPr>
                  <a:t>05</a:t>
                </a:r>
                <a:endParaRPr lang="zh-CN" altLang="en-US" b="1" dirty="0">
                  <a:latin typeface="Arial" panose="020B0604020202090204" pitchFamily="34" charset="0"/>
                  <a:ea typeface="华文楷体" panose="02010600040101010101" pitchFamily="2" charset="-122"/>
                </a:endParaRPr>
              </a:p>
            </p:txBody>
          </p:sp>
          <p:sp>
            <p:nvSpPr>
              <p:cNvPr id="33" name="矩形 32"/>
              <p:cNvSpPr/>
              <p:nvPr/>
            </p:nvSpPr>
            <p:spPr>
              <a:xfrm flipH="1">
                <a:off x="8232191" y="4685410"/>
                <a:ext cx="1944344" cy="6417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1">
                <a:normAutofit/>
              </a:bodyPr>
              <a:lstStyle/>
              <a:p>
                <a:pPr algn="ctr">
                  <a:lnSpc>
                    <a:spcPct val="120000"/>
                  </a:lnSpc>
                </a:pPr>
                <a:r>
                  <a:rPr kumimoji="1" lang="fr-FR" altLang="zh-CN" sz="1200" dirty="0">
                    <a:solidFill>
                      <a:schemeClr val="tx1"/>
                    </a:solidFill>
                    <a:latin typeface="Arial" panose="020B0604020202090204" pitchFamily="34" charset="0"/>
                    <a:ea typeface="华文楷体" panose="02010600040101010101" pitchFamily="2" charset="-122"/>
                  </a:rPr>
                  <a:t>Invidunt kasd ad invidunt dolor lorem tempor at elitr.</a:t>
                </a:r>
                <a:endParaRPr kumimoji="1" lang="en-US" altLang="zh-CN" sz="1200" dirty="0">
                  <a:solidFill>
                    <a:schemeClr val="tx1"/>
                  </a:solidFill>
                  <a:latin typeface="Arial" panose="020B0604020202090204" pitchFamily="34" charset="0"/>
                  <a:ea typeface="华文楷体" panose="02010600040101010101" pitchFamily="2" charset="-122"/>
                </a:endParaRPr>
              </a:p>
            </p:txBody>
          </p:sp>
          <p:sp>
            <p:nvSpPr>
              <p:cNvPr id="34" name="矩形 33"/>
              <p:cNvSpPr/>
              <p:nvPr/>
            </p:nvSpPr>
            <p:spPr>
              <a:xfrm flipH="1">
                <a:off x="8232191" y="4210409"/>
                <a:ext cx="1944344" cy="4656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normAutofit fontScale="92500"/>
              </a:bodyPr>
              <a:lstStyle/>
              <a:p>
                <a:pPr algn="ctr"/>
                <a:r>
                  <a:rPr kumimoji="1" lang="en-US" altLang="zh-CN" b="1">
                    <a:solidFill>
                      <a:schemeClr val="tx1"/>
                    </a:solidFill>
                    <a:latin typeface="Arial" panose="020B0604020202090204" pitchFamily="34" charset="0"/>
                    <a:ea typeface="华文楷体" panose="02010600040101010101" pitchFamily="2" charset="-122"/>
                  </a:rPr>
                  <a:t>Click to add text</a:t>
                </a:r>
                <a:endParaRPr kumimoji="1" lang="en-US" altLang="zh-CN" b="1" dirty="0">
                  <a:solidFill>
                    <a:schemeClr val="tx1"/>
                  </a:solidFill>
                  <a:latin typeface="Arial" panose="020B0604020202090204" pitchFamily="34" charset="0"/>
                  <a:ea typeface="华文楷体" panose="02010600040101010101" pitchFamily="2" charset="-122"/>
                </a:endParaRPr>
              </a:p>
            </p:txBody>
          </p:sp>
        </p:grpSp>
        <p:grpSp>
          <p:nvGrpSpPr>
            <p:cNvPr id="55" name="组合 54"/>
            <p:cNvGrpSpPr/>
            <p:nvPr/>
          </p:nvGrpSpPr>
          <p:grpSpPr>
            <a:xfrm>
              <a:off x="6155715" y="4210409"/>
              <a:ext cx="1944344" cy="1923691"/>
              <a:chOff x="6155715" y="4210409"/>
              <a:chExt cx="1944344" cy="1923691"/>
            </a:xfrm>
          </p:grpSpPr>
          <p:sp>
            <p:nvSpPr>
              <p:cNvPr id="13" name="椭圆 12"/>
              <p:cNvSpPr/>
              <p:nvPr/>
            </p:nvSpPr>
            <p:spPr>
              <a:xfrm>
                <a:off x="6843789" y="5588737"/>
                <a:ext cx="545365" cy="545363"/>
              </a:xfrm>
              <a:prstGeom prst="ellipse">
                <a:avLst/>
              </a:prstGeom>
              <a:solidFill>
                <a:schemeClr val="accent2"/>
              </a:solidFill>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rmAutofit/>
              </a:bodyPr>
              <a:lstStyle/>
              <a:p>
                <a:pPr algn="ctr"/>
                <a:r>
                  <a:rPr lang="en-US" altLang="zh-CN" b="1" dirty="0">
                    <a:latin typeface="Arial" panose="020B0604020202090204" pitchFamily="34" charset="0"/>
                    <a:ea typeface="华文楷体" panose="02010600040101010101" pitchFamily="2" charset="-122"/>
                  </a:rPr>
                  <a:t>06</a:t>
                </a:r>
                <a:endParaRPr lang="zh-CN" altLang="en-US" b="1" dirty="0">
                  <a:latin typeface="Arial" panose="020B0604020202090204" pitchFamily="34" charset="0"/>
                  <a:ea typeface="华文楷体" panose="02010600040101010101" pitchFamily="2" charset="-122"/>
                </a:endParaRPr>
              </a:p>
            </p:txBody>
          </p:sp>
          <p:sp>
            <p:nvSpPr>
              <p:cNvPr id="29" name="矩形 28"/>
              <p:cNvSpPr/>
              <p:nvPr/>
            </p:nvSpPr>
            <p:spPr>
              <a:xfrm flipH="1">
                <a:off x="6155715" y="4685410"/>
                <a:ext cx="1944344" cy="6417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1">
                <a:normAutofit fontScale="92500" lnSpcReduction="10000"/>
              </a:bodyPr>
              <a:lstStyle/>
              <a:p>
                <a:pPr algn="ctr">
                  <a:lnSpc>
                    <a:spcPct val="120000"/>
                  </a:lnSpc>
                </a:pPr>
                <a:r>
                  <a:rPr kumimoji="1" lang="fr-FR" altLang="zh-CN" sz="1200">
                    <a:solidFill>
                      <a:schemeClr val="tx1"/>
                    </a:solidFill>
                    <a:latin typeface="Arial" panose="020B0604020202090204" pitchFamily="34" charset="0"/>
                    <a:ea typeface="华文楷体" panose="02010600040101010101" pitchFamily="2" charset="-122"/>
                  </a:rPr>
                  <a:t>Ipsum eirmod sed tempor et eirmod dolore amet kasd sed.</a:t>
                </a:r>
                <a:endParaRPr kumimoji="1" lang="en-US" altLang="zh-CN" sz="1200" dirty="0">
                  <a:solidFill>
                    <a:schemeClr val="tx1"/>
                  </a:solidFill>
                  <a:latin typeface="Arial" panose="020B0604020202090204" pitchFamily="34" charset="0"/>
                  <a:ea typeface="华文楷体" panose="02010600040101010101" pitchFamily="2" charset="-122"/>
                </a:endParaRPr>
              </a:p>
            </p:txBody>
          </p:sp>
          <p:sp>
            <p:nvSpPr>
              <p:cNvPr id="30" name="矩形 29"/>
              <p:cNvSpPr/>
              <p:nvPr/>
            </p:nvSpPr>
            <p:spPr>
              <a:xfrm flipH="1">
                <a:off x="6155715" y="4210409"/>
                <a:ext cx="1944344" cy="4656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1">
                <a:normAutofit fontScale="92500"/>
              </a:bodyPr>
              <a:lstStyle/>
              <a:p>
                <a:pPr algn="ctr"/>
                <a:r>
                  <a:rPr kumimoji="1" lang="en-US" altLang="zh-CN" b="1">
                    <a:solidFill>
                      <a:schemeClr val="tx1"/>
                    </a:solidFill>
                    <a:latin typeface="Arial" panose="020B0604020202090204" pitchFamily="34" charset="0"/>
                    <a:ea typeface="华文楷体" panose="02010600040101010101" pitchFamily="2" charset="-122"/>
                  </a:rPr>
                  <a:t>Click to add text</a:t>
                </a:r>
                <a:endParaRPr kumimoji="1" lang="en-US" altLang="zh-CN" b="1" dirty="0">
                  <a:solidFill>
                    <a:schemeClr val="tx1"/>
                  </a:solidFill>
                  <a:latin typeface="Arial" panose="020B0604020202090204" pitchFamily="34" charset="0"/>
                  <a:ea typeface="华文楷体" panose="02010600040101010101" pitchFamily="2" charset="-122"/>
                </a:endParaRPr>
              </a:p>
            </p:txBody>
          </p:sp>
        </p:grpSp>
        <p:grpSp>
          <p:nvGrpSpPr>
            <p:cNvPr id="53" name="组合 52"/>
            <p:cNvGrpSpPr/>
            <p:nvPr/>
          </p:nvGrpSpPr>
          <p:grpSpPr>
            <a:xfrm>
              <a:off x="4079239" y="4210409"/>
              <a:ext cx="1944344" cy="1923691"/>
              <a:chOff x="4079239" y="4210409"/>
              <a:chExt cx="1944344" cy="1923691"/>
            </a:xfrm>
          </p:grpSpPr>
          <p:sp>
            <p:nvSpPr>
              <p:cNvPr id="12" name="椭圆 11"/>
              <p:cNvSpPr/>
              <p:nvPr/>
            </p:nvSpPr>
            <p:spPr>
              <a:xfrm>
                <a:off x="4774091" y="5588737"/>
                <a:ext cx="545365" cy="545363"/>
              </a:xfrm>
              <a:prstGeom prst="ellipse">
                <a:avLst/>
              </a:prstGeom>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rmAutofit/>
              </a:bodyPr>
              <a:lstStyle/>
              <a:p>
                <a:pPr algn="ctr"/>
                <a:r>
                  <a:rPr lang="en-US" altLang="zh-CN" b="1" dirty="0">
                    <a:latin typeface="Arial" panose="020B0604020202090204" pitchFamily="34" charset="0"/>
                    <a:ea typeface="华文楷体" panose="02010600040101010101" pitchFamily="2" charset="-122"/>
                  </a:rPr>
                  <a:t>07</a:t>
                </a:r>
                <a:endParaRPr lang="zh-CN" altLang="en-US" b="1" dirty="0">
                  <a:latin typeface="Arial" panose="020B0604020202090204" pitchFamily="34" charset="0"/>
                  <a:ea typeface="华文楷体" panose="02010600040101010101" pitchFamily="2" charset="-122"/>
                </a:endParaRPr>
              </a:p>
            </p:txBody>
          </p:sp>
          <p:sp>
            <p:nvSpPr>
              <p:cNvPr id="25" name="矩形 24"/>
              <p:cNvSpPr/>
              <p:nvPr/>
            </p:nvSpPr>
            <p:spPr>
              <a:xfrm flipH="1">
                <a:off x="4079239" y="4685410"/>
                <a:ext cx="1944344" cy="6417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1">
                <a:normAutofit fontScale="92500" lnSpcReduction="10000"/>
              </a:bodyPr>
              <a:lstStyle/>
              <a:p>
                <a:pPr algn="ctr">
                  <a:lnSpc>
                    <a:spcPct val="120000"/>
                  </a:lnSpc>
                </a:pPr>
                <a:r>
                  <a:rPr kumimoji="1" lang="it-IT" altLang="zh-CN" sz="1200">
                    <a:solidFill>
                      <a:schemeClr val="tx1"/>
                    </a:solidFill>
                    <a:latin typeface="Arial" panose="020B0604020202090204" pitchFamily="34" charset="0"/>
                    <a:ea typeface="华文楷体" panose="02010600040101010101" pitchFamily="2" charset="-122"/>
                  </a:rPr>
                  <a:t>Magna tempor labore stet lorem clita amet sed eos lorem.</a:t>
                </a:r>
                <a:endParaRPr kumimoji="1" lang="en-US" altLang="zh-CN" sz="1200" dirty="0">
                  <a:solidFill>
                    <a:schemeClr val="tx1"/>
                  </a:solidFill>
                  <a:latin typeface="Arial" panose="020B0604020202090204" pitchFamily="34" charset="0"/>
                  <a:ea typeface="华文楷体" panose="02010600040101010101" pitchFamily="2" charset="-122"/>
                </a:endParaRPr>
              </a:p>
            </p:txBody>
          </p:sp>
          <p:sp>
            <p:nvSpPr>
              <p:cNvPr id="26" name="矩形 25"/>
              <p:cNvSpPr/>
              <p:nvPr/>
            </p:nvSpPr>
            <p:spPr>
              <a:xfrm flipH="1">
                <a:off x="4079239" y="4210409"/>
                <a:ext cx="1944344" cy="4656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1">
                <a:normAutofit fontScale="92500"/>
              </a:bodyPr>
              <a:lstStyle/>
              <a:p>
                <a:pPr algn="ctr"/>
                <a:r>
                  <a:rPr kumimoji="1" lang="en-US" altLang="zh-CN" b="1">
                    <a:solidFill>
                      <a:schemeClr val="tx1"/>
                    </a:solidFill>
                    <a:latin typeface="Arial" panose="020B0604020202090204" pitchFamily="34" charset="0"/>
                    <a:ea typeface="华文楷体" panose="02010600040101010101" pitchFamily="2" charset="-122"/>
                  </a:rPr>
                  <a:t>Click to add text</a:t>
                </a:r>
                <a:endParaRPr kumimoji="1" lang="en-US" altLang="zh-CN" b="1" dirty="0">
                  <a:solidFill>
                    <a:schemeClr val="tx1"/>
                  </a:solidFill>
                  <a:latin typeface="Arial" panose="020B0604020202090204" pitchFamily="34" charset="0"/>
                  <a:ea typeface="华文楷体" panose="02010600040101010101" pitchFamily="2" charset="-122"/>
                </a:endParaRPr>
              </a:p>
            </p:txBody>
          </p:sp>
        </p:grpSp>
        <p:grpSp>
          <p:nvGrpSpPr>
            <p:cNvPr id="51" name="组合 50"/>
            <p:cNvGrpSpPr/>
            <p:nvPr/>
          </p:nvGrpSpPr>
          <p:grpSpPr>
            <a:xfrm>
              <a:off x="2002764" y="4210409"/>
              <a:ext cx="1944344" cy="1870183"/>
              <a:chOff x="2002764" y="4210409"/>
              <a:chExt cx="1944344" cy="1870183"/>
            </a:xfrm>
          </p:grpSpPr>
          <p:sp>
            <p:nvSpPr>
              <p:cNvPr id="11" name="椭圆 10"/>
              <p:cNvSpPr/>
              <p:nvPr/>
            </p:nvSpPr>
            <p:spPr>
              <a:xfrm>
                <a:off x="2702254" y="5535229"/>
                <a:ext cx="545365" cy="545363"/>
              </a:xfrm>
              <a:prstGeom prst="ellipse">
                <a:avLst/>
              </a:prstGeom>
              <a:solidFill>
                <a:schemeClr val="accent2"/>
              </a:solidFill>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rmAutofit/>
              </a:bodyPr>
              <a:lstStyle/>
              <a:p>
                <a:pPr algn="ctr"/>
                <a:r>
                  <a:rPr lang="en-US" altLang="zh-CN" b="1" dirty="0">
                    <a:latin typeface="Arial" panose="020B0604020202090204" pitchFamily="34" charset="0"/>
                    <a:ea typeface="华文楷体" panose="02010600040101010101" pitchFamily="2" charset="-122"/>
                  </a:rPr>
                  <a:t>08</a:t>
                </a:r>
                <a:endParaRPr lang="zh-CN" altLang="en-US" b="1" dirty="0">
                  <a:latin typeface="Arial" panose="020B0604020202090204" pitchFamily="34" charset="0"/>
                  <a:ea typeface="华文楷体" panose="02010600040101010101" pitchFamily="2" charset="-122"/>
                </a:endParaRPr>
              </a:p>
            </p:txBody>
          </p:sp>
          <p:sp>
            <p:nvSpPr>
              <p:cNvPr id="17" name="矩形 16"/>
              <p:cNvSpPr/>
              <p:nvPr/>
            </p:nvSpPr>
            <p:spPr>
              <a:xfrm flipH="1">
                <a:off x="2002764" y="4685410"/>
                <a:ext cx="1944344" cy="6417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1">
                <a:normAutofit fontScale="92500"/>
              </a:bodyPr>
              <a:lstStyle/>
              <a:p>
                <a:pPr algn="ctr">
                  <a:lnSpc>
                    <a:spcPct val="120000"/>
                  </a:lnSpc>
                </a:pPr>
                <a:r>
                  <a:rPr kumimoji="1" lang="fr-FR" altLang="zh-CN" sz="1200">
                    <a:solidFill>
                      <a:schemeClr val="tx1"/>
                    </a:solidFill>
                    <a:latin typeface="Arial" panose="020B0604020202090204" pitchFamily="34" charset="0"/>
                    <a:ea typeface="华文楷体" panose="02010600040101010101" pitchFamily="2" charset="-122"/>
                  </a:rPr>
                  <a:t>Et sea vero id ut duis ut velit sit dolore veniam gubergren.</a:t>
                </a:r>
                <a:endParaRPr kumimoji="1" lang="en-US" altLang="zh-CN" sz="1200" dirty="0">
                  <a:solidFill>
                    <a:schemeClr val="tx1"/>
                  </a:solidFill>
                  <a:latin typeface="Arial" panose="020B0604020202090204" pitchFamily="34" charset="0"/>
                  <a:ea typeface="华文楷体" panose="02010600040101010101" pitchFamily="2" charset="-122"/>
                </a:endParaRPr>
              </a:p>
            </p:txBody>
          </p:sp>
          <p:sp>
            <p:nvSpPr>
              <p:cNvPr id="18" name="矩形 17"/>
              <p:cNvSpPr/>
              <p:nvPr/>
            </p:nvSpPr>
            <p:spPr>
              <a:xfrm flipH="1">
                <a:off x="2002764" y="4210409"/>
                <a:ext cx="1944344" cy="4656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1">
                <a:normAutofit fontScale="92500"/>
              </a:bodyPr>
              <a:lstStyle/>
              <a:p>
                <a:pPr algn="ctr"/>
                <a:r>
                  <a:rPr kumimoji="1" lang="en-US" altLang="zh-CN" b="1">
                    <a:solidFill>
                      <a:schemeClr val="tx1"/>
                    </a:solidFill>
                    <a:latin typeface="Arial" panose="020B0604020202090204" pitchFamily="34" charset="0"/>
                    <a:ea typeface="华文楷体" panose="02010600040101010101" pitchFamily="2" charset="-122"/>
                  </a:rPr>
                  <a:t>Click to add text</a:t>
                </a:r>
                <a:endParaRPr kumimoji="1" lang="en-US" altLang="zh-CN" b="1" dirty="0">
                  <a:solidFill>
                    <a:schemeClr val="tx1"/>
                  </a:solidFill>
                  <a:latin typeface="Arial" panose="020B0604020202090204" pitchFamily="34" charset="0"/>
                  <a:ea typeface="华文楷体" panose="02010600040101010101" pitchFamily="2" charset="-122"/>
                </a:endParaRPr>
              </a:p>
            </p:txBody>
          </p:sp>
        </p:grpSp>
      </p:grpSp>
    </p:spTree>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6" name="组合 125"/>
          <p:cNvGrpSpPr/>
          <p:nvPr/>
        </p:nvGrpSpPr>
        <p:grpSpPr>
          <a:xfrm>
            <a:off x="403377" y="1329886"/>
            <a:ext cx="11115523" cy="4528516"/>
            <a:chOff x="403377" y="1329886"/>
            <a:chExt cx="11115523" cy="4528516"/>
          </a:xfrm>
        </p:grpSpPr>
        <p:grpSp>
          <p:nvGrpSpPr>
            <p:cNvPr id="117" name="组合 116"/>
            <p:cNvGrpSpPr/>
            <p:nvPr/>
          </p:nvGrpSpPr>
          <p:grpSpPr>
            <a:xfrm>
              <a:off x="3557411" y="1693203"/>
              <a:ext cx="1992875" cy="3820298"/>
              <a:chOff x="3547659" y="1229068"/>
              <a:chExt cx="1992875" cy="4742224"/>
            </a:xfrm>
          </p:grpSpPr>
          <p:grpSp>
            <p:nvGrpSpPr>
              <p:cNvPr id="61" name="组合 60"/>
              <p:cNvGrpSpPr/>
              <p:nvPr/>
            </p:nvGrpSpPr>
            <p:grpSpPr>
              <a:xfrm>
                <a:off x="3547659" y="1229068"/>
                <a:ext cx="1992875" cy="2371112"/>
                <a:chOff x="3547659" y="1272610"/>
                <a:chExt cx="1992875" cy="2371112"/>
              </a:xfrm>
            </p:grpSpPr>
            <p:sp>
              <p:nvSpPr>
                <p:cNvPr id="62" name="任意多边形: 形状 61"/>
                <p:cNvSpPr/>
                <p:nvPr/>
              </p:nvSpPr>
              <p:spPr bwMode="auto">
                <a:xfrm flipV="1">
                  <a:off x="3547659" y="1290667"/>
                  <a:ext cx="1952625" cy="2353055"/>
                </a:xfrm>
                <a:custGeom>
                  <a:avLst/>
                  <a:gdLst>
                    <a:gd name="T0" fmla="*/ 516 w 516"/>
                    <a:gd name="T1" fmla="*/ 478 h 478"/>
                    <a:gd name="T2" fmla="*/ 280 w 516"/>
                    <a:gd name="T3" fmla="*/ 478 h 478"/>
                    <a:gd name="T4" fmla="*/ 140 w 516"/>
                    <a:gd name="T5" fmla="*/ 309 h 478"/>
                    <a:gd name="T6" fmla="*/ 140 w 516"/>
                    <a:gd name="T7" fmla="*/ 169 h 478"/>
                    <a:gd name="T8" fmla="*/ 0 w 516"/>
                    <a:gd name="T9" fmla="*/ 0 h 478"/>
                    <a:gd name="T10" fmla="*/ 0 w 516"/>
                    <a:gd name="T11" fmla="*/ 0 h 478"/>
                  </a:gdLst>
                  <a:ahLst/>
                  <a:cxnLst>
                    <a:cxn ang="0">
                      <a:pos x="T0" y="T1"/>
                    </a:cxn>
                    <a:cxn ang="0">
                      <a:pos x="T2" y="T3"/>
                    </a:cxn>
                    <a:cxn ang="0">
                      <a:pos x="T4" y="T5"/>
                    </a:cxn>
                    <a:cxn ang="0">
                      <a:pos x="T6" y="T7"/>
                    </a:cxn>
                    <a:cxn ang="0">
                      <a:pos x="T8" y="T9"/>
                    </a:cxn>
                    <a:cxn ang="0">
                      <a:pos x="T10" y="T11"/>
                    </a:cxn>
                  </a:cxnLst>
                  <a:rect l="0" t="0" r="r" b="b"/>
                  <a:pathLst>
                    <a:path w="516" h="478">
                      <a:moveTo>
                        <a:pt x="516" y="478"/>
                      </a:moveTo>
                      <a:cubicBezTo>
                        <a:pt x="280" y="478"/>
                        <a:pt x="280" y="478"/>
                        <a:pt x="280" y="478"/>
                      </a:cubicBezTo>
                      <a:cubicBezTo>
                        <a:pt x="203" y="478"/>
                        <a:pt x="140" y="402"/>
                        <a:pt x="140" y="309"/>
                      </a:cubicBezTo>
                      <a:cubicBezTo>
                        <a:pt x="140" y="169"/>
                        <a:pt x="140" y="169"/>
                        <a:pt x="140" y="169"/>
                      </a:cubicBezTo>
                      <a:cubicBezTo>
                        <a:pt x="140" y="76"/>
                        <a:pt x="77" y="0"/>
                        <a:pt x="0" y="0"/>
                      </a:cubicBezTo>
                      <a:cubicBezTo>
                        <a:pt x="0" y="0"/>
                        <a:pt x="0" y="0"/>
                        <a:pt x="0" y="0"/>
                      </a:cubicBezTo>
                    </a:path>
                  </a:pathLst>
                </a:custGeom>
                <a:noFill/>
                <a:ln w="15875" cap="flat">
                  <a:solidFill>
                    <a:schemeClr val="accent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zh-CN" altLang="en-US" dirty="0"/>
                </a:p>
              </p:txBody>
            </p:sp>
            <p:sp>
              <p:nvSpPr>
                <p:cNvPr id="63" name="椭圆 62"/>
                <p:cNvSpPr/>
                <p:nvPr/>
              </p:nvSpPr>
              <p:spPr>
                <a:xfrm>
                  <a:off x="5494815" y="1272610"/>
                  <a:ext cx="45719" cy="45719"/>
                </a:xfrm>
                <a:prstGeom prst="ellipse">
                  <a:avLst/>
                </a:prstGeom>
                <a:solidFill>
                  <a:schemeClr val="accent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64" name="组合 63"/>
              <p:cNvGrpSpPr/>
              <p:nvPr/>
            </p:nvGrpSpPr>
            <p:grpSpPr>
              <a:xfrm>
                <a:off x="3554413" y="3600180"/>
                <a:ext cx="1986121" cy="2371112"/>
                <a:chOff x="3554413" y="3643722"/>
                <a:chExt cx="1986121" cy="2371112"/>
              </a:xfrm>
            </p:grpSpPr>
            <p:sp>
              <p:nvSpPr>
                <p:cNvPr id="65" name="任意多边形: 形状 64"/>
                <p:cNvSpPr/>
                <p:nvPr/>
              </p:nvSpPr>
              <p:spPr bwMode="auto">
                <a:xfrm>
                  <a:off x="3554413" y="3643722"/>
                  <a:ext cx="1952625" cy="2353055"/>
                </a:xfrm>
                <a:custGeom>
                  <a:avLst/>
                  <a:gdLst>
                    <a:gd name="T0" fmla="*/ 516 w 516"/>
                    <a:gd name="T1" fmla="*/ 478 h 478"/>
                    <a:gd name="T2" fmla="*/ 280 w 516"/>
                    <a:gd name="T3" fmla="*/ 478 h 478"/>
                    <a:gd name="T4" fmla="*/ 140 w 516"/>
                    <a:gd name="T5" fmla="*/ 309 h 478"/>
                    <a:gd name="T6" fmla="*/ 140 w 516"/>
                    <a:gd name="T7" fmla="*/ 169 h 478"/>
                    <a:gd name="T8" fmla="*/ 0 w 516"/>
                    <a:gd name="T9" fmla="*/ 0 h 478"/>
                    <a:gd name="T10" fmla="*/ 0 w 516"/>
                    <a:gd name="T11" fmla="*/ 0 h 478"/>
                  </a:gdLst>
                  <a:ahLst/>
                  <a:cxnLst>
                    <a:cxn ang="0">
                      <a:pos x="T0" y="T1"/>
                    </a:cxn>
                    <a:cxn ang="0">
                      <a:pos x="T2" y="T3"/>
                    </a:cxn>
                    <a:cxn ang="0">
                      <a:pos x="T4" y="T5"/>
                    </a:cxn>
                    <a:cxn ang="0">
                      <a:pos x="T6" y="T7"/>
                    </a:cxn>
                    <a:cxn ang="0">
                      <a:pos x="T8" y="T9"/>
                    </a:cxn>
                    <a:cxn ang="0">
                      <a:pos x="T10" y="T11"/>
                    </a:cxn>
                  </a:cxnLst>
                  <a:rect l="0" t="0" r="r" b="b"/>
                  <a:pathLst>
                    <a:path w="516" h="478">
                      <a:moveTo>
                        <a:pt x="516" y="478"/>
                      </a:moveTo>
                      <a:cubicBezTo>
                        <a:pt x="280" y="478"/>
                        <a:pt x="280" y="478"/>
                        <a:pt x="280" y="478"/>
                      </a:cubicBezTo>
                      <a:cubicBezTo>
                        <a:pt x="203" y="478"/>
                        <a:pt x="140" y="402"/>
                        <a:pt x="140" y="309"/>
                      </a:cubicBezTo>
                      <a:cubicBezTo>
                        <a:pt x="140" y="169"/>
                        <a:pt x="140" y="169"/>
                        <a:pt x="140" y="169"/>
                      </a:cubicBezTo>
                      <a:cubicBezTo>
                        <a:pt x="140" y="76"/>
                        <a:pt x="77" y="0"/>
                        <a:pt x="0" y="0"/>
                      </a:cubicBezTo>
                      <a:cubicBezTo>
                        <a:pt x="0" y="0"/>
                        <a:pt x="0" y="0"/>
                        <a:pt x="0" y="0"/>
                      </a:cubicBezTo>
                    </a:path>
                  </a:pathLst>
                </a:custGeom>
                <a:noFill/>
                <a:ln w="15875" cap="flat">
                  <a:solidFill>
                    <a:schemeClr val="accent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zh-CN" altLang="en-US" dirty="0"/>
                </a:p>
              </p:txBody>
            </p:sp>
            <p:sp>
              <p:nvSpPr>
                <p:cNvPr id="66" name="椭圆 65"/>
                <p:cNvSpPr/>
                <p:nvPr/>
              </p:nvSpPr>
              <p:spPr>
                <a:xfrm>
                  <a:off x="5494815" y="5969115"/>
                  <a:ext cx="45719" cy="45719"/>
                </a:xfrm>
                <a:prstGeom prst="ellipse">
                  <a:avLst/>
                </a:prstGeom>
                <a:solidFill>
                  <a:schemeClr val="accent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67" name="组合 66"/>
              <p:cNvGrpSpPr/>
              <p:nvPr/>
            </p:nvGrpSpPr>
            <p:grpSpPr>
              <a:xfrm>
                <a:off x="3573206" y="2575198"/>
                <a:ext cx="1967328" cy="2045792"/>
                <a:chOff x="3573206" y="2625090"/>
                <a:chExt cx="1967328" cy="2045792"/>
              </a:xfrm>
            </p:grpSpPr>
            <p:grpSp>
              <p:nvGrpSpPr>
                <p:cNvPr id="68" name="组合 67"/>
                <p:cNvGrpSpPr/>
                <p:nvPr/>
              </p:nvGrpSpPr>
              <p:grpSpPr>
                <a:xfrm>
                  <a:off x="3573206" y="2625090"/>
                  <a:ext cx="1967328" cy="1023988"/>
                  <a:chOff x="3573206" y="2625090"/>
                  <a:chExt cx="1967328" cy="1023988"/>
                </a:xfrm>
              </p:grpSpPr>
              <p:sp>
                <p:nvSpPr>
                  <p:cNvPr id="72" name="任意多边形: 形状 71"/>
                  <p:cNvSpPr/>
                  <p:nvPr/>
                </p:nvSpPr>
                <p:spPr bwMode="auto">
                  <a:xfrm flipV="1">
                    <a:off x="3573206" y="2647949"/>
                    <a:ext cx="1952625" cy="1001129"/>
                  </a:xfrm>
                  <a:custGeom>
                    <a:avLst/>
                    <a:gdLst>
                      <a:gd name="T0" fmla="*/ 516 w 516"/>
                      <a:gd name="T1" fmla="*/ 478 h 478"/>
                      <a:gd name="T2" fmla="*/ 280 w 516"/>
                      <a:gd name="T3" fmla="*/ 478 h 478"/>
                      <a:gd name="T4" fmla="*/ 140 w 516"/>
                      <a:gd name="T5" fmla="*/ 309 h 478"/>
                      <a:gd name="T6" fmla="*/ 140 w 516"/>
                      <a:gd name="T7" fmla="*/ 169 h 478"/>
                      <a:gd name="T8" fmla="*/ 0 w 516"/>
                      <a:gd name="T9" fmla="*/ 0 h 478"/>
                      <a:gd name="T10" fmla="*/ 0 w 516"/>
                      <a:gd name="T11" fmla="*/ 0 h 478"/>
                      <a:gd name="connsiteX0" fmla="*/ 12971 w 12971"/>
                      <a:gd name="connsiteY0" fmla="*/ 10000 h 10000"/>
                      <a:gd name="connsiteX1" fmla="*/ 8397 w 12971"/>
                      <a:gd name="connsiteY1" fmla="*/ 10000 h 10000"/>
                      <a:gd name="connsiteX2" fmla="*/ 5684 w 12971"/>
                      <a:gd name="connsiteY2" fmla="*/ 6464 h 10000"/>
                      <a:gd name="connsiteX3" fmla="*/ 5684 w 12971"/>
                      <a:gd name="connsiteY3" fmla="*/ 3536 h 10000"/>
                      <a:gd name="connsiteX4" fmla="*/ 2971 w 12971"/>
                      <a:gd name="connsiteY4" fmla="*/ 0 h 10000"/>
                      <a:gd name="connsiteX5" fmla="*/ 0 w 12971"/>
                      <a:gd name="connsiteY5" fmla="*/ 0 h 10000"/>
                      <a:gd name="connsiteX0-1" fmla="*/ 12971 w 12971"/>
                      <a:gd name="connsiteY0-2" fmla="*/ 10000 h 10000"/>
                      <a:gd name="connsiteX1-3" fmla="*/ 8397 w 12971"/>
                      <a:gd name="connsiteY1-4" fmla="*/ 10000 h 10000"/>
                      <a:gd name="connsiteX2-5" fmla="*/ 5684 w 12971"/>
                      <a:gd name="connsiteY2-6" fmla="*/ 6464 h 10000"/>
                      <a:gd name="connsiteX3-7" fmla="*/ 5684 w 12971"/>
                      <a:gd name="connsiteY3-8" fmla="*/ 3536 h 10000"/>
                      <a:gd name="connsiteX4-9" fmla="*/ 2971 w 12971"/>
                      <a:gd name="connsiteY4-10" fmla="*/ 0 h 10000"/>
                      <a:gd name="connsiteX5-11" fmla="*/ 0 w 12971"/>
                      <a:gd name="connsiteY5-12" fmla="*/ 0 h 10000"/>
                      <a:gd name="connsiteX0-13" fmla="*/ 12971 w 12971"/>
                      <a:gd name="connsiteY0-14" fmla="*/ 10000 h 10000"/>
                      <a:gd name="connsiteX1-15" fmla="*/ 8397 w 12971"/>
                      <a:gd name="connsiteY1-16" fmla="*/ 10000 h 10000"/>
                      <a:gd name="connsiteX2-17" fmla="*/ 5684 w 12971"/>
                      <a:gd name="connsiteY2-18" fmla="*/ 6464 h 10000"/>
                      <a:gd name="connsiteX3-19" fmla="*/ 5684 w 12971"/>
                      <a:gd name="connsiteY3-20" fmla="*/ 3536 h 10000"/>
                      <a:gd name="connsiteX4-21" fmla="*/ 2971 w 12971"/>
                      <a:gd name="connsiteY4-22" fmla="*/ 0 h 10000"/>
                      <a:gd name="connsiteX5-23" fmla="*/ 0 w 12971"/>
                      <a:gd name="connsiteY5-24" fmla="*/ 0 h 1000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Lst>
                    <a:rect l="l" t="t" r="r" b="b"/>
                    <a:pathLst>
                      <a:path w="12971" h="10000">
                        <a:moveTo>
                          <a:pt x="12971" y="10000"/>
                        </a:moveTo>
                        <a:lnTo>
                          <a:pt x="8397" y="10000"/>
                        </a:lnTo>
                        <a:cubicBezTo>
                          <a:pt x="6905" y="10000"/>
                          <a:pt x="5684" y="8410"/>
                          <a:pt x="5684" y="6464"/>
                        </a:cubicBezTo>
                        <a:lnTo>
                          <a:pt x="5684" y="3536"/>
                        </a:lnTo>
                        <a:cubicBezTo>
                          <a:pt x="5684" y="1590"/>
                          <a:pt x="4463" y="0"/>
                          <a:pt x="2971" y="0"/>
                        </a:cubicBezTo>
                        <a:lnTo>
                          <a:pt x="0" y="0"/>
                        </a:lnTo>
                      </a:path>
                    </a:pathLst>
                  </a:custGeom>
                  <a:noFill/>
                  <a:ln w="15875" cap="flat">
                    <a:solidFill>
                      <a:schemeClr val="accent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zh-CN" altLang="en-US" dirty="0"/>
                  </a:p>
                </p:txBody>
              </p:sp>
              <p:sp>
                <p:nvSpPr>
                  <p:cNvPr id="73" name="椭圆 72"/>
                  <p:cNvSpPr/>
                  <p:nvPr/>
                </p:nvSpPr>
                <p:spPr>
                  <a:xfrm>
                    <a:off x="5494815" y="2625090"/>
                    <a:ext cx="45719" cy="45719"/>
                  </a:xfrm>
                  <a:prstGeom prst="ellipse">
                    <a:avLst/>
                  </a:prstGeom>
                  <a:solidFill>
                    <a:schemeClr val="accent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69" name="组合 68"/>
                <p:cNvGrpSpPr/>
                <p:nvPr/>
              </p:nvGrpSpPr>
              <p:grpSpPr>
                <a:xfrm flipV="1">
                  <a:off x="3573206" y="3646894"/>
                  <a:ext cx="1967328" cy="1023988"/>
                  <a:chOff x="3573206" y="2625090"/>
                  <a:chExt cx="1967328" cy="1023988"/>
                </a:xfrm>
              </p:grpSpPr>
              <p:sp>
                <p:nvSpPr>
                  <p:cNvPr id="70" name="任意多边形: 形状 69"/>
                  <p:cNvSpPr/>
                  <p:nvPr/>
                </p:nvSpPr>
                <p:spPr bwMode="auto">
                  <a:xfrm flipV="1">
                    <a:off x="3573206" y="2647949"/>
                    <a:ext cx="1952625" cy="1001129"/>
                  </a:xfrm>
                  <a:custGeom>
                    <a:avLst/>
                    <a:gdLst>
                      <a:gd name="T0" fmla="*/ 516 w 516"/>
                      <a:gd name="T1" fmla="*/ 478 h 478"/>
                      <a:gd name="T2" fmla="*/ 280 w 516"/>
                      <a:gd name="T3" fmla="*/ 478 h 478"/>
                      <a:gd name="T4" fmla="*/ 140 w 516"/>
                      <a:gd name="T5" fmla="*/ 309 h 478"/>
                      <a:gd name="T6" fmla="*/ 140 w 516"/>
                      <a:gd name="T7" fmla="*/ 169 h 478"/>
                      <a:gd name="T8" fmla="*/ 0 w 516"/>
                      <a:gd name="T9" fmla="*/ 0 h 478"/>
                      <a:gd name="T10" fmla="*/ 0 w 516"/>
                      <a:gd name="T11" fmla="*/ 0 h 478"/>
                      <a:gd name="connsiteX0" fmla="*/ 12971 w 12971"/>
                      <a:gd name="connsiteY0" fmla="*/ 10000 h 10000"/>
                      <a:gd name="connsiteX1" fmla="*/ 8397 w 12971"/>
                      <a:gd name="connsiteY1" fmla="*/ 10000 h 10000"/>
                      <a:gd name="connsiteX2" fmla="*/ 5684 w 12971"/>
                      <a:gd name="connsiteY2" fmla="*/ 6464 h 10000"/>
                      <a:gd name="connsiteX3" fmla="*/ 5684 w 12971"/>
                      <a:gd name="connsiteY3" fmla="*/ 3536 h 10000"/>
                      <a:gd name="connsiteX4" fmla="*/ 2971 w 12971"/>
                      <a:gd name="connsiteY4" fmla="*/ 0 h 10000"/>
                      <a:gd name="connsiteX5" fmla="*/ 0 w 12971"/>
                      <a:gd name="connsiteY5" fmla="*/ 0 h 10000"/>
                      <a:gd name="connsiteX0-1" fmla="*/ 12971 w 12971"/>
                      <a:gd name="connsiteY0-2" fmla="*/ 10000 h 10000"/>
                      <a:gd name="connsiteX1-3" fmla="*/ 8397 w 12971"/>
                      <a:gd name="connsiteY1-4" fmla="*/ 10000 h 10000"/>
                      <a:gd name="connsiteX2-5" fmla="*/ 5684 w 12971"/>
                      <a:gd name="connsiteY2-6" fmla="*/ 6464 h 10000"/>
                      <a:gd name="connsiteX3-7" fmla="*/ 5684 w 12971"/>
                      <a:gd name="connsiteY3-8" fmla="*/ 3536 h 10000"/>
                      <a:gd name="connsiteX4-9" fmla="*/ 2971 w 12971"/>
                      <a:gd name="connsiteY4-10" fmla="*/ 0 h 10000"/>
                      <a:gd name="connsiteX5-11" fmla="*/ 0 w 12971"/>
                      <a:gd name="connsiteY5-12" fmla="*/ 0 h 10000"/>
                      <a:gd name="connsiteX0-13" fmla="*/ 12971 w 12971"/>
                      <a:gd name="connsiteY0-14" fmla="*/ 10000 h 10000"/>
                      <a:gd name="connsiteX1-15" fmla="*/ 8397 w 12971"/>
                      <a:gd name="connsiteY1-16" fmla="*/ 10000 h 10000"/>
                      <a:gd name="connsiteX2-17" fmla="*/ 5684 w 12971"/>
                      <a:gd name="connsiteY2-18" fmla="*/ 6464 h 10000"/>
                      <a:gd name="connsiteX3-19" fmla="*/ 5684 w 12971"/>
                      <a:gd name="connsiteY3-20" fmla="*/ 3536 h 10000"/>
                      <a:gd name="connsiteX4-21" fmla="*/ 2971 w 12971"/>
                      <a:gd name="connsiteY4-22" fmla="*/ 0 h 10000"/>
                      <a:gd name="connsiteX5-23" fmla="*/ 0 w 12971"/>
                      <a:gd name="connsiteY5-24" fmla="*/ 0 h 1000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Lst>
                    <a:rect l="l" t="t" r="r" b="b"/>
                    <a:pathLst>
                      <a:path w="12971" h="10000">
                        <a:moveTo>
                          <a:pt x="12971" y="10000"/>
                        </a:moveTo>
                        <a:lnTo>
                          <a:pt x="8397" y="10000"/>
                        </a:lnTo>
                        <a:cubicBezTo>
                          <a:pt x="6905" y="10000"/>
                          <a:pt x="5684" y="8410"/>
                          <a:pt x="5684" y="6464"/>
                        </a:cubicBezTo>
                        <a:lnTo>
                          <a:pt x="5684" y="3536"/>
                        </a:lnTo>
                        <a:cubicBezTo>
                          <a:pt x="5684" y="1590"/>
                          <a:pt x="4463" y="0"/>
                          <a:pt x="2971" y="0"/>
                        </a:cubicBezTo>
                        <a:lnTo>
                          <a:pt x="0" y="0"/>
                        </a:lnTo>
                      </a:path>
                    </a:pathLst>
                  </a:custGeom>
                  <a:noFill/>
                  <a:ln w="15875" cap="flat">
                    <a:solidFill>
                      <a:schemeClr val="accent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zh-CN" altLang="en-US" dirty="0"/>
                  </a:p>
                </p:txBody>
              </p:sp>
              <p:sp>
                <p:nvSpPr>
                  <p:cNvPr id="71" name="椭圆 70"/>
                  <p:cNvSpPr/>
                  <p:nvPr/>
                </p:nvSpPr>
                <p:spPr>
                  <a:xfrm>
                    <a:off x="5494815" y="2625090"/>
                    <a:ext cx="45719" cy="45719"/>
                  </a:xfrm>
                  <a:prstGeom prst="ellipse">
                    <a:avLst/>
                  </a:prstGeom>
                  <a:solidFill>
                    <a:schemeClr val="accent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grpSp>
        <p:sp>
          <p:nvSpPr>
            <p:cNvPr id="2" name="矩形: 圆角 1"/>
            <p:cNvSpPr/>
            <p:nvPr/>
          </p:nvSpPr>
          <p:spPr>
            <a:xfrm>
              <a:off x="5701866" y="1343236"/>
              <a:ext cx="1737915" cy="726634"/>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b="1" dirty="0">
                  <a:solidFill>
                    <a:srgbClr val="FFFFFF"/>
                  </a:solidFill>
                  <a:latin typeface="Arial" panose="020B0604020202090204" pitchFamily="34" charset="0"/>
                  <a:ea typeface="华文楷体" panose="02010600040101010101" pitchFamily="2" charset="-122"/>
                </a:rPr>
                <a:t>Click to add text</a:t>
              </a:r>
              <a:endParaRPr lang="en-US" altLang="zh-CN" sz="1400" b="1" dirty="0">
                <a:solidFill>
                  <a:srgbClr val="FFFFFF"/>
                </a:solidFill>
                <a:latin typeface="Arial" panose="020B0604020202090204" pitchFamily="34" charset="0"/>
                <a:ea typeface="华文楷体" panose="02010600040101010101" pitchFamily="2" charset="-122"/>
              </a:endParaRPr>
            </a:p>
          </p:txBody>
        </p:sp>
        <p:sp>
          <p:nvSpPr>
            <p:cNvPr id="3" name="矩形: 圆角 2"/>
            <p:cNvSpPr/>
            <p:nvPr/>
          </p:nvSpPr>
          <p:spPr>
            <a:xfrm>
              <a:off x="7754808" y="1333769"/>
              <a:ext cx="1737915" cy="726634"/>
            </a:xfrm>
            <a:prstGeom prst="roundRect">
              <a:avLst/>
            </a:prstGeom>
            <a:solidFill>
              <a:schemeClr val="accent2">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chorCtr="0">
              <a:noAutofit/>
            </a:bodyPr>
            <a:lstStyle/>
            <a:p>
              <a:pPr algn="ctr">
                <a:lnSpc>
                  <a:spcPct val="130000"/>
                </a:lnSpc>
              </a:pPr>
              <a:r>
                <a:rPr lang="en-US" altLang="zh-CN" sz="1200" b="1" dirty="0">
                  <a:solidFill>
                    <a:schemeClr val="tx1"/>
                  </a:solidFill>
                  <a:latin typeface="Arial" panose="020B0604020202090204" pitchFamily="34" charset="0"/>
                  <a:ea typeface="华文楷体" panose="02010600040101010101" pitchFamily="2" charset="-122"/>
                </a:rPr>
                <a:t>Click to add text</a:t>
              </a:r>
              <a:endParaRPr lang="en-US" altLang="zh-CN" sz="1200" b="1" dirty="0">
                <a:solidFill>
                  <a:schemeClr val="tx1"/>
                </a:solidFill>
                <a:latin typeface="Arial" panose="020B0604020202090204" pitchFamily="34" charset="0"/>
                <a:ea typeface="华文楷体" panose="02010600040101010101" pitchFamily="2" charset="-122"/>
              </a:endParaRPr>
            </a:p>
          </p:txBody>
        </p:sp>
        <p:sp>
          <p:nvSpPr>
            <p:cNvPr id="4" name="矩形: 圆角 3"/>
            <p:cNvSpPr/>
            <p:nvPr/>
          </p:nvSpPr>
          <p:spPr>
            <a:xfrm>
              <a:off x="9780985" y="1329886"/>
              <a:ext cx="1737915" cy="726634"/>
            </a:xfrm>
            <a:prstGeom prst="roundRect">
              <a:avLst/>
            </a:prstGeom>
            <a:solidFill>
              <a:schemeClr val="accent2">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chorCtr="0">
              <a:noAutofit/>
            </a:bodyPr>
            <a:lstStyle/>
            <a:p>
              <a:pPr algn="ctr">
                <a:lnSpc>
                  <a:spcPct val="130000"/>
                </a:lnSpc>
              </a:pPr>
              <a:r>
                <a:rPr lang="en-US" altLang="zh-CN" sz="1200" b="1" dirty="0">
                  <a:solidFill>
                    <a:schemeClr val="tx1"/>
                  </a:solidFill>
                  <a:latin typeface="Arial" panose="020B0604020202090204" pitchFamily="34" charset="0"/>
                  <a:ea typeface="华文楷体" panose="02010600040101010101" pitchFamily="2" charset="-122"/>
                </a:rPr>
                <a:t>Click to add text</a:t>
              </a:r>
              <a:endParaRPr lang="en-US" altLang="zh-CN" sz="1200" b="1" dirty="0">
                <a:solidFill>
                  <a:schemeClr val="tx1"/>
                </a:solidFill>
                <a:latin typeface="Arial" panose="020B0604020202090204" pitchFamily="34" charset="0"/>
                <a:ea typeface="华文楷体" panose="02010600040101010101" pitchFamily="2" charset="-122"/>
              </a:endParaRPr>
            </a:p>
          </p:txBody>
        </p:sp>
        <p:sp>
          <p:nvSpPr>
            <p:cNvPr id="18" name="矩形: 圆角 17"/>
            <p:cNvSpPr/>
            <p:nvPr/>
          </p:nvSpPr>
          <p:spPr>
            <a:xfrm>
              <a:off x="5689896" y="2390965"/>
              <a:ext cx="1737915" cy="726634"/>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b="1" dirty="0">
                  <a:solidFill>
                    <a:srgbClr val="FFFFFF"/>
                  </a:solidFill>
                  <a:latin typeface="Arial" panose="020B0604020202090204" pitchFamily="34" charset="0"/>
                  <a:ea typeface="华文楷体" panose="02010600040101010101" pitchFamily="2" charset="-122"/>
                </a:rPr>
                <a:t>Click to add text</a:t>
              </a:r>
              <a:endParaRPr lang="en-US" altLang="zh-CN" sz="1400" b="1" dirty="0">
                <a:solidFill>
                  <a:srgbClr val="FFFFFF"/>
                </a:solidFill>
                <a:latin typeface="Arial" panose="020B0604020202090204" pitchFamily="34" charset="0"/>
                <a:ea typeface="华文楷体" panose="02010600040101010101" pitchFamily="2" charset="-122"/>
              </a:endParaRPr>
            </a:p>
          </p:txBody>
        </p:sp>
        <p:sp>
          <p:nvSpPr>
            <p:cNvPr id="19" name="矩形: 圆角 18"/>
            <p:cNvSpPr/>
            <p:nvPr/>
          </p:nvSpPr>
          <p:spPr>
            <a:xfrm>
              <a:off x="7754808" y="2371836"/>
              <a:ext cx="1737915" cy="726634"/>
            </a:xfrm>
            <a:prstGeom prst="round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chorCtr="0">
              <a:noAutofit/>
            </a:bodyPr>
            <a:lstStyle/>
            <a:p>
              <a:pPr algn="ctr">
                <a:lnSpc>
                  <a:spcPct val="130000"/>
                </a:lnSpc>
              </a:pPr>
              <a:r>
                <a:rPr lang="en-US" altLang="zh-CN" sz="1200" b="1" dirty="0">
                  <a:solidFill>
                    <a:schemeClr val="tx1"/>
                  </a:solidFill>
                  <a:latin typeface="Arial" panose="020B0604020202090204" pitchFamily="34" charset="0"/>
                  <a:ea typeface="华文楷体" panose="02010600040101010101" pitchFamily="2" charset="-122"/>
                </a:rPr>
                <a:t>Click to add text</a:t>
              </a:r>
              <a:endParaRPr lang="en-US" altLang="zh-CN" sz="1200" b="1" dirty="0">
                <a:solidFill>
                  <a:schemeClr val="tx1"/>
                </a:solidFill>
                <a:latin typeface="Arial" panose="020B0604020202090204" pitchFamily="34" charset="0"/>
                <a:ea typeface="华文楷体" panose="02010600040101010101" pitchFamily="2" charset="-122"/>
              </a:endParaRPr>
            </a:p>
          </p:txBody>
        </p:sp>
        <p:sp>
          <p:nvSpPr>
            <p:cNvPr id="29" name="矩形: 圆角 28"/>
            <p:cNvSpPr/>
            <p:nvPr/>
          </p:nvSpPr>
          <p:spPr>
            <a:xfrm>
              <a:off x="5689896" y="5131768"/>
              <a:ext cx="1737915" cy="726634"/>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b="1" dirty="0">
                  <a:solidFill>
                    <a:srgbClr val="FFFFFF"/>
                  </a:solidFill>
                  <a:latin typeface="Arial" panose="020B0604020202090204" pitchFamily="34" charset="0"/>
                  <a:ea typeface="华文楷体" panose="02010600040101010101" pitchFamily="2" charset="-122"/>
                </a:rPr>
                <a:t>Click to add text</a:t>
              </a:r>
              <a:endParaRPr lang="en-US" altLang="zh-CN" sz="1400" b="1" dirty="0">
                <a:solidFill>
                  <a:srgbClr val="FFFFFF"/>
                </a:solidFill>
                <a:latin typeface="Arial" panose="020B0604020202090204" pitchFamily="34" charset="0"/>
                <a:ea typeface="华文楷体" panose="02010600040101010101" pitchFamily="2" charset="-122"/>
              </a:endParaRPr>
            </a:p>
          </p:txBody>
        </p:sp>
        <p:sp>
          <p:nvSpPr>
            <p:cNvPr id="30" name="矩形: 圆角 29"/>
            <p:cNvSpPr/>
            <p:nvPr/>
          </p:nvSpPr>
          <p:spPr>
            <a:xfrm>
              <a:off x="7754807" y="5131768"/>
              <a:ext cx="1737915" cy="726634"/>
            </a:xfrm>
            <a:prstGeom prst="round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chorCtr="0">
              <a:noAutofit/>
            </a:bodyPr>
            <a:lstStyle/>
            <a:p>
              <a:pPr algn="ctr">
                <a:lnSpc>
                  <a:spcPct val="130000"/>
                </a:lnSpc>
              </a:pPr>
              <a:r>
                <a:rPr lang="en-US" altLang="zh-CN" sz="1200" b="1">
                  <a:solidFill>
                    <a:schemeClr val="tx1"/>
                  </a:solidFill>
                  <a:latin typeface="Arial" panose="020B0604020202090204" pitchFamily="34" charset="0"/>
                  <a:ea typeface="华文楷体" panose="02010600040101010101" pitchFamily="2" charset="-122"/>
                </a:rPr>
                <a:t>Click to add text</a:t>
              </a:r>
              <a:endParaRPr lang="en-US" altLang="zh-CN" sz="1200" b="1" dirty="0">
                <a:solidFill>
                  <a:schemeClr val="tx1"/>
                </a:solidFill>
                <a:latin typeface="Arial" panose="020B0604020202090204" pitchFamily="34" charset="0"/>
                <a:ea typeface="华文楷体" panose="02010600040101010101" pitchFamily="2" charset="-122"/>
              </a:endParaRPr>
            </a:p>
          </p:txBody>
        </p:sp>
        <p:sp>
          <p:nvSpPr>
            <p:cNvPr id="31" name="矩形: 圆角 30"/>
            <p:cNvSpPr/>
            <p:nvPr/>
          </p:nvSpPr>
          <p:spPr>
            <a:xfrm>
              <a:off x="9780984" y="5131768"/>
              <a:ext cx="1737915" cy="726634"/>
            </a:xfrm>
            <a:prstGeom prst="round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chorCtr="0">
              <a:noAutofit/>
            </a:bodyPr>
            <a:lstStyle/>
            <a:p>
              <a:pPr algn="ctr">
                <a:lnSpc>
                  <a:spcPct val="130000"/>
                </a:lnSpc>
              </a:pPr>
              <a:r>
                <a:rPr lang="en-US" altLang="zh-CN" sz="1200" b="1" dirty="0">
                  <a:solidFill>
                    <a:schemeClr val="tx1"/>
                  </a:solidFill>
                  <a:latin typeface="Arial" panose="020B0604020202090204" pitchFamily="34" charset="0"/>
                  <a:ea typeface="华文楷体" panose="02010600040101010101" pitchFamily="2" charset="-122"/>
                </a:rPr>
                <a:t>Click to add text</a:t>
              </a:r>
              <a:endParaRPr lang="en-US" altLang="zh-CN" sz="1200" b="1" dirty="0">
                <a:solidFill>
                  <a:schemeClr val="tx1"/>
                </a:solidFill>
                <a:latin typeface="Arial" panose="020B0604020202090204" pitchFamily="34" charset="0"/>
                <a:ea typeface="华文楷体" panose="02010600040101010101" pitchFamily="2" charset="-122"/>
              </a:endParaRPr>
            </a:p>
          </p:txBody>
        </p:sp>
        <p:sp>
          <p:nvSpPr>
            <p:cNvPr id="45" name="矩形: 圆角 44"/>
            <p:cNvSpPr/>
            <p:nvPr/>
          </p:nvSpPr>
          <p:spPr>
            <a:xfrm>
              <a:off x="5689896" y="3886743"/>
              <a:ext cx="1737915" cy="726634"/>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b="1" dirty="0">
                  <a:solidFill>
                    <a:srgbClr val="FFFFFF"/>
                  </a:solidFill>
                  <a:latin typeface="Arial" panose="020B0604020202090204" pitchFamily="34" charset="0"/>
                  <a:ea typeface="华文楷体" panose="02010600040101010101" pitchFamily="2" charset="-122"/>
                </a:rPr>
                <a:t>Click to add text</a:t>
              </a:r>
              <a:endParaRPr lang="en-US" altLang="zh-CN" sz="1400" b="1" dirty="0">
                <a:solidFill>
                  <a:srgbClr val="FFFFFF"/>
                </a:solidFill>
                <a:latin typeface="Arial" panose="020B0604020202090204" pitchFamily="34" charset="0"/>
                <a:ea typeface="华文楷体" panose="02010600040101010101" pitchFamily="2" charset="-122"/>
              </a:endParaRPr>
            </a:p>
          </p:txBody>
        </p:sp>
        <p:sp>
          <p:nvSpPr>
            <p:cNvPr id="46" name="矩形: 圆角 45"/>
            <p:cNvSpPr/>
            <p:nvPr/>
          </p:nvSpPr>
          <p:spPr>
            <a:xfrm>
              <a:off x="7754808" y="3886743"/>
              <a:ext cx="1737915" cy="726634"/>
            </a:xfrm>
            <a:prstGeom prst="roundRect">
              <a:avLst/>
            </a:prstGeom>
            <a:solidFill>
              <a:schemeClr val="accent2">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chorCtr="0">
              <a:noAutofit/>
            </a:bodyPr>
            <a:lstStyle/>
            <a:p>
              <a:pPr algn="ctr">
                <a:lnSpc>
                  <a:spcPct val="130000"/>
                </a:lnSpc>
              </a:pPr>
              <a:r>
                <a:rPr lang="en-US" altLang="zh-CN" sz="1200" b="1" dirty="0">
                  <a:solidFill>
                    <a:schemeClr val="tx1"/>
                  </a:solidFill>
                  <a:latin typeface="Arial" panose="020B0604020202090204" pitchFamily="34" charset="0"/>
                  <a:ea typeface="华文楷体" panose="02010600040101010101" pitchFamily="2" charset="-122"/>
                </a:rPr>
                <a:t>Click to add text</a:t>
              </a:r>
              <a:endParaRPr lang="en-US" altLang="zh-CN" sz="1200" b="1" dirty="0">
                <a:solidFill>
                  <a:schemeClr val="tx1"/>
                </a:solidFill>
                <a:latin typeface="Arial" panose="020B0604020202090204" pitchFamily="34" charset="0"/>
                <a:ea typeface="华文楷体" panose="02010600040101010101" pitchFamily="2" charset="-122"/>
              </a:endParaRPr>
            </a:p>
          </p:txBody>
        </p:sp>
        <p:grpSp>
          <p:nvGrpSpPr>
            <p:cNvPr id="118" name="组合 117"/>
            <p:cNvGrpSpPr/>
            <p:nvPr/>
          </p:nvGrpSpPr>
          <p:grpSpPr>
            <a:xfrm>
              <a:off x="7491897" y="1683689"/>
              <a:ext cx="216544" cy="3834260"/>
              <a:chOff x="7259526" y="2009389"/>
              <a:chExt cx="628104" cy="3834260"/>
            </a:xfrm>
          </p:grpSpPr>
          <p:cxnSp>
            <p:nvCxnSpPr>
              <p:cNvPr id="16" name="直接连接符 15"/>
              <p:cNvCxnSpPr/>
              <p:nvPr/>
            </p:nvCxnSpPr>
            <p:spPr>
              <a:xfrm>
                <a:off x="7261365" y="2009389"/>
                <a:ext cx="626265"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p:nvPr/>
            </p:nvCxnSpPr>
            <p:spPr>
              <a:xfrm>
                <a:off x="7259526" y="2990646"/>
                <a:ext cx="626265"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p:nvPr/>
            </p:nvCxnSpPr>
            <p:spPr>
              <a:xfrm>
                <a:off x="7259526" y="5843649"/>
                <a:ext cx="626265"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5" name="直接连接符 54"/>
              <p:cNvCxnSpPr/>
              <p:nvPr/>
            </p:nvCxnSpPr>
            <p:spPr>
              <a:xfrm>
                <a:off x="7259526" y="4486424"/>
                <a:ext cx="626265"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56" name="椭圆 55"/>
            <p:cNvSpPr/>
            <p:nvPr/>
          </p:nvSpPr>
          <p:spPr>
            <a:xfrm>
              <a:off x="403377" y="1910926"/>
              <a:ext cx="3384852" cy="3384852"/>
            </a:xfrm>
            <a:prstGeom prst="ellipse">
              <a:avLst/>
            </a:pr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t> </a:t>
              </a:r>
              <a:endParaRPr lang="zh-CN" altLang="en-US" dirty="0"/>
            </a:p>
          </p:txBody>
        </p:sp>
        <p:sp>
          <p:nvSpPr>
            <p:cNvPr id="57" name="椭圆 56"/>
            <p:cNvSpPr/>
            <p:nvPr/>
          </p:nvSpPr>
          <p:spPr>
            <a:xfrm>
              <a:off x="634195" y="2141744"/>
              <a:ext cx="2923216" cy="2923216"/>
            </a:xfrm>
            <a:prstGeom prst="ellipse">
              <a:avLst/>
            </a:prstGeom>
            <a:solidFill>
              <a:schemeClr val="accent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t> </a:t>
              </a:r>
              <a:endParaRPr lang="zh-CN" altLang="en-US" dirty="0"/>
            </a:p>
          </p:txBody>
        </p:sp>
        <p:sp>
          <p:nvSpPr>
            <p:cNvPr id="58" name="椭圆 57"/>
            <p:cNvSpPr/>
            <p:nvPr/>
          </p:nvSpPr>
          <p:spPr>
            <a:xfrm>
              <a:off x="867078" y="2374627"/>
              <a:ext cx="2457450" cy="24574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t> </a:t>
              </a:r>
              <a:endParaRPr lang="zh-CN" altLang="en-US" dirty="0"/>
            </a:p>
          </p:txBody>
        </p:sp>
        <p:sp>
          <p:nvSpPr>
            <p:cNvPr id="60" name="文本框 59"/>
            <p:cNvSpPr txBox="1"/>
            <p:nvPr/>
          </p:nvSpPr>
          <p:spPr>
            <a:xfrm>
              <a:off x="930780" y="3273836"/>
              <a:ext cx="2330047" cy="646331"/>
            </a:xfrm>
            <a:prstGeom prst="rect">
              <a:avLst/>
            </a:prstGeom>
            <a:noFill/>
          </p:spPr>
          <p:txBody>
            <a:bodyPr wrap="square">
              <a:spAutoFit/>
            </a:bodyPr>
            <a:lstStyle/>
            <a:p>
              <a:pPr algn="ctr">
                <a:buSzPct val="25000"/>
              </a:pPr>
              <a:r>
                <a:rPr lang="en-US" altLang="zh-CN" b="1" dirty="0">
                  <a:latin typeface="Arial" panose="020B0604020202090204" pitchFamily="34" charset="0"/>
                  <a:ea typeface="华文楷体" panose="02010600040101010101" pitchFamily="2" charset="-122"/>
                </a:rPr>
                <a:t>Unified fonts make reading more fluent.</a:t>
              </a:r>
              <a:endParaRPr lang="en-US" altLang="zh-CN" b="1" dirty="0">
                <a:latin typeface="Arial" panose="020B0604020202090204" pitchFamily="34" charset="0"/>
                <a:ea typeface="华文楷体" panose="02010600040101010101" pitchFamily="2" charset="-122"/>
              </a:endParaRPr>
            </a:p>
          </p:txBody>
        </p:sp>
        <p:grpSp>
          <p:nvGrpSpPr>
            <p:cNvPr id="125" name="组合 124"/>
            <p:cNvGrpSpPr/>
            <p:nvPr/>
          </p:nvGrpSpPr>
          <p:grpSpPr>
            <a:xfrm>
              <a:off x="9512958" y="1686222"/>
              <a:ext cx="216544" cy="3834260"/>
              <a:chOff x="9512958" y="1686222"/>
              <a:chExt cx="216544" cy="3834260"/>
            </a:xfrm>
          </p:grpSpPr>
          <p:cxnSp>
            <p:nvCxnSpPr>
              <p:cNvPr id="120" name="直接连接符 119"/>
              <p:cNvCxnSpPr/>
              <p:nvPr/>
            </p:nvCxnSpPr>
            <p:spPr>
              <a:xfrm>
                <a:off x="9513592" y="1686222"/>
                <a:ext cx="21591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22" name="直接连接符 121"/>
              <p:cNvCxnSpPr/>
              <p:nvPr/>
            </p:nvCxnSpPr>
            <p:spPr>
              <a:xfrm>
                <a:off x="9512958" y="5520482"/>
                <a:ext cx="21591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grpSp>
    </p:spTree>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组合 12"/>
          <p:cNvGrpSpPr/>
          <p:nvPr/>
        </p:nvGrpSpPr>
        <p:grpSpPr>
          <a:xfrm>
            <a:off x="660400" y="1112200"/>
            <a:ext cx="10966998" cy="5040000"/>
            <a:chOff x="660400" y="1112200"/>
            <a:chExt cx="10966998" cy="5040000"/>
          </a:xfrm>
        </p:grpSpPr>
        <p:sp>
          <p:nvSpPr>
            <p:cNvPr id="2" name="Title"/>
            <p:cNvSpPr txBox="1"/>
            <p:nvPr/>
          </p:nvSpPr>
          <p:spPr>
            <a:xfrm>
              <a:off x="660400" y="1130300"/>
              <a:ext cx="10858500" cy="523220"/>
            </a:xfrm>
            <a:prstGeom prst="rect">
              <a:avLst/>
            </a:prstGeom>
            <a:noFill/>
          </p:spPr>
          <p:txBody>
            <a:bodyPr wrap="square" lIns="91440" tIns="45720" rIns="91440" bIns="45720" rtlCol="0" anchor="t" anchorCtr="0">
              <a:normAutofit/>
            </a:bodyPr>
            <a:lstStyle>
              <a:defPPr>
                <a:defRPr lang="zh-CN"/>
              </a:defPPr>
              <a:lvl1pPr>
                <a:defRPr sz="3200" spc="300">
                  <a:gradFill>
                    <a:gsLst>
                      <a:gs pos="0">
                        <a:schemeClr val="bg1"/>
                      </a:gs>
                      <a:gs pos="100000">
                        <a:schemeClr val="accent4"/>
                      </a:gs>
                    </a:gsLst>
                    <a:lin ang="2700000" scaled="0"/>
                  </a:gradFill>
                  <a:latin typeface="+mj-ea"/>
                  <a:ea typeface="+mj-ea"/>
                </a:defRPr>
              </a:lvl1pPr>
            </a:lstStyle>
            <a:p>
              <a:pPr marL="0" marR="0" lvl="0" indent="0" algn="ctr" defTabSz="914400" rtl="0" eaLnBrk="1" fontAlgn="auto" latinLnBrk="0" hangingPunct="1">
                <a:spcBef>
                  <a:spcPts val="0"/>
                </a:spcBef>
                <a:spcAft>
                  <a:spcPts val="1000"/>
                </a:spcAft>
                <a:buClrTx/>
                <a:buSzTx/>
                <a:buFontTx/>
                <a:buNone/>
                <a:defRPr/>
              </a:pPr>
              <a:r>
                <a:rPr kumimoji="0" lang="en-US" altLang="zh-CN" sz="2400" b="1" i="0" u="none" strike="noStrike" kern="1200" cap="none" spc="0" normalizeH="0" baseline="0" noProof="0">
                  <a:ln>
                    <a:noFill/>
                  </a:ln>
                  <a:solidFill>
                    <a:schemeClr val="tx1"/>
                  </a:solidFill>
                  <a:effectLst/>
                  <a:uLnTx/>
                  <a:uFillTx/>
                  <a:latin typeface="Arial" panose="020B0604020202090204" pitchFamily="34" charset="0"/>
                  <a:ea typeface="华文楷体" panose="02010600040101010101" pitchFamily="2" charset="-122"/>
                  <a:cs typeface="+mn-ea"/>
                  <a:sym typeface="+mn-lt"/>
                </a:rPr>
                <a:t>Unified fonts make reading more fluent</a:t>
              </a:r>
              <a:endParaRPr kumimoji="0" lang="zh-CN" altLang="en-US" sz="2400" b="1" i="0" u="none" strike="noStrike" kern="1200" cap="none" spc="0" normalizeH="0" baseline="0" noProof="0" dirty="0">
                <a:ln>
                  <a:noFill/>
                </a:ln>
                <a:solidFill>
                  <a:schemeClr val="tx1"/>
                </a:solidFill>
                <a:effectLst/>
                <a:uLnTx/>
                <a:uFillTx/>
                <a:latin typeface="Arial" panose="020B0604020202090204" pitchFamily="34" charset="0"/>
                <a:ea typeface="华文楷体" panose="02010600040101010101" pitchFamily="2" charset="-122"/>
                <a:cs typeface="+mn-ea"/>
                <a:sym typeface="+mn-lt"/>
              </a:endParaRPr>
            </a:p>
          </p:txBody>
        </p:sp>
        <p:grpSp>
          <p:nvGrpSpPr>
            <p:cNvPr id="3" name="组合 2"/>
            <p:cNvGrpSpPr/>
            <p:nvPr/>
          </p:nvGrpSpPr>
          <p:grpSpPr>
            <a:xfrm>
              <a:off x="830973" y="1112200"/>
              <a:ext cx="10796425" cy="5040000"/>
              <a:chOff x="830973" y="1112200"/>
              <a:chExt cx="10796425" cy="5040000"/>
            </a:xfrm>
          </p:grpSpPr>
          <p:sp>
            <p:nvSpPr>
              <p:cNvPr id="60" name="islide-1"/>
              <p:cNvSpPr/>
              <p:nvPr/>
            </p:nvSpPr>
            <p:spPr>
              <a:xfrm>
                <a:off x="5447110" y="1112200"/>
                <a:ext cx="2880000" cy="504000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61" name="islide-2"/>
              <p:cNvSpPr/>
              <p:nvPr/>
            </p:nvSpPr>
            <p:spPr>
              <a:xfrm>
                <a:off x="9107398" y="1814100"/>
                <a:ext cx="2520000" cy="432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66" name="islide-3"/>
              <p:cNvSpPr/>
              <p:nvPr/>
            </p:nvSpPr>
            <p:spPr>
              <a:xfrm>
                <a:off x="9107398" y="1994100"/>
                <a:ext cx="2520000" cy="3960000"/>
              </a:xfrm>
              <a:prstGeom prst="ellipse">
                <a:avLst/>
              </a:prstGeom>
              <a:gradFill flip="none" rotWithShape="0">
                <a:gsLst>
                  <a:gs pos="0">
                    <a:schemeClr val="accent1">
                      <a:alpha val="20000"/>
                    </a:schemeClr>
                  </a:gs>
                  <a:gs pos="75000">
                    <a:schemeClr val="accent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67" name="islide-4"/>
              <p:cNvSpPr/>
              <p:nvPr/>
            </p:nvSpPr>
            <p:spPr>
              <a:xfrm>
                <a:off x="9107398" y="1814100"/>
                <a:ext cx="2520000" cy="4320000"/>
              </a:xfrm>
              <a:prstGeom prst="ellipse">
                <a:avLst/>
              </a:prstGeom>
              <a:noFill/>
              <a:ln w="19050">
                <a:gradFill flip="none" rotWithShape="1">
                  <a:gsLst>
                    <a:gs pos="0">
                      <a:schemeClr val="accent1">
                        <a:alpha val="90000"/>
                      </a:schemeClr>
                    </a:gs>
                    <a:gs pos="40000">
                      <a:schemeClr val="accent1">
                        <a:alpha val="0"/>
                      </a:schemeClr>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59" name="islide-10"/>
              <p:cNvSpPr/>
              <p:nvPr/>
            </p:nvSpPr>
            <p:spPr>
              <a:xfrm>
                <a:off x="1786823" y="1814100"/>
                <a:ext cx="2520000" cy="432000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62" name="islide-11"/>
              <p:cNvSpPr/>
              <p:nvPr/>
            </p:nvSpPr>
            <p:spPr>
              <a:xfrm>
                <a:off x="1786823" y="1994100"/>
                <a:ext cx="2520000" cy="3960000"/>
              </a:xfrm>
              <a:prstGeom prst="ellipse">
                <a:avLst/>
              </a:prstGeom>
              <a:gradFill flip="none" rotWithShape="0">
                <a:gsLst>
                  <a:gs pos="0">
                    <a:schemeClr val="accent1">
                      <a:alpha val="20000"/>
                    </a:schemeClr>
                  </a:gs>
                  <a:gs pos="75000">
                    <a:schemeClr val="accent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63" name="islide-12"/>
              <p:cNvSpPr/>
              <p:nvPr/>
            </p:nvSpPr>
            <p:spPr>
              <a:xfrm>
                <a:off x="1786823" y="1814100"/>
                <a:ext cx="2520000" cy="4320000"/>
              </a:xfrm>
              <a:prstGeom prst="ellipse">
                <a:avLst/>
              </a:prstGeom>
              <a:noFill/>
              <a:ln w="19050">
                <a:gradFill flip="none" rotWithShape="1">
                  <a:gsLst>
                    <a:gs pos="0">
                      <a:schemeClr val="accent1">
                        <a:alpha val="90000"/>
                      </a:schemeClr>
                    </a:gs>
                    <a:gs pos="40000">
                      <a:schemeClr val="accent1">
                        <a:alpha val="0"/>
                      </a:schemeClr>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84" name="NumberMisc1"/>
              <p:cNvSpPr/>
              <p:nvPr/>
            </p:nvSpPr>
            <p:spPr>
              <a:xfrm>
                <a:off x="830973" y="3651250"/>
                <a:ext cx="1458854" cy="723162"/>
              </a:xfrm>
              <a:prstGeom prst="roundRect">
                <a:avLst>
                  <a:gd name="adj" fmla="val 15000"/>
                </a:avLst>
              </a:prstGeom>
              <a:gradFill>
                <a:gsLst>
                  <a:gs pos="0">
                    <a:schemeClr val="accent1">
                      <a:lumMod val="60000"/>
                      <a:lumOff val="40000"/>
                    </a:schemeClr>
                  </a:gs>
                  <a:gs pos="60000">
                    <a:schemeClr val="accent1"/>
                  </a:gs>
                </a:gsLst>
                <a:lin ang="2700000" scaled="0"/>
              </a:gradFill>
              <a:ln w="57150" cap="rnd">
                <a:noFill/>
                <a:prstDash val="solid"/>
                <a:round/>
              </a:ln>
              <a:effectLst>
                <a:outerShdw blurRad="254000" dist="127000" dir="5400000" algn="ctr" rotWithShape="0">
                  <a:schemeClr val="accent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3765"/>
                <a:r>
                  <a:rPr lang="en-US" b="1" dirty="0">
                    <a:solidFill>
                      <a:srgbClr val="FFFFFF"/>
                    </a:solidFill>
                    <a:latin typeface="Arial" panose="020B0604020202090204" pitchFamily="34" charset="0"/>
                    <a:ea typeface="华文楷体" panose="02010600040101010101" pitchFamily="2" charset="-122"/>
                    <a:cs typeface="+mn-ea"/>
                    <a:sym typeface="+mn-lt"/>
                  </a:rPr>
                  <a:t>01</a:t>
                </a:r>
                <a:endParaRPr lang="en-US" b="1" dirty="0">
                  <a:solidFill>
                    <a:srgbClr val="FFFFFF"/>
                  </a:solidFill>
                  <a:latin typeface="Arial" panose="020B0604020202090204" pitchFamily="34" charset="0"/>
                  <a:ea typeface="华文楷体" panose="02010600040101010101" pitchFamily="2" charset="-122"/>
                  <a:cs typeface="+mn-ea"/>
                  <a:sym typeface="+mn-lt"/>
                </a:endParaRPr>
              </a:p>
            </p:txBody>
          </p:sp>
          <p:sp>
            <p:nvSpPr>
              <p:cNvPr id="88" name="NumberMisc3"/>
              <p:cNvSpPr/>
              <p:nvPr/>
            </p:nvSpPr>
            <p:spPr>
              <a:xfrm>
                <a:off x="8151548" y="3651250"/>
                <a:ext cx="1458854" cy="723162"/>
              </a:xfrm>
              <a:prstGeom prst="roundRect">
                <a:avLst>
                  <a:gd name="adj" fmla="val 15000"/>
                </a:avLst>
              </a:prstGeom>
              <a:gradFill>
                <a:gsLst>
                  <a:gs pos="0">
                    <a:schemeClr val="accent1">
                      <a:lumMod val="60000"/>
                      <a:lumOff val="40000"/>
                    </a:schemeClr>
                  </a:gs>
                  <a:gs pos="60000">
                    <a:schemeClr val="accent1"/>
                  </a:gs>
                </a:gsLst>
                <a:lin ang="2700000" scaled="0"/>
              </a:gradFill>
              <a:ln w="57150" cap="rnd">
                <a:noFill/>
                <a:prstDash val="solid"/>
                <a:round/>
              </a:ln>
              <a:effectLst>
                <a:outerShdw blurRad="254000" dist="127000" dir="5400000" algn="ctr" rotWithShape="0">
                  <a:schemeClr val="accent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3765"/>
                <a:r>
                  <a:rPr lang="en-US" b="1" dirty="0">
                    <a:solidFill>
                      <a:srgbClr val="FFFFFF"/>
                    </a:solidFill>
                    <a:latin typeface="Arial" panose="020B0604020202090204" pitchFamily="34" charset="0"/>
                    <a:ea typeface="华文楷体" panose="02010600040101010101" pitchFamily="2" charset="-122"/>
                    <a:cs typeface="+mn-ea"/>
                    <a:sym typeface="+mn-lt"/>
                  </a:rPr>
                  <a:t>03</a:t>
                </a:r>
                <a:endParaRPr lang="en-US" b="1" dirty="0">
                  <a:solidFill>
                    <a:srgbClr val="FFFFFF"/>
                  </a:solidFill>
                  <a:latin typeface="Arial" panose="020B0604020202090204" pitchFamily="34" charset="0"/>
                  <a:ea typeface="华文楷体" panose="02010600040101010101" pitchFamily="2" charset="-122"/>
                  <a:cs typeface="+mn-ea"/>
                  <a:sym typeface="+mn-lt"/>
                </a:endParaRPr>
              </a:p>
            </p:txBody>
          </p:sp>
          <p:sp>
            <p:nvSpPr>
              <p:cNvPr id="4" name="islide-20"/>
              <p:cNvSpPr/>
              <p:nvPr/>
            </p:nvSpPr>
            <p:spPr>
              <a:xfrm>
                <a:off x="5392861" y="1814100"/>
                <a:ext cx="2520000" cy="432000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5" name="islide-21"/>
              <p:cNvSpPr/>
              <p:nvPr/>
            </p:nvSpPr>
            <p:spPr>
              <a:xfrm>
                <a:off x="5392861" y="1994100"/>
                <a:ext cx="2520000" cy="3960000"/>
              </a:xfrm>
              <a:prstGeom prst="ellipse">
                <a:avLst/>
              </a:prstGeom>
              <a:gradFill flip="none" rotWithShape="0">
                <a:gsLst>
                  <a:gs pos="0">
                    <a:schemeClr val="accent1">
                      <a:alpha val="20000"/>
                    </a:schemeClr>
                  </a:gs>
                  <a:gs pos="75000">
                    <a:schemeClr val="accent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6" name="islide-22"/>
              <p:cNvSpPr/>
              <p:nvPr/>
            </p:nvSpPr>
            <p:spPr>
              <a:xfrm>
                <a:off x="5392861" y="1814100"/>
                <a:ext cx="2520000" cy="4320000"/>
              </a:xfrm>
              <a:prstGeom prst="ellipse">
                <a:avLst/>
              </a:prstGeom>
              <a:noFill/>
              <a:ln w="19050">
                <a:gradFill flip="none" rotWithShape="1">
                  <a:gsLst>
                    <a:gs pos="0">
                      <a:schemeClr val="accent1">
                        <a:alpha val="90000"/>
                      </a:schemeClr>
                    </a:gs>
                    <a:gs pos="40000">
                      <a:schemeClr val="accent1">
                        <a:alpha val="0"/>
                      </a:schemeClr>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12" name="NumberMisc2"/>
              <p:cNvSpPr/>
              <p:nvPr/>
            </p:nvSpPr>
            <p:spPr>
              <a:xfrm>
                <a:off x="4437011" y="3651250"/>
                <a:ext cx="1458854" cy="723162"/>
              </a:xfrm>
              <a:prstGeom prst="roundRect">
                <a:avLst>
                  <a:gd name="adj" fmla="val 15000"/>
                </a:avLst>
              </a:prstGeom>
              <a:gradFill>
                <a:gsLst>
                  <a:gs pos="0">
                    <a:schemeClr val="accent1">
                      <a:lumMod val="60000"/>
                      <a:lumOff val="40000"/>
                    </a:schemeClr>
                  </a:gs>
                  <a:gs pos="60000">
                    <a:schemeClr val="accent1"/>
                  </a:gs>
                </a:gsLst>
                <a:lin ang="2700000" scaled="0"/>
              </a:gradFill>
              <a:ln w="57150" cap="rnd">
                <a:noFill/>
                <a:prstDash val="solid"/>
                <a:round/>
              </a:ln>
              <a:effectLst>
                <a:outerShdw blurRad="254000" dist="127000" dir="5400000" algn="ctr" rotWithShape="0">
                  <a:schemeClr val="accent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3765"/>
                <a:r>
                  <a:rPr lang="en-US" b="1" dirty="0">
                    <a:solidFill>
                      <a:srgbClr val="FFFFFF"/>
                    </a:solidFill>
                    <a:latin typeface="Arial" panose="020B0604020202090204" pitchFamily="34" charset="0"/>
                    <a:ea typeface="华文楷体" panose="02010600040101010101" pitchFamily="2" charset="-122"/>
                    <a:cs typeface="+mn-ea"/>
                    <a:sym typeface="+mn-lt"/>
                  </a:rPr>
                  <a:t>02</a:t>
                </a:r>
                <a:endParaRPr lang="en-US" b="1" dirty="0">
                  <a:solidFill>
                    <a:srgbClr val="FFFFFF"/>
                  </a:solidFill>
                  <a:latin typeface="Arial" panose="020B0604020202090204" pitchFamily="34" charset="0"/>
                  <a:ea typeface="华文楷体" panose="02010600040101010101" pitchFamily="2" charset="-122"/>
                  <a:cs typeface="+mn-ea"/>
                  <a:sym typeface="+mn-lt"/>
                </a:endParaRPr>
              </a:p>
            </p:txBody>
          </p:sp>
          <p:sp>
            <p:nvSpPr>
              <p:cNvPr id="68" name="Bullet1"/>
              <p:cNvSpPr/>
              <p:nvPr/>
            </p:nvSpPr>
            <p:spPr>
              <a:xfrm>
                <a:off x="2398325" y="2520177"/>
                <a:ext cx="1800000" cy="424776"/>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p:spPr>
            <p:txBody>
              <a:bodyPr wrap="square" lIns="91440" tIns="45720" rIns="91440" bIns="45720" numCol="1" anchor="ctr">
                <a:normAutofit fontScale="85000" lnSpcReduction="10000"/>
              </a:bodyPr>
              <a:lstStyle>
                <a:lvl1pPr>
                  <a:lnSpc>
                    <a:spcPct val="120000"/>
                  </a:lnSpc>
                  <a:defRPr sz="1600">
                    <a:solidFill>
                      <a:srgbClr val="FFFFFF"/>
                    </a:solidFill>
                    <a:latin typeface="Roboto"/>
                    <a:ea typeface="Roboto"/>
                    <a:cs typeface="Roboto"/>
                    <a:sym typeface="Roboto"/>
                  </a:defRPr>
                </a:lvl1pPr>
              </a:lstStyle>
              <a:p>
                <a:pPr>
                  <a:lnSpc>
                    <a:spcPct val="100000"/>
                  </a:lnSpc>
                </a:pPr>
                <a:r>
                  <a:rPr lang="en-US" altLang="zh-CN" sz="1800" b="1" dirty="0">
                    <a:solidFill>
                      <a:schemeClr val="tx1"/>
                    </a:solidFill>
                    <a:latin typeface="Arial" panose="020B0604020202090204" pitchFamily="34" charset="0"/>
                    <a:ea typeface="华文楷体" panose="02010600040101010101" pitchFamily="2" charset="-122"/>
                    <a:cs typeface="+mn-ea"/>
                    <a:sym typeface="+mn-lt"/>
                  </a:rPr>
                  <a:t>Click to add text</a:t>
                </a:r>
                <a:endParaRPr lang="en-US" altLang="zh-CN" sz="1800" b="1" dirty="0">
                  <a:solidFill>
                    <a:schemeClr val="tx1"/>
                  </a:solidFill>
                  <a:latin typeface="Arial" panose="020B0604020202090204" pitchFamily="34" charset="0"/>
                  <a:ea typeface="华文楷体" panose="02010600040101010101" pitchFamily="2" charset="-122"/>
                  <a:cs typeface="+mn-ea"/>
                  <a:sym typeface="+mn-lt"/>
                </a:endParaRPr>
              </a:p>
            </p:txBody>
          </p:sp>
          <p:sp>
            <p:nvSpPr>
              <p:cNvPr id="69" name="Bullet2"/>
              <p:cNvSpPr/>
              <p:nvPr/>
            </p:nvSpPr>
            <p:spPr>
              <a:xfrm>
                <a:off x="2398325" y="3148394"/>
                <a:ext cx="1800000" cy="424776"/>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p:spPr>
            <p:txBody>
              <a:bodyPr wrap="square" lIns="91440" tIns="45720" rIns="91440" bIns="45720" numCol="1" anchor="ctr">
                <a:normAutofit fontScale="85000" lnSpcReduction="10000"/>
              </a:bodyPr>
              <a:lstStyle>
                <a:lvl1pPr>
                  <a:lnSpc>
                    <a:spcPct val="120000"/>
                  </a:lnSpc>
                  <a:defRPr sz="1600">
                    <a:solidFill>
                      <a:srgbClr val="FFFFFF"/>
                    </a:solidFill>
                    <a:latin typeface="Roboto"/>
                    <a:ea typeface="Roboto"/>
                    <a:cs typeface="Roboto"/>
                    <a:sym typeface="Roboto"/>
                  </a:defRPr>
                </a:lvl1pPr>
              </a:lstStyle>
              <a:p>
                <a:pPr>
                  <a:lnSpc>
                    <a:spcPct val="100000"/>
                  </a:lnSpc>
                </a:pPr>
                <a:r>
                  <a:rPr lang="en-US" altLang="zh-CN" sz="1800" b="1">
                    <a:solidFill>
                      <a:schemeClr val="tx1"/>
                    </a:solidFill>
                    <a:latin typeface="Arial" panose="020B0604020202090204" pitchFamily="34" charset="0"/>
                    <a:ea typeface="华文楷体" panose="02010600040101010101" pitchFamily="2" charset="-122"/>
                    <a:cs typeface="+mn-ea"/>
                    <a:sym typeface="+mn-lt"/>
                  </a:rPr>
                  <a:t>Click to add text</a:t>
                </a:r>
                <a:endParaRPr lang="en-US" altLang="zh-CN" sz="1800" b="1" dirty="0">
                  <a:solidFill>
                    <a:schemeClr val="tx1"/>
                  </a:solidFill>
                  <a:latin typeface="Arial" panose="020B0604020202090204" pitchFamily="34" charset="0"/>
                  <a:ea typeface="华文楷体" panose="02010600040101010101" pitchFamily="2" charset="-122"/>
                  <a:cs typeface="+mn-ea"/>
                  <a:sym typeface="+mn-lt"/>
                </a:endParaRPr>
              </a:p>
            </p:txBody>
          </p:sp>
          <p:sp>
            <p:nvSpPr>
              <p:cNvPr id="70" name="Bullet3"/>
              <p:cNvSpPr/>
              <p:nvPr/>
            </p:nvSpPr>
            <p:spPr>
              <a:xfrm>
                <a:off x="2398325" y="3776612"/>
                <a:ext cx="1800000" cy="424776"/>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p:spPr>
            <p:txBody>
              <a:bodyPr wrap="square" lIns="91440" tIns="45720" rIns="91440" bIns="45720" numCol="1" anchor="ctr">
                <a:normAutofit fontScale="85000" lnSpcReduction="10000"/>
              </a:bodyPr>
              <a:lstStyle>
                <a:lvl1pPr>
                  <a:lnSpc>
                    <a:spcPct val="120000"/>
                  </a:lnSpc>
                  <a:defRPr sz="1600">
                    <a:solidFill>
                      <a:srgbClr val="FFFFFF"/>
                    </a:solidFill>
                    <a:latin typeface="Roboto"/>
                    <a:ea typeface="Roboto"/>
                    <a:cs typeface="Roboto"/>
                    <a:sym typeface="Roboto"/>
                  </a:defRPr>
                </a:lvl1pPr>
              </a:lstStyle>
              <a:p>
                <a:pPr>
                  <a:lnSpc>
                    <a:spcPct val="100000"/>
                  </a:lnSpc>
                </a:pPr>
                <a:r>
                  <a:rPr lang="en-US" altLang="zh-CN" sz="1800" b="1">
                    <a:solidFill>
                      <a:schemeClr val="tx1"/>
                    </a:solidFill>
                    <a:latin typeface="Arial" panose="020B0604020202090204" pitchFamily="34" charset="0"/>
                    <a:ea typeface="华文楷体" panose="02010600040101010101" pitchFamily="2" charset="-122"/>
                    <a:cs typeface="+mn-ea"/>
                    <a:sym typeface="+mn-lt"/>
                  </a:rPr>
                  <a:t>Click to add text</a:t>
                </a:r>
                <a:endParaRPr lang="en-US" altLang="zh-CN" sz="1800" b="1" dirty="0">
                  <a:solidFill>
                    <a:schemeClr val="tx1"/>
                  </a:solidFill>
                  <a:latin typeface="Arial" panose="020B0604020202090204" pitchFamily="34" charset="0"/>
                  <a:ea typeface="华文楷体" panose="02010600040101010101" pitchFamily="2" charset="-122"/>
                  <a:cs typeface="+mn-ea"/>
                  <a:sym typeface="+mn-lt"/>
                </a:endParaRPr>
              </a:p>
            </p:txBody>
          </p:sp>
          <p:sp>
            <p:nvSpPr>
              <p:cNvPr id="71" name="Bullet4"/>
              <p:cNvSpPr/>
              <p:nvPr/>
            </p:nvSpPr>
            <p:spPr>
              <a:xfrm>
                <a:off x="2398325" y="4404830"/>
                <a:ext cx="1800000" cy="424776"/>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p:spPr>
            <p:txBody>
              <a:bodyPr wrap="square" lIns="91440" tIns="45720" rIns="91440" bIns="45720" numCol="1" anchor="ctr">
                <a:normAutofit fontScale="85000" lnSpcReduction="10000"/>
              </a:bodyPr>
              <a:lstStyle>
                <a:lvl1pPr>
                  <a:lnSpc>
                    <a:spcPct val="120000"/>
                  </a:lnSpc>
                  <a:defRPr sz="1600">
                    <a:solidFill>
                      <a:srgbClr val="FFFFFF"/>
                    </a:solidFill>
                    <a:latin typeface="Roboto"/>
                    <a:ea typeface="Roboto"/>
                    <a:cs typeface="Roboto"/>
                    <a:sym typeface="Roboto"/>
                  </a:defRPr>
                </a:lvl1pPr>
              </a:lstStyle>
              <a:p>
                <a:pPr>
                  <a:lnSpc>
                    <a:spcPct val="100000"/>
                  </a:lnSpc>
                </a:pPr>
                <a:r>
                  <a:rPr lang="en-US" altLang="zh-CN" sz="1800" b="1">
                    <a:solidFill>
                      <a:schemeClr val="tx1"/>
                    </a:solidFill>
                    <a:latin typeface="Arial" panose="020B0604020202090204" pitchFamily="34" charset="0"/>
                    <a:ea typeface="华文楷体" panose="02010600040101010101" pitchFamily="2" charset="-122"/>
                    <a:cs typeface="+mn-ea"/>
                    <a:sym typeface="+mn-lt"/>
                  </a:rPr>
                  <a:t>Click to add text</a:t>
                </a:r>
                <a:endParaRPr lang="en-US" altLang="zh-CN" sz="1800" b="1" dirty="0">
                  <a:solidFill>
                    <a:schemeClr val="tx1"/>
                  </a:solidFill>
                  <a:latin typeface="Arial" panose="020B0604020202090204" pitchFamily="34" charset="0"/>
                  <a:ea typeface="华文楷体" panose="02010600040101010101" pitchFamily="2" charset="-122"/>
                  <a:cs typeface="+mn-ea"/>
                  <a:sym typeface="+mn-lt"/>
                </a:endParaRPr>
              </a:p>
            </p:txBody>
          </p:sp>
          <p:sp>
            <p:nvSpPr>
              <p:cNvPr id="72" name="Bullet5"/>
              <p:cNvSpPr/>
              <p:nvPr/>
            </p:nvSpPr>
            <p:spPr>
              <a:xfrm>
                <a:off x="2398325" y="5033049"/>
                <a:ext cx="1800000" cy="424776"/>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p:spPr>
            <p:txBody>
              <a:bodyPr wrap="square" lIns="91440" tIns="45720" rIns="91440" bIns="45720" numCol="1" anchor="ctr">
                <a:normAutofit fontScale="85000" lnSpcReduction="10000"/>
              </a:bodyPr>
              <a:lstStyle>
                <a:lvl1pPr>
                  <a:lnSpc>
                    <a:spcPct val="120000"/>
                  </a:lnSpc>
                  <a:defRPr sz="1600">
                    <a:solidFill>
                      <a:srgbClr val="FFFFFF"/>
                    </a:solidFill>
                    <a:latin typeface="Roboto"/>
                    <a:ea typeface="Roboto"/>
                    <a:cs typeface="Roboto"/>
                    <a:sym typeface="Roboto"/>
                  </a:defRPr>
                </a:lvl1pPr>
              </a:lstStyle>
              <a:p>
                <a:pPr>
                  <a:lnSpc>
                    <a:spcPct val="100000"/>
                  </a:lnSpc>
                </a:pPr>
                <a:r>
                  <a:rPr lang="en-US" altLang="zh-CN" sz="1800" b="1">
                    <a:solidFill>
                      <a:schemeClr val="tx1"/>
                    </a:solidFill>
                    <a:latin typeface="Arial" panose="020B0604020202090204" pitchFamily="34" charset="0"/>
                    <a:ea typeface="华文楷体" panose="02010600040101010101" pitchFamily="2" charset="-122"/>
                    <a:cs typeface="+mn-ea"/>
                    <a:sym typeface="+mn-lt"/>
                  </a:rPr>
                  <a:t>Click to add text</a:t>
                </a:r>
                <a:endParaRPr lang="en-US" altLang="zh-CN" sz="1800" b="1" dirty="0">
                  <a:solidFill>
                    <a:schemeClr val="tx1"/>
                  </a:solidFill>
                  <a:latin typeface="Arial" panose="020B0604020202090204" pitchFamily="34" charset="0"/>
                  <a:ea typeface="华文楷体" panose="02010600040101010101" pitchFamily="2" charset="-122"/>
                  <a:cs typeface="+mn-ea"/>
                  <a:sym typeface="+mn-lt"/>
                </a:endParaRPr>
              </a:p>
            </p:txBody>
          </p:sp>
          <p:sp>
            <p:nvSpPr>
              <p:cNvPr id="7" name="Bullet6"/>
              <p:cNvSpPr/>
              <p:nvPr/>
            </p:nvSpPr>
            <p:spPr>
              <a:xfrm>
                <a:off x="6004363" y="2520177"/>
                <a:ext cx="1800000" cy="424776"/>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p:spPr>
            <p:txBody>
              <a:bodyPr wrap="square" lIns="91440" tIns="45720" rIns="91440" bIns="45720" numCol="1" anchor="ctr">
                <a:normAutofit fontScale="85000" lnSpcReduction="10000"/>
              </a:bodyPr>
              <a:lstStyle>
                <a:lvl1pPr>
                  <a:lnSpc>
                    <a:spcPct val="120000"/>
                  </a:lnSpc>
                  <a:defRPr sz="1600">
                    <a:solidFill>
                      <a:srgbClr val="FFFFFF"/>
                    </a:solidFill>
                    <a:latin typeface="Roboto"/>
                    <a:ea typeface="Roboto"/>
                    <a:cs typeface="Roboto"/>
                    <a:sym typeface="Roboto"/>
                  </a:defRPr>
                </a:lvl1pPr>
              </a:lstStyle>
              <a:p>
                <a:pPr>
                  <a:lnSpc>
                    <a:spcPct val="100000"/>
                  </a:lnSpc>
                </a:pPr>
                <a:r>
                  <a:rPr lang="en-US" altLang="zh-CN" sz="1800" b="1">
                    <a:solidFill>
                      <a:schemeClr val="tx1"/>
                    </a:solidFill>
                    <a:latin typeface="Arial" panose="020B0604020202090204" pitchFamily="34" charset="0"/>
                    <a:ea typeface="华文楷体" panose="02010600040101010101" pitchFamily="2" charset="-122"/>
                    <a:cs typeface="+mn-ea"/>
                    <a:sym typeface="+mn-lt"/>
                  </a:rPr>
                  <a:t>Click to add text</a:t>
                </a:r>
                <a:endParaRPr lang="en-US" altLang="zh-CN" sz="1800" b="1" dirty="0">
                  <a:solidFill>
                    <a:schemeClr val="tx1"/>
                  </a:solidFill>
                  <a:latin typeface="Arial" panose="020B0604020202090204" pitchFamily="34" charset="0"/>
                  <a:ea typeface="华文楷体" panose="02010600040101010101" pitchFamily="2" charset="-122"/>
                  <a:cs typeface="+mn-ea"/>
                  <a:sym typeface="+mn-lt"/>
                </a:endParaRPr>
              </a:p>
            </p:txBody>
          </p:sp>
          <p:sp>
            <p:nvSpPr>
              <p:cNvPr id="8" name="Bullet7"/>
              <p:cNvSpPr/>
              <p:nvPr/>
            </p:nvSpPr>
            <p:spPr>
              <a:xfrm>
                <a:off x="6004363" y="3148394"/>
                <a:ext cx="1800000" cy="424776"/>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p:spPr>
            <p:txBody>
              <a:bodyPr wrap="square" lIns="91440" tIns="45720" rIns="91440" bIns="45720" numCol="1" anchor="ctr">
                <a:normAutofit fontScale="85000" lnSpcReduction="10000"/>
              </a:bodyPr>
              <a:lstStyle>
                <a:lvl1pPr>
                  <a:lnSpc>
                    <a:spcPct val="120000"/>
                  </a:lnSpc>
                  <a:defRPr sz="1600">
                    <a:solidFill>
                      <a:srgbClr val="FFFFFF"/>
                    </a:solidFill>
                    <a:latin typeface="Roboto"/>
                    <a:ea typeface="Roboto"/>
                    <a:cs typeface="Roboto"/>
                    <a:sym typeface="Roboto"/>
                  </a:defRPr>
                </a:lvl1pPr>
              </a:lstStyle>
              <a:p>
                <a:pPr>
                  <a:lnSpc>
                    <a:spcPct val="100000"/>
                  </a:lnSpc>
                </a:pPr>
                <a:r>
                  <a:rPr lang="en-US" altLang="zh-CN" sz="1800" b="1">
                    <a:solidFill>
                      <a:schemeClr val="tx1"/>
                    </a:solidFill>
                    <a:latin typeface="Arial" panose="020B0604020202090204" pitchFamily="34" charset="0"/>
                    <a:ea typeface="华文楷体" panose="02010600040101010101" pitchFamily="2" charset="-122"/>
                    <a:cs typeface="+mn-ea"/>
                    <a:sym typeface="+mn-lt"/>
                  </a:rPr>
                  <a:t>Click to add text</a:t>
                </a:r>
                <a:endParaRPr lang="en-US" altLang="zh-CN" sz="1800" b="1" dirty="0">
                  <a:solidFill>
                    <a:schemeClr val="tx1"/>
                  </a:solidFill>
                  <a:latin typeface="Arial" panose="020B0604020202090204" pitchFamily="34" charset="0"/>
                  <a:ea typeface="华文楷体" panose="02010600040101010101" pitchFamily="2" charset="-122"/>
                  <a:cs typeface="+mn-ea"/>
                  <a:sym typeface="+mn-lt"/>
                </a:endParaRPr>
              </a:p>
            </p:txBody>
          </p:sp>
          <p:sp>
            <p:nvSpPr>
              <p:cNvPr id="9" name="Bullet8"/>
              <p:cNvSpPr/>
              <p:nvPr/>
            </p:nvSpPr>
            <p:spPr>
              <a:xfrm>
                <a:off x="6004363" y="3776612"/>
                <a:ext cx="1800000" cy="424776"/>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p:spPr>
            <p:txBody>
              <a:bodyPr wrap="square" lIns="91440" tIns="45720" rIns="91440" bIns="45720" numCol="1" anchor="ctr">
                <a:normAutofit fontScale="85000" lnSpcReduction="10000"/>
              </a:bodyPr>
              <a:lstStyle>
                <a:lvl1pPr>
                  <a:lnSpc>
                    <a:spcPct val="120000"/>
                  </a:lnSpc>
                  <a:defRPr sz="1600">
                    <a:solidFill>
                      <a:srgbClr val="FFFFFF"/>
                    </a:solidFill>
                    <a:latin typeface="Roboto"/>
                    <a:ea typeface="Roboto"/>
                    <a:cs typeface="Roboto"/>
                    <a:sym typeface="Roboto"/>
                  </a:defRPr>
                </a:lvl1pPr>
              </a:lstStyle>
              <a:p>
                <a:pPr>
                  <a:lnSpc>
                    <a:spcPct val="100000"/>
                  </a:lnSpc>
                </a:pPr>
                <a:r>
                  <a:rPr lang="en-US" altLang="zh-CN" sz="1800" b="1">
                    <a:solidFill>
                      <a:schemeClr val="tx1"/>
                    </a:solidFill>
                    <a:latin typeface="Arial" panose="020B0604020202090204" pitchFamily="34" charset="0"/>
                    <a:ea typeface="华文楷体" panose="02010600040101010101" pitchFamily="2" charset="-122"/>
                    <a:cs typeface="+mn-ea"/>
                    <a:sym typeface="+mn-lt"/>
                  </a:rPr>
                  <a:t>Click to add text</a:t>
                </a:r>
                <a:endParaRPr lang="en-US" altLang="zh-CN" sz="1800" b="1" dirty="0">
                  <a:solidFill>
                    <a:schemeClr val="tx1"/>
                  </a:solidFill>
                  <a:latin typeface="Arial" panose="020B0604020202090204" pitchFamily="34" charset="0"/>
                  <a:ea typeface="华文楷体" panose="02010600040101010101" pitchFamily="2" charset="-122"/>
                  <a:cs typeface="+mn-ea"/>
                  <a:sym typeface="+mn-lt"/>
                </a:endParaRPr>
              </a:p>
            </p:txBody>
          </p:sp>
          <p:sp>
            <p:nvSpPr>
              <p:cNvPr id="10" name="Bullet9"/>
              <p:cNvSpPr/>
              <p:nvPr/>
            </p:nvSpPr>
            <p:spPr>
              <a:xfrm>
                <a:off x="6004363" y="4404830"/>
                <a:ext cx="1800000" cy="424776"/>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p:spPr>
            <p:txBody>
              <a:bodyPr wrap="square" lIns="91440" tIns="45720" rIns="91440" bIns="45720" numCol="1" anchor="ctr">
                <a:normAutofit fontScale="85000" lnSpcReduction="10000"/>
              </a:bodyPr>
              <a:lstStyle>
                <a:lvl1pPr>
                  <a:lnSpc>
                    <a:spcPct val="120000"/>
                  </a:lnSpc>
                  <a:defRPr sz="1600">
                    <a:solidFill>
                      <a:srgbClr val="FFFFFF"/>
                    </a:solidFill>
                    <a:latin typeface="Roboto"/>
                    <a:ea typeface="Roboto"/>
                    <a:cs typeface="Roboto"/>
                    <a:sym typeface="Roboto"/>
                  </a:defRPr>
                </a:lvl1pPr>
              </a:lstStyle>
              <a:p>
                <a:pPr>
                  <a:lnSpc>
                    <a:spcPct val="100000"/>
                  </a:lnSpc>
                </a:pPr>
                <a:r>
                  <a:rPr lang="en-US" altLang="zh-CN" sz="1800" b="1">
                    <a:solidFill>
                      <a:schemeClr val="tx1"/>
                    </a:solidFill>
                    <a:latin typeface="Arial" panose="020B0604020202090204" pitchFamily="34" charset="0"/>
                    <a:ea typeface="华文楷体" panose="02010600040101010101" pitchFamily="2" charset="-122"/>
                    <a:cs typeface="+mn-ea"/>
                    <a:sym typeface="+mn-lt"/>
                  </a:rPr>
                  <a:t>Click to add text</a:t>
                </a:r>
                <a:endParaRPr lang="en-US" altLang="zh-CN" sz="1800" b="1" dirty="0">
                  <a:solidFill>
                    <a:schemeClr val="tx1"/>
                  </a:solidFill>
                  <a:latin typeface="Arial" panose="020B0604020202090204" pitchFamily="34" charset="0"/>
                  <a:ea typeface="华文楷体" panose="02010600040101010101" pitchFamily="2" charset="-122"/>
                  <a:cs typeface="+mn-ea"/>
                  <a:sym typeface="+mn-lt"/>
                </a:endParaRPr>
              </a:p>
            </p:txBody>
          </p:sp>
          <p:sp>
            <p:nvSpPr>
              <p:cNvPr id="11" name="Bullet10"/>
              <p:cNvSpPr/>
              <p:nvPr/>
            </p:nvSpPr>
            <p:spPr>
              <a:xfrm>
                <a:off x="6004363" y="5033049"/>
                <a:ext cx="1800000" cy="424776"/>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p:spPr>
            <p:txBody>
              <a:bodyPr wrap="square" lIns="91440" tIns="45720" rIns="91440" bIns="45720" numCol="1" anchor="ctr">
                <a:normAutofit fontScale="85000" lnSpcReduction="10000"/>
              </a:bodyPr>
              <a:lstStyle>
                <a:lvl1pPr>
                  <a:lnSpc>
                    <a:spcPct val="120000"/>
                  </a:lnSpc>
                  <a:defRPr sz="1600">
                    <a:solidFill>
                      <a:srgbClr val="FFFFFF"/>
                    </a:solidFill>
                    <a:latin typeface="Roboto"/>
                    <a:ea typeface="Roboto"/>
                    <a:cs typeface="Roboto"/>
                    <a:sym typeface="Roboto"/>
                  </a:defRPr>
                </a:lvl1pPr>
              </a:lstStyle>
              <a:p>
                <a:pPr>
                  <a:lnSpc>
                    <a:spcPct val="100000"/>
                  </a:lnSpc>
                </a:pPr>
                <a:r>
                  <a:rPr lang="en-US" altLang="zh-CN" sz="1800" b="1">
                    <a:solidFill>
                      <a:schemeClr val="tx1"/>
                    </a:solidFill>
                    <a:latin typeface="Arial" panose="020B0604020202090204" pitchFamily="34" charset="0"/>
                    <a:ea typeface="华文楷体" panose="02010600040101010101" pitchFamily="2" charset="-122"/>
                    <a:cs typeface="+mn-ea"/>
                    <a:sym typeface="+mn-lt"/>
                  </a:rPr>
                  <a:t>Click to add text</a:t>
                </a:r>
                <a:endParaRPr lang="en-US" altLang="zh-CN" sz="1800" b="1" dirty="0">
                  <a:solidFill>
                    <a:schemeClr val="tx1"/>
                  </a:solidFill>
                  <a:latin typeface="Arial" panose="020B0604020202090204" pitchFamily="34" charset="0"/>
                  <a:ea typeface="华文楷体" panose="02010600040101010101" pitchFamily="2" charset="-122"/>
                  <a:cs typeface="+mn-ea"/>
                  <a:sym typeface="+mn-lt"/>
                </a:endParaRPr>
              </a:p>
            </p:txBody>
          </p:sp>
          <p:sp>
            <p:nvSpPr>
              <p:cNvPr id="79" name="Bullet11"/>
              <p:cNvSpPr/>
              <p:nvPr/>
            </p:nvSpPr>
            <p:spPr>
              <a:xfrm>
                <a:off x="9718900" y="2520177"/>
                <a:ext cx="1800000" cy="424776"/>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p:spPr>
            <p:txBody>
              <a:bodyPr wrap="square" lIns="91440" tIns="45720" rIns="91440" bIns="45720" numCol="1" anchor="ctr">
                <a:normAutofit fontScale="85000" lnSpcReduction="10000"/>
              </a:bodyPr>
              <a:lstStyle>
                <a:lvl1pPr>
                  <a:lnSpc>
                    <a:spcPct val="120000"/>
                  </a:lnSpc>
                  <a:defRPr sz="1600">
                    <a:solidFill>
                      <a:srgbClr val="FFFFFF"/>
                    </a:solidFill>
                    <a:latin typeface="Roboto"/>
                    <a:ea typeface="Roboto"/>
                    <a:cs typeface="Roboto"/>
                    <a:sym typeface="Roboto"/>
                  </a:defRPr>
                </a:lvl1pPr>
              </a:lstStyle>
              <a:p>
                <a:pPr>
                  <a:lnSpc>
                    <a:spcPct val="100000"/>
                  </a:lnSpc>
                </a:pPr>
                <a:r>
                  <a:rPr lang="en-US" altLang="zh-CN" sz="1800" b="1">
                    <a:solidFill>
                      <a:schemeClr val="tx1"/>
                    </a:solidFill>
                    <a:latin typeface="Arial" panose="020B0604020202090204" pitchFamily="34" charset="0"/>
                    <a:ea typeface="华文楷体" panose="02010600040101010101" pitchFamily="2" charset="-122"/>
                    <a:cs typeface="+mn-ea"/>
                    <a:sym typeface="+mn-lt"/>
                  </a:rPr>
                  <a:t>Click to add text</a:t>
                </a:r>
                <a:endParaRPr lang="en-US" altLang="zh-CN" sz="1800" b="1" dirty="0">
                  <a:solidFill>
                    <a:schemeClr val="tx1"/>
                  </a:solidFill>
                  <a:latin typeface="Arial" panose="020B0604020202090204" pitchFamily="34" charset="0"/>
                  <a:ea typeface="华文楷体" panose="02010600040101010101" pitchFamily="2" charset="-122"/>
                  <a:cs typeface="+mn-ea"/>
                  <a:sym typeface="+mn-lt"/>
                </a:endParaRPr>
              </a:p>
            </p:txBody>
          </p:sp>
          <p:sp>
            <p:nvSpPr>
              <p:cNvPr id="80" name="Bullet12"/>
              <p:cNvSpPr/>
              <p:nvPr/>
            </p:nvSpPr>
            <p:spPr>
              <a:xfrm>
                <a:off x="9718900" y="3148395"/>
                <a:ext cx="1800000" cy="424776"/>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p:spPr>
            <p:txBody>
              <a:bodyPr wrap="square" lIns="91440" tIns="45720" rIns="91440" bIns="45720" numCol="1" anchor="ctr">
                <a:normAutofit fontScale="85000" lnSpcReduction="10000"/>
              </a:bodyPr>
              <a:lstStyle>
                <a:lvl1pPr>
                  <a:lnSpc>
                    <a:spcPct val="120000"/>
                  </a:lnSpc>
                  <a:defRPr sz="1600">
                    <a:solidFill>
                      <a:srgbClr val="FFFFFF"/>
                    </a:solidFill>
                    <a:latin typeface="Roboto"/>
                    <a:ea typeface="Roboto"/>
                    <a:cs typeface="Roboto"/>
                    <a:sym typeface="Roboto"/>
                  </a:defRPr>
                </a:lvl1pPr>
              </a:lstStyle>
              <a:p>
                <a:pPr>
                  <a:lnSpc>
                    <a:spcPct val="100000"/>
                  </a:lnSpc>
                </a:pPr>
                <a:r>
                  <a:rPr lang="en-US" altLang="zh-CN" sz="1800" b="1">
                    <a:solidFill>
                      <a:schemeClr val="tx1"/>
                    </a:solidFill>
                    <a:latin typeface="Arial" panose="020B0604020202090204" pitchFamily="34" charset="0"/>
                    <a:ea typeface="华文楷体" panose="02010600040101010101" pitchFamily="2" charset="-122"/>
                    <a:cs typeface="+mn-ea"/>
                    <a:sym typeface="+mn-lt"/>
                  </a:rPr>
                  <a:t>Click to add text</a:t>
                </a:r>
                <a:endParaRPr lang="en-US" altLang="zh-CN" sz="1800" b="1" dirty="0">
                  <a:solidFill>
                    <a:schemeClr val="tx1"/>
                  </a:solidFill>
                  <a:latin typeface="Arial" panose="020B0604020202090204" pitchFamily="34" charset="0"/>
                  <a:ea typeface="华文楷体" panose="02010600040101010101" pitchFamily="2" charset="-122"/>
                  <a:cs typeface="+mn-ea"/>
                  <a:sym typeface="+mn-lt"/>
                </a:endParaRPr>
              </a:p>
            </p:txBody>
          </p:sp>
          <p:sp>
            <p:nvSpPr>
              <p:cNvPr id="81" name="Bullet13"/>
              <p:cNvSpPr/>
              <p:nvPr/>
            </p:nvSpPr>
            <p:spPr>
              <a:xfrm>
                <a:off x="9718900" y="3776613"/>
                <a:ext cx="1800000" cy="424776"/>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p:spPr>
            <p:txBody>
              <a:bodyPr wrap="square" lIns="91440" tIns="45720" rIns="91440" bIns="45720" numCol="1" anchor="ctr">
                <a:normAutofit fontScale="85000" lnSpcReduction="10000"/>
              </a:bodyPr>
              <a:lstStyle>
                <a:lvl1pPr>
                  <a:lnSpc>
                    <a:spcPct val="120000"/>
                  </a:lnSpc>
                  <a:defRPr sz="1600">
                    <a:solidFill>
                      <a:srgbClr val="FFFFFF"/>
                    </a:solidFill>
                    <a:latin typeface="Roboto"/>
                    <a:ea typeface="Roboto"/>
                    <a:cs typeface="Roboto"/>
                    <a:sym typeface="Roboto"/>
                  </a:defRPr>
                </a:lvl1pPr>
              </a:lstStyle>
              <a:p>
                <a:pPr>
                  <a:lnSpc>
                    <a:spcPct val="100000"/>
                  </a:lnSpc>
                </a:pPr>
                <a:r>
                  <a:rPr lang="en-US" altLang="zh-CN" sz="1800" b="1">
                    <a:solidFill>
                      <a:schemeClr val="tx1"/>
                    </a:solidFill>
                    <a:latin typeface="Arial" panose="020B0604020202090204" pitchFamily="34" charset="0"/>
                    <a:ea typeface="华文楷体" panose="02010600040101010101" pitchFamily="2" charset="-122"/>
                    <a:cs typeface="+mn-ea"/>
                    <a:sym typeface="+mn-lt"/>
                  </a:rPr>
                  <a:t>Click to add text</a:t>
                </a:r>
                <a:endParaRPr lang="en-US" altLang="zh-CN" sz="1800" b="1" dirty="0">
                  <a:solidFill>
                    <a:schemeClr val="tx1"/>
                  </a:solidFill>
                  <a:latin typeface="Arial" panose="020B0604020202090204" pitchFamily="34" charset="0"/>
                  <a:ea typeface="华文楷体" panose="02010600040101010101" pitchFamily="2" charset="-122"/>
                  <a:cs typeface="+mn-ea"/>
                  <a:sym typeface="+mn-lt"/>
                </a:endParaRPr>
              </a:p>
            </p:txBody>
          </p:sp>
          <p:sp>
            <p:nvSpPr>
              <p:cNvPr id="82" name="Bullet14"/>
              <p:cNvSpPr/>
              <p:nvPr/>
            </p:nvSpPr>
            <p:spPr>
              <a:xfrm>
                <a:off x="9718900" y="4404831"/>
                <a:ext cx="1800000" cy="424776"/>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p:spPr>
            <p:txBody>
              <a:bodyPr wrap="square" lIns="91440" tIns="45720" rIns="91440" bIns="45720" numCol="1" anchor="ctr">
                <a:normAutofit fontScale="85000" lnSpcReduction="10000"/>
              </a:bodyPr>
              <a:lstStyle>
                <a:lvl1pPr>
                  <a:lnSpc>
                    <a:spcPct val="120000"/>
                  </a:lnSpc>
                  <a:defRPr sz="1600">
                    <a:solidFill>
                      <a:srgbClr val="FFFFFF"/>
                    </a:solidFill>
                    <a:latin typeface="Roboto"/>
                    <a:ea typeface="Roboto"/>
                    <a:cs typeface="Roboto"/>
                    <a:sym typeface="Roboto"/>
                  </a:defRPr>
                </a:lvl1pPr>
              </a:lstStyle>
              <a:p>
                <a:pPr>
                  <a:lnSpc>
                    <a:spcPct val="100000"/>
                  </a:lnSpc>
                </a:pPr>
                <a:r>
                  <a:rPr lang="en-US" altLang="zh-CN" sz="1800" b="1">
                    <a:solidFill>
                      <a:schemeClr val="tx1"/>
                    </a:solidFill>
                    <a:latin typeface="Arial" panose="020B0604020202090204" pitchFamily="34" charset="0"/>
                    <a:ea typeface="华文楷体" panose="02010600040101010101" pitchFamily="2" charset="-122"/>
                    <a:cs typeface="+mn-ea"/>
                    <a:sym typeface="+mn-lt"/>
                  </a:rPr>
                  <a:t>Click to add text</a:t>
                </a:r>
                <a:endParaRPr lang="en-US" altLang="zh-CN" sz="1800" b="1" dirty="0">
                  <a:solidFill>
                    <a:schemeClr val="tx1"/>
                  </a:solidFill>
                  <a:latin typeface="Arial" panose="020B0604020202090204" pitchFamily="34" charset="0"/>
                  <a:ea typeface="华文楷体" panose="02010600040101010101" pitchFamily="2" charset="-122"/>
                  <a:cs typeface="+mn-ea"/>
                  <a:sym typeface="+mn-lt"/>
                </a:endParaRPr>
              </a:p>
            </p:txBody>
          </p:sp>
          <p:sp>
            <p:nvSpPr>
              <p:cNvPr id="83" name="Bullet15"/>
              <p:cNvSpPr/>
              <p:nvPr/>
            </p:nvSpPr>
            <p:spPr>
              <a:xfrm>
                <a:off x="9718900" y="5033050"/>
                <a:ext cx="1800000" cy="424776"/>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p:spPr>
            <p:txBody>
              <a:bodyPr wrap="square" lIns="91440" tIns="45720" rIns="91440" bIns="45720" numCol="1" anchor="ctr">
                <a:normAutofit fontScale="85000" lnSpcReduction="10000"/>
              </a:bodyPr>
              <a:lstStyle>
                <a:lvl1pPr>
                  <a:lnSpc>
                    <a:spcPct val="120000"/>
                  </a:lnSpc>
                  <a:defRPr sz="1600">
                    <a:solidFill>
                      <a:srgbClr val="FFFFFF"/>
                    </a:solidFill>
                    <a:latin typeface="Roboto"/>
                    <a:ea typeface="Roboto"/>
                    <a:cs typeface="Roboto"/>
                    <a:sym typeface="Roboto"/>
                  </a:defRPr>
                </a:lvl1pPr>
              </a:lstStyle>
              <a:p>
                <a:pPr>
                  <a:lnSpc>
                    <a:spcPct val="100000"/>
                  </a:lnSpc>
                </a:pPr>
                <a:r>
                  <a:rPr lang="en-US" altLang="zh-CN" sz="1800" b="1">
                    <a:solidFill>
                      <a:schemeClr val="tx1"/>
                    </a:solidFill>
                    <a:latin typeface="Arial" panose="020B0604020202090204" pitchFamily="34" charset="0"/>
                    <a:ea typeface="华文楷体" panose="02010600040101010101" pitchFamily="2" charset="-122"/>
                    <a:cs typeface="+mn-ea"/>
                    <a:sym typeface="+mn-lt"/>
                  </a:rPr>
                  <a:t>Click to add text</a:t>
                </a:r>
                <a:endParaRPr lang="en-US" altLang="zh-CN" sz="1800" b="1" dirty="0">
                  <a:solidFill>
                    <a:schemeClr val="tx1"/>
                  </a:solidFill>
                  <a:latin typeface="Arial" panose="020B0604020202090204" pitchFamily="34" charset="0"/>
                  <a:ea typeface="华文楷体" panose="02010600040101010101" pitchFamily="2" charset="-122"/>
                  <a:cs typeface="+mn-ea"/>
                  <a:sym typeface="+mn-lt"/>
                </a:endParaRPr>
              </a:p>
            </p:txBody>
          </p:sp>
        </p:grpSp>
      </p:grpSp>
    </p:spTree>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1057272" y="101600"/>
            <a:ext cx="10064756" cy="6134100"/>
            <a:chOff x="1057272" y="101600"/>
            <a:chExt cx="10064756" cy="6134100"/>
          </a:xfrm>
        </p:grpSpPr>
        <p:grpSp>
          <p:nvGrpSpPr>
            <p:cNvPr id="157" name="组合 156"/>
            <p:cNvGrpSpPr/>
            <p:nvPr/>
          </p:nvGrpSpPr>
          <p:grpSpPr>
            <a:xfrm>
              <a:off x="1057272" y="4622221"/>
              <a:ext cx="10064756" cy="1613479"/>
              <a:chOff x="1057272" y="4520621"/>
              <a:chExt cx="10064756" cy="1613479"/>
            </a:xfrm>
          </p:grpSpPr>
          <p:sp>
            <p:nvSpPr>
              <p:cNvPr id="126" name="椭圆 125"/>
              <p:cNvSpPr/>
              <p:nvPr/>
            </p:nvSpPr>
            <p:spPr>
              <a:xfrm>
                <a:off x="1057272" y="4582700"/>
                <a:ext cx="10064756" cy="1551400"/>
              </a:xfrm>
              <a:prstGeom prst="ellipse">
                <a:avLst/>
              </a:prstGeom>
              <a:gradFill flip="none" rotWithShape="1">
                <a:gsLst>
                  <a:gs pos="0">
                    <a:schemeClr val="bg1"/>
                  </a:gs>
                  <a:gs pos="100000">
                    <a:schemeClr val="accent1">
                      <a:alpha val="8000"/>
                    </a:schemeClr>
                  </a:gs>
                </a:gsLst>
                <a:path path="circle">
                  <a:fillToRect l="50000" t="50000" r="50000" b="50000"/>
                </a:path>
                <a:tileRect/>
              </a:gradFill>
              <a:ln w="12700">
                <a:gradFill>
                  <a:gsLst>
                    <a:gs pos="0">
                      <a:schemeClr val="accent1">
                        <a:alpha val="0"/>
                      </a:schemeClr>
                    </a:gs>
                    <a:gs pos="100000">
                      <a:schemeClr val="accent1">
                        <a:alpha val="70000"/>
                      </a:schemeClr>
                    </a:gs>
                  </a:gsLst>
                  <a:lin ang="5400000" scaled="1"/>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27" name="椭圆 126"/>
              <p:cNvSpPr/>
              <p:nvPr/>
            </p:nvSpPr>
            <p:spPr>
              <a:xfrm>
                <a:off x="1786164" y="4713018"/>
                <a:ext cx="8606972" cy="1060758"/>
              </a:xfrm>
              <a:prstGeom prst="ellipse">
                <a:avLst/>
              </a:prstGeom>
              <a:gradFill>
                <a:gsLst>
                  <a:gs pos="19000">
                    <a:schemeClr val="accent1">
                      <a:alpha val="0"/>
                    </a:schemeClr>
                  </a:gs>
                  <a:gs pos="100000">
                    <a:schemeClr val="accent1">
                      <a:alpha val="19000"/>
                    </a:schemeClr>
                  </a:gs>
                </a:gsLst>
                <a:lin ang="5400000" scaled="1"/>
              </a:gradFill>
              <a:ln w="12700">
                <a:gradFill>
                  <a:gsLst>
                    <a:gs pos="0">
                      <a:schemeClr val="accent1">
                        <a:alpha val="0"/>
                      </a:schemeClr>
                    </a:gs>
                    <a:gs pos="100000">
                      <a:schemeClr val="accent1">
                        <a:alpha val="70000"/>
                      </a:schemeClr>
                    </a:gs>
                  </a:gsLst>
                  <a:lin ang="5400000" scaled="1"/>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28" name="矩形 127"/>
              <p:cNvSpPr>
                <a:spLocks noChangeAspect="1"/>
              </p:cNvSpPr>
              <p:nvPr/>
            </p:nvSpPr>
            <p:spPr>
              <a:xfrm>
                <a:off x="2182584" y="4520621"/>
                <a:ext cx="7826832" cy="9690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chorCtr="0">
                <a:prstTxWarp prst="textArchDown">
                  <a:avLst/>
                </a:prstTxWarp>
                <a:normAutofit/>
              </a:bodyPr>
              <a:lstStyle/>
              <a:p>
                <a:pPr algn="ctr">
                  <a:buSzPct val="25000"/>
                </a:pPr>
                <a:r>
                  <a:rPr lang="en-US" altLang="zh-CN" sz="2400" b="1" dirty="0">
                    <a:solidFill>
                      <a:schemeClr val="tx1"/>
                    </a:solidFill>
                    <a:latin typeface="Arial" panose="020B0604020202090204" pitchFamily="34" charset="0"/>
                    <a:ea typeface="华文楷体" panose="02010600040101010101" pitchFamily="2" charset="-122"/>
                  </a:rPr>
                  <a:t>Unified fonts make reading more fluent</a:t>
                </a:r>
                <a:endParaRPr lang="en-US" altLang="zh-CN" sz="2400" b="1" dirty="0">
                  <a:solidFill>
                    <a:schemeClr val="tx1"/>
                  </a:solidFill>
                  <a:latin typeface="Arial" panose="020B0604020202090204" pitchFamily="34" charset="0"/>
                  <a:ea typeface="华文楷体" panose="02010600040101010101" pitchFamily="2" charset="-122"/>
                </a:endParaRPr>
              </a:p>
            </p:txBody>
          </p:sp>
        </p:grpSp>
        <p:grpSp>
          <p:nvGrpSpPr>
            <p:cNvPr id="83" name="组合 82"/>
            <p:cNvGrpSpPr/>
            <p:nvPr/>
          </p:nvGrpSpPr>
          <p:grpSpPr>
            <a:xfrm flipH="1">
              <a:off x="1134250" y="1348134"/>
              <a:ext cx="2787691" cy="3871272"/>
              <a:chOff x="8267700" y="1267466"/>
              <a:chExt cx="2787691" cy="3871272"/>
            </a:xfrm>
          </p:grpSpPr>
          <p:cxnSp>
            <p:nvCxnSpPr>
              <p:cNvPr id="84" name="直接连接符 83"/>
              <p:cNvCxnSpPr/>
              <p:nvPr/>
            </p:nvCxnSpPr>
            <p:spPr>
              <a:xfrm>
                <a:off x="8267700" y="2275299"/>
                <a:ext cx="2491207" cy="0"/>
              </a:xfrm>
              <a:prstGeom prst="line">
                <a:avLst/>
              </a:prstGeom>
              <a:ln>
                <a:gradFill flip="none" rotWithShape="1">
                  <a:gsLst>
                    <a:gs pos="0">
                      <a:schemeClr val="accent1">
                        <a:alpha val="0"/>
                      </a:schemeClr>
                    </a:gs>
                    <a:gs pos="100000">
                      <a:schemeClr val="accent1"/>
                    </a:gs>
                  </a:gsLst>
                  <a:lin ang="0" scaled="1"/>
                  <a:tileRect/>
                </a:gradFill>
              </a:ln>
            </p:spPr>
            <p:style>
              <a:lnRef idx="2">
                <a:schemeClr val="accent1"/>
              </a:lnRef>
              <a:fillRef idx="0">
                <a:schemeClr val="accent1"/>
              </a:fillRef>
              <a:effectRef idx="1">
                <a:schemeClr val="accent1"/>
              </a:effectRef>
              <a:fontRef idx="minor">
                <a:schemeClr val="tx1"/>
              </a:fontRef>
            </p:style>
          </p:cxnSp>
          <p:sp>
            <p:nvSpPr>
              <p:cNvPr id="87" name="箭头: 下 86"/>
              <p:cNvSpPr/>
              <p:nvPr/>
            </p:nvSpPr>
            <p:spPr>
              <a:xfrm>
                <a:off x="10944549" y="1267466"/>
                <a:ext cx="110842" cy="3871272"/>
              </a:xfrm>
              <a:prstGeom prst="downArrow">
                <a:avLst/>
              </a:prstGeom>
              <a:gradFill>
                <a:gsLst>
                  <a:gs pos="0">
                    <a:schemeClr val="accent1">
                      <a:alpha val="0"/>
                    </a:schemeClr>
                  </a:gs>
                  <a:gs pos="100000">
                    <a:schemeClr val="accent1"/>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86" name="直接连接符 85"/>
              <p:cNvCxnSpPr/>
              <p:nvPr/>
            </p:nvCxnSpPr>
            <p:spPr>
              <a:xfrm>
                <a:off x="8267700" y="3364044"/>
                <a:ext cx="2491207" cy="0"/>
              </a:xfrm>
              <a:prstGeom prst="line">
                <a:avLst/>
              </a:prstGeom>
              <a:ln>
                <a:gradFill flip="none" rotWithShape="1">
                  <a:gsLst>
                    <a:gs pos="0">
                      <a:schemeClr val="accent1">
                        <a:alpha val="0"/>
                      </a:schemeClr>
                    </a:gs>
                    <a:gs pos="100000">
                      <a:schemeClr val="accent1"/>
                    </a:gs>
                  </a:gsLst>
                  <a:lin ang="0" scaled="1"/>
                  <a:tileRect/>
                </a:gradFill>
              </a:ln>
            </p:spPr>
            <p:style>
              <a:lnRef idx="2">
                <a:schemeClr val="accent1"/>
              </a:lnRef>
              <a:fillRef idx="0">
                <a:schemeClr val="accent1"/>
              </a:fillRef>
              <a:effectRef idx="1">
                <a:schemeClr val="accent1"/>
              </a:effectRef>
              <a:fontRef idx="minor">
                <a:schemeClr val="tx1"/>
              </a:fontRef>
            </p:style>
          </p:cxnSp>
        </p:grpSp>
        <p:grpSp>
          <p:nvGrpSpPr>
            <p:cNvPr id="82" name="组合 81"/>
            <p:cNvGrpSpPr/>
            <p:nvPr/>
          </p:nvGrpSpPr>
          <p:grpSpPr>
            <a:xfrm>
              <a:off x="8334337" y="1348134"/>
              <a:ext cx="2787691" cy="3871272"/>
              <a:chOff x="8267700" y="1267466"/>
              <a:chExt cx="2787691" cy="3871272"/>
            </a:xfrm>
          </p:grpSpPr>
          <p:cxnSp>
            <p:nvCxnSpPr>
              <p:cNvPr id="64" name="直接连接符 63"/>
              <p:cNvCxnSpPr/>
              <p:nvPr/>
            </p:nvCxnSpPr>
            <p:spPr>
              <a:xfrm>
                <a:off x="8267700" y="2275299"/>
                <a:ext cx="2491207" cy="0"/>
              </a:xfrm>
              <a:prstGeom prst="line">
                <a:avLst/>
              </a:prstGeom>
              <a:ln>
                <a:gradFill flip="none" rotWithShape="1">
                  <a:gsLst>
                    <a:gs pos="0">
                      <a:schemeClr val="accent1">
                        <a:alpha val="0"/>
                      </a:schemeClr>
                    </a:gs>
                    <a:gs pos="100000">
                      <a:schemeClr val="accent1"/>
                    </a:gs>
                  </a:gsLst>
                  <a:lin ang="0" scaled="1"/>
                  <a:tileRect/>
                </a:gradFill>
              </a:ln>
            </p:spPr>
            <p:style>
              <a:lnRef idx="2">
                <a:schemeClr val="accent1"/>
              </a:lnRef>
              <a:fillRef idx="0">
                <a:schemeClr val="accent1"/>
              </a:fillRef>
              <a:effectRef idx="1">
                <a:schemeClr val="accent1"/>
              </a:effectRef>
              <a:fontRef idx="minor">
                <a:schemeClr val="tx1"/>
              </a:fontRef>
            </p:style>
          </p:cxnSp>
          <p:sp>
            <p:nvSpPr>
              <p:cNvPr id="55" name="箭头: 下 54"/>
              <p:cNvSpPr/>
              <p:nvPr/>
            </p:nvSpPr>
            <p:spPr>
              <a:xfrm>
                <a:off x="10944549" y="1267466"/>
                <a:ext cx="110842" cy="3871272"/>
              </a:xfrm>
              <a:prstGeom prst="downArrow">
                <a:avLst/>
              </a:prstGeom>
              <a:gradFill>
                <a:gsLst>
                  <a:gs pos="0">
                    <a:schemeClr val="accent1">
                      <a:alpha val="0"/>
                    </a:schemeClr>
                  </a:gs>
                  <a:gs pos="100000">
                    <a:schemeClr val="accent1"/>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9" name="直接连接符 68"/>
              <p:cNvCxnSpPr/>
              <p:nvPr/>
            </p:nvCxnSpPr>
            <p:spPr>
              <a:xfrm>
                <a:off x="8267700" y="3364044"/>
                <a:ext cx="2491207" cy="0"/>
              </a:xfrm>
              <a:prstGeom prst="line">
                <a:avLst/>
              </a:prstGeom>
              <a:ln>
                <a:gradFill flip="none" rotWithShape="1">
                  <a:gsLst>
                    <a:gs pos="0">
                      <a:schemeClr val="accent1">
                        <a:alpha val="0"/>
                      </a:schemeClr>
                    </a:gs>
                    <a:gs pos="100000">
                      <a:schemeClr val="accent1"/>
                    </a:gs>
                  </a:gsLst>
                  <a:lin ang="0" scaled="1"/>
                  <a:tileRect/>
                </a:gradFill>
              </a:ln>
            </p:spPr>
            <p:style>
              <a:lnRef idx="2">
                <a:schemeClr val="accent1"/>
              </a:lnRef>
              <a:fillRef idx="0">
                <a:schemeClr val="accent1"/>
              </a:fillRef>
              <a:effectRef idx="1">
                <a:schemeClr val="accent1"/>
              </a:effectRef>
              <a:fontRef idx="minor">
                <a:schemeClr val="tx1"/>
              </a:fontRef>
            </p:style>
          </p:cxnSp>
        </p:grpSp>
        <p:grpSp>
          <p:nvGrpSpPr>
            <p:cNvPr id="136" name="组合 135"/>
            <p:cNvGrpSpPr/>
            <p:nvPr/>
          </p:nvGrpSpPr>
          <p:grpSpPr>
            <a:xfrm>
              <a:off x="1425109" y="1313028"/>
              <a:ext cx="2522030" cy="987387"/>
              <a:chOff x="897975" y="1900229"/>
              <a:chExt cx="2522030" cy="987387"/>
            </a:xfrm>
          </p:grpSpPr>
          <p:sp>
            <p:nvSpPr>
              <p:cNvPr id="134" name="矩形 133"/>
              <p:cNvSpPr/>
              <p:nvPr/>
            </p:nvSpPr>
            <p:spPr bwMode="auto">
              <a:xfrm>
                <a:off x="897975" y="2345168"/>
                <a:ext cx="2522030" cy="5424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20000"/>
                  </a:lnSpc>
                  <a:spcBef>
                    <a:spcPct val="0"/>
                  </a:spcBef>
                </a:pPr>
                <a:r>
                  <a:rPr lang="sv-SE" altLang="zh-CN" sz="1200" dirty="0">
                    <a:latin typeface="Arial" panose="020B0604020202090204" pitchFamily="34" charset="0"/>
                    <a:ea typeface="华文楷体" panose="02010600040101010101" pitchFamily="2" charset="-122"/>
                  </a:rPr>
                  <a:t>Justo sed sed rebum sea.</a:t>
                </a:r>
                <a:endParaRPr lang="en-US" altLang="zh-CN" sz="1200" dirty="0">
                  <a:latin typeface="Arial" panose="020B0604020202090204" pitchFamily="34" charset="0"/>
                  <a:ea typeface="华文楷体" panose="02010600040101010101" pitchFamily="2" charset="-122"/>
                </a:endParaRPr>
              </a:p>
            </p:txBody>
          </p:sp>
          <p:sp>
            <p:nvSpPr>
              <p:cNvPr id="135" name="文本框 134"/>
              <p:cNvSpPr txBox="1"/>
              <p:nvPr/>
            </p:nvSpPr>
            <p:spPr bwMode="auto">
              <a:xfrm>
                <a:off x="897975" y="1900229"/>
                <a:ext cx="2522030" cy="444941"/>
              </a:xfrm>
              <a:prstGeom prst="rect">
                <a:avLst/>
              </a:prstGeom>
              <a:noFill/>
              <a:ln w="9525">
                <a:noFill/>
                <a:miter lim="800000"/>
              </a:ln>
              <a:extLst>
                <a:ext uri="{909E8E84-426E-40DD-AFC4-6F175D3DCCD1}">
                  <a14:hiddenFill xmlns:a14="http://schemas.microsoft.com/office/drawing/2010/main">
                    <a:solidFill>
                      <a:srgbClr val="FFFFFF"/>
                    </a:solidFill>
                  </a14:hiddenFill>
                </a:ext>
              </a:extLst>
            </p:spPr>
            <p:txBody>
              <a:bodyPr wrap="square" lIns="91440" tIns="45720" rIns="91440" bIns="45720" anchor="b"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eaLnBrk="1" hangingPunct="1">
                  <a:spcBef>
                    <a:spcPct val="0"/>
                  </a:spcBef>
                  <a:buFontTx/>
                  <a:buNone/>
                </a:pPr>
                <a:r>
                  <a:rPr lang="en-US" altLang="zh-CN" b="1" dirty="0">
                    <a:latin typeface="Arial" panose="020B0604020202090204" pitchFamily="34" charset="0"/>
                    <a:ea typeface="华文楷体" panose="02010600040101010101" pitchFamily="2" charset="-122"/>
                  </a:rPr>
                  <a:t>Click to add text</a:t>
                </a:r>
                <a:endParaRPr lang="en-US" altLang="zh-CN" b="1" dirty="0">
                  <a:latin typeface="Arial" panose="020B0604020202090204" pitchFamily="34" charset="0"/>
                  <a:ea typeface="华文楷体" panose="02010600040101010101" pitchFamily="2" charset="-122"/>
                </a:endParaRPr>
              </a:p>
            </p:txBody>
          </p:sp>
        </p:grpSp>
        <p:grpSp>
          <p:nvGrpSpPr>
            <p:cNvPr id="137" name="组合 136"/>
            <p:cNvGrpSpPr/>
            <p:nvPr/>
          </p:nvGrpSpPr>
          <p:grpSpPr>
            <a:xfrm>
              <a:off x="1425109" y="2442666"/>
              <a:ext cx="2522030" cy="987387"/>
              <a:chOff x="897975" y="1900229"/>
              <a:chExt cx="2522030" cy="987387"/>
            </a:xfrm>
          </p:grpSpPr>
          <p:sp>
            <p:nvSpPr>
              <p:cNvPr id="138" name="矩形 137"/>
              <p:cNvSpPr/>
              <p:nvPr/>
            </p:nvSpPr>
            <p:spPr bwMode="auto">
              <a:xfrm>
                <a:off x="897975" y="2345168"/>
                <a:ext cx="2522030" cy="5424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20000"/>
                  </a:lnSpc>
                  <a:spcBef>
                    <a:spcPct val="0"/>
                  </a:spcBef>
                </a:pPr>
                <a:r>
                  <a:rPr lang="sv-SE" altLang="zh-CN" sz="1200" dirty="0">
                    <a:latin typeface="Arial" panose="020B0604020202090204" pitchFamily="34" charset="0"/>
                    <a:ea typeface="华文楷体" panose="02010600040101010101" pitchFamily="2" charset="-122"/>
                  </a:rPr>
                  <a:t>Justo sed sed rebum sea.</a:t>
                </a:r>
                <a:endParaRPr lang="en-US" altLang="zh-CN" sz="1200" dirty="0">
                  <a:latin typeface="Arial" panose="020B0604020202090204" pitchFamily="34" charset="0"/>
                  <a:ea typeface="华文楷体" panose="02010600040101010101" pitchFamily="2" charset="-122"/>
                </a:endParaRPr>
              </a:p>
            </p:txBody>
          </p:sp>
          <p:sp>
            <p:nvSpPr>
              <p:cNvPr id="139" name="文本框 138"/>
              <p:cNvSpPr txBox="1"/>
              <p:nvPr/>
            </p:nvSpPr>
            <p:spPr bwMode="auto">
              <a:xfrm>
                <a:off x="897975" y="1900229"/>
                <a:ext cx="2522030" cy="444941"/>
              </a:xfrm>
              <a:prstGeom prst="rect">
                <a:avLst/>
              </a:prstGeom>
              <a:noFill/>
              <a:ln w="9525">
                <a:noFill/>
                <a:miter lim="800000"/>
              </a:ln>
              <a:extLst>
                <a:ext uri="{909E8E84-426E-40DD-AFC4-6F175D3DCCD1}">
                  <a14:hiddenFill xmlns:a14="http://schemas.microsoft.com/office/drawing/2010/main">
                    <a:solidFill>
                      <a:srgbClr val="FFFFFF"/>
                    </a:solidFill>
                  </a14:hiddenFill>
                </a:ext>
              </a:extLst>
            </p:spPr>
            <p:txBody>
              <a:bodyPr wrap="square" lIns="91440" tIns="45720" rIns="91440" bIns="45720" anchor="b"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eaLnBrk="1" hangingPunct="1">
                  <a:spcBef>
                    <a:spcPct val="0"/>
                  </a:spcBef>
                  <a:buFontTx/>
                  <a:buNone/>
                </a:pPr>
                <a:r>
                  <a:rPr lang="en-US" altLang="zh-CN" b="1" dirty="0">
                    <a:latin typeface="Arial" panose="020B0604020202090204" pitchFamily="34" charset="0"/>
                    <a:ea typeface="华文楷体" panose="02010600040101010101" pitchFamily="2" charset="-122"/>
                  </a:rPr>
                  <a:t>Click to add text</a:t>
                </a:r>
                <a:endParaRPr lang="en-US" altLang="zh-CN" b="1" dirty="0">
                  <a:latin typeface="Arial" panose="020B0604020202090204" pitchFamily="34" charset="0"/>
                  <a:ea typeface="华文楷体" panose="02010600040101010101" pitchFamily="2" charset="-122"/>
                </a:endParaRPr>
              </a:p>
            </p:txBody>
          </p:sp>
        </p:grpSp>
        <p:grpSp>
          <p:nvGrpSpPr>
            <p:cNvPr id="140" name="组合 139"/>
            <p:cNvGrpSpPr/>
            <p:nvPr/>
          </p:nvGrpSpPr>
          <p:grpSpPr>
            <a:xfrm>
              <a:off x="1425109" y="3572304"/>
              <a:ext cx="2522030" cy="987387"/>
              <a:chOff x="897975" y="1900229"/>
              <a:chExt cx="2522030" cy="987387"/>
            </a:xfrm>
          </p:grpSpPr>
          <p:sp>
            <p:nvSpPr>
              <p:cNvPr id="141" name="矩形 140"/>
              <p:cNvSpPr/>
              <p:nvPr/>
            </p:nvSpPr>
            <p:spPr bwMode="auto">
              <a:xfrm>
                <a:off x="897975" y="2345168"/>
                <a:ext cx="2522030" cy="5424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20000"/>
                  </a:lnSpc>
                  <a:spcBef>
                    <a:spcPct val="0"/>
                  </a:spcBef>
                </a:pPr>
                <a:r>
                  <a:rPr lang="sv-SE" altLang="zh-CN" sz="1200" dirty="0">
                    <a:latin typeface="Arial" panose="020B0604020202090204" pitchFamily="34" charset="0"/>
                    <a:ea typeface="华文楷体" panose="02010600040101010101" pitchFamily="2" charset="-122"/>
                  </a:rPr>
                  <a:t>Justo sed sed rebum sea.</a:t>
                </a:r>
                <a:endParaRPr lang="en-US" altLang="zh-CN" sz="1200" dirty="0">
                  <a:latin typeface="Arial" panose="020B0604020202090204" pitchFamily="34" charset="0"/>
                  <a:ea typeface="华文楷体" panose="02010600040101010101" pitchFamily="2" charset="-122"/>
                </a:endParaRPr>
              </a:p>
            </p:txBody>
          </p:sp>
          <p:sp>
            <p:nvSpPr>
              <p:cNvPr id="142" name="文本框 141"/>
              <p:cNvSpPr txBox="1"/>
              <p:nvPr/>
            </p:nvSpPr>
            <p:spPr bwMode="auto">
              <a:xfrm>
                <a:off x="897975" y="1900229"/>
                <a:ext cx="2522030" cy="444941"/>
              </a:xfrm>
              <a:prstGeom prst="rect">
                <a:avLst/>
              </a:prstGeom>
              <a:noFill/>
              <a:ln w="9525">
                <a:noFill/>
                <a:miter lim="800000"/>
              </a:ln>
              <a:extLst>
                <a:ext uri="{909E8E84-426E-40DD-AFC4-6F175D3DCCD1}">
                  <a14:hiddenFill xmlns:a14="http://schemas.microsoft.com/office/drawing/2010/main">
                    <a:solidFill>
                      <a:srgbClr val="FFFFFF"/>
                    </a:solidFill>
                  </a14:hiddenFill>
                </a:ext>
              </a:extLst>
            </p:spPr>
            <p:txBody>
              <a:bodyPr wrap="square" lIns="91440" tIns="45720" rIns="91440" bIns="45720" anchor="b"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eaLnBrk="1" hangingPunct="1">
                  <a:spcBef>
                    <a:spcPct val="0"/>
                  </a:spcBef>
                  <a:buFontTx/>
                  <a:buNone/>
                </a:pPr>
                <a:r>
                  <a:rPr lang="en-US" altLang="zh-CN" b="1" dirty="0">
                    <a:latin typeface="Arial" panose="020B0604020202090204" pitchFamily="34" charset="0"/>
                    <a:ea typeface="华文楷体" panose="02010600040101010101" pitchFamily="2" charset="-122"/>
                  </a:rPr>
                  <a:t>Click to add text</a:t>
                </a:r>
                <a:endParaRPr lang="en-US" altLang="zh-CN" b="1" dirty="0">
                  <a:latin typeface="Arial" panose="020B0604020202090204" pitchFamily="34" charset="0"/>
                  <a:ea typeface="华文楷体" panose="02010600040101010101" pitchFamily="2" charset="-122"/>
                </a:endParaRPr>
              </a:p>
            </p:txBody>
          </p:sp>
        </p:grpSp>
        <p:sp>
          <p:nvSpPr>
            <p:cNvPr id="161" name="任意多边形: 形状 160"/>
            <p:cNvSpPr/>
            <p:nvPr/>
          </p:nvSpPr>
          <p:spPr>
            <a:xfrm>
              <a:off x="2266428" y="101600"/>
              <a:ext cx="7659145" cy="5104972"/>
            </a:xfrm>
            <a:custGeom>
              <a:avLst/>
              <a:gdLst>
                <a:gd name="connsiteX0" fmla="*/ 0 w 7659145"/>
                <a:gd name="connsiteY0" fmla="*/ 0 h 5104972"/>
                <a:gd name="connsiteX1" fmla="*/ 7659145 w 7659145"/>
                <a:gd name="connsiteY1" fmla="*/ 0 h 5104972"/>
                <a:gd name="connsiteX2" fmla="*/ 3829573 w 7659145"/>
                <a:gd name="connsiteY2" fmla="*/ 5104972 h 5104972"/>
              </a:gdLst>
              <a:ahLst/>
              <a:cxnLst>
                <a:cxn ang="0">
                  <a:pos x="connsiteX0" y="connsiteY0"/>
                </a:cxn>
                <a:cxn ang="0">
                  <a:pos x="connsiteX1" y="connsiteY1"/>
                </a:cxn>
                <a:cxn ang="0">
                  <a:pos x="connsiteX2" y="connsiteY2"/>
                </a:cxn>
              </a:cxnLst>
              <a:rect l="l" t="t" r="r" b="b"/>
              <a:pathLst>
                <a:path w="7659145" h="5104972">
                  <a:moveTo>
                    <a:pt x="0" y="0"/>
                  </a:moveTo>
                  <a:lnTo>
                    <a:pt x="7659145" y="0"/>
                  </a:lnTo>
                  <a:lnTo>
                    <a:pt x="3829573" y="5104972"/>
                  </a:lnTo>
                  <a:close/>
                </a:path>
              </a:pathLst>
            </a:custGeom>
            <a:gradFill flip="none" rotWithShape="1">
              <a:gsLst>
                <a:gs pos="0">
                  <a:schemeClr val="accent1">
                    <a:alpha val="37000"/>
                  </a:schemeClr>
                </a:gs>
                <a:gs pos="82000">
                  <a:schemeClr val="accent1">
                    <a:lumMod val="20000"/>
                    <a:lumOff val="80000"/>
                    <a:alpha val="0"/>
                  </a:schemeClr>
                </a:gs>
              </a:gsLst>
              <a:lin ang="16200000" scaled="1"/>
              <a:tileRect/>
            </a:gradFill>
            <a:ln w="12700">
              <a:noFill/>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dirty="0"/>
            </a:p>
          </p:txBody>
        </p:sp>
        <p:grpSp>
          <p:nvGrpSpPr>
            <p:cNvPr id="162" name="组合 161"/>
            <p:cNvGrpSpPr/>
            <p:nvPr/>
          </p:nvGrpSpPr>
          <p:grpSpPr>
            <a:xfrm>
              <a:off x="8232161" y="1313028"/>
              <a:ext cx="2522030" cy="987387"/>
              <a:chOff x="897975" y="1900229"/>
              <a:chExt cx="2522030" cy="987387"/>
            </a:xfrm>
          </p:grpSpPr>
          <p:sp>
            <p:nvSpPr>
              <p:cNvPr id="163" name="矩形 162"/>
              <p:cNvSpPr/>
              <p:nvPr/>
            </p:nvSpPr>
            <p:spPr bwMode="auto">
              <a:xfrm>
                <a:off x="897975" y="2345168"/>
                <a:ext cx="2522030" cy="5424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r">
                  <a:lnSpc>
                    <a:spcPct val="120000"/>
                  </a:lnSpc>
                  <a:spcBef>
                    <a:spcPct val="0"/>
                  </a:spcBef>
                </a:pPr>
                <a:r>
                  <a:rPr lang="sv-SE" altLang="zh-CN" sz="1200" dirty="0">
                    <a:latin typeface="Arial" panose="020B0604020202090204" pitchFamily="34" charset="0"/>
                    <a:ea typeface="华文楷体" panose="02010600040101010101" pitchFamily="2" charset="-122"/>
                  </a:rPr>
                  <a:t>Justo sed sed rebum sea.</a:t>
                </a:r>
                <a:endParaRPr lang="en-US" altLang="zh-CN" sz="1200" dirty="0">
                  <a:latin typeface="Arial" panose="020B0604020202090204" pitchFamily="34" charset="0"/>
                  <a:ea typeface="华文楷体" panose="02010600040101010101" pitchFamily="2" charset="-122"/>
                </a:endParaRPr>
              </a:p>
            </p:txBody>
          </p:sp>
          <p:sp>
            <p:nvSpPr>
              <p:cNvPr id="164" name="文本框 163"/>
              <p:cNvSpPr txBox="1"/>
              <p:nvPr/>
            </p:nvSpPr>
            <p:spPr bwMode="auto">
              <a:xfrm>
                <a:off x="897975" y="1900229"/>
                <a:ext cx="2522030" cy="444941"/>
              </a:xfrm>
              <a:prstGeom prst="rect">
                <a:avLst/>
              </a:prstGeom>
              <a:noFill/>
              <a:ln w="9525">
                <a:noFill/>
                <a:miter lim="800000"/>
              </a:ln>
              <a:extLst>
                <a:ext uri="{909E8E84-426E-40DD-AFC4-6F175D3DCCD1}">
                  <a14:hiddenFill xmlns:a14="http://schemas.microsoft.com/office/drawing/2010/main">
                    <a:solidFill>
                      <a:srgbClr val="FFFFFF"/>
                    </a:solidFill>
                  </a14:hiddenFill>
                </a:ext>
              </a:extLst>
            </p:spPr>
            <p:txBody>
              <a:bodyPr wrap="square" lIns="91440" tIns="45720" rIns="91440" bIns="45720" anchor="b"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r" eaLnBrk="1" hangingPunct="1">
                  <a:spcBef>
                    <a:spcPct val="0"/>
                  </a:spcBef>
                  <a:buFontTx/>
                  <a:buNone/>
                </a:pPr>
                <a:r>
                  <a:rPr lang="en-US" altLang="zh-CN" b="1" dirty="0">
                    <a:latin typeface="Arial" panose="020B0604020202090204" pitchFamily="34" charset="0"/>
                    <a:ea typeface="华文楷体" panose="02010600040101010101" pitchFamily="2" charset="-122"/>
                  </a:rPr>
                  <a:t>Click to add text</a:t>
                </a:r>
                <a:endParaRPr lang="en-US" altLang="zh-CN" b="1" dirty="0">
                  <a:latin typeface="Arial" panose="020B0604020202090204" pitchFamily="34" charset="0"/>
                  <a:ea typeface="华文楷体" panose="02010600040101010101" pitchFamily="2" charset="-122"/>
                </a:endParaRPr>
              </a:p>
            </p:txBody>
          </p:sp>
        </p:grpSp>
        <p:grpSp>
          <p:nvGrpSpPr>
            <p:cNvPr id="165" name="组合 164"/>
            <p:cNvGrpSpPr/>
            <p:nvPr/>
          </p:nvGrpSpPr>
          <p:grpSpPr>
            <a:xfrm>
              <a:off x="8232161" y="2442666"/>
              <a:ext cx="2522030" cy="987387"/>
              <a:chOff x="897975" y="1900229"/>
              <a:chExt cx="2522030" cy="987387"/>
            </a:xfrm>
          </p:grpSpPr>
          <p:sp>
            <p:nvSpPr>
              <p:cNvPr id="166" name="矩形 165"/>
              <p:cNvSpPr/>
              <p:nvPr/>
            </p:nvSpPr>
            <p:spPr bwMode="auto">
              <a:xfrm>
                <a:off x="897975" y="2345168"/>
                <a:ext cx="2522030" cy="5424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r">
                  <a:lnSpc>
                    <a:spcPct val="120000"/>
                  </a:lnSpc>
                  <a:spcBef>
                    <a:spcPct val="0"/>
                  </a:spcBef>
                </a:pPr>
                <a:r>
                  <a:rPr lang="sv-SE" altLang="zh-CN" sz="1200" dirty="0">
                    <a:latin typeface="Arial" panose="020B0604020202090204" pitchFamily="34" charset="0"/>
                    <a:ea typeface="华文楷体" panose="02010600040101010101" pitchFamily="2" charset="-122"/>
                  </a:rPr>
                  <a:t>Justo sed sed rebum sea.</a:t>
                </a:r>
                <a:endParaRPr lang="en-US" altLang="zh-CN" sz="1200" dirty="0">
                  <a:latin typeface="Arial" panose="020B0604020202090204" pitchFamily="34" charset="0"/>
                  <a:ea typeface="华文楷体" panose="02010600040101010101" pitchFamily="2" charset="-122"/>
                </a:endParaRPr>
              </a:p>
            </p:txBody>
          </p:sp>
          <p:sp>
            <p:nvSpPr>
              <p:cNvPr id="167" name="文本框 166"/>
              <p:cNvSpPr txBox="1"/>
              <p:nvPr/>
            </p:nvSpPr>
            <p:spPr bwMode="auto">
              <a:xfrm>
                <a:off x="897975" y="1900229"/>
                <a:ext cx="2522030" cy="444941"/>
              </a:xfrm>
              <a:prstGeom prst="rect">
                <a:avLst/>
              </a:prstGeom>
              <a:noFill/>
              <a:ln w="9525">
                <a:noFill/>
                <a:miter lim="800000"/>
              </a:ln>
              <a:extLst>
                <a:ext uri="{909E8E84-426E-40DD-AFC4-6F175D3DCCD1}">
                  <a14:hiddenFill xmlns:a14="http://schemas.microsoft.com/office/drawing/2010/main">
                    <a:solidFill>
                      <a:srgbClr val="FFFFFF"/>
                    </a:solidFill>
                  </a14:hiddenFill>
                </a:ext>
              </a:extLst>
            </p:spPr>
            <p:txBody>
              <a:bodyPr wrap="square" lIns="91440" tIns="45720" rIns="91440" bIns="45720" anchor="b"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r" eaLnBrk="1" hangingPunct="1">
                  <a:spcBef>
                    <a:spcPct val="0"/>
                  </a:spcBef>
                  <a:buFontTx/>
                  <a:buNone/>
                </a:pPr>
                <a:r>
                  <a:rPr lang="en-US" altLang="zh-CN" b="1" dirty="0">
                    <a:latin typeface="Arial" panose="020B0604020202090204" pitchFamily="34" charset="0"/>
                    <a:ea typeface="华文楷体" panose="02010600040101010101" pitchFamily="2" charset="-122"/>
                  </a:rPr>
                  <a:t>Click to add text</a:t>
                </a:r>
                <a:endParaRPr lang="en-US" altLang="zh-CN" b="1" dirty="0">
                  <a:latin typeface="Arial" panose="020B0604020202090204" pitchFamily="34" charset="0"/>
                  <a:ea typeface="华文楷体" panose="02010600040101010101" pitchFamily="2" charset="-122"/>
                </a:endParaRPr>
              </a:p>
            </p:txBody>
          </p:sp>
        </p:grpSp>
        <p:grpSp>
          <p:nvGrpSpPr>
            <p:cNvPr id="168" name="组合 167"/>
            <p:cNvGrpSpPr/>
            <p:nvPr/>
          </p:nvGrpSpPr>
          <p:grpSpPr>
            <a:xfrm>
              <a:off x="8232161" y="3572304"/>
              <a:ext cx="2522030" cy="987387"/>
              <a:chOff x="897975" y="1900229"/>
              <a:chExt cx="2522030" cy="987387"/>
            </a:xfrm>
          </p:grpSpPr>
          <p:sp>
            <p:nvSpPr>
              <p:cNvPr id="169" name="矩形 168"/>
              <p:cNvSpPr/>
              <p:nvPr/>
            </p:nvSpPr>
            <p:spPr bwMode="auto">
              <a:xfrm>
                <a:off x="897975" y="2345168"/>
                <a:ext cx="2522030" cy="5424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r">
                  <a:lnSpc>
                    <a:spcPct val="120000"/>
                  </a:lnSpc>
                  <a:spcBef>
                    <a:spcPct val="0"/>
                  </a:spcBef>
                </a:pPr>
                <a:r>
                  <a:rPr lang="sv-SE" altLang="zh-CN" sz="1200" dirty="0">
                    <a:latin typeface="Arial" panose="020B0604020202090204" pitchFamily="34" charset="0"/>
                    <a:ea typeface="华文楷体" panose="02010600040101010101" pitchFamily="2" charset="-122"/>
                  </a:rPr>
                  <a:t>Justo sed sed rebum sea.</a:t>
                </a:r>
                <a:endParaRPr lang="en-US" altLang="zh-CN" sz="1200" dirty="0">
                  <a:latin typeface="Arial" panose="020B0604020202090204" pitchFamily="34" charset="0"/>
                  <a:ea typeface="华文楷体" panose="02010600040101010101" pitchFamily="2" charset="-122"/>
                </a:endParaRPr>
              </a:p>
            </p:txBody>
          </p:sp>
          <p:sp>
            <p:nvSpPr>
              <p:cNvPr id="170" name="文本框 169"/>
              <p:cNvSpPr txBox="1"/>
              <p:nvPr/>
            </p:nvSpPr>
            <p:spPr bwMode="auto">
              <a:xfrm>
                <a:off x="897975" y="1900229"/>
                <a:ext cx="2522030" cy="444941"/>
              </a:xfrm>
              <a:prstGeom prst="rect">
                <a:avLst/>
              </a:prstGeom>
              <a:noFill/>
              <a:ln w="9525">
                <a:noFill/>
                <a:miter lim="800000"/>
              </a:ln>
              <a:extLst>
                <a:ext uri="{909E8E84-426E-40DD-AFC4-6F175D3DCCD1}">
                  <a14:hiddenFill xmlns:a14="http://schemas.microsoft.com/office/drawing/2010/main">
                    <a:solidFill>
                      <a:srgbClr val="FFFFFF"/>
                    </a:solidFill>
                  </a14:hiddenFill>
                </a:ext>
              </a:extLst>
            </p:spPr>
            <p:txBody>
              <a:bodyPr wrap="square" lIns="91440" tIns="45720" rIns="91440" bIns="45720" anchor="b"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r" eaLnBrk="1" hangingPunct="1">
                  <a:spcBef>
                    <a:spcPct val="0"/>
                  </a:spcBef>
                  <a:buFontTx/>
                  <a:buNone/>
                </a:pPr>
                <a:r>
                  <a:rPr lang="en-US" altLang="zh-CN" b="1" dirty="0">
                    <a:latin typeface="Arial" panose="020B0604020202090204" pitchFamily="34" charset="0"/>
                    <a:ea typeface="华文楷体" panose="02010600040101010101" pitchFamily="2" charset="-122"/>
                  </a:rPr>
                  <a:t>Click to add text</a:t>
                </a:r>
                <a:endParaRPr lang="en-US" altLang="zh-CN" b="1" dirty="0">
                  <a:latin typeface="Arial" panose="020B0604020202090204" pitchFamily="34" charset="0"/>
                  <a:ea typeface="华文楷体" panose="02010600040101010101" pitchFamily="2" charset="-122"/>
                </a:endParaRPr>
              </a:p>
            </p:txBody>
          </p:sp>
        </p:grpSp>
        <p:sp>
          <p:nvSpPr>
            <p:cNvPr id="11" name="弧形 10"/>
            <p:cNvSpPr/>
            <p:nvPr/>
          </p:nvSpPr>
          <p:spPr>
            <a:xfrm>
              <a:off x="4292017" y="1598422"/>
              <a:ext cx="3595267" cy="485221"/>
            </a:xfrm>
            <a:prstGeom prst="arc">
              <a:avLst>
                <a:gd name="adj1" fmla="val 16938555"/>
                <a:gd name="adj2" fmla="val 16823713"/>
              </a:avLst>
            </a:prstGeom>
            <a:gradFill>
              <a:gsLst>
                <a:gs pos="0">
                  <a:schemeClr val="accent1">
                    <a:alpha val="0"/>
                  </a:schemeClr>
                </a:gs>
                <a:gs pos="100000">
                  <a:schemeClr val="accent1">
                    <a:alpha val="21000"/>
                  </a:schemeClr>
                </a:gs>
              </a:gsLst>
              <a:lin ang="5400000" scaled="1"/>
            </a:gradFill>
            <a:ln w="12700">
              <a:gradFill>
                <a:gsLst>
                  <a:gs pos="0">
                    <a:schemeClr val="accent1">
                      <a:alpha val="0"/>
                    </a:schemeClr>
                  </a:gs>
                  <a:gs pos="100000">
                    <a:schemeClr val="accent1"/>
                  </a:gs>
                </a:gsLst>
                <a:lin ang="5400000" scaled="1"/>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zh-CN" b="1" dirty="0">
                  <a:solidFill>
                    <a:schemeClr val="accent1"/>
                  </a:solidFill>
                  <a:latin typeface="Arial" panose="020B0604020202090204" pitchFamily="34" charset="0"/>
                  <a:ea typeface="华文楷体" panose="02010600040101010101" pitchFamily="2" charset="-122"/>
                </a:rPr>
                <a:t>Step1</a:t>
              </a:r>
              <a:endParaRPr kumimoji="1" lang="en-US" altLang="zh-CN" b="1" dirty="0">
                <a:solidFill>
                  <a:schemeClr val="accent1"/>
                </a:solidFill>
                <a:latin typeface="Arial" panose="020B0604020202090204" pitchFamily="34" charset="0"/>
                <a:ea typeface="华文楷体" panose="02010600040101010101" pitchFamily="2" charset="-122"/>
              </a:endParaRPr>
            </a:p>
          </p:txBody>
        </p:sp>
        <p:sp>
          <p:nvSpPr>
            <p:cNvPr id="31" name="弧形 30"/>
            <p:cNvSpPr/>
            <p:nvPr/>
          </p:nvSpPr>
          <p:spPr>
            <a:xfrm>
              <a:off x="4879925" y="2571158"/>
              <a:ext cx="2419451" cy="478787"/>
            </a:xfrm>
            <a:prstGeom prst="arc">
              <a:avLst>
                <a:gd name="adj1" fmla="val 16938555"/>
                <a:gd name="adj2" fmla="val 16823713"/>
              </a:avLst>
            </a:prstGeom>
            <a:gradFill>
              <a:gsLst>
                <a:gs pos="0">
                  <a:schemeClr val="accent1">
                    <a:alpha val="0"/>
                  </a:schemeClr>
                </a:gs>
                <a:gs pos="100000">
                  <a:schemeClr val="accent1">
                    <a:alpha val="21000"/>
                  </a:schemeClr>
                </a:gs>
              </a:gsLst>
              <a:lin ang="5400000" scaled="1"/>
            </a:gradFill>
            <a:ln w="12700">
              <a:gradFill>
                <a:gsLst>
                  <a:gs pos="0">
                    <a:schemeClr val="accent1">
                      <a:alpha val="0"/>
                    </a:schemeClr>
                  </a:gs>
                  <a:gs pos="100000">
                    <a:schemeClr val="accent1"/>
                  </a:gs>
                </a:gsLst>
                <a:lin ang="5400000" scaled="1"/>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zh-CN" b="1" dirty="0">
                  <a:solidFill>
                    <a:schemeClr val="accent1"/>
                  </a:solidFill>
                  <a:latin typeface="Arial" panose="020B0604020202090204" pitchFamily="34" charset="0"/>
                  <a:ea typeface="华文楷体" panose="02010600040101010101" pitchFamily="2" charset="-122"/>
                </a:rPr>
                <a:t>Step2</a:t>
              </a:r>
              <a:endParaRPr kumimoji="1" lang="en-US" altLang="zh-CN" b="1" dirty="0">
                <a:solidFill>
                  <a:schemeClr val="accent1"/>
                </a:solidFill>
                <a:latin typeface="Arial" panose="020B0604020202090204" pitchFamily="34" charset="0"/>
                <a:ea typeface="华文楷体" panose="02010600040101010101" pitchFamily="2" charset="-122"/>
              </a:endParaRPr>
            </a:p>
          </p:txBody>
        </p:sp>
        <p:sp>
          <p:nvSpPr>
            <p:cNvPr id="34" name="弧形 33"/>
            <p:cNvSpPr/>
            <p:nvPr/>
          </p:nvSpPr>
          <p:spPr>
            <a:xfrm>
              <a:off x="5141913" y="3537459"/>
              <a:ext cx="1895474" cy="419418"/>
            </a:xfrm>
            <a:prstGeom prst="arc">
              <a:avLst>
                <a:gd name="adj1" fmla="val 16938555"/>
                <a:gd name="adj2" fmla="val 16823713"/>
              </a:avLst>
            </a:prstGeom>
            <a:gradFill>
              <a:gsLst>
                <a:gs pos="0">
                  <a:schemeClr val="accent1">
                    <a:alpha val="0"/>
                  </a:schemeClr>
                </a:gs>
                <a:gs pos="100000">
                  <a:schemeClr val="accent1">
                    <a:alpha val="21000"/>
                  </a:schemeClr>
                </a:gs>
              </a:gsLst>
              <a:lin ang="5400000" scaled="1"/>
            </a:gradFill>
            <a:ln w="12700">
              <a:gradFill>
                <a:gsLst>
                  <a:gs pos="0">
                    <a:schemeClr val="accent1">
                      <a:alpha val="0"/>
                    </a:schemeClr>
                  </a:gs>
                  <a:gs pos="100000">
                    <a:schemeClr val="accent1"/>
                  </a:gs>
                </a:gsLst>
                <a:lin ang="5400000" scaled="1"/>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zh-CN" b="1" dirty="0">
                  <a:solidFill>
                    <a:schemeClr val="accent1"/>
                  </a:solidFill>
                  <a:latin typeface="Arial" panose="020B0604020202090204" pitchFamily="34" charset="0"/>
                  <a:ea typeface="华文楷体" panose="02010600040101010101" pitchFamily="2" charset="-122"/>
                </a:rPr>
                <a:t>Step3</a:t>
              </a:r>
              <a:endParaRPr kumimoji="1" lang="en-US" altLang="zh-CN" b="1" dirty="0">
                <a:solidFill>
                  <a:schemeClr val="accent1"/>
                </a:solidFill>
                <a:latin typeface="Arial" panose="020B0604020202090204" pitchFamily="34" charset="0"/>
                <a:ea typeface="华文楷体" panose="02010600040101010101" pitchFamily="2" charset="-122"/>
              </a:endParaRPr>
            </a:p>
          </p:txBody>
        </p:sp>
      </p:grpSp>
      <p:sp>
        <p:nvSpPr>
          <p:cNvPr id="4" name="标题 3"/>
          <p:cNvSpPr>
            <a:spLocks noGrp="1"/>
          </p:cNvSpPr>
          <p:nvPr>
            <p:ph type="title"/>
          </p:nvPr>
        </p:nvSpPr>
        <p:spPr/>
        <p:txBody>
          <a:bodyPr/>
          <a:lstStyle/>
          <a:p>
            <a:endParaRPr lang="zh-CN" altLang="en-US"/>
          </a:p>
        </p:txBody>
      </p:sp>
    </p:spTree>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6" name="组合 95"/>
          <p:cNvGrpSpPr/>
          <p:nvPr/>
        </p:nvGrpSpPr>
        <p:grpSpPr>
          <a:xfrm>
            <a:off x="614667" y="830274"/>
            <a:ext cx="10962666" cy="6027726"/>
            <a:chOff x="614667" y="830274"/>
            <a:chExt cx="10962666" cy="6027726"/>
          </a:xfrm>
        </p:grpSpPr>
        <p:sp>
          <p:nvSpPr>
            <p:cNvPr id="95" name="任意多边形: 形状 94"/>
            <p:cNvSpPr/>
            <p:nvPr/>
          </p:nvSpPr>
          <p:spPr>
            <a:xfrm>
              <a:off x="1371268" y="830274"/>
              <a:ext cx="9735087" cy="6027726"/>
            </a:xfrm>
            <a:custGeom>
              <a:avLst/>
              <a:gdLst>
                <a:gd name="connsiteX0" fmla="*/ 4715488 w 9735087"/>
                <a:gd name="connsiteY0" fmla="*/ 0 h 6027726"/>
                <a:gd name="connsiteX1" fmla="*/ 6267685 w 9735087"/>
                <a:gd name="connsiteY1" fmla="*/ 1047835 h 6027726"/>
                <a:gd name="connsiteX2" fmla="*/ 5662775 w 9735087"/>
                <a:gd name="connsiteY2" fmla="*/ 1047835 h 6027726"/>
                <a:gd name="connsiteX3" fmla="*/ 9587326 w 9735087"/>
                <a:gd name="connsiteY3" fmla="*/ 5955491 h 6027726"/>
                <a:gd name="connsiteX4" fmla="*/ 9735087 w 9735087"/>
                <a:gd name="connsiteY4" fmla="*/ 6027726 h 6027726"/>
                <a:gd name="connsiteX5" fmla="*/ 0 w 9735087"/>
                <a:gd name="connsiteY5" fmla="*/ 6027726 h 6027726"/>
                <a:gd name="connsiteX6" fmla="*/ 84536 w 9735087"/>
                <a:gd name="connsiteY6" fmla="*/ 5988542 h 6027726"/>
                <a:gd name="connsiteX7" fmla="*/ 3445176 w 9735087"/>
                <a:gd name="connsiteY7" fmla="*/ 2670287 h 6027726"/>
                <a:gd name="connsiteX8" fmla="*/ 3808124 w 9735087"/>
                <a:gd name="connsiteY8" fmla="*/ 1047835 h 6027726"/>
                <a:gd name="connsiteX9" fmla="*/ 3223784 w 9735087"/>
                <a:gd name="connsiteY9" fmla="*/ 1047835 h 6027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735087" h="6027726">
                  <a:moveTo>
                    <a:pt x="4715488" y="0"/>
                  </a:moveTo>
                  <a:lnTo>
                    <a:pt x="6267685" y="1047835"/>
                  </a:lnTo>
                  <a:lnTo>
                    <a:pt x="5662775" y="1047835"/>
                  </a:lnTo>
                  <a:cubicBezTo>
                    <a:pt x="5662775" y="1047835"/>
                    <a:pt x="5315011" y="3768363"/>
                    <a:pt x="9587326" y="5955491"/>
                  </a:cubicBezTo>
                  <a:lnTo>
                    <a:pt x="9735087" y="6027726"/>
                  </a:lnTo>
                  <a:lnTo>
                    <a:pt x="0" y="6027726"/>
                  </a:lnTo>
                  <a:lnTo>
                    <a:pt x="84536" y="5988542"/>
                  </a:lnTo>
                  <a:cubicBezTo>
                    <a:pt x="1297912" y="5409582"/>
                    <a:pt x="2821136" y="4375006"/>
                    <a:pt x="3445176" y="2670287"/>
                  </a:cubicBezTo>
                  <a:cubicBezTo>
                    <a:pt x="3566159" y="2298476"/>
                    <a:pt x="3808124" y="1047835"/>
                    <a:pt x="3808124" y="1047835"/>
                  </a:cubicBezTo>
                  <a:lnTo>
                    <a:pt x="3223784" y="1047835"/>
                  </a:lnTo>
                  <a:close/>
                </a:path>
              </a:pathLst>
            </a:custGeom>
            <a:gradFill flip="none" rotWithShape="1">
              <a:gsLst>
                <a:gs pos="0">
                  <a:schemeClr val="accent1">
                    <a:lumMod val="60000"/>
                    <a:lumOff val="40000"/>
                    <a:alpha val="50000"/>
                  </a:schemeClr>
                </a:gs>
                <a:gs pos="100000">
                  <a:schemeClr val="accent1">
                    <a:lumMod val="60000"/>
                    <a:lumOff val="40000"/>
                    <a:alpha val="0"/>
                  </a:schemeClr>
                </a:gs>
              </a:gsLst>
              <a:lin ang="5400000" scaled="1"/>
              <a:tileRect/>
            </a:gradFill>
            <a:ln w="40186" cap="flat">
              <a:noFill/>
              <a:prstDash val="solid"/>
              <a:miter/>
            </a:ln>
          </p:spPr>
          <p:txBody>
            <a:bodyPr wrap="square" rtlCol="0" anchor="ctr">
              <a:noAutofit/>
            </a:bodyPr>
            <a:lstStyle/>
            <a:p>
              <a:endParaRPr lang="zh-CN" altLang="en-US" dirty="0"/>
            </a:p>
          </p:txBody>
        </p:sp>
        <p:grpSp>
          <p:nvGrpSpPr>
            <p:cNvPr id="92" name="组合 91"/>
            <p:cNvGrpSpPr/>
            <p:nvPr/>
          </p:nvGrpSpPr>
          <p:grpSpPr>
            <a:xfrm>
              <a:off x="614667" y="1517414"/>
              <a:ext cx="10962666" cy="5340584"/>
              <a:chOff x="608317" y="1517414"/>
              <a:chExt cx="10962666" cy="5340584"/>
            </a:xfrm>
          </p:grpSpPr>
          <p:grpSp>
            <p:nvGrpSpPr>
              <p:cNvPr id="3" name="组合 2"/>
              <p:cNvGrpSpPr/>
              <p:nvPr/>
            </p:nvGrpSpPr>
            <p:grpSpPr>
              <a:xfrm>
                <a:off x="1969292" y="1517414"/>
                <a:ext cx="8253414" cy="5340584"/>
                <a:chOff x="1500716" y="1052206"/>
                <a:chExt cx="9177866" cy="5805792"/>
              </a:xfrm>
            </p:grpSpPr>
            <p:sp>
              <p:nvSpPr>
                <p:cNvPr id="8" name="任意多边形: 形状 7"/>
                <p:cNvSpPr/>
                <p:nvPr/>
              </p:nvSpPr>
              <p:spPr>
                <a:xfrm>
                  <a:off x="1500716" y="1052206"/>
                  <a:ext cx="9177866" cy="5805792"/>
                </a:xfrm>
                <a:custGeom>
                  <a:avLst/>
                  <a:gdLst>
                    <a:gd name="connsiteX0" fmla="*/ 345 w 4216139"/>
                    <a:gd name="connsiteY0" fmla="*/ 3934615 h 3934607"/>
                    <a:gd name="connsiteX1" fmla="*/ 1682698 w 4216139"/>
                    <a:gd name="connsiteY1" fmla="*/ 1588650 h 3934607"/>
                    <a:gd name="connsiteX2" fmla="*/ 1803355 w 4216139"/>
                    <a:gd name="connsiteY2" fmla="*/ 623399 h 3934607"/>
                    <a:gd name="connsiteX3" fmla="*/ 1609099 w 4216139"/>
                    <a:gd name="connsiteY3" fmla="*/ 623399 h 3934607"/>
                    <a:gd name="connsiteX4" fmla="*/ 2104996 w 4216139"/>
                    <a:gd name="connsiteY4" fmla="*/ 7 h 3934607"/>
                    <a:gd name="connsiteX5" fmla="*/ 2621003 w 4216139"/>
                    <a:gd name="connsiteY5" fmla="*/ 623399 h 3934607"/>
                    <a:gd name="connsiteX6" fmla="*/ 2419909 w 4216139"/>
                    <a:gd name="connsiteY6" fmla="*/ 623399 h 3934607"/>
                    <a:gd name="connsiteX7" fmla="*/ 4216485 w 4216139"/>
                    <a:gd name="connsiteY7" fmla="*/ 3934615 h 3934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16139" h="3934607">
                      <a:moveTo>
                        <a:pt x="345" y="3934615"/>
                      </a:moveTo>
                      <a:cubicBezTo>
                        <a:pt x="345" y="3934615"/>
                        <a:pt x="1313891" y="3391661"/>
                        <a:pt x="1682698" y="1588650"/>
                      </a:cubicBezTo>
                      <a:cubicBezTo>
                        <a:pt x="1722917" y="1367447"/>
                        <a:pt x="1803355" y="623399"/>
                        <a:pt x="1803355" y="623399"/>
                      </a:cubicBezTo>
                      <a:lnTo>
                        <a:pt x="1609099" y="623399"/>
                      </a:lnTo>
                      <a:lnTo>
                        <a:pt x="2104996" y="7"/>
                      </a:lnTo>
                      <a:lnTo>
                        <a:pt x="2621003" y="623399"/>
                      </a:lnTo>
                      <a:lnTo>
                        <a:pt x="2419909" y="623399"/>
                      </a:lnTo>
                      <a:cubicBezTo>
                        <a:pt x="2419909" y="623399"/>
                        <a:pt x="2279143" y="2594121"/>
                        <a:pt x="4216485" y="3934615"/>
                      </a:cubicBezTo>
                      <a:close/>
                    </a:path>
                  </a:pathLst>
                </a:custGeom>
                <a:gradFill flip="none" rotWithShape="1">
                  <a:gsLst>
                    <a:gs pos="33000">
                      <a:schemeClr val="accent1"/>
                    </a:gs>
                    <a:gs pos="100000">
                      <a:schemeClr val="accent1">
                        <a:lumMod val="60000"/>
                        <a:lumOff val="40000"/>
                        <a:alpha val="25000"/>
                      </a:schemeClr>
                    </a:gs>
                  </a:gsLst>
                  <a:lin ang="5400000" scaled="1"/>
                  <a:tileRect/>
                </a:gradFill>
                <a:ln w="40186" cap="flat">
                  <a:noFill/>
                  <a:prstDash val="solid"/>
                  <a:miter/>
                </a:ln>
              </p:spPr>
              <p:txBody>
                <a:bodyPr rtlCol="0" anchor="ctr"/>
                <a:lstStyle/>
                <a:p>
                  <a:endParaRPr lang="zh-CN" altLang="en-US" dirty="0"/>
                </a:p>
              </p:txBody>
            </p:sp>
            <p:sp>
              <p:nvSpPr>
                <p:cNvPr id="10" name="椭圆 9"/>
                <p:cNvSpPr/>
                <p:nvPr/>
              </p:nvSpPr>
              <p:spPr>
                <a:xfrm>
                  <a:off x="3274756" y="4501332"/>
                  <a:ext cx="5629788" cy="896134"/>
                </a:xfrm>
                <a:prstGeom prst="ellipse">
                  <a:avLst/>
                </a:prstGeom>
                <a:gradFill>
                  <a:gsLst>
                    <a:gs pos="19000">
                      <a:schemeClr val="accent1">
                        <a:alpha val="0"/>
                      </a:schemeClr>
                    </a:gs>
                    <a:gs pos="100000">
                      <a:schemeClr val="accent1">
                        <a:alpha val="19000"/>
                      </a:schemeClr>
                    </a:gs>
                  </a:gsLst>
                  <a:lin ang="5400000" scaled="1"/>
                </a:gradFill>
                <a:ln w="25400">
                  <a:gradFill>
                    <a:gsLst>
                      <a:gs pos="16000">
                        <a:schemeClr val="accent1">
                          <a:alpha val="0"/>
                        </a:schemeClr>
                      </a:gs>
                      <a:gs pos="74000">
                        <a:schemeClr val="accent1">
                          <a:alpha val="70000"/>
                        </a:schemeClr>
                      </a:gs>
                    </a:gsLst>
                    <a:lin ang="5400000" scaled="1"/>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tLang="zh-CN" dirty="0"/>
                </a:p>
              </p:txBody>
            </p:sp>
            <p:sp>
              <p:nvSpPr>
                <p:cNvPr id="11" name="椭圆 10"/>
                <p:cNvSpPr/>
                <p:nvPr/>
              </p:nvSpPr>
              <p:spPr>
                <a:xfrm>
                  <a:off x="2134046" y="5103830"/>
                  <a:ext cx="7965514" cy="1105319"/>
                </a:xfrm>
                <a:prstGeom prst="ellipse">
                  <a:avLst/>
                </a:prstGeom>
                <a:gradFill>
                  <a:gsLst>
                    <a:gs pos="19000">
                      <a:schemeClr val="accent1">
                        <a:alpha val="0"/>
                      </a:schemeClr>
                    </a:gs>
                    <a:gs pos="100000">
                      <a:schemeClr val="accent1">
                        <a:alpha val="19000"/>
                      </a:schemeClr>
                    </a:gs>
                  </a:gsLst>
                  <a:lin ang="5400000" scaled="1"/>
                </a:gradFill>
                <a:ln w="25400">
                  <a:gradFill>
                    <a:gsLst>
                      <a:gs pos="16000">
                        <a:schemeClr val="accent1">
                          <a:alpha val="0"/>
                        </a:schemeClr>
                      </a:gs>
                      <a:gs pos="74000">
                        <a:schemeClr val="accent1">
                          <a:alpha val="70000"/>
                        </a:schemeClr>
                      </a:gs>
                    </a:gsLst>
                    <a:lin ang="5400000" scaled="1"/>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tLang="zh-CN" dirty="0"/>
                </a:p>
              </p:txBody>
            </p:sp>
          </p:grpSp>
          <p:grpSp>
            <p:nvGrpSpPr>
              <p:cNvPr id="68" name="组合 67"/>
              <p:cNvGrpSpPr/>
              <p:nvPr/>
            </p:nvGrpSpPr>
            <p:grpSpPr>
              <a:xfrm>
                <a:off x="608317" y="2732993"/>
                <a:ext cx="2192479" cy="3233067"/>
                <a:chOff x="556234" y="2732993"/>
                <a:chExt cx="2561808" cy="3233067"/>
              </a:xfrm>
            </p:grpSpPr>
            <p:grpSp>
              <p:nvGrpSpPr>
                <p:cNvPr id="38" name="组合 37"/>
                <p:cNvGrpSpPr/>
                <p:nvPr/>
              </p:nvGrpSpPr>
              <p:grpSpPr>
                <a:xfrm>
                  <a:off x="556234" y="2732993"/>
                  <a:ext cx="2561808" cy="3233067"/>
                  <a:chOff x="383605" y="2062001"/>
                  <a:chExt cx="3041181" cy="3233067"/>
                </a:xfrm>
              </p:grpSpPr>
              <p:sp>
                <p:nvSpPr>
                  <p:cNvPr id="44" name="箭头: 上 43"/>
                  <p:cNvSpPr/>
                  <p:nvPr/>
                </p:nvSpPr>
                <p:spPr>
                  <a:xfrm>
                    <a:off x="383605" y="2062001"/>
                    <a:ext cx="3041181" cy="3233067"/>
                  </a:xfrm>
                  <a:prstGeom prst="upArrow">
                    <a:avLst>
                      <a:gd name="adj1" fmla="val 82716"/>
                      <a:gd name="adj2" fmla="val 26799"/>
                    </a:avLst>
                  </a:prstGeom>
                  <a:gradFill flip="none" rotWithShape="1">
                    <a:gsLst>
                      <a:gs pos="0">
                        <a:schemeClr val="accent1">
                          <a:alpha val="15000"/>
                        </a:schemeClr>
                      </a:gs>
                      <a:gs pos="88000">
                        <a:schemeClr val="bg1">
                          <a:alpha val="0"/>
                        </a:schemeClr>
                      </a:gs>
                    </a:gsLst>
                    <a:lin ang="5400000" scaled="1"/>
                    <a:tileRect/>
                  </a:gradFill>
                  <a:ln w="12700">
                    <a:gradFill flip="none" rotWithShape="1">
                      <a:gsLst>
                        <a:gs pos="45000">
                          <a:schemeClr val="accent1">
                            <a:alpha val="0"/>
                          </a:schemeClr>
                        </a:gs>
                        <a:gs pos="100000">
                          <a:schemeClr val="accent1"/>
                        </a:gs>
                      </a:gsLst>
                      <a:lin ang="16200000" scaled="1"/>
                      <a:tileRect/>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45" name="组合 44"/>
                  <p:cNvGrpSpPr/>
                  <p:nvPr/>
                </p:nvGrpSpPr>
                <p:grpSpPr>
                  <a:xfrm>
                    <a:off x="724132" y="2510102"/>
                    <a:ext cx="2360128" cy="1824858"/>
                    <a:chOff x="641843" y="2135746"/>
                    <a:chExt cx="3034294" cy="1824858"/>
                  </a:xfrm>
                </p:grpSpPr>
                <p:sp>
                  <p:nvSpPr>
                    <p:cNvPr id="46" name="矩形 45"/>
                    <p:cNvSpPr/>
                    <p:nvPr/>
                  </p:nvSpPr>
                  <p:spPr bwMode="auto">
                    <a:xfrm>
                      <a:off x="641843" y="2851209"/>
                      <a:ext cx="3034294" cy="11093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20000"/>
                        </a:lnSpc>
                        <a:spcBef>
                          <a:spcPct val="0"/>
                        </a:spcBef>
                      </a:pPr>
                      <a:r>
                        <a:rPr lang="sv-SE" altLang="zh-CN" sz="1200" dirty="0">
                          <a:latin typeface="Arial" panose="020B0604020202090204" pitchFamily="34" charset="0"/>
                          <a:ea typeface="华文楷体" panose="02010600040101010101" pitchFamily="2" charset="-122"/>
                        </a:rPr>
                        <a:t>Diam ea ipsum nonumy accusam ex dolore adipiscing.</a:t>
                      </a:r>
                      <a:endParaRPr lang="en-US" altLang="zh-CN" sz="1200" dirty="0">
                        <a:latin typeface="Arial" panose="020B0604020202090204" pitchFamily="34" charset="0"/>
                        <a:ea typeface="华文楷体" panose="02010600040101010101" pitchFamily="2" charset="-122"/>
                      </a:endParaRPr>
                    </a:p>
                  </p:txBody>
                </p:sp>
                <p:sp>
                  <p:nvSpPr>
                    <p:cNvPr id="47" name="文本框 46"/>
                    <p:cNvSpPr txBox="1"/>
                    <p:nvPr/>
                  </p:nvSpPr>
                  <p:spPr bwMode="auto">
                    <a:xfrm>
                      <a:off x="641843" y="2135746"/>
                      <a:ext cx="3034294" cy="643077"/>
                    </a:xfrm>
                    <a:prstGeom prst="rect">
                      <a:avLst/>
                    </a:prstGeom>
                    <a:noFill/>
                    <a:ln w="9525">
                      <a:noFill/>
                      <a:miter lim="800000"/>
                    </a:ln>
                    <a:extLst>
                      <a:ext uri="{909E8E84-426E-40DD-AFC4-6F175D3DCCD1}">
                        <a14:hiddenFill xmlns:a14="http://schemas.microsoft.com/office/drawing/2010/main">
                          <a:solidFill>
                            <a:srgbClr val="FFFFFF"/>
                          </a:solidFill>
                        </a14:hiddenFill>
                      </a:ext>
                    </a:extLst>
                  </p:spPr>
                  <p:txBody>
                    <a:bodyPr wrap="square" lIns="91440" tIns="45720" rIns="91440" bIns="45720" anchor="b"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eaLnBrk="1" hangingPunct="1">
                        <a:spcBef>
                          <a:spcPct val="0"/>
                        </a:spcBef>
                        <a:buFontTx/>
                        <a:buNone/>
                      </a:pPr>
                      <a:r>
                        <a:rPr lang="en-US" altLang="zh-CN" b="1" dirty="0">
                          <a:latin typeface="Arial" panose="020B0604020202090204" pitchFamily="34" charset="0"/>
                          <a:ea typeface="华文楷体" panose="02010600040101010101" pitchFamily="2" charset="-122"/>
                        </a:rPr>
                        <a:t>Click to add text</a:t>
                      </a:r>
                      <a:endParaRPr lang="en-US" altLang="zh-CN" b="1" dirty="0">
                        <a:latin typeface="Arial" panose="020B0604020202090204" pitchFamily="34" charset="0"/>
                        <a:ea typeface="华文楷体" panose="02010600040101010101" pitchFamily="2" charset="-122"/>
                      </a:endParaRPr>
                    </a:p>
                  </p:txBody>
                </p:sp>
              </p:grpSp>
            </p:grpSp>
            <p:sp>
              <p:nvSpPr>
                <p:cNvPr id="67" name="矩形 66"/>
                <p:cNvSpPr/>
                <p:nvPr/>
              </p:nvSpPr>
              <p:spPr>
                <a:xfrm>
                  <a:off x="843084" y="5031226"/>
                  <a:ext cx="1414412" cy="831974"/>
                </a:xfrm>
                <a:prstGeom prst="rect">
                  <a:avLst/>
                </a:prstGeom>
                <a:no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zh-CN" sz="3600" b="1" dirty="0">
                      <a:solidFill>
                        <a:schemeClr val="accent1">
                          <a:alpha val="50000"/>
                        </a:schemeClr>
                      </a:solidFill>
                      <a:latin typeface="Arial" panose="020B0604020202090204" pitchFamily="34" charset="0"/>
                      <a:ea typeface="华文楷体" panose="02010600040101010101" pitchFamily="2" charset="-122"/>
                    </a:rPr>
                    <a:t>01</a:t>
                  </a:r>
                  <a:endParaRPr kumimoji="1" lang="en-US" altLang="zh-CN" sz="3600" b="1" dirty="0">
                    <a:solidFill>
                      <a:schemeClr val="accent1">
                        <a:alpha val="50000"/>
                      </a:schemeClr>
                    </a:solidFill>
                    <a:latin typeface="Arial" panose="020B0604020202090204" pitchFamily="34" charset="0"/>
                    <a:ea typeface="华文楷体" panose="02010600040101010101" pitchFamily="2" charset="-122"/>
                  </a:endParaRPr>
                </a:p>
              </p:txBody>
            </p:sp>
          </p:grpSp>
          <p:grpSp>
            <p:nvGrpSpPr>
              <p:cNvPr id="69" name="组合 68"/>
              <p:cNvGrpSpPr/>
              <p:nvPr/>
            </p:nvGrpSpPr>
            <p:grpSpPr>
              <a:xfrm>
                <a:off x="2777099" y="1772885"/>
                <a:ext cx="2192479" cy="3233067"/>
                <a:chOff x="556234" y="2732993"/>
                <a:chExt cx="2561808" cy="3233067"/>
              </a:xfrm>
            </p:grpSpPr>
            <p:grpSp>
              <p:nvGrpSpPr>
                <p:cNvPr id="70" name="组合 69"/>
                <p:cNvGrpSpPr/>
                <p:nvPr/>
              </p:nvGrpSpPr>
              <p:grpSpPr>
                <a:xfrm>
                  <a:off x="556234" y="2732993"/>
                  <a:ext cx="2561808" cy="3233067"/>
                  <a:chOff x="383605" y="2062001"/>
                  <a:chExt cx="3041181" cy="3233067"/>
                </a:xfrm>
              </p:grpSpPr>
              <p:sp>
                <p:nvSpPr>
                  <p:cNvPr id="72" name="箭头: 上 71"/>
                  <p:cNvSpPr/>
                  <p:nvPr/>
                </p:nvSpPr>
                <p:spPr>
                  <a:xfrm>
                    <a:off x="383605" y="2062001"/>
                    <a:ext cx="3041181" cy="3233067"/>
                  </a:xfrm>
                  <a:prstGeom prst="upArrow">
                    <a:avLst>
                      <a:gd name="adj1" fmla="val 82716"/>
                      <a:gd name="adj2" fmla="val 26799"/>
                    </a:avLst>
                  </a:prstGeom>
                  <a:gradFill flip="none" rotWithShape="1">
                    <a:gsLst>
                      <a:gs pos="0">
                        <a:schemeClr val="accent1">
                          <a:alpha val="15000"/>
                        </a:schemeClr>
                      </a:gs>
                      <a:gs pos="88000">
                        <a:schemeClr val="bg1">
                          <a:alpha val="0"/>
                        </a:schemeClr>
                      </a:gs>
                    </a:gsLst>
                    <a:lin ang="5400000" scaled="1"/>
                    <a:tileRect/>
                  </a:gradFill>
                  <a:ln w="12700">
                    <a:gradFill flip="none" rotWithShape="1">
                      <a:gsLst>
                        <a:gs pos="45000">
                          <a:schemeClr val="accent1">
                            <a:alpha val="0"/>
                          </a:schemeClr>
                        </a:gs>
                        <a:gs pos="100000">
                          <a:schemeClr val="accent1"/>
                        </a:gs>
                      </a:gsLst>
                      <a:lin ang="16200000" scaled="1"/>
                      <a:tileRect/>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73" name="组合 72"/>
                  <p:cNvGrpSpPr/>
                  <p:nvPr/>
                </p:nvGrpSpPr>
                <p:grpSpPr>
                  <a:xfrm>
                    <a:off x="724132" y="2510102"/>
                    <a:ext cx="2360128" cy="1824858"/>
                    <a:chOff x="641843" y="2135746"/>
                    <a:chExt cx="3034294" cy="1824858"/>
                  </a:xfrm>
                </p:grpSpPr>
                <p:sp>
                  <p:nvSpPr>
                    <p:cNvPr id="74" name="矩形 73"/>
                    <p:cNvSpPr/>
                    <p:nvPr/>
                  </p:nvSpPr>
                  <p:spPr bwMode="auto">
                    <a:xfrm>
                      <a:off x="641843" y="2851209"/>
                      <a:ext cx="3034294" cy="11093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20000"/>
                        </a:lnSpc>
                        <a:spcBef>
                          <a:spcPct val="0"/>
                        </a:spcBef>
                      </a:pPr>
                      <a:r>
                        <a:rPr lang="sv-SE" altLang="zh-CN" sz="1200" dirty="0">
                          <a:latin typeface="Arial" panose="020B0604020202090204" pitchFamily="34" charset="0"/>
                          <a:ea typeface="华文楷体" panose="02010600040101010101" pitchFamily="2" charset="-122"/>
                        </a:rPr>
                        <a:t>Diam ea ipsum nonumy accusam ex dolore adipiscing.</a:t>
                      </a:r>
                      <a:endParaRPr lang="en-US" altLang="zh-CN" sz="1200" dirty="0">
                        <a:latin typeface="Arial" panose="020B0604020202090204" pitchFamily="34" charset="0"/>
                        <a:ea typeface="华文楷体" panose="02010600040101010101" pitchFamily="2" charset="-122"/>
                      </a:endParaRPr>
                    </a:p>
                  </p:txBody>
                </p:sp>
                <p:sp>
                  <p:nvSpPr>
                    <p:cNvPr id="75" name="文本框 74"/>
                    <p:cNvSpPr txBox="1"/>
                    <p:nvPr/>
                  </p:nvSpPr>
                  <p:spPr bwMode="auto">
                    <a:xfrm>
                      <a:off x="641843" y="2135746"/>
                      <a:ext cx="3034294" cy="643077"/>
                    </a:xfrm>
                    <a:prstGeom prst="rect">
                      <a:avLst/>
                    </a:prstGeom>
                    <a:noFill/>
                    <a:ln w="9525">
                      <a:noFill/>
                      <a:miter lim="800000"/>
                    </a:ln>
                    <a:extLst>
                      <a:ext uri="{909E8E84-426E-40DD-AFC4-6F175D3DCCD1}">
                        <a14:hiddenFill xmlns:a14="http://schemas.microsoft.com/office/drawing/2010/main">
                          <a:solidFill>
                            <a:srgbClr val="FFFFFF"/>
                          </a:solidFill>
                        </a14:hiddenFill>
                      </a:ext>
                    </a:extLst>
                  </p:spPr>
                  <p:txBody>
                    <a:bodyPr wrap="square" lIns="91440" tIns="45720" rIns="91440" bIns="45720" anchor="b"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eaLnBrk="1" hangingPunct="1">
                        <a:spcBef>
                          <a:spcPct val="0"/>
                        </a:spcBef>
                        <a:buFontTx/>
                        <a:buNone/>
                      </a:pPr>
                      <a:r>
                        <a:rPr lang="en-US" altLang="zh-CN" b="1" dirty="0">
                          <a:latin typeface="Arial" panose="020B0604020202090204" pitchFamily="34" charset="0"/>
                          <a:ea typeface="华文楷体" panose="02010600040101010101" pitchFamily="2" charset="-122"/>
                        </a:rPr>
                        <a:t>Click to add text</a:t>
                      </a:r>
                      <a:endParaRPr lang="en-US" altLang="zh-CN" b="1" dirty="0">
                        <a:latin typeface="Arial" panose="020B0604020202090204" pitchFamily="34" charset="0"/>
                        <a:ea typeface="华文楷体" panose="02010600040101010101" pitchFamily="2" charset="-122"/>
                      </a:endParaRPr>
                    </a:p>
                  </p:txBody>
                </p:sp>
              </p:grpSp>
            </p:grpSp>
            <p:sp>
              <p:nvSpPr>
                <p:cNvPr id="71" name="矩形 70"/>
                <p:cNvSpPr/>
                <p:nvPr/>
              </p:nvSpPr>
              <p:spPr>
                <a:xfrm>
                  <a:off x="843084" y="5031226"/>
                  <a:ext cx="1414412" cy="831974"/>
                </a:xfrm>
                <a:prstGeom prst="rect">
                  <a:avLst/>
                </a:prstGeom>
                <a:no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zh-CN" sz="3600" b="1" dirty="0">
                      <a:solidFill>
                        <a:schemeClr val="accent1">
                          <a:alpha val="50000"/>
                        </a:schemeClr>
                      </a:solidFill>
                      <a:latin typeface="Arial" panose="020B0604020202090204" pitchFamily="34" charset="0"/>
                      <a:ea typeface="华文楷体" panose="02010600040101010101" pitchFamily="2" charset="-122"/>
                    </a:rPr>
                    <a:t>02</a:t>
                  </a:r>
                  <a:endParaRPr kumimoji="1" lang="en-US" altLang="zh-CN" sz="3600" b="1" dirty="0">
                    <a:solidFill>
                      <a:schemeClr val="accent1">
                        <a:alpha val="50000"/>
                      </a:schemeClr>
                    </a:solidFill>
                    <a:latin typeface="Arial" panose="020B0604020202090204" pitchFamily="34" charset="0"/>
                    <a:ea typeface="华文楷体" panose="02010600040101010101" pitchFamily="2" charset="-122"/>
                  </a:endParaRPr>
                </a:p>
              </p:txBody>
            </p:sp>
          </p:grpSp>
          <p:grpSp>
            <p:nvGrpSpPr>
              <p:cNvPr id="76" name="组合 75"/>
              <p:cNvGrpSpPr/>
              <p:nvPr/>
            </p:nvGrpSpPr>
            <p:grpSpPr>
              <a:xfrm>
                <a:off x="7209722" y="1772885"/>
                <a:ext cx="2192479" cy="3233067"/>
                <a:chOff x="556234" y="2732993"/>
                <a:chExt cx="2561808" cy="3233067"/>
              </a:xfrm>
            </p:grpSpPr>
            <p:grpSp>
              <p:nvGrpSpPr>
                <p:cNvPr id="77" name="组合 76"/>
                <p:cNvGrpSpPr/>
                <p:nvPr/>
              </p:nvGrpSpPr>
              <p:grpSpPr>
                <a:xfrm>
                  <a:off x="556234" y="2732993"/>
                  <a:ext cx="2561808" cy="3233067"/>
                  <a:chOff x="383605" y="2062001"/>
                  <a:chExt cx="3041181" cy="3233067"/>
                </a:xfrm>
              </p:grpSpPr>
              <p:sp>
                <p:nvSpPr>
                  <p:cNvPr id="79" name="箭头: 上 78"/>
                  <p:cNvSpPr/>
                  <p:nvPr/>
                </p:nvSpPr>
                <p:spPr>
                  <a:xfrm>
                    <a:off x="383605" y="2062001"/>
                    <a:ext cx="3041181" cy="3233067"/>
                  </a:xfrm>
                  <a:prstGeom prst="upArrow">
                    <a:avLst>
                      <a:gd name="adj1" fmla="val 82716"/>
                      <a:gd name="adj2" fmla="val 26799"/>
                    </a:avLst>
                  </a:prstGeom>
                  <a:gradFill flip="none" rotWithShape="1">
                    <a:gsLst>
                      <a:gs pos="0">
                        <a:schemeClr val="accent1">
                          <a:alpha val="15000"/>
                        </a:schemeClr>
                      </a:gs>
                      <a:gs pos="88000">
                        <a:schemeClr val="bg1">
                          <a:alpha val="0"/>
                        </a:schemeClr>
                      </a:gs>
                    </a:gsLst>
                    <a:lin ang="5400000" scaled="1"/>
                    <a:tileRect/>
                  </a:gradFill>
                  <a:ln w="12700">
                    <a:gradFill flip="none" rotWithShape="1">
                      <a:gsLst>
                        <a:gs pos="45000">
                          <a:schemeClr val="accent1">
                            <a:alpha val="0"/>
                          </a:schemeClr>
                        </a:gs>
                        <a:gs pos="100000">
                          <a:schemeClr val="accent1"/>
                        </a:gs>
                      </a:gsLst>
                      <a:lin ang="16200000" scaled="1"/>
                      <a:tileRect/>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80" name="组合 79"/>
                  <p:cNvGrpSpPr/>
                  <p:nvPr/>
                </p:nvGrpSpPr>
                <p:grpSpPr>
                  <a:xfrm>
                    <a:off x="724132" y="2510102"/>
                    <a:ext cx="2360128" cy="1824858"/>
                    <a:chOff x="641843" y="2135746"/>
                    <a:chExt cx="3034294" cy="1824858"/>
                  </a:xfrm>
                </p:grpSpPr>
                <p:sp>
                  <p:nvSpPr>
                    <p:cNvPr id="81" name="矩形 80"/>
                    <p:cNvSpPr/>
                    <p:nvPr/>
                  </p:nvSpPr>
                  <p:spPr bwMode="auto">
                    <a:xfrm>
                      <a:off x="641843" y="2851209"/>
                      <a:ext cx="3034294" cy="11093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20000"/>
                        </a:lnSpc>
                        <a:spcBef>
                          <a:spcPct val="0"/>
                        </a:spcBef>
                      </a:pPr>
                      <a:r>
                        <a:rPr lang="sv-SE" altLang="zh-CN" sz="1200" dirty="0">
                          <a:latin typeface="Arial" panose="020B0604020202090204" pitchFamily="34" charset="0"/>
                          <a:ea typeface="华文楷体" panose="02010600040101010101" pitchFamily="2" charset="-122"/>
                        </a:rPr>
                        <a:t>Diam ea ipsum nonumy accusam ex dolore adipiscing.</a:t>
                      </a:r>
                      <a:endParaRPr lang="en-US" altLang="zh-CN" sz="1200" dirty="0">
                        <a:latin typeface="Arial" panose="020B0604020202090204" pitchFamily="34" charset="0"/>
                        <a:ea typeface="华文楷体" panose="02010600040101010101" pitchFamily="2" charset="-122"/>
                      </a:endParaRPr>
                    </a:p>
                  </p:txBody>
                </p:sp>
                <p:sp>
                  <p:nvSpPr>
                    <p:cNvPr id="82" name="文本框 81"/>
                    <p:cNvSpPr txBox="1"/>
                    <p:nvPr/>
                  </p:nvSpPr>
                  <p:spPr bwMode="auto">
                    <a:xfrm>
                      <a:off x="641843" y="2135746"/>
                      <a:ext cx="3034294" cy="643077"/>
                    </a:xfrm>
                    <a:prstGeom prst="rect">
                      <a:avLst/>
                    </a:prstGeom>
                    <a:noFill/>
                    <a:ln w="9525">
                      <a:noFill/>
                      <a:miter lim="800000"/>
                    </a:ln>
                    <a:extLst>
                      <a:ext uri="{909E8E84-426E-40DD-AFC4-6F175D3DCCD1}">
                        <a14:hiddenFill xmlns:a14="http://schemas.microsoft.com/office/drawing/2010/main">
                          <a:solidFill>
                            <a:srgbClr val="FFFFFF"/>
                          </a:solidFill>
                        </a14:hiddenFill>
                      </a:ext>
                    </a:extLst>
                  </p:spPr>
                  <p:txBody>
                    <a:bodyPr wrap="square" lIns="91440" tIns="45720" rIns="91440" bIns="45720" anchor="b"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eaLnBrk="1" hangingPunct="1">
                        <a:spcBef>
                          <a:spcPct val="0"/>
                        </a:spcBef>
                        <a:buFontTx/>
                        <a:buNone/>
                      </a:pPr>
                      <a:r>
                        <a:rPr lang="en-US" altLang="zh-CN" b="1" dirty="0">
                          <a:latin typeface="Arial" panose="020B0604020202090204" pitchFamily="34" charset="0"/>
                          <a:ea typeface="华文楷体" panose="02010600040101010101" pitchFamily="2" charset="-122"/>
                        </a:rPr>
                        <a:t>Click to add text</a:t>
                      </a:r>
                      <a:endParaRPr lang="en-US" altLang="zh-CN" b="1" dirty="0">
                        <a:latin typeface="Arial" panose="020B0604020202090204" pitchFamily="34" charset="0"/>
                        <a:ea typeface="华文楷体" panose="02010600040101010101" pitchFamily="2" charset="-122"/>
                      </a:endParaRPr>
                    </a:p>
                  </p:txBody>
                </p:sp>
              </p:grpSp>
            </p:grpSp>
            <p:sp>
              <p:nvSpPr>
                <p:cNvPr id="78" name="矩形 77"/>
                <p:cNvSpPr/>
                <p:nvPr/>
              </p:nvSpPr>
              <p:spPr>
                <a:xfrm>
                  <a:off x="1416780" y="5031226"/>
                  <a:ext cx="1414412" cy="831974"/>
                </a:xfrm>
                <a:prstGeom prst="rect">
                  <a:avLst/>
                </a:prstGeom>
                <a:no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zh-CN" sz="3600" b="1" dirty="0">
                      <a:solidFill>
                        <a:schemeClr val="accent1">
                          <a:alpha val="50000"/>
                        </a:schemeClr>
                      </a:solidFill>
                      <a:latin typeface="Arial" panose="020B0604020202090204" pitchFamily="34" charset="0"/>
                      <a:ea typeface="华文楷体" panose="02010600040101010101" pitchFamily="2" charset="-122"/>
                    </a:rPr>
                    <a:t>03</a:t>
                  </a:r>
                  <a:endParaRPr kumimoji="1" lang="en-US" altLang="zh-CN" sz="3600" b="1" dirty="0">
                    <a:solidFill>
                      <a:schemeClr val="accent1">
                        <a:alpha val="50000"/>
                      </a:schemeClr>
                    </a:solidFill>
                    <a:latin typeface="Arial" panose="020B0604020202090204" pitchFamily="34" charset="0"/>
                    <a:ea typeface="华文楷体" panose="02010600040101010101" pitchFamily="2" charset="-122"/>
                  </a:endParaRPr>
                </a:p>
              </p:txBody>
            </p:sp>
          </p:grpSp>
          <p:grpSp>
            <p:nvGrpSpPr>
              <p:cNvPr id="83" name="组合 82"/>
              <p:cNvGrpSpPr/>
              <p:nvPr/>
            </p:nvGrpSpPr>
            <p:grpSpPr>
              <a:xfrm>
                <a:off x="9378504" y="2732993"/>
                <a:ext cx="2192479" cy="3233067"/>
                <a:chOff x="556234" y="2732993"/>
                <a:chExt cx="2561808" cy="3233067"/>
              </a:xfrm>
            </p:grpSpPr>
            <p:grpSp>
              <p:nvGrpSpPr>
                <p:cNvPr id="84" name="组合 83"/>
                <p:cNvGrpSpPr/>
                <p:nvPr/>
              </p:nvGrpSpPr>
              <p:grpSpPr>
                <a:xfrm>
                  <a:off x="556234" y="2732993"/>
                  <a:ext cx="2561808" cy="3233067"/>
                  <a:chOff x="383605" y="2062001"/>
                  <a:chExt cx="3041181" cy="3233067"/>
                </a:xfrm>
              </p:grpSpPr>
              <p:sp>
                <p:nvSpPr>
                  <p:cNvPr id="86" name="箭头: 上 85"/>
                  <p:cNvSpPr/>
                  <p:nvPr/>
                </p:nvSpPr>
                <p:spPr>
                  <a:xfrm>
                    <a:off x="383605" y="2062001"/>
                    <a:ext cx="3041181" cy="3233067"/>
                  </a:xfrm>
                  <a:prstGeom prst="upArrow">
                    <a:avLst>
                      <a:gd name="adj1" fmla="val 82716"/>
                      <a:gd name="adj2" fmla="val 26799"/>
                    </a:avLst>
                  </a:prstGeom>
                  <a:gradFill flip="none" rotWithShape="1">
                    <a:gsLst>
                      <a:gs pos="0">
                        <a:schemeClr val="accent1">
                          <a:alpha val="15000"/>
                        </a:schemeClr>
                      </a:gs>
                      <a:gs pos="88000">
                        <a:schemeClr val="bg1">
                          <a:alpha val="0"/>
                        </a:schemeClr>
                      </a:gs>
                    </a:gsLst>
                    <a:lin ang="5400000" scaled="1"/>
                    <a:tileRect/>
                  </a:gradFill>
                  <a:ln w="12700">
                    <a:gradFill flip="none" rotWithShape="1">
                      <a:gsLst>
                        <a:gs pos="45000">
                          <a:schemeClr val="accent1">
                            <a:alpha val="0"/>
                          </a:schemeClr>
                        </a:gs>
                        <a:gs pos="100000">
                          <a:schemeClr val="accent1"/>
                        </a:gs>
                      </a:gsLst>
                      <a:lin ang="16200000" scaled="1"/>
                      <a:tileRect/>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87" name="组合 86"/>
                  <p:cNvGrpSpPr/>
                  <p:nvPr/>
                </p:nvGrpSpPr>
                <p:grpSpPr>
                  <a:xfrm>
                    <a:off x="724132" y="2510102"/>
                    <a:ext cx="2360128" cy="1824858"/>
                    <a:chOff x="641843" y="2135746"/>
                    <a:chExt cx="3034294" cy="1824858"/>
                  </a:xfrm>
                </p:grpSpPr>
                <p:sp>
                  <p:nvSpPr>
                    <p:cNvPr id="88" name="矩形 87"/>
                    <p:cNvSpPr/>
                    <p:nvPr/>
                  </p:nvSpPr>
                  <p:spPr bwMode="auto">
                    <a:xfrm>
                      <a:off x="641843" y="2851209"/>
                      <a:ext cx="3034292" cy="11093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20000"/>
                        </a:lnSpc>
                        <a:spcBef>
                          <a:spcPct val="0"/>
                        </a:spcBef>
                      </a:pPr>
                      <a:r>
                        <a:rPr lang="sv-SE" altLang="zh-CN" sz="1200" dirty="0">
                          <a:latin typeface="Arial" panose="020B0604020202090204" pitchFamily="34" charset="0"/>
                          <a:ea typeface="华文楷体" panose="02010600040101010101" pitchFamily="2" charset="-122"/>
                        </a:rPr>
                        <a:t>Diam ea ipsum nonumy accusam ex dolore adipiscing.</a:t>
                      </a:r>
                      <a:endParaRPr lang="en-US" altLang="zh-CN" sz="1200" dirty="0">
                        <a:latin typeface="Arial" panose="020B0604020202090204" pitchFamily="34" charset="0"/>
                        <a:ea typeface="华文楷体" panose="02010600040101010101" pitchFamily="2" charset="-122"/>
                      </a:endParaRPr>
                    </a:p>
                  </p:txBody>
                </p:sp>
                <p:sp>
                  <p:nvSpPr>
                    <p:cNvPr id="89" name="文本框 88"/>
                    <p:cNvSpPr txBox="1"/>
                    <p:nvPr/>
                  </p:nvSpPr>
                  <p:spPr bwMode="auto">
                    <a:xfrm>
                      <a:off x="641843" y="2135746"/>
                      <a:ext cx="3034294" cy="643077"/>
                    </a:xfrm>
                    <a:prstGeom prst="rect">
                      <a:avLst/>
                    </a:prstGeom>
                    <a:noFill/>
                    <a:ln w="9525">
                      <a:noFill/>
                      <a:miter lim="800000"/>
                    </a:ln>
                    <a:extLst>
                      <a:ext uri="{909E8E84-426E-40DD-AFC4-6F175D3DCCD1}">
                        <a14:hiddenFill xmlns:a14="http://schemas.microsoft.com/office/drawing/2010/main">
                          <a:solidFill>
                            <a:srgbClr val="FFFFFF"/>
                          </a:solidFill>
                        </a14:hiddenFill>
                      </a:ext>
                    </a:extLst>
                  </p:spPr>
                  <p:txBody>
                    <a:bodyPr wrap="square" lIns="91440" tIns="45720" rIns="91440" bIns="45720" anchor="b"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eaLnBrk="1" hangingPunct="1">
                        <a:spcBef>
                          <a:spcPct val="0"/>
                        </a:spcBef>
                        <a:buFontTx/>
                        <a:buNone/>
                      </a:pPr>
                      <a:r>
                        <a:rPr lang="en-US" altLang="zh-CN" b="1" dirty="0">
                          <a:latin typeface="Arial" panose="020B0604020202090204" pitchFamily="34" charset="0"/>
                          <a:ea typeface="华文楷体" panose="02010600040101010101" pitchFamily="2" charset="-122"/>
                        </a:rPr>
                        <a:t>Click to add text</a:t>
                      </a:r>
                      <a:endParaRPr lang="en-US" altLang="zh-CN" b="1" dirty="0">
                        <a:latin typeface="Arial" panose="020B0604020202090204" pitchFamily="34" charset="0"/>
                        <a:ea typeface="华文楷体" panose="02010600040101010101" pitchFamily="2" charset="-122"/>
                      </a:endParaRPr>
                    </a:p>
                  </p:txBody>
                </p:sp>
              </p:grpSp>
            </p:grpSp>
            <p:sp>
              <p:nvSpPr>
                <p:cNvPr id="85" name="矩形 84"/>
                <p:cNvSpPr/>
                <p:nvPr/>
              </p:nvSpPr>
              <p:spPr>
                <a:xfrm>
                  <a:off x="1416778" y="5031226"/>
                  <a:ext cx="1414412" cy="831974"/>
                </a:xfrm>
                <a:prstGeom prst="rect">
                  <a:avLst/>
                </a:prstGeom>
                <a:no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zh-CN" sz="3600" b="1" dirty="0">
                      <a:solidFill>
                        <a:schemeClr val="accent1">
                          <a:alpha val="50000"/>
                        </a:schemeClr>
                      </a:solidFill>
                      <a:latin typeface="Arial" panose="020B0604020202090204" pitchFamily="34" charset="0"/>
                      <a:ea typeface="华文楷体" panose="02010600040101010101" pitchFamily="2" charset="-122"/>
                    </a:rPr>
                    <a:t>04</a:t>
                  </a:r>
                  <a:endParaRPr kumimoji="1" lang="en-US" altLang="zh-CN" sz="3600" b="1" dirty="0">
                    <a:solidFill>
                      <a:schemeClr val="accent1">
                        <a:alpha val="50000"/>
                      </a:schemeClr>
                    </a:solidFill>
                    <a:latin typeface="Arial" panose="020B0604020202090204" pitchFamily="34" charset="0"/>
                    <a:ea typeface="华文楷体" panose="02010600040101010101" pitchFamily="2" charset="-122"/>
                  </a:endParaRPr>
                </a:p>
              </p:txBody>
            </p:sp>
          </p:grpSp>
          <p:sp>
            <p:nvSpPr>
              <p:cNvPr id="91" name="矩形 90"/>
              <p:cNvSpPr>
                <a:spLocks noChangeAspect="1"/>
              </p:cNvSpPr>
              <p:nvPr/>
            </p:nvSpPr>
            <p:spPr>
              <a:xfrm>
                <a:off x="4982279" y="3654228"/>
                <a:ext cx="2214742" cy="1827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chorCtr="0">
                <a:normAutofit/>
              </a:bodyPr>
              <a:lstStyle/>
              <a:p>
                <a:pPr algn="ctr">
                  <a:buSzPct val="25000"/>
                </a:pPr>
                <a:r>
                  <a:rPr lang="en-US" altLang="zh-CN" sz="2400" b="1" dirty="0">
                    <a:solidFill>
                      <a:schemeClr val="bg1"/>
                    </a:solidFill>
                    <a:latin typeface="Arial" panose="020B0604020202090204" pitchFamily="34" charset="0"/>
                    <a:ea typeface="华文楷体" panose="02010600040101010101" pitchFamily="2" charset="-122"/>
                  </a:rPr>
                  <a:t>Unified fonts make reading more fluent</a:t>
                </a:r>
                <a:endParaRPr lang="en-US" altLang="zh-CN" sz="2400" b="1" dirty="0">
                  <a:solidFill>
                    <a:schemeClr val="bg1"/>
                  </a:solidFill>
                  <a:latin typeface="Arial" panose="020B0604020202090204" pitchFamily="34" charset="0"/>
                  <a:ea typeface="华文楷体" panose="02010600040101010101" pitchFamily="2" charset="-122"/>
                </a:endParaRPr>
              </a:p>
            </p:txBody>
          </p:sp>
        </p:grpSp>
      </p:grpSp>
      <p:sp>
        <p:nvSpPr>
          <p:cNvPr id="4" name="标题 3"/>
          <p:cNvSpPr>
            <a:spLocks noGrp="1"/>
          </p:cNvSpPr>
          <p:nvPr>
            <p:ph type="title"/>
          </p:nvPr>
        </p:nvSpPr>
        <p:spPr/>
        <p:txBody>
          <a:bodyPr/>
          <a:lstStyle/>
          <a:p>
            <a:endParaRPr lang="zh-CN" altLang="en-US"/>
          </a:p>
        </p:txBody>
      </p:sp>
    </p:spTree>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660400" y="1028700"/>
            <a:ext cx="10858500" cy="5829300"/>
            <a:chOff x="660400" y="1028700"/>
            <a:chExt cx="10858500" cy="5829300"/>
          </a:xfrm>
        </p:grpSpPr>
        <p:sp>
          <p:nvSpPr>
            <p:cNvPr id="11" name="矩形 10"/>
            <p:cNvSpPr>
              <a:spLocks noChangeAspect="1"/>
            </p:cNvSpPr>
            <p:nvPr/>
          </p:nvSpPr>
          <p:spPr>
            <a:xfrm>
              <a:off x="660400" y="1028700"/>
              <a:ext cx="10858500" cy="654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chorCtr="0">
              <a:normAutofit/>
            </a:bodyPr>
            <a:lstStyle/>
            <a:p>
              <a:pPr algn="ctr">
                <a:buSzPct val="25000"/>
              </a:pPr>
              <a:r>
                <a:rPr lang="en-US" altLang="zh-CN" sz="2400" b="1" dirty="0">
                  <a:solidFill>
                    <a:schemeClr val="tx1"/>
                  </a:solidFill>
                  <a:latin typeface="Arial" panose="020B0604020202090204" pitchFamily="34" charset="0"/>
                  <a:ea typeface="华文楷体" panose="02010600040101010101" pitchFamily="2" charset="-122"/>
                </a:rPr>
                <a:t>Unified fonts make reading more fluent</a:t>
              </a:r>
              <a:endParaRPr lang="en-US" altLang="zh-CN" sz="2400" b="1" dirty="0">
                <a:solidFill>
                  <a:schemeClr val="tx1"/>
                </a:solidFill>
                <a:latin typeface="Arial" panose="020B0604020202090204" pitchFamily="34" charset="0"/>
                <a:ea typeface="华文楷体" panose="02010600040101010101" pitchFamily="2" charset="-122"/>
              </a:endParaRPr>
            </a:p>
          </p:txBody>
        </p:sp>
        <p:grpSp>
          <p:nvGrpSpPr>
            <p:cNvPr id="58" name="组合 57"/>
            <p:cNvGrpSpPr/>
            <p:nvPr/>
          </p:nvGrpSpPr>
          <p:grpSpPr>
            <a:xfrm>
              <a:off x="1060450" y="1682950"/>
              <a:ext cx="10071100" cy="5175050"/>
              <a:chOff x="1060450" y="1682950"/>
              <a:chExt cx="10071100" cy="5175050"/>
            </a:xfrm>
          </p:grpSpPr>
          <p:grpSp>
            <p:nvGrpSpPr>
              <p:cNvPr id="10" name="组合 9"/>
              <p:cNvGrpSpPr/>
              <p:nvPr/>
            </p:nvGrpSpPr>
            <p:grpSpPr>
              <a:xfrm>
                <a:off x="1060450" y="1682950"/>
                <a:ext cx="10071100" cy="5175050"/>
                <a:chOff x="-12700" y="631371"/>
                <a:chExt cx="12204700" cy="6226629"/>
              </a:xfrm>
            </p:grpSpPr>
            <p:sp>
              <p:nvSpPr>
                <p:cNvPr id="4" name="任意多边形: 形状 3"/>
                <p:cNvSpPr/>
                <p:nvPr/>
              </p:nvSpPr>
              <p:spPr>
                <a:xfrm>
                  <a:off x="-12700" y="631371"/>
                  <a:ext cx="12204700" cy="6226629"/>
                </a:xfrm>
                <a:custGeom>
                  <a:avLst/>
                  <a:gdLst>
                    <a:gd name="connsiteX0" fmla="*/ 345 w 4216139"/>
                    <a:gd name="connsiteY0" fmla="*/ 3934615 h 3934607"/>
                    <a:gd name="connsiteX1" fmla="*/ 1682698 w 4216139"/>
                    <a:gd name="connsiteY1" fmla="*/ 1588650 h 3934607"/>
                    <a:gd name="connsiteX2" fmla="*/ 1803355 w 4216139"/>
                    <a:gd name="connsiteY2" fmla="*/ 623399 h 3934607"/>
                    <a:gd name="connsiteX3" fmla="*/ 1609099 w 4216139"/>
                    <a:gd name="connsiteY3" fmla="*/ 623399 h 3934607"/>
                    <a:gd name="connsiteX4" fmla="*/ 2104996 w 4216139"/>
                    <a:gd name="connsiteY4" fmla="*/ 7 h 3934607"/>
                    <a:gd name="connsiteX5" fmla="*/ 2621003 w 4216139"/>
                    <a:gd name="connsiteY5" fmla="*/ 623399 h 3934607"/>
                    <a:gd name="connsiteX6" fmla="*/ 2419909 w 4216139"/>
                    <a:gd name="connsiteY6" fmla="*/ 623399 h 3934607"/>
                    <a:gd name="connsiteX7" fmla="*/ 4216485 w 4216139"/>
                    <a:gd name="connsiteY7" fmla="*/ 3934615 h 3934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16139" h="3934607">
                      <a:moveTo>
                        <a:pt x="345" y="3934615"/>
                      </a:moveTo>
                      <a:cubicBezTo>
                        <a:pt x="345" y="3934615"/>
                        <a:pt x="1313891" y="3391661"/>
                        <a:pt x="1682698" y="1588650"/>
                      </a:cubicBezTo>
                      <a:cubicBezTo>
                        <a:pt x="1722917" y="1367447"/>
                        <a:pt x="1803355" y="623399"/>
                        <a:pt x="1803355" y="623399"/>
                      </a:cubicBezTo>
                      <a:lnTo>
                        <a:pt x="1609099" y="623399"/>
                      </a:lnTo>
                      <a:lnTo>
                        <a:pt x="2104996" y="7"/>
                      </a:lnTo>
                      <a:lnTo>
                        <a:pt x="2621003" y="623399"/>
                      </a:lnTo>
                      <a:lnTo>
                        <a:pt x="2419909" y="623399"/>
                      </a:lnTo>
                      <a:cubicBezTo>
                        <a:pt x="2419909" y="623399"/>
                        <a:pt x="2279143" y="2594121"/>
                        <a:pt x="4216485" y="3934615"/>
                      </a:cubicBezTo>
                      <a:close/>
                    </a:path>
                  </a:pathLst>
                </a:custGeom>
                <a:gradFill flip="none" rotWithShape="1">
                  <a:gsLst>
                    <a:gs pos="0">
                      <a:schemeClr val="accent1">
                        <a:lumMod val="60000"/>
                        <a:lumOff val="40000"/>
                        <a:alpha val="50000"/>
                      </a:schemeClr>
                    </a:gs>
                    <a:gs pos="100000">
                      <a:schemeClr val="accent1">
                        <a:lumMod val="60000"/>
                        <a:lumOff val="40000"/>
                        <a:alpha val="0"/>
                      </a:schemeClr>
                    </a:gs>
                  </a:gsLst>
                  <a:lin ang="5400000" scaled="1"/>
                  <a:tileRect/>
                </a:gradFill>
                <a:ln w="40186" cap="flat">
                  <a:noFill/>
                  <a:prstDash val="solid"/>
                  <a:miter/>
                </a:ln>
              </p:spPr>
              <p:txBody>
                <a:bodyPr rtlCol="0" anchor="ctr"/>
                <a:lstStyle/>
                <a:p>
                  <a:endParaRPr lang="zh-CN" altLang="en-US" dirty="0"/>
                </a:p>
              </p:txBody>
            </p:sp>
            <p:sp>
              <p:nvSpPr>
                <p:cNvPr id="8" name="任意多边形: 形状 7"/>
                <p:cNvSpPr/>
                <p:nvPr/>
              </p:nvSpPr>
              <p:spPr>
                <a:xfrm>
                  <a:off x="2133181" y="1052206"/>
                  <a:ext cx="7912937" cy="5805792"/>
                </a:xfrm>
                <a:custGeom>
                  <a:avLst/>
                  <a:gdLst>
                    <a:gd name="connsiteX0" fmla="*/ 345 w 4216139"/>
                    <a:gd name="connsiteY0" fmla="*/ 3934615 h 3934607"/>
                    <a:gd name="connsiteX1" fmla="*/ 1682698 w 4216139"/>
                    <a:gd name="connsiteY1" fmla="*/ 1588650 h 3934607"/>
                    <a:gd name="connsiteX2" fmla="*/ 1803355 w 4216139"/>
                    <a:gd name="connsiteY2" fmla="*/ 623399 h 3934607"/>
                    <a:gd name="connsiteX3" fmla="*/ 1609099 w 4216139"/>
                    <a:gd name="connsiteY3" fmla="*/ 623399 h 3934607"/>
                    <a:gd name="connsiteX4" fmla="*/ 2104996 w 4216139"/>
                    <a:gd name="connsiteY4" fmla="*/ 7 h 3934607"/>
                    <a:gd name="connsiteX5" fmla="*/ 2621003 w 4216139"/>
                    <a:gd name="connsiteY5" fmla="*/ 623399 h 3934607"/>
                    <a:gd name="connsiteX6" fmla="*/ 2419909 w 4216139"/>
                    <a:gd name="connsiteY6" fmla="*/ 623399 h 3934607"/>
                    <a:gd name="connsiteX7" fmla="*/ 4216485 w 4216139"/>
                    <a:gd name="connsiteY7" fmla="*/ 3934615 h 3934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16139" h="3934607">
                      <a:moveTo>
                        <a:pt x="345" y="3934615"/>
                      </a:moveTo>
                      <a:cubicBezTo>
                        <a:pt x="345" y="3934615"/>
                        <a:pt x="1313891" y="3391661"/>
                        <a:pt x="1682698" y="1588650"/>
                      </a:cubicBezTo>
                      <a:cubicBezTo>
                        <a:pt x="1722917" y="1367447"/>
                        <a:pt x="1803355" y="623399"/>
                        <a:pt x="1803355" y="623399"/>
                      </a:cubicBezTo>
                      <a:lnTo>
                        <a:pt x="1609099" y="623399"/>
                      </a:lnTo>
                      <a:lnTo>
                        <a:pt x="2104996" y="7"/>
                      </a:lnTo>
                      <a:lnTo>
                        <a:pt x="2621003" y="623399"/>
                      </a:lnTo>
                      <a:lnTo>
                        <a:pt x="2419909" y="623399"/>
                      </a:lnTo>
                      <a:cubicBezTo>
                        <a:pt x="2419909" y="623399"/>
                        <a:pt x="2279143" y="2594121"/>
                        <a:pt x="4216485" y="3934615"/>
                      </a:cubicBezTo>
                      <a:close/>
                    </a:path>
                  </a:pathLst>
                </a:custGeom>
                <a:gradFill flip="none" rotWithShape="1">
                  <a:gsLst>
                    <a:gs pos="33000">
                      <a:schemeClr val="accent1"/>
                    </a:gs>
                    <a:gs pos="100000">
                      <a:schemeClr val="accent1">
                        <a:lumMod val="60000"/>
                        <a:lumOff val="40000"/>
                        <a:alpha val="25000"/>
                      </a:schemeClr>
                    </a:gs>
                  </a:gsLst>
                  <a:lin ang="5400000" scaled="1"/>
                  <a:tileRect/>
                </a:gradFill>
                <a:ln w="40186" cap="flat">
                  <a:noFill/>
                  <a:prstDash val="solid"/>
                  <a:miter/>
                </a:ln>
              </p:spPr>
              <p:txBody>
                <a:bodyPr rtlCol="0" anchor="ctr"/>
                <a:lstStyle/>
                <a:p>
                  <a:endParaRPr lang="zh-CN" altLang="en-US" dirty="0"/>
                </a:p>
              </p:txBody>
            </p:sp>
            <p:sp>
              <p:nvSpPr>
                <p:cNvPr id="5" name="椭圆 4"/>
                <p:cNvSpPr/>
                <p:nvPr/>
              </p:nvSpPr>
              <p:spPr>
                <a:xfrm>
                  <a:off x="3974174" y="2265117"/>
                  <a:ext cx="4230955" cy="730016"/>
                </a:xfrm>
                <a:prstGeom prst="ellipse">
                  <a:avLst/>
                </a:prstGeom>
                <a:gradFill>
                  <a:gsLst>
                    <a:gs pos="19000">
                      <a:schemeClr val="accent1">
                        <a:alpha val="0"/>
                      </a:schemeClr>
                    </a:gs>
                    <a:gs pos="100000">
                      <a:schemeClr val="accent1">
                        <a:alpha val="19000"/>
                      </a:schemeClr>
                    </a:gs>
                  </a:gsLst>
                  <a:lin ang="5400000" scaled="1"/>
                </a:gradFill>
                <a:ln w="25400">
                  <a:gradFill>
                    <a:gsLst>
                      <a:gs pos="16000">
                        <a:schemeClr val="accent1">
                          <a:alpha val="0"/>
                        </a:schemeClr>
                      </a:gs>
                      <a:gs pos="74000">
                        <a:schemeClr val="accent1">
                          <a:alpha val="70000"/>
                        </a:schemeClr>
                      </a:gs>
                    </a:gsLst>
                    <a:lin ang="5400000" scaled="1"/>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tLang="zh-CN" dirty="0"/>
                </a:p>
              </p:txBody>
            </p:sp>
            <p:sp>
              <p:nvSpPr>
                <p:cNvPr id="6" name="椭圆 5"/>
                <p:cNvSpPr/>
                <p:nvPr/>
              </p:nvSpPr>
              <p:spPr>
                <a:xfrm>
                  <a:off x="3274756" y="3175178"/>
                  <a:ext cx="5629788" cy="896134"/>
                </a:xfrm>
                <a:prstGeom prst="ellipse">
                  <a:avLst/>
                </a:prstGeom>
                <a:gradFill>
                  <a:gsLst>
                    <a:gs pos="19000">
                      <a:schemeClr val="accent1">
                        <a:alpha val="0"/>
                      </a:schemeClr>
                    </a:gs>
                    <a:gs pos="100000">
                      <a:schemeClr val="accent1">
                        <a:alpha val="19000"/>
                      </a:schemeClr>
                    </a:gs>
                  </a:gsLst>
                  <a:lin ang="5400000" scaled="1"/>
                </a:gradFill>
                <a:ln w="25400">
                  <a:gradFill>
                    <a:gsLst>
                      <a:gs pos="16000">
                        <a:schemeClr val="accent1">
                          <a:alpha val="0"/>
                        </a:schemeClr>
                      </a:gs>
                      <a:gs pos="74000">
                        <a:schemeClr val="accent1">
                          <a:alpha val="70000"/>
                        </a:schemeClr>
                      </a:gs>
                    </a:gsLst>
                    <a:lin ang="5400000" scaled="1"/>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tLang="zh-CN" dirty="0"/>
                </a:p>
              </p:txBody>
            </p:sp>
            <p:sp>
              <p:nvSpPr>
                <p:cNvPr id="7" name="椭圆 6"/>
                <p:cNvSpPr/>
                <p:nvPr/>
              </p:nvSpPr>
              <p:spPr>
                <a:xfrm>
                  <a:off x="2399767" y="4251355"/>
                  <a:ext cx="7379765" cy="1105319"/>
                </a:xfrm>
                <a:prstGeom prst="ellipse">
                  <a:avLst/>
                </a:prstGeom>
                <a:gradFill>
                  <a:gsLst>
                    <a:gs pos="19000">
                      <a:schemeClr val="accent1">
                        <a:alpha val="0"/>
                      </a:schemeClr>
                    </a:gs>
                    <a:gs pos="100000">
                      <a:schemeClr val="accent1">
                        <a:alpha val="19000"/>
                      </a:schemeClr>
                    </a:gs>
                  </a:gsLst>
                  <a:lin ang="5400000" scaled="1"/>
                </a:gradFill>
                <a:ln w="25400">
                  <a:gradFill>
                    <a:gsLst>
                      <a:gs pos="16000">
                        <a:schemeClr val="accent1">
                          <a:alpha val="0"/>
                        </a:schemeClr>
                      </a:gs>
                      <a:gs pos="74000">
                        <a:schemeClr val="accent1">
                          <a:alpha val="70000"/>
                        </a:schemeClr>
                      </a:gs>
                    </a:gsLst>
                    <a:lin ang="5400000" scaled="1"/>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tLang="zh-CN" dirty="0"/>
                </a:p>
              </p:txBody>
            </p:sp>
          </p:grpSp>
          <p:sp>
            <p:nvSpPr>
              <p:cNvPr id="12" name="椭圆 11"/>
              <p:cNvSpPr/>
              <p:nvPr/>
            </p:nvSpPr>
            <p:spPr>
              <a:xfrm>
                <a:off x="4292016" y="2675775"/>
                <a:ext cx="3595267" cy="730016"/>
              </a:xfrm>
              <a:prstGeom prst="ellipse">
                <a:avLst/>
              </a:prstGeom>
              <a:no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zh-CN" sz="2000" b="1" dirty="0">
                    <a:solidFill>
                      <a:srgbClr val="FFFFFF"/>
                    </a:solidFill>
                    <a:latin typeface="Arial" panose="020B0604020202090204" pitchFamily="34" charset="0"/>
                    <a:ea typeface="华文楷体" panose="02010600040101010101" pitchFamily="2" charset="-122"/>
                  </a:rPr>
                  <a:t>Step1</a:t>
                </a:r>
                <a:endParaRPr kumimoji="1" lang="en-US" altLang="zh-CN" sz="2000" b="1" dirty="0">
                  <a:solidFill>
                    <a:srgbClr val="FFFFFF"/>
                  </a:solidFill>
                  <a:latin typeface="Arial" panose="020B0604020202090204" pitchFamily="34" charset="0"/>
                  <a:ea typeface="华文楷体" panose="02010600040101010101" pitchFamily="2" charset="-122"/>
                </a:endParaRPr>
              </a:p>
            </p:txBody>
          </p:sp>
          <p:sp>
            <p:nvSpPr>
              <p:cNvPr id="13" name="椭圆 12"/>
              <p:cNvSpPr/>
              <p:nvPr/>
            </p:nvSpPr>
            <p:spPr>
              <a:xfrm>
                <a:off x="4292016" y="3765879"/>
                <a:ext cx="3595267" cy="730016"/>
              </a:xfrm>
              <a:prstGeom prst="ellipse">
                <a:avLst/>
              </a:prstGeom>
              <a:no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zh-CN" sz="2200" b="1" dirty="0">
                    <a:solidFill>
                      <a:srgbClr val="FFFFFF"/>
                    </a:solidFill>
                    <a:latin typeface="Arial" panose="020B0604020202090204" pitchFamily="34" charset="0"/>
                    <a:ea typeface="华文楷体" panose="02010600040101010101" pitchFamily="2" charset="-122"/>
                  </a:rPr>
                  <a:t>Step2</a:t>
                </a:r>
                <a:endParaRPr kumimoji="1" lang="en-US" altLang="zh-CN" sz="2200" b="1" dirty="0">
                  <a:solidFill>
                    <a:srgbClr val="FFFFFF"/>
                  </a:solidFill>
                  <a:latin typeface="Arial" panose="020B0604020202090204" pitchFamily="34" charset="0"/>
                  <a:ea typeface="华文楷体" panose="02010600040101010101" pitchFamily="2" charset="-122"/>
                </a:endParaRPr>
              </a:p>
            </p:txBody>
          </p:sp>
          <p:sp>
            <p:nvSpPr>
              <p:cNvPr id="14" name="椭圆 13"/>
              <p:cNvSpPr/>
              <p:nvPr/>
            </p:nvSpPr>
            <p:spPr>
              <a:xfrm>
                <a:off x="4292016" y="4855982"/>
                <a:ext cx="3595267" cy="730016"/>
              </a:xfrm>
              <a:prstGeom prst="ellipse">
                <a:avLst/>
              </a:prstGeom>
              <a:no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zh-CN" sz="2400" b="1" dirty="0">
                    <a:solidFill>
                      <a:srgbClr val="FFFFFF"/>
                    </a:solidFill>
                    <a:latin typeface="Arial" panose="020B0604020202090204" pitchFamily="34" charset="0"/>
                    <a:ea typeface="华文楷体" panose="02010600040101010101" pitchFamily="2" charset="-122"/>
                  </a:rPr>
                  <a:t>Step3</a:t>
                </a:r>
                <a:endParaRPr kumimoji="1" lang="en-US" altLang="zh-CN" sz="2400" b="1" dirty="0">
                  <a:solidFill>
                    <a:srgbClr val="FFFFFF"/>
                  </a:solidFill>
                  <a:latin typeface="Arial" panose="020B0604020202090204" pitchFamily="34" charset="0"/>
                  <a:ea typeface="华文楷体" panose="02010600040101010101" pitchFamily="2" charset="-122"/>
                </a:endParaRPr>
              </a:p>
            </p:txBody>
          </p:sp>
        </p:grpSp>
        <p:grpSp>
          <p:nvGrpSpPr>
            <p:cNvPr id="15" name="组合 14"/>
            <p:cNvGrpSpPr/>
            <p:nvPr/>
          </p:nvGrpSpPr>
          <p:grpSpPr>
            <a:xfrm>
              <a:off x="1674858" y="2469404"/>
              <a:ext cx="2522030" cy="987387"/>
              <a:chOff x="897975" y="1900229"/>
              <a:chExt cx="2522030" cy="987387"/>
            </a:xfrm>
          </p:grpSpPr>
          <p:sp>
            <p:nvSpPr>
              <p:cNvPr id="16" name="矩形 15"/>
              <p:cNvSpPr/>
              <p:nvPr/>
            </p:nvSpPr>
            <p:spPr bwMode="auto">
              <a:xfrm>
                <a:off x="897975" y="2345168"/>
                <a:ext cx="2522030" cy="5424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20000"/>
                  </a:lnSpc>
                  <a:spcBef>
                    <a:spcPct val="0"/>
                  </a:spcBef>
                </a:pPr>
                <a:r>
                  <a:rPr lang="sv-SE" altLang="zh-CN" sz="1200" dirty="0">
                    <a:latin typeface="Arial" panose="020B0604020202090204" pitchFamily="34" charset="0"/>
                    <a:ea typeface="华文楷体" panose="02010600040101010101" pitchFamily="2" charset="-122"/>
                  </a:rPr>
                  <a:t>Justo sed sed rebum sea.</a:t>
                </a:r>
                <a:endParaRPr lang="en-US" altLang="zh-CN" sz="1200" dirty="0">
                  <a:latin typeface="Arial" panose="020B0604020202090204" pitchFamily="34" charset="0"/>
                  <a:ea typeface="华文楷体" panose="02010600040101010101" pitchFamily="2" charset="-122"/>
                </a:endParaRPr>
              </a:p>
            </p:txBody>
          </p:sp>
          <p:sp>
            <p:nvSpPr>
              <p:cNvPr id="17" name="文本框 16"/>
              <p:cNvSpPr txBox="1"/>
              <p:nvPr/>
            </p:nvSpPr>
            <p:spPr bwMode="auto">
              <a:xfrm>
                <a:off x="897975" y="1900229"/>
                <a:ext cx="2522030" cy="444941"/>
              </a:xfrm>
              <a:prstGeom prst="rect">
                <a:avLst/>
              </a:prstGeom>
              <a:noFill/>
              <a:ln w="9525">
                <a:noFill/>
                <a:miter lim="800000"/>
              </a:ln>
              <a:extLst>
                <a:ext uri="{909E8E84-426E-40DD-AFC4-6F175D3DCCD1}">
                  <a14:hiddenFill xmlns:a14="http://schemas.microsoft.com/office/drawing/2010/main">
                    <a:solidFill>
                      <a:srgbClr val="FFFFFF"/>
                    </a:solidFill>
                  </a14:hiddenFill>
                </a:ext>
              </a:extLst>
            </p:spPr>
            <p:txBody>
              <a:bodyPr wrap="square" lIns="91440" tIns="45720" rIns="91440" bIns="45720" anchor="b"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eaLnBrk="1" hangingPunct="1">
                  <a:spcBef>
                    <a:spcPct val="0"/>
                  </a:spcBef>
                  <a:buFontTx/>
                  <a:buNone/>
                </a:pPr>
                <a:r>
                  <a:rPr lang="en-US" altLang="zh-CN" b="1" dirty="0">
                    <a:latin typeface="Arial" panose="020B0604020202090204" pitchFamily="34" charset="0"/>
                    <a:ea typeface="华文楷体" panose="02010600040101010101" pitchFamily="2" charset="-122"/>
                  </a:rPr>
                  <a:t>Click to add text</a:t>
                </a:r>
                <a:endParaRPr lang="en-US" altLang="zh-CN" b="1" dirty="0">
                  <a:latin typeface="Arial" panose="020B0604020202090204" pitchFamily="34" charset="0"/>
                  <a:ea typeface="华文楷体" panose="02010600040101010101" pitchFamily="2" charset="-122"/>
                </a:endParaRPr>
              </a:p>
            </p:txBody>
          </p:sp>
        </p:grpSp>
        <p:grpSp>
          <p:nvGrpSpPr>
            <p:cNvPr id="18" name="组合 17"/>
            <p:cNvGrpSpPr/>
            <p:nvPr/>
          </p:nvGrpSpPr>
          <p:grpSpPr>
            <a:xfrm>
              <a:off x="1167629" y="3599042"/>
              <a:ext cx="2522030" cy="987387"/>
              <a:chOff x="897975" y="1900229"/>
              <a:chExt cx="2522030" cy="987387"/>
            </a:xfrm>
          </p:grpSpPr>
          <p:sp>
            <p:nvSpPr>
              <p:cNvPr id="19" name="矩形 18"/>
              <p:cNvSpPr/>
              <p:nvPr/>
            </p:nvSpPr>
            <p:spPr bwMode="auto">
              <a:xfrm>
                <a:off x="897975" y="2345168"/>
                <a:ext cx="2522030" cy="5424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20000"/>
                  </a:lnSpc>
                  <a:spcBef>
                    <a:spcPct val="0"/>
                  </a:spcBef>
                </a:pPr>
                <a:r>
                  <a:rPr lang="sv-SE" altLang="zh-CN" sz="1200" dirty="0">
                    <a:latin typeface="Arial" panose="020B0604020202090204" pitchFamily="34" charset="0"/>
                    <a:ea typeface="华文楷体" panose="02010600040101010101" pitchFamily="2" charset="-122"/>
                  </a:rPr>
                  <a:t>Justo sed sed rebum sea.</a:t>
                </a:r>
                <a:endParaRPr lang="en-US" altLang="zh-CN" sz="1200" dirty="0">
                  <a:latin typeface="Arial" panose="020B0604020202090204" pitchFamily="34" charset="0"/>
                  <a:ea typeface="华文楷体" panose="02010600040101010101" pitchFamily="2" charset="-122"/>
                </a:endParaRPr>
              </a:p>
            </p:txBody>
          </p:sp>
          <p:sp>
            <p:nvSpPr>
              <p:cNvPr id="20" name="文本框 19"/>
              <p:cNvSpPr txBox="1"/>
              <p:nvPr/>
            </p:nvSpPr>
            <p:spPr bwMode="auto">
              <a:xfrm>
                <a:off x="897975" y="1900229"/>
                <a:ext cx="2522030" cy="444941"/>
              </a:xfrm>
              <a:prstGeom prst="rect">
                <a:avLst/>
              </a:prstGeom>
              <a:noFill/>
              <a:ln w="9525">
                <a:noFill/>
                <a:miter lim="800000"/>
              </a:ln>
              <a:extLst>
                <a:ext uri="{909E8E84-426E-40DD-AFC4-6F175D3DCCD1}">
                  <a14:hiddenFill xmlns:a14="http://schemas.microsoft.com/office/drawing/2010/main">
                    <a:solidFill>
                      <a:srgbClr val="FFFFFF"/>
                    </a:solidFill>
                  </a14:hiddenFill>
                </a:ext>
              </a:extLst>
            </p:spPr>
            <p:txBody>
              <a:bodyPr wrap="square" lIns="91440" tIns="45720" rIns="91440" bIns="45720" anchor="b"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eaLnBrk="1" hangingPunct="1">
                  <a:spcBef>
                    <a:spcPct val="0"/>
                  </a:spcBef>
                  <a:buFontTx/>
                  <a:buNone/>
                </a:pPr>
                <a:r>
                  <a:rPr lang="en-US" altLang="zh-CN" b="1" dirty="0">
                    <a:latin typeface="Arial" panose="020B0604020202090204" pitchFamily="34" charset="0"/>
                    <a:ea typeface="华文楷体" panose="02010600040101010101" pitchFamily="2" charset="-122"/>
                  </a:rPr>
                  <a:t>Click to add text</a:t>
                </a:r>
                <a:endParaRPr lang="en-US" altLang="zh-CN" b="1" dirty="0">
                  <a:latin typeface="Arial" panose="020B0604020202090204" pitchFamily="34" charset="0"/>
                  <a:ea typeface="华文楷体" panose="02010600040101010101" pitchFamily="2" charset="-122"/>
                </a:endParaRPr>
              </a:p>
            </p:txBody>
          </p:sp>
        </p:grpSp>
        <p:grpSp>
          <p:nvGrpSpPr>
            <p:cNvPr id="21" name="组合 20"/>
            <p:cNvGrpSpPr/>
            <p:nvPr/>
          </p:nvGrpSpPr>
          <p:grpSpPr>
            <a:xfrm>
              <a:off x="660400" y="4822786"/>
              <a:ext cx="2522030" cy="987387"/>
              <a:chOff x="897975" y="1900229"/>
              <a:chExt cx="2522030" cy="987387"/>
            </a:xfrm>
          </p:grpSpPr>
          <p:sp>
            <p:nvSpPr>
              <p:cNvPr id="22" name="矩形 21"/>
              <p:cNvSpPr/>
              <p:nvPr/>
            </p:nvSpPr>
            <p:spPr bwMode="auto">
              <a:xfrm>
                <a:off x="897975" y="2345168"/>
                <a:ext cx="2522030" cy="5424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20000"/>
                  </a:lnSpc>
                  <a:spcBef>
                    <a:spcPct val="0"/>
                  </a:spcBef>
                </a:pPr>
                <a:r>
                  <a:rPr lang="sv-SE" altLang="zh-CN" sz="1200" dirty="0">
                    <a:latin typeface="Arial" panose="020B0604020202090204" pitchFamily="34" charset="0"/>
                    <a:ea typeface="华文楷体" panose="02010600040101010101" pitchFamily="2" charset="-122"/>
                  </a:rPr>
                  <a:t>Justo sed sed rebum sea.</a:t>
                </a:r>
                <a:endParaRPr lang="en-US" altLang="zh-CN" sz="1200" dirty="0">
                  <a:latin typeface="Arial" panose="020B0604020202090204" pitchFamily="34" charset="0"/>
                  <a:ea typeface="华文楷体" panose="02010600040101010101" pitchFamily="2" charset="-122"/>
                </a:endParaRPr>
              </a:p>
            </p:txBody>
          </p:sp>
          <p:sp>
            <p:nvSpPr>
              <p:cNvPr id="23" name="文本框 22"/>
              <p:cNvSpPr txBox="1"/>
              <p:nvPr/>
            </p:nvSpPr>
            <p:spPr bwMode="auto">
              <a:xfrm>
                <a:off x="897975" y="1900229"/>
                <a:ext cx="2522030" cy="444941"/>
              </a:xfrm>
              <a:prstGeom prst="rect">
                <a:avLst/>
              </a:prstGeom>
              <a:noFill/>
              <a:ln w="9525">
                <a:noFill/>
                <a:miter lim="800000"/>
              </a:ln>
              <a:extLst>
                <a:ext uri="{909E8E84-426E-40DD-AFC4-6F175D3DCCD1}">
                  <a14:hiddenFill xmlns:a14="http://schemas.microsoft.com/office/drawing/2010/main">
                    <a:solidFill>
                      <a:srgbClr val="FFFFFF"/>
                    </a:solidFill>
                  </a14:hiddenFill>
                </a:ext>
              </a:extLst>
            </p:spPr>
            <p:txBody>
              <a:bodyPr wrap="square" lIns="91440" tIns="45720" rIns="91440" bIns="45720" anchor="b"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eaLnBrk="1" hangingPunct="1">
                  <a:spcBef>
                    <a:spcPct val="0"/>
                  </a:spcBef>
                  <a:buFontTx/>
                  <a:buNone/>
                </a:pPr>
                <a:r>
                  <a:rPr lang="en-US" altLang="zh-CN" b="1" dirty="0">
                    <a:latin typeface="Arial" panose="020B0604020202090204" pitchFamily="34" charset="0"/>
                    <a:ea typeface="华文楷体" panose="02010600040101010101" pitchFamily="2" charset="-122"/>
                  </a:rPr>
                  <a:t>Click to add text</a:t>
                </a:r>
                <a:endParaRPr lang="en-US" altLang="zh-CN" b="1" dirty="0">
                  <a:latin typeface="Arial" panose="020B0604020202090204" pitchFamily="34" charset="0"/>
                  <a:ea typeface="华文楷体" panose="02010600040101010101" pitchFamily="2" charset="-122"/>
                </a:endParaRPr>
              </a:p>
            </p:txBody>
          </p:sp>
        </p:grpSp>
        <p:grpSp>
          <p:nvGrpSpPr>
            <p:cNvPr id="33" name="组合 32"/>
            <p:cNvGrpSpPr/>
            <p:nvPr/>
          </p:nvGrpSpPr>
          <p:grpSpPr>
            <a:xfrm>
              <a:off x="7982412" y="2469404"/>
              <a:ext cx="2522030" cy="987387"/>
              <a:chOff x="897975" y="1900229"/>
              <a:chExt cx="2522030" cy="987387"/>
            </a:xfrm>
          </p:grpSpPr>
          <p:sp>
            <p:nvSpPr>
              <p:cNvPr id="34" name="矩形 33"/>
              <p:cNvSpPr/>
              <p:nvPr/>
            </p:nvSpPr>
            <p:spPr bwMode="auto">
              <a:xfrm>
                <a:off x="897975" y="2345168"/>
                <a:ext cx="2522030" cy="5424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r">
                  <a:lnSpc>
                    <a:spcPct val="120000"/>
                  </a:lnSpc>
                  <a:spcBef>
                    <a:spcPct val="0"/>
                  </a:spcBef>
                </a:pPr>
                <a:r>
                  <a:rPr lang="sv-SE" altLang="zh-CN" sz="1200" dirty="0">
                    <a:latin typeface="Arial" panose="020B0604020202090204" pitchFamily="34" charset="0"/>
                    <a:ea typeface="华文楷体" panose="02010600040101010101" pitchFamily="2" charset="-122"/>
                  </a:rPr>
                  <a:t>Justo sed sed rebum sea.</a:t>
                </a:r>
                <a:endParaRPr lang="en-US" altLang="zh-CN" sz="1200" dirty="0">
                  <a:latin typeface="Arial" panose="020B0604020202090204" pitchFamily="34" charset="0"/>
                  <a:ea typeface="华文楷体" panose="02010600040101010101" pitchFamily="2" charset="-122"/>
                </a:endParaRPr>
              </a:p>
            </p:txBody>
          </p:sp>
          <p:sp>
            <p:nvSpPr>
              <p:cNvPr id="35" name="文本框 34"/>
              <p:cNvSpPr txBox="1"/>
              <p:nvPr/>
            </p:nvSpPr>
            <p:spPr bwMode="auto">
              <a:xfrm>
                <a:off x="897975" y="1900229"/>
                <a:ext cx="2522030" cy="444941"/>
              </a:xfrm>
              <a:prstGeom prst="rect">
                <a:avLst/>
              </a:prstGeom>
              <a:noFill/>
              <a:ln w="9525">
                <a:noFill/>
                <a:miter lim="800000"/>
              </a:ln>
              <a:extLst>
                <a:ext uri="{909E8E84-426E-40DD-AFC4-6F175D3DCCD1}">
                  <a14:hiddenFill xmlns:a14="http://schemas.microsoft.com/office/drawing/2010/main">
                    <a:solidFill>
                      <a:srgbClr val="FFFFFF"/>
                    </a:solidFill>
                  </a14:hiddenFill>
                </a:ext>
              </a:extLst>
            </p:spPr>
            <p:txBody>
              <a:bodyPr wrap="square" lIns="91440" tIns="45720" rIns="91440" bIns="45720" anchor="b"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r" eaLnBrk="1" hangingPunct="1">
                  <a:spcBef>
                    <a:spcPct val="0"/>
                  </a:spcBef>
                  <a:buFontTx/>
                  <a:buNone/>
                </a:pPr>
                <a:r>
                  <a:rPr lang="en-US" altLang="zh-CN" b="1" dirty="0">
                    <a:latin typeface="Arial" panose="020B0604020202090204" pitchFamily="34" charset="0"/>
                    <a:ea typeface="华文楷体" panose="02010600040101010101" pitchFamily="2" charset="-122"/>
                  </a:rPr>
                  <a:t>Click to add text</a:t>
                </a:r>
                <a:endParaRPr lang="en-US" altLang="zh-CN" b="1" dirty="0">
                  <a:latin typeface="Arial" panose="020B0604020202090204" pitchFamily="34" charset="0"/>
                  <a:ea typeface="华文楷体" panose="02010600040101010101" pitchFamily="2" charset="-122"/>
                </a:endParaRPr>
              </a:p>
            </p:txBody>
          </p:sp>
        </p:grpSp>
        <p:grpSp>
          <p:nvGrpSpPr>
            <p:cNvPr id="36" name="组合 35"/>
            <p:cNvGrpSpPr/>
            <p:nvPr/>
          </p:nvGrpSpPr>
          <p:grpSpPr>
            <a:xfrm>
              <a:off x="8489641" y="3599042"/>
              <a:ext cx="2522030" cy="987387"/>
              <a:chOff x="897975" y="1900229"/>
              <a:chExt cx="2522030" cy="987387"/>
            </a:xfrm>
          </p:grpSpPr>
          <p:sp>
            <p:nvSpPr>
              <p:cNvPr id="37" name="矩形 36"/>
              <p:cNvSpPr/>
              <p:nvPr/>
            </p:nvSpPr>
            <p:spPr bwMode="auto">
              <a:xfrm>
                <a:off x="897975" y="2345168"/>
                <a:ext cx="2522030" cy="5424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r">
                  <a:lnSpc>
                    <a:spcPct val="120000"/>
                  </a:lnSpc>
                  <a:spcBef>
                    <a:spcPct val="0"/>
                  </a:spcBef>
                </a:pPr>
                <a:r>
                  <a:rPr lang="sv-SE" altLang="zh-CN" sz="1200" dirty="0">
                    <a:latin typeface="Arial" panose="020B0604020202090204" pitchFamily="34" charset="0"/>
                    <a:ea typeface="华文楷体" panose="02010600040101010101" pitchFamily="2" charset="-122"/>
                  </a:rPr>
                  <a:t>Justo sed sed rebum sea.</a:t>
                </a:r>
                <a:endParaRPr lang="en-US" altLang="zh-CN" sz="1200" dirty="0">
                  <a:latin typeface="Arial" panose="020B0604020202090204" pitchFamily="34" charset="0"/>
                  <a:ea typeface="华文楷体" panose="02010600040101010101" pitchFamily="2" charset="-122"/>
                </a:endParaRPr>
              </a:p>
            </p:txBody>
          </p:sp>
          <p:sp>
            <p:nvSpPr>
              <p:cNvPr id="38" name="文本框 37"/>
              <p:cNvSpPr txBox="1"/>
              <p:nvPr/>
            </p:nvSpPr>
            <p:spPr bwMode="auto">
              <a:xfrm>
                <a:off x="897975" y="1900229"/>
                <a:ext cx="2522030" cy="444941"/>
              </a:xfrm>
              <a:prstGeom prst="rect">
                <a:avLst/>
              </a:prstGeom>
              <a:noFill/>
              <a:ln w="9525">
                <a:noFill/>
                <a:miter lim="800000"/>
              </a:ln>
              <a:extLst>
                <a:ext uri="{909E8E84-426E-40DD-AFC4-6F175D3DCCD1}">
                  <a14:hiddenFill xmlns:a14="http://schemas.microsoft.com/office/drawing/2010/main">
                    <a:solidFill>
                      <a:srgbClr val="FFFFFF"/>
                    </a:solidFill>
                  </a14:hiddenFill>
                </a:ext>
              </a:extLst>
            </p:spPr>
            <p:txBody>
              <a:bodyPr wrap="square" lIns="91440" tIns="45720" rIns="91440" bIns="45720" anchor="b"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r" eaLnBrk="1" hangingPunct="1">
                  <a:spcBef>
                    <a:spcPct val="0"/>
                  </a:spcBef>
                  <a:buFontTx/>
                  <a:buNone/>
                </a:pPr>
                <a:r>
                  <a:rPr lang="en-US" altLang="zh-CN" b="1" dirty="0">
                    <a:latin typeface="Arial" panose="020B0604020202090204" pitchFamily="34" charset="0"/>
                    <a:ea typeface="华文楷体" panose="02010600040101010101" pitchFamily="2" charset="-122"/>
                  </a:rPr>
                  <a:t>Click to add text</a:t>
                </a:r>
                <a:endParaRPr lang="en-US" altLang="zh-CN" b="1" dirty="0">
                  <a:latin typeface="Arial" panose="020B0604020202090204" pitchFamily="34" charset="0"/>
                  <a:ea typeface="华文楷体" panose="02010600040101010101" pitchFamily="2" charset="-122"/>
                </a:endParaRPr>
              </a:p>
            </p:txBody>
          </p:sp>
        </p:grpSp>
        <p:grpSp>
          <p:nvGrpSpPr>
            <p:cNvPr id="39" name="组合 38"/>
            <p:cNvGrpSpPr/>
            <p:nvPr/>
          </p:nvGrpSpPr>
          <p:grpSpPr>
            <a:xfrm>
              <a:off x="8996870" y="4822786"/>
              <a:ext cx="2522030" cy="987387"/>
              <a:chOff x="897975" y="1900229"/>
              <a:chExt cx="2522030" cy="987387"/>
            </a:xfrm>
          </p:grpSpPr>
          <p:sp>
            <p:nvSpPr>
              <p:cNvPr id="40" name="矩形 39"/>
              <p:cNvSpPr/>
              <p:nvPr/>
            </p:nvSpPr>
            <p:spPr bwMode="auto">
              <a:xfrm>
                <a:off x="897975" y="2345168"/>
                <a:ext cx="2522030" cy="5424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r">
                  <a:lnSpc>
                    <a:spcPct val="120000"/>
                  </a:lnSpc>
                  <a:spcBef>
                    <a:spcPct val="0"/>
                  </a:spcBef>
                </a:pPr>
                <a:r>
                  <a:rPr lang="sv-SE" altLang="zh-CN" sz="1200" dirty="0">
                    <a:latin typeface="Arial" panose="020B0604020202090204" pitchFamily="34" charset="0"/>
                    <a:ea typeface="华文楷体" panose="02010600040101010101" pitchFamily="2" charset="-122"/>
                  </a:rPr>
                  <a:t>Justo sed sed rebum sea.</a:t>
                </a:r>
                <a:endParaRPr lang="en-US" altLang="zh-CN" sz="1200" dirty="0">
                  <a:latin typeface="Arial" panose="020B0604020202090204" pitchFamily="34" charset="0"/>
                  <a:ea typeface="华文楷体" panose="02010600040101010101" pitchFamily="2" charset="-122"/>
                </a:endParaRPr>
              </a:p>
            </p:txBody>
          </p:sp>
          <p:sp>
            <p:nvSpPr>
              <p:cNvPr id="41" name="文本框 40"/>
              <p:cNvSpPr txBox="1"/>
              <p:nvPr/>
            </p:nvSpPr>
            <p:spPr bwMode="auto">
              <a:xfrm>
                <a:off x="897975" y="1900229"/>
                <a:ext cx="2522030" cy="444941"/>
              </a:xfrm>
              <a:prstGeom prst="rect">
                <a:avLst/>
              </a:prstGeom>
              <a:noFill/>
              <a:ln w="9525">
                <a:noFill/>
                <a:miter lim="800000"/>
              </a:ln>
              <a:extLst>
                <a:ext uri="{909E8E84-426E-40DD-AFC4-6F175D3DCCD1}">
                  <a14:hiddenFill xmlns:a14="http://schemas.microsoft.com/office/drawing/2010/main">
                    <a:solidFill>
                      <a:srgbClr val="FFFFFF"/>
                    </a:solidFill>
                  </a14:hiddenFill>
                </a:ext>
              </a:extLst>
            </p:spPr>
            <p:txBody>
              <a:bodyPr wrap="square" lIns="91440" tIns="45720" rIns="91440" bIns="45720" anchor="b"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r" eaLnBrk="1" hangingPunct="1">
                  <a:spcBef>
                    <a:spcPct val="0"/>
                  </a:spcBef>
                  <a:buFontTx/>
                  <a:buNone/>
                </a:pPr>
                <a:r>
                  <a:rPr lang="en-US" altLang="zh-CN" b="1" dirty="0">
                    <a:latin typeface="Arial" panose="020B0604020202090204" pitchFamily="34" charset="0"/>
                    <a:ea typeface="华文楷体" panose="02010600040101010101" pitchFamily="2" charset="-122"/>
                  </a:rPr>
                  <a:t>Click to add text</a:t>
                </a:r>
                <a:endParaRPr lang="en-US" altLang="zh-CN" b="1" dirty="0">
                  <a:latin typeface="Arial" panose="020B0604020202090204" pitchFamily="34" charset="0"/>
                  <a:ea typeface="华文楷体" panose="02010600040101010101" pitchFamily="2" charset="-122"/>
                </a:endParaRPr>
              </a:p>
            </p:txBody>
          </p:sp>
        </p:grpSp>
      </p:grpSp>
      <p:sp>
        <p:nvSpPr>
          <p:cNvPr id="9" name="标题 8"/>
          <p:cNvSpPr>
            <a:spLocks noGrp="1"/>
          </p:cNvSpPr>
          <p:nvPr>
            <p:ph type="title"/>
          </p:nvPr>
        </p:nvSpPr>
        <p:spPr/>
        <p:txBody>
          <a:bodyPr/>
          <a:lstStyle/>
          <a:p>
            <a:endParaRPr lang="zh-CN" altLang="en-US"/>
          </a:p>
        </p:txBody>
      </p:sp>
    </p:spTree>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5" name="组合 74"/>
          <p:cNvGrpSpPr/>
          <p:nvPr/>
        </p:nvGrpSpPr>
        <p:grpSpPr>
          <a:xfrm>
            <a:off x="590845" y="309716"/>
            <a:ext cx="11266859" cy="6548284"/>
            <a:chOff x="590845" y="309716"/>
            <a:chExt cx="11266859" cy="6548284"/>
          </a:xfrm>
        </p:grpSpPr>
        <p:sp>
          <p:nvSpPr>
            <p:cNvPr id="74" name="任意多边形: 形状 73"/>
            <p:cNvSpPr/>
            <p:nvPr/>
          </p:nvSpPr>
          <p:spPr>
            <a:xfrm>
              <a:off x="605406" y="309716"/>
              <a:ext cx="11252298" cy="6548284"/>
            </a:xfrm>
            <a:custGeom>
              <a:avLst/>
              <a:gdLst>
                <a:gd name="connsiteX0" fmla="*/ 4715488 w 9735087"/>
                <a:gd name="connsiteY0" fmla="*/ 0 h 6027726"/>
                <a:gd name="connsiteX1" fmla="*/ 6267685 w 9735087"/>
                <a:gd name="connsiteY1" fmla="*/ 1047835 h 6027726"/>
                <a:gd name="connsiteX2" fmla="*/ 5662775 w 9735087"/>
                <a:gd name="connsiteY2" fmla="*/ 1047835 h 6027726"/>
                <a:gd name="connsiteX3" fmla="*/ 9587326 w 9735087"/>
                <a:gd name="connsiteY3" fmla="*/ 5955491 h 6027726"/>
                <a:gd name="connsiteX4" fmla="*/ 9735087 w 9735087"/>
                <a:gd name="connsiteY4" fmla="*/ 6027726 h 6027726"/>
                <a:gd name="connsiteX5" fmla="*/ 0 w 9735087"/>
                <a:gd name="connsiteY5" fmla="*/ 6027726 h 6027726"/>
                <a:gd name="connsiteX6" fmla="*/ 84536 w 9735087"/>
                <a:gd name="connsiteY6" fmla="*/ 5988542 h 6027726"/>
                <a:gd name="connsiteX7" fmla="*/ 3445176 w 9735087"/>
                <a:gd name="connsiteY7" fmla="*/ 2670287 h 6027726"/>
                <a:gd name="connsiteX8" fmla="*/ 3808124 w 9735087"/>
                <a:gd name="connsiteY8" fmla="*/ 1047835 h 6027726"/>
                <a:gd name="connsiteX9" fmla="*/ 3223784 w 9735087"/>
                <a:gd name="connsiteY9" fmla="*/ 1047835 h 6027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735087" h="6027726">
                  <a:moveTo>
                    <a:pt x="4715488" y="0"/>
                  </a:moveTo>
                  <a:lnTo>
                    <a:pt x="6267685" y="1047835"/>
                  </a:lnTo>
                  <a:lnTo>
                    <a:pt x="5662775" y="1047835"/>
                  </a:lnTo>
                  <a:cubicBezTo>
                    <a:pt x="5662775" y="1047835"/>
                    <a:pt x="5315011" y="3768363"/>
                    <a:pt x="9587326" y="5955491"/>
                  </a:cubicBezTo>
                  <a:lnTo>
                    <a:pt x="9735087" y="6027726"/>
                  </a:lnTo>
                  <a:lnTo>
                    <a:pt x="0" y="6027726"/>
                  </a:lnTo>
                  <a:lnTo>
                    <a:pt x="84536" y="5988542"/>
                  </a:lnTo>
                  <a:cubicBezTo>
                    <a:pt x="1297912" y="5409582"/>
                    <a:pt x="2821136" y="4375006"/>
                    <a:pt x="3445176" y="2670287"/>
                  </a:cubicBezTo>
                  <a:cubicBezTo>
                    <a:pt x="3566159" y="2298476"/>
                    <a:pt x="3808124" y="1047835"/>
                    <a:pt x="3808124" y="1047835"/>
                  </a:cubicBezTo>
                  <a:lnTo>
                    <a:pt x="3223784" y="1047835"/>
                  </a:lnTo>
                  <a:close/>
                </a:path>
              </a:pathLst>
            </a:custGeom>
            <a:gradFill flip="none" rotWithShape="1">
              <a:gsLst>
                <a:gs pos="0">
                  <a:schemeClr val="tx2">
                    <a:alpha val="10000"/>
                  </a:schemeClr>
                </a:gs>
                <a:gs pos="100000">
                  <a:schemeClr val="tx2">
                    <a:alpha val="0"/>
                  </a:schemeClr>
                </a:gs>
              </a:gsLst>
              <a:lin ang="5400000" scaled="1"/>
              <a:tileRect/>
            </a:gradFill>
            <a:ln w="40186" cap="flat">
              <a:noFill/>
              <a:prstDash val="solid"/>
              <a:miter/>
            </a:ln>
          </p:spPr>
          <p:txBody>
            <a:bodyPr rtlCol="0" anchor="ctr"/>
            <a:lstStyle/>
            <a:p>
              <a:endParaRPr lang="zh-CN" altLang="en-US" dirty="0"/>
            </a:p>
          </p:txBody>
        </p:sp>
        <p:sp>
          <p:nvSpPr>
            <p:cNvPr id="26" name="任意多边形: 形状 25"/>
            <p:cNvSpPr/>
            <p:nvPr/>
          </p:nvSpPr>
          <p:spPr>
            <a:xfrm>
              <a:off x="1975642" y="1130300"/>
              <a:ext cx="8253414" cy="5727698"/>
            </a:xfrm>
            <a:custGeom>
              <a:avLst/>
              <a:gdLst>
                <a:gd name="connsiteX0" fmla="*/ 345 w 4216139"/>
                <a:gd name="connsiteY0" fmla="*/ 3934615 h 3934607"/>
                <a:gd name="connsiteX1" fmla="*/ 1682698 w 4216139"/>
                <a:gd name="connsiteY1" fmla="*/ 1588650 h 3934607"/>
                <a:gd name="connsiteX2" fmla="*/ 1803355 w 4216139"/>
                <a:gd name="connsiteY2" fmla="*/ 623399 h 3934607"/>
                <a:gd name="connsiteX3" fmla="*/ 1609099 w 4216139"/>
                <a:gd name="connsiteY3" fmla="*/ 623399 h 3934607"/>
                <a:gd name="connsiteX4" fmla="*/ 2104996 w 4216139"/>
                <a:gd name="connsiteY4" fmla="*/ 7 h 3934607"/>
                <a:gd name="connsiteX5" fmla="*/ 2621003 w 4216139"/>
                <a:gd name="connsiteY5" fmla="*/ 623399 h 3934607"/>
                <a:gd name="connsiteX6" fmla="*/ 2419909 w 4216139"/>
                <a:gd name="connsiteY6" fmla="*/ 623399 h 3934607"/>
                <a:gd name="connsiteX7" fmla="*/ 4216485 w 4216139"/>
                <a:gd name="connsiteY7" fmla="*/ 3934615 h 3934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16139" h="3934607">
                  <a:moveTo>
                    <a:pt x="345" y="3934615"/>
                  </a:moveTo>
                  <a:cubicBezTo>
                    <a:pt x="345" y="3934615"/>
                    <a:pt x="1313891" y="3391661"/>
                    <a:pt x="1682698" y="1588650"/>
                  </a:cubicBezTo>
                  <a:cubicBezTo>
                    <a:pt x="1722917" y="1367447"/>
                    <a:pt x="1803355" y="623399"/>
                    <a:pt x="1803355" y="623399"/>
                  </a:cubicBezTo>
                  <a:lnTo>
                    <a:pt x="1609099" y="623399"/>
                  </a:lnTo>
                  <a:lnTo>
                    <a:pt x="2104996" y="7"/>
                  </a:lnTo>
                  <a:lnTo>
                    <a:pt x="2621003" y="623399"/>
                  </a:lnTo>
                  <a:lnTo>
                    <a:pt x="2419909" y="623399"/>
                  </a:lnTo>
                  <a:cubicBezTo>
                    <a:pt x="2419909" y="623399"/>
                    <a:pt x="2279143" y="2594121"/>
                    <a:pt x="4216485" y="3934615"/>
                  </a:cubicBezTo>
                  <a:close/>
                </a:path>
              </a:pathLst>
            </a:custGeom>
            <a:gradFill flip="none" rotWithShape="1">
              <a:gsLst>
                <a:gs pos="33000">
                  <a:schemeClr val="accent1"/>
                </a:gs>
                <a:gs pos="100000">
                  <a:schemeClr val="accent1">
                    <a:lumMod val="60000"/>
                    <a:lumOff val="40000"/>
                    <a:alpha val="25000"/>
                  </a:schemeClr>
                </a:gs>
              </a:gsLst>
              <a:lin ang="5400000" scaled="1"/>
              <a:tileRect/>
            </a:gradFill>
            <a:ln w="40186" cap="flat">
              <a:noFill/>
              <a:prstDash val="solid"/>
              <a:miter/>
            </a:ln>
          </p:spPr>
          <p:txBody>
            <a:bodyPr rtlCol="0" anchor="ctr"/>
            <a:lstStyle/>
            <a:p>
              <a:endParaRPr lang="zh-CN" altLang="en-US" dirty="0"/>
            </a:p>
          </p:txBody>
        </p:sp>
        <p:sp>
          <p:nvSpPr>
            <p:cNvPr id="27" name="矩形 26"/>
            <p:cNvSpPr>
              <a:spLocks noChangeAspect="1"/>
            </p:cNvSpPr>
            <p:nvPr/>
          </p:nvSpPr>
          <p:spPr>
            <a:xfrm>
              <a:off x="4988629" y="3654228"/>
              <a:ext cx="2214742" cy="1827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chorCtr="0">
              <a:normAutofit/>
            </a:bodyPr>
            <a:lstStyle/>
            <a:p>
              <a:pPr algn="ctr">
                <a:buSzPct val="25000"/>
              </a:pPr>
              <a:r>
                <a:rPr lang="en-US" altLang="zh-CN" sz="2400" b="1" dirty="0">
                  <a:solidFill>
                    <a:schemeClr val="bg1"/>
                  </a:solidFill>
                  <a:latin typeface="Arial" panose="020B0604020202090204" pitchFamily="34" charset="0"/>
                  <a:ea typeface="华文楷体" panose="02010600040101010101" pitchFamily="2" charset="-122"/>
                </a:rPr>
                <a:t>Unified fonts make reading more fluent</a:t>
              </a:r>
              <a:endParaRPr lang="en-US" altLang="zh-CN" sz="2400" b="1" dirty="0">
                <a:solidFill>
                  <a:schemeClr val="bg1"/>
                </a:solidFill>
                <a:latin typeface="Arial" panose="020B0604020202090204" pitchFamily="34" charset="0"/>
                <a:ea typeface="华文楷体" panose="02010600040101010101" pitchFamily="2" charset="-122"/>
              </a:endParaRPr>
            </a:p>
          </p:txBody>
        </p:sp>
        <p:grpSp>
          <p:nvGrpSpPr>
            <p:cNvPr id="62" name="组合 61"/>
            <p:cNvGrpSpPr/>
            <p:nvPr/>
          </p:nvGrpSpPr>
          <p:grpSpPr>
            <a:xfrm>
              <a:off x="590845" y="1290484"/>
              <a:ext cx="4605715" cy="4071762"/>
              <a:chOff x="521289" y="1290484"/>
              <a:chExt cx="4605715" cy="4071762"/>
            </a:xfrm>
          </p:grpSpPr>
          <p:grpSp>
            <p:nvGrpSpPr>
              <p:cNvPr id="58" name="组合 57"/>
              <p:cNvGrpSpPr/>
              <p:nvPr/>
            </p:nvGrpSpPr>
            <p:grpSpPr>
              <a:xfrm flipH="1">
                <a:off x="521289" y="3797710"/>
                <a:ext cx="3749196" cy="1564536"/>
                <a:chOff x="-662607" y="1929365"/>
                <a:chExt cx="4133056" cy="1724720"/>
              </a:xfrm>
            </p:grpSpPr>
            <p:sp>
              <p:nvSpPr>
                <p:cNvPr id="59" name="矩形 58"/>
                <p:cNvSpPr/>
                <p:nvPr/>
              </p:nvSpPr>
              <p:spPr>
                <a:xfrm flipH="1">
                  <a:off x="1250407" y="2343955"/>
                  <a:ext cx="2220042" cy="10996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r">
                    <a:lnSpc>
                      <a:spcPct val="120000"/>
                    </a:lnSpc>
                  </a:pPr>
                  <a:r>
                    <a:rPr kumimoji="1" lang="fr-FR" altLang="zh-CN" sz="1200" dirty="0">
                      <a:solidFill>
                        <a:schemeClr val="tx1"/>
                      </a:solidFill>
                      <a:latin typeface="Arial" panose="020B0604020202090204" pitchFamily="34" charset="0"/>
                      <a:ea typeface="华文楷体" panose="02010600040101010101" pitchFamily="2" charset="-122"/>
                    </a:rPr>
                    <a:t>No et sanctus accusam option magna possim blandit.</a:t>
                  </a:r>
                  <a:endParaRPr kumimoji="1" lang="en-US" altLang="zh-CN" sz="1200" dirty="0">
                    <a:solidFill>
                      <a:schemeClr val="tx1"/>
                    </a:solidFill>
                    <a:latin typeface="Arial" panose="020B0604020202090204" pitchFamily="34" charset="0"/>
                    <a:ea typeface="华文楷体" panose="02010600040101010101" pitchFamily="2" charset="-122"/>
                  </a:endParaRPr>
                </a:p>
              </p:txBody>
            </p:sp>
            <p:sp>
              <p:nvSpPr>
                <p:cNvPr id="60" name="矩形: 圆角 59"/>
                <p:cNvSpPr/>
                <p:nvPr/>
              </p:nvSpPr>
              <p:spPr>
                <a:xfrm>
                  <a:off x="-662607" y="1929365"/>
                  <a:ext cx="1724721" cy="1724720"/>
                </a:xfrm>
                <a:prstGeom prst="roundRect">
                  <a:avLst>
                    <a:gd name="adj" fmla="val 50000"/>
                  </a:avLst>
                </a:prstGeom>
                <a:gradFill flip="none" rotWithShape="1">
                  <a:gsLst>
                    <a:gs pos="0">
                      <a:schemeClr val="accent1">
                        <a:alpha val="0"/>
                      </a:schemeClr>
                    </a:gs>
                    <a:gs pos="89000">
                      <a:schemeClr val="accent1">
                        <a:alpha val="21000"/>
                      </a:schemeClr>
                    </a:gs>
                  </a:gsLst>
                  <a:path path="circle">
                    <a:fillToRect l="50000" t="50000" r="50000" b="50000"/>
                  </a:path>
                  <a:tileRect/>
                </a:gradFill>
                <a:ln w="12700">
                  <a:gradFill flip="none" rotWithShape="1">
                    <a:gsLst>
                      <a:gs pos="0">
                        <a:schemeClr val="accent1">
                          <a:alpha val="0"/>
                        </a:schemeClr>
                      </a:gs>
                      <a:gs pos="100000">
                        <a:schemeClr val="accent1"/>
                      </a:gs>
                    </a:gsLst>
                    <a:lin ang="16200000" scaled="1"/>
                    <a:tileRect/>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zh-CN" b="1" dirty="0">
                      <a:solidFill>
                        <a:schemeClr val="tx1"/>
                      </a:solidFill>
                      <a:latin typeface="Arial" panose="020B0604020202090204" pitchFamily="34" charset="0"/>
                      <a:ea typeface="华文楷体" panose="02010600040101010101" pitchFamily="2" charset="-122"/>
                    </a:rPr>
                    <a:t>Click to add text</a:t>
                  </a:r>
                  <a:endParaRPr kumimoji="1" lang="en-US" altLang="zh-CN" b="1" dirty="0">
                    <a:solidFill>
                      <a:schemeClr val="tx1"/>
                    </a:solidFill>
                    <a:latin typeface="Arial" panose="020B0604020202090204" pitchFamily="34" charset="0"/>
                    <a:ea typeface="华文楷体" panose="02010600040101010101" pitchFamily="2" charset="-122"/>
                  </a:endParaRPr>
                </a:p>
              </p:txBody>
            </p:sp>
          </p:grpSp>
          <p:grpSp>
            <p:nvGrpSpPr>
              <p:cNvPr id="55" name="组合 54"/>
              <p:cNvGrpSpPr/>
              <p:nvPr/>
            </p:nvGrpSpPr>
            <p:grpSpPr>
              <a:xfrm flipH="1">
                <a:off x="949549" y="2544097"/>
                <a:ext cx="3749196" cy="1564536"/>
                <a:chOff x="-662607" y="1929365"/>
                <a:chExt cx="4133056" cy="1724720"/>
              </a:xfrm>
            </p:grpSpPr>
            <p:sp>
              <p:nvSpPr>
                <p:cNvPr id="56" name="矩形 55"/>
                <p:cNvSpPr/>
                <p:nvPr/>
              </p:nvSpPr>
              <p:spPr>
                <a:xfrm flipH="1">
                  <a:off x="1250407" y="2343955"/>
                  <a:ext cx="2220042" cy="10996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r">
                    <a:lnSpc>
                      <a:spcPct val="120000"/>
                    </a:lnSpc>
                  </a:pPr>
                  <a:r>
                    <a:rPr kumimoji="1" lang="fr-FR" altLang="zh-CN" sz="1200" dirty="0">
                      <a:solidFill>
                        <a:schemeClr val="tx1"/>
                      </a:solidFill>
                      <a:latin typeface="Arial" panose="020B0604020202090204" pitchFamily="34" charset="0"/>
                      <a:ea typeface="华文楷体" panose="02010600040101010101" pitchFamily="2" charset="-122"/>
                    </a:rPr>
                    <a:t>No et sanctus accusam option magna possim blandit.</a:t>
                  </a:r>
                  <a:endParaRPr kumimoji="1" lang="en-US" altLang="zh-CN" sz="1200" dirty="0">
                    <a:solidFill>
                      <a:schemeClr val="tx1"/>
                    </a:solidFill>
                    <a:latin typeface="Arial" panose="020B0604020202090204" pitchFamily="34" charset="0"/>
                    <a:ea typeface="华文楷体" panose="02010600040101010101" pitchFamily="2" charset="-122"/>
                  </a:endParaRPr>
                </a:p>
              </p:txBody>
            </p:sp>
            <p:sp>
              <p:nvSpPr>
                <p:cNvPr id="57" name="矩形: 圆角 56"/>
                <p:cNvSpPr/>
                <p:nvPr/>
              </p:nvSpPr>
              <p:spPr>
                <a:xfrm>
                  <a:off x="-662607" y="1929365"/>
                  <a:ext cx="1724720" cy="1724720"/>
                </a:xfrm>
                <a:prstGeom prst="roundRect">
                  <a:avLst>
                    <a:gd name="adj" fmla="val 50000"/>
                  </a:avLst>
                </a:prstGeom>
                <a:gradFill flip="none" rotWithShape="1">
                  <a:gsLst>
                    <a:gs pos="0">
                      <a:schemeClr val="accent1">
                        <a:alpha val="0"/>
                      </a:schemeClr>
                    </a:gs>
                    <a:gs pos="89000">
                      <a:schemeClr val="accent1">
                        <a:alpha val="21000"/>
                      </a:schemeClr>
                    </a:gs>
                  </a:gsLst>
                  <a:path path="circle">
                    <a:fillToRect l="50000" t="50000" r="50000" b="50000"/>
                  </a:path>
                  <a:tileRect/>
                </a:gradFill>
                <a:ln w="12700">
                  <a:gradFill flip="none" rotWithShape="1">
                    <a:gsLst>
                      <a:gs pos="0">
                        <a:schemeClr val="accent1">
                          <a:alpha val="0"/>
                        </a:schemeClr>
                      </a:gs>
                      <a:gs pos="100000">
                        <a:schemeClr val="accent1"/>
                      </a:gs>
                    </a:gsLst>
                    <a:lin ang="16200000" scaled="1"/>
                    <a:tileRect/>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zh-CN" b="1" dirty="0">
                      <a:solidFill>
                        <a:schemeClr val="tx1"/>
                      </a:solidFill>
                      <a:latin typeface="Arial" panose="020B0604020202090204" pitchFamily="34" charset="0"/>
                      <a:ea typeface="华文楷体" panose="02010600040101010101" pitchFamily="2" charset="-122"/>
                    </a:rPr>
                    <a:t>Click to add text</a:t>
                  </a:r>
                  <a:endParaRPr kumimoji="1" lang="en-US" altLang="zh-CN" b="1" dirty="0">
                    <a:solidFill>
                      <a:schemeClr val="tx1"/>
                    </a:solidFill>
                    <a:latin typeface="Arial" panose="020B0604020202090204" pitchFamily="34" charset="0"/>
                    <a:ea typeface="华文楷体" panose="02010600040101010101" pitchFamily="2" charset="-122"/>
                  </a:endParaRPr>
                </a:p>
              </p:txBody>
            </p:sp>
          </p:grpSp>
          <p:grpSp>
            <p:nvGrpSpPr>
              <p:cNvPr id="52" name="组合 51"/>
              <p:cNvGrpSpPr/>
              <p:nvPr/>
            </p:nvGrpSpPr>
            <p:grpSpPr>
              <a:xfrm flipH="1">
                <a:off x="1377808" y="1290484"/>
                <a:ext cx="3749196" cy="1564536"/>
                <a:chOff x="-662607" y="1929365"/>
                <a:chExt cx="4133056" cy="1724720"/>
              </a:xfrm>
            </p:grpSpPr>
            <p:sp>
              <p:nvSpPr>
                <p:cNvPr id="53" name="矩形 52"/>
                <p:cNvSpPr/>
                <p:nvPr/>
              </p:nvSpPr>
              <p:spPr>
                <a:xfrm flipH="1">
                  <a:off x="1250407" y="2343955"/>
                  <a:ext cx="2220042" cy="10996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r">
                    <a:lnSpc>
                      <a:spcPct val="120000"/>
                    </a:lnSpc>
                  </a:pPr>
                  <a:r>
                    <a:rPr kumimoji="1" lang="fr-FR" altLang="zh-CN" sz="1200" dirty="0">
                      <a:solidFill>
                        <a:schemeClr val="tx1"/>
                      </a:solidFill>
                      <a:latin typeface="Arial" panose="020B0604020202090204" pitchFamily="34" charset="0"/>
                      <a:ea typeface="华文楷体" panose="02010600040101010101" pitchFamily="2" charset="-122"/>
                    </a:rPr>
                    <a:t>No et sanctus accusam option magna possim blandit.</a:t>
                  </a:r>
                  <a:endParaRPr kumimoji="1" lang="en-US" altLang="zh-CN" sz="1200" dirty="0">
                    <a:solidFill>
                      <a:schemeClr val="tx1"/>
                    </a:solidFill>
                    <a:latin typeface="Arial" panose="020B0604020202090204" pitchFamily="34" charset="0"/>
                    <a:ea typeface="华文楷体" panose="02010600040101010101" pitchFamily="2" charset="-122"/>
                  </a:endParaRPr>
                </a:p>
              </p:txBody>
            </p:sp>
            <p:sp>
              <p:nvSpPr>
                <p:cNvPr id="54" name="矩形: 圆角 53"/>
                <p:cNvSpPr/>
                <p:nvPr/>
              </p:nvSpPr>
              <p:spPr>
                <a:xfrm>
                  <a:off x="-662607" y="1929365"/>
                  <a:ext cx="1724720" cy="1724720"/>
                </a:xfrm>
                <a:prstGeom prst="roundRect">
                  <a:avLst>
                    <a:gd name="adj" fmla="val 50000"/>
                  </a:avLst>
                </a:prstGeom>
                <a:gradFill flip="none" rotWithShape="1">
                  <a:gsLst>
                    <a:gs pos="0">
                      <a:schemeClr val="accent1">
                        <a:alpha val="0"/>
                      </a:schemeClr>
                    </a:gs>
                    <a:gs pos="89000">
                      <a:schemeClr val="accent1">
                        <a:alpha val="21000"/>
                      </a:schemeClr>
                    </a:gs>
                  </a:gsLst>
                  <a:path path="circle">
                    <a:fillToRect l="50000" t="50000" r="50000" b="50000"/>
                  </a:path>
                  <a:tileRect/>
                </a:gradFill>
                <a:ln w="12700">
                  <a:gradFill flip="none" rotWithShape="1">
                    <a:gsLst>
                      <a:gs pos="0">
                        <a:schemeClr val="accent1">
                          <a:alpha val="0"/>
                        </a:schemeClr>
                      </a:gs>
                      <a:gs pos="100000">
                        <a:schemeClr val="accent1"/>
                      </a:gs>
                    </a:gsLst>
                    <a:lin ang="16200000" scaled="1"/>
                    <a:tileRect/>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zh-CN" b="1" dirty="0">
                      <a:solidFill>
                        <a:schemeClr val="tx1"/>
                      </a:solidFill>
                      <a:latin typeface="Arial" panose="020B0604020202090204" pitchFamily="34" charset="0"/>
                      <a:ea typeface="华文楷体" panose="02010600040101010101" pitchFamily="2" charset="-122"/>
                    </a:rPr>
                    <a:t>Click to add text</a:t>
                  </a:r>
                  <a:endParaRPr kumimoji="1" lang="en-US" altLang="zh-CN" b="1" dirty="0">
                    <a:solidFill>
                      <a:schemeClr val="tx1"/>
                    </a:solidFill>
                    <a:latin typeface="Arial" panose="020B0604020202090204" pitchFamily="34" charset="0"/>
                    <a:ea typeface="华文楷体" panose="02010600040101010101" pitchFamily="2" charset="-122"/>
                  </a:endParaRPr>
                </a:p>
              </p:txBody>
            </p:sp>
          </p:grpSp>
        </p:grpSp>
        <p:grpSp>
          <p:nvGrpSpPr>
            <p:cNvPr id="63" name="组合 62"/>
            <p:cNvGrpSpPr/>
            <p:nvPr/>
          </p:nvGrpSpPr>
          <p:grpSpPr>
            <a:xfrm flipH="1">
              <a:off x="6982740" y="1290484"/>
              <a:ext cx="4605715" cy="4071762"/>
              <a:chOff x="521289" y="1290484"/>
              <a:chExt cx="4605715" cy="4071762"/>
            </a:xfrm>
          </p:grpSpPr>
          <p:grpSp>
            <p:nvGrpSpPr>
              <p:cNvPr id="64" name="组合 63"/>
              <p:cNvGrpSpPr/>
              <p:nvPr/>
            </p:nvGrpSpPr>
            <p:grpSpPr>
              <a:xfrm flipH="1">
                <a:off x="521289" y="3797710"/>
                <a:ext cx="3749196" cy="1564536"/>
                <a:chOff x="-662607" y="1929365"/>
                <a:chExt cx="4133056" cy="1724720"/>
              </a:xfrm>
            </p:grpSpPr>
            <p:sp>
              <p:nvSpPr>
                <p:cNvPr id="71" name="矩形 70"/>
                <p:cNvSpPr/>
                <p:nvPr/>
              </p:nvSpPr>
              <p:spPr>
                <a:xfrm flipH="1">
                  <a:off x="1250407" y="2343955"/>
                  <a:ext cx="2220042" cy="10996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nSpc>
                      <a:spcPct val="120000"/>
                    </a:lnSpc>
                  </a:pPr>
                  <a:r>
                    <a:rPr kumimoji="1" lang="fr-FR" altLang="zh-CN" sz="1200" dirty="0">
                      <a:solidFill>
                        <a:schemeClr val="tx1"/>
                      </a:solidFill>
                      <a:latin typeface="Arial" panose="020B0604020202090204" pitchFamily="34" charset="0"/>
                      <a:ea typeface="华文楷体" panose="02010600040101010101" pitchFamily="2" charset="-122"/>
                    </a:rPr>
                    <a:t>No et sanctus accusam option magna possim blandit.</a:t>
                  </a:r>
                  <a:endParaRPr kumimoji="1" lang="en-US" altLang="zh-CN" sz="1200" dirty="0">
                    <a:solidFill>
                      <a:schemeClr val="tx1"/>
                    </a:solidFill>
                    <a:latin typeface="Arial" panose="020B0604020202090204" pitchFamily="34" charset="0"/>
                    <a:ea typeface="华文楷体" panose="02010600040101010101" pitchFamily="2" charset="-122"/>
                  </a:endParaRPr>
                </a:p>
              </p:txBody>
            </p:sp>
            <p:sp>
              <p:nvSpPr>
                <p:cNvPr id="72" name="矩形: 圆角 71"/>
                <p:cNvSpPr/>
                <p:nvPr/>
              </p:nvSpPr>
              <p:spPr>
                <a:xfrm>
                  <a:off x="-662607" y="1929365"/>
                  <a:ext cx="1724721" cy="1724720"/>
                </a:xfrm>
                <a:prstGeom prst="roundRect">
                  <a:avLst>
                    <a:gd name="adj" fmla="val 50000"/>
                  </a:avLst>
                </a:prstGeom>
                <a:gradFill flip="none" rotWithShape="1">
                  <a:gsLst>
                    <a:gs pos="0">
                      <a:schemeClr val="accent1">
                        <a:alpha val="0"/>
                      </a:schemeClr>
                    </a:gs>
                    <a:gs pos="89000">
                      <a:schemeClr val="accent1">
                        <a:alpha val="21000"/>
                      </a:schemeClr>
                    </a:gs>
                  </a:gsLst>
                  <a:path path="circle">
                    <a:fillToRect l="50000" t="50000" r="50000" b="50000"/>
                  </a:path>
                  <a:tileRect/>
                </a:gradFill>
                <a:ln w="12700">
                  <a:gradFill flip="none" rotWithShape="1">
                    <a:gsLst>
                      <a:gs pos="0">
                        <a:schemeClr val="accent1">
                          <a:alpha val="0"/>
                        </a:schemeClr>
                      </a:gs>
                      <a:gs pos="100000">
                        <a:schemeClr val="accent1"/>
                      </a:gs>
                    </a:gsLst>
                    <a:lin ang="16200000" scaled="1"/>
                    <a:tileRect/>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zh-CN" b="1" dirty="0">
                      <a:solidFill>
                        <a:schemeClr val="tx1"/>
                      </a:solidFill>
                      <a:latin typeface="Arial" panose="020B0604020202090204" pitchFamily="34" charset="0"/>
                      <a:ea typeface="华文楷体" panose="02010600040101010101" pitchFamily="2" charset="-122"/>
                    </a:rPr>
                    <a:t>Click to add text</a:t>
                  </a:r>
                  <a:endParaRPr kumimoji="1" lang="en-US" altLang="zh-CN" b="1" dirty="0">
                    <a:solidFill>
                      <a:schemeClr val="tx1"/>
                    </a:solidFill>
                    <a:latin typeface="Arial" panose="020B0604020202090204" pitchFamily="34" charset="0"/>
                    <a:ea typeface="华文楷体" panose="02010600040101010101" pitchFamily="2" charset="-122"/>
                  </a:endParaRPr>
                </a:p>
              </p:txBody>
            </p:sp>
          </p:grpSp>
          <p:grpSp>
            <p:nvGrpSpPr>
              <p:cNvPr id="65" name="组合 64"/>
              <p:cNvGrpSpPr/>
              <p:nvPr/>
            </p:nvGrpSpPr>
            <p:grpSpPr>
              <a:xfrm flipH="1">
                <a:off x="949549" y="2544097"/>
                <a:ext cx="3749196" cy="1564536"/>
                <a:chOff x="-662607" y="1929365"/>
                <a:chExt cx="4133056" cy="1724720"/>
              </a:xfrm>
            </p:grpSpPr>
            <p:sp>
              <p:nvSpPr>
                <p:cNvPr id="69" name="矩形 68"/>
                <p:cNvSpPr/>
                <p:nvPr/>
              </p:nvSpPr>
              <p:spPr>
                <a:xfrm flipH="1">
                  <a:off x="1250407" y="2343955"/>
                  <a:ext cx="2220042" cy="10996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nSpc>
                      <a:spcPct val="120000"/>
                    </a:lnSpc>
                  </a:pPr>
                  <a:r>
                    <a:rPr kumimoji="1" lang="fr-FR" altLang="zh-CN" sz="1200" dirty="0">
                      <a:solidFill>
                        <a:schemeClr val="tx1"/>
                      </a:solidFill>
                      <a:latin typeface="Arial" panose="020B0604020202090204" pitchFamily="34" charset="0"/>
                      <a:ea typeface="华文楷体" panose="02010600040101010101" pitchFamily="2" charset="-122"/>
                    </a:rPr>
                    <a:t>No et sanctus accusam option magna possim blandit.</a:t>
                  </a:r>
                  <a:endParaRPr kumimoji="1" lang="en-US" altLang="zh-CN" sz="1200" dirty="0">
                    <a:solidFill>
                      <a:schemeClr val="tx1"/>
                    </a:solidFill>
                    <a:latin typeface="Arial" panose="020B0604020202090204" pitchFamily="34" charset="0"/>
                    <a:ea typeface="华文楷体" panose="02010600040101010101" pitchFamily="2" charset="-122"/>
                  </a:endParaRPr>
                </a:p>
              </p:txBody>
            </p:sp>
            <p:sp>
              <p:nvSpPr>
                <p:cNvPr id="70" name="矩形: 圆角 69"/>
                <p:cNvSpPr/>
                <p:nvPr/>
              </p:nvSpPr>
              <p:spPr>
                <a:xfrm>
                  <a:off x="-662607" y="1929365"/>
                  <a:ext cx="1724720" cy="1724720"/>
                </a:xfrm>
                <a:prstGeom prst="roundRect">
                  <a:avLst>
                    <a:gd name="adj" fmla="val 50000"/>
                  </a:avLst>
                </a:prstGeom>
                <a:gradFill flip="none" rotWithShape="1">
                  <a:gsLst>
                    <a:gs pos="0">
                      <a:schemeClr val="accent1">
                        <a:alpha val="0"/>
                      </a:schemeClr>
                    </a:gs>
                    <a:gs pos="89000">
                      <a:schemeClr val="accent1">
                        <a:alpha val="21000"/>
                      </a:schemeClr>
                    </a:gs>
                  </a:gsLst>
                  <a:path path="circle">
                    <a:fillToRect l="50000" t="50000" r="50000" b="50000"/>
                  </a:path>
                  <a:tileRect/>
                </a:gradFill>
                <a:ln w="12700">
                  <a:gradFill flip="none" rotWithShape="1">
                    <a:gsLst>
                      <a:gs pos="0">
                        <a:schemeClr val="accent1">
                          <a:alpha val="0"/>
                        </a:schemeClr>
                      </a:gs>
                      <a:gs pos="100000">
                        <a:schemeClr val="accent1"/>
                      </a:gs>
                    </a:gsLst>
                    <a:lin ang="16200000" scaled="1"/>
                    <a:tileRect/>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zh-CN" b="1" dirty="0">
                      <a:solidFill>
                        <a:schemeClr val="tx1"/>
                      </a:solidFill>
                      <a:latin typeface="Arial" panose="020B0604020202090204" pitchFamily="34" charset="0"/>
                      <a:ea typeface="华文楷体" panose="02010600040101010101" pitchFamily="2" charset="-122"/>
                    </a:rPr>
                    <a:t>Click to add text</a:t>
                  </a:r>
                  <a:endParaRPr kumimoji="1" lang="en-US" altLang="zh-CN" b="1" dirty="0">
                    <a:solidFill>
                      <a:schemeClr val="tx1"/>
                    </a:solidFill>
                    <a:latin typeface="Arial" panose="020B0604020202090204" pitchFamily="34" charset="0"/>
                    <a:ea typeface="华文楷体" panose="02010600040101010101" pitchFamily="2" charset="-122"/>
                  </a:endParaRPr>
                </a:p>
              </p:txBody>
            </p:sp>
          </p:grpSp>
          <p:grpSp>
            <p:nvGrpSpPr>
              <p:cNvPr id="66" name="组合 65"/>
              <p:cNvGrpSpPr/>
              <p:nvPr/>
            </p:nvGrpSpPr>
            <p:grpSpPr>
              <a:xfrm flipH="1">
                <a:off x="1377808" y="1290484"/>
                <a:ext cx="3749196" cy="1564536"/>
                <a:chOff x="-662607" y="1929365"/>
                <a:chExt cx="4133056" cy="1724720"/>
              </a:xfrm>
            </p:grpSpPr>
            <p:sp>
              <p:nvSpPr>
                <p:cNvPr id="67" name="矩形 66"/>
                <p:cNvSpPr/>
                <p:nvPr/>
              </p:nvSpPr>
              <p:spPr>
                <a:xfrm flipH="1">
                  <a:off x="1250407" y="2343955"/>
                  <a:ext cx="2220042" cy="10996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nSpc>
                      <a:spcPct val="120000"/>
                    </a:lnSpc>
                  </a:pPr>
                  <a:r>
                    <a:rPr kumimoji="1" lang="fr-FR" altLang="zh-CN" sz="1200" dirty="0">
                      <a:solidFill>
                        <a:schemeClr val="tx1"/>
                      </a:solidFill>
                      <a:latin typeface="Arial" panose="020B0604020202090204" pitchFamily="34" charset="0"/>
                      <a:ea typeface="华文楷体" panose="02010600040101010101" pitchFamily="2" charset="-122"/>
                    </a:rPr>
                    <a:t>No et sanctus accusam option magna possim blandit.</a:t>
                  </a:r>
                  <a:endParaRPr kumimoji="1" lang="en-US" altLang="zh-CN" sz="1200" dirty="0">
                    <a:solidFill>
                      <a:schemeClr val="tx1"/>
                    </a:solidFill>
                    <a:latin typeface="Arial" panose="020B0604020202090204" pitchFamily="34" charset="0"/>
                    <a:ea typeface="华文楷体" panose="02010600040101010101" pitchFamily="2" charset="-122"/>
                  </a:endParaRPr>
                </a:p>
              </p:txBody>
            </p:sp>
            <p:sp>
              <p:nvSpPr>
                <p:cNvPr id="68" name="矩形: 圆角 67"/>
                <p:cNvSpPr/>
                <p:nvPr/>
              </p:nvSpPr>
              <p:spPr>
                <a:xfrm>
                  <a:off x="-662607" y="1929365"/>
                  <a:ext cx="1724720" cy="1724720"/>
                </a:xfrm>
                <a:prstGeom prst="roundRect">
                  <a:avLst>
                    <a:gd name="adj" fmla="val 50000"/>
                  </a:avLst>
                </a:prstGeom>
                <a:gradFill flip="none" rotWithShape="1">
                  <a:gsLst>
                    <a:gs pos="0">
                      <a:schemeClr val="accent1">
                        <a:alpha val="0"/>
                      </a:schemeClr>
                    </a:gs>
                    <a:gs pos="89000">
                      <a:schemeClr val="accent1">
                        <a:alpha val="21000"/>
                      </a:schemeClr>
                    </a:gs>
                  </a:gsLst>
                  <a:path path="circle">
                    <a:fillToRect l="50000" t="50000" r="50000" b="50000"/>
                  </a:path>
                  <a:tileRect/>
                </a:gradFill>
                <a:ln w="12700">
                  <a:gradFill flip="none" rotWithShape="1">
                    <a:gsLst>
                      <a:gs pos="0">
                        <a:schemeClr val="accent1">
                          <a:alpha val="0"/>
                        </a:schemeClr>
                      </a:gs>
                      <a:gs pos="100000">
                        <a:schemeClr val="accent1"/>
                      </a:gs>
                    </a:gsLst>
                    <a:lin ang="16200000" scaled="1"/>
                    <a:tileRect/>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zh-CN" b="1" dirty="0">
                      <a:solidFill>
                        <a:schemeClr val="tx1"/>
                      </a:solidFill>
                      <a:latin typeface="Arial" panose="020B0604020202090204" pitchFamily="34" charset="0"/>
                      <a:ea typeface="华文楷体" panose="02010600040101010101" pitchFamily="2" charset="-122"/>
                    </a:rPr>
                    <a:t>Click to add text</a:t>
                  </a:r>
                  <a:endParaRPr kumimoji="1" lang="en-US" altLang="zh-CN" b="1" dirty="0">
                    <a:solidFill>
                      <a:schemeClr val="tx1"/>
                    </a:solidFill>
                    <a:latin typeface="Arial" panose="020B0604020202090204" pitchFamily="34" charset="0"/>
                    <a:ea typeface="华文楷体" panose="02010600040101010101" pitchFamily="2" charset="-122"/>
                  </a:endParaRPr>
                </a:p>
              </p:txBody>
            </p:sp>
          </p:grpSp>
        </p:grpSp>
      </p:grpSp>
      <p:sp>
        <p:nvSpPr>
          <p:cNvPr id="3" name="标题 2"/>
          <p:cNvSpPr>
            <a:spLocks noGrp="1"/>
          </p:cNvSpPr>
          <p:nvPr>
            <p:ph type="title"/>
          </p:nvPr>
        </p:nvSpPr>
        <p:spPr/>
        <p:txBody>
          <a:bodyPr/>
          <a:lstStyle/>
          <a:p>
            <a:endParaRPr lang="zh-CN" altLang="en-US"/>
          </a:p>
        </p:txBody>
      </p:sp>
    </p:spTree>
  </p:cSld>
  <p:clrMapOvr>
    <a:masterClrMapping/>
  </p:clrMapOvr>
</p:sld>
</file>

<file path=ppt/tags/tag1.xml><?xml version="1.0" encoding="utf-8"?>
<p:tagLst xmlns:p="http://schemas.openxmlformats.org/presentationml/2006/main">
  <p:tag name="THINKCELLSHAPEDONOTDELETE" val="thinkcellActiveDocDoNotDelete"/>
</p:tagLst>
</file>

<file path=ppt/tags/tag10.xml><?xml version="1.0" encoding="utf-8"?>
<p:tagLst xmlns:p="http://schemas.openxmlformats.org/presentationml/2006/main">
  <p:tag name="THINKCELLSHAPEDONOTDELETE" val="tc3JWICArRGOUzWgcxeJV6g"/>
</p:tagLst>
</file>

<file path=ppt/tags/tag11.xml><?xml version="1.0" encoding="utf-8"?>
<p:tagLst xmlns:p="http://schemas.openxmlformats.org/presentationml/2006/main">
  <p:tag name="THINKCELLSHAPEDONOTDELETE" val="thinkcellActiveDocDoNotDelete"/>
</p:tagLst>
</file>

<file path=ppt/tags/tag12.xml><?xml version="1.0" encoding="utf-8"?>
<p:tagLst xmlns:p="http://schemas.openxmlformats.org/presentationml/2006/main">
  <p:tag name="THINKCELLSHAPEDONOTDELETE" val="tP2g6F_FgQmWgvO7pRubLvQ"/>
</p:tagLst>
</file>

<file path=ppt/tags/tag13.xml><?xml version="1.0" encoding="utf-8"?>
<p:tagLst xmlns:p="http://schemas.openxmlformats.org/presentationml/2006/main">
  <p:tag name="THINKCELLSHAPEDONOTDELETE" val="thinkcellActiveDocDoNotDelete"/>
</p:tagLst>
</file>

<file path=ppt/tags/tag14.xml><?xml version="1.0" encoding="utf-8"?>
<p:tagLst xmlns:p="http://schemas.openxmlformats.org/presentationml/2006/main">
  <p:tag name="THINKCELLSHAPEDONOTDELETE" val="tP2g6F_FgQmWgvO7pRubLvQ"/>
</p:tagLst>
</file>

<file path=ppt/tags/tag15.xml><?xml version="1.0" encoding="utf-8"?>
<p:tagLst xmlns:p="http://schemas.openxmlformats.org/presentationml/2006/main">
  <p:tag name="THINKCELLSHAPEDONOTDELETE" val="thinkcellActiveDocDoNotDelete"/>
</p:tagLst>
</file>

<file path=ppt/tags/tag16.xml><?xml version="1.0" encoding="utf-8"?>
<p:tagLst xmlns:p="http://schemas.openxmlformats.org/presentationml/2006/main">
  <p:tag name="EE4P_INTELLIGENT_ELEMENT" val="{Name}"/>
</p:tagLst>
</file>

<file path=ppt/tags/tag17.xml><?xml version="1.0" encoding="utf-8"?>
<p:tagLst xmlns:p="http://schemas.openxmlformats.org/presentationml/2006/main">
  <p:tag name="THINKCELLSHAPEDONOTDELETE" val="thinkcellActiveDocDoNotDelete"/>
</p:tagLst>
</file>

<file path=ppt/tags/tag18.xml><?xml version="1.0" encoding="utf-8"?>
<p:tagLst xmlns:p="http://schemas.openxmlformats.org/presentationml/2006/main">
  <p:tag name="THINKCELLSHAPEDONOTDELETE" val="tomR7ZrdbSp6sj4BiaRrhMA"/>
</p:tagLst>
</file>

<file path=ppt/tags/tag19.xml><?xml version="1.0" encoding="utf-8"?>
<p:tagLst xmlns:p="http://schemas.openxmlformats.org/presentationml/2006/main">
  <p:tag name="THINKCELLSHAPEDONOTDELETE" val="thinkcellActiveDocDoNotDelete"/>
</p:tagLst>
</file>

<file path=ppt/tags/tag2.xml><?xml version="1.0" encoding="utf-8"?>
<p:tagLst xmlns:p="http://schemas.openxmlformats.org/presentationml/2006/main">
  <p:tag name="THINKCELLSHAPEDONOTDELETE" val="tP2g6F_FgQmWgvO7pRubLvQ"/>
</p:tagLst>
</file>

<file path=ppt/tags/tag20.xml><?xml version="1.0" encoding="utf-8"?>
<p:tagLst xmlns:p="http://schemas.openxmlformats.org/presentationml/2006/main">
  <p:tag name="THINKCELLSHAPEDONOTDELETE" val="thinkcellActiveDocDoNotDelete"/>
</p:tagLst>
</file>

<file path=ppt/tags/tag21.xml><?xml version="1.0" encoding="utf-8"?>
<p:tagLst xmlns:p="http://schemas.openxmlformats.org/presentationml/2006/main">
  <p:tag name="EE4P_INTELLIGENT_ELEMENT" val="{Name}"/>
</p:tagLst>
</file>

<file path=ppt/tags/tag22.xml><?xml version="1.0" encoding="utf-8"?>
<p:tagLst xmlns:p="http://schemas.openxmlformats.org/presentationml/2006/main">
  <p:tag name="THINKCELLSHAPEDONOTDELETE" val="thinkcellActiveDocDoNotDelete"/>
</p:tagLst>
</file>

<file path=ppt/tags/tag23.xml><?xml version="1.0" encoding="utf-8"?>
<p:tagLst xmlns:p="http://schemas.openxmlformats.org/presentationml/2006/main">
  <p:tag name="EE4P_INTELLIGENT_ELEMENT" val="{Name}"/>
</p:tagLst>
</file>

<file path=ppt/tags/tag24.xml><?xml version="1.0" encoding="utf-8"?>
<p:tagLst xmlns:p="http://schemas.openxmlformats.org/presentationml/2006/main">
  <p:tag name="THINKCELLSHAPEDONOTDELETE" val="thinkcellActiveDocDoNotDelete"/>
</p:tagLst>
</file>

<file path=ppt/tags/tag25.xml><?xml version="1.0" encoding="utf-8"?>
<p:tagLst xmlns:p="http://schemas.openxmlformats.org/presentationml/2006/main">
  <p:tag name="EE4P_INTELLIGENT_ELEMENT" val="{Name}"/>
</p:tagLst>
</file>

<file path=ppt/tags/tag26.xml><?xml version="1.0" encoding="utf-8"?>
<p:tagLst xmlns:p="http://schemas.openxmlformats.org/presentationml/2006/main">
  <p:tag name="THINKCELLSHAPEDONOTDELETE" val="thinkcellActiveDocDoNotDelete"/>
</p:tagLst>
</file>

<file path=ppt/tags/tag27.xml><?xml version="1.0" encoding="utf-8"?>
<p:tagLst xmlns:p="http://schemas.openxmlformats.org/presentationml/2006/main">
  <p:tag name="THINKCELLSHAPEDONOTDELETE" val="thinkcellActiveDocDoNotDelete"/>
</p:tagLst>
</file>

<file path=ppt/tags/tag28.xml><?xml version="1.0" encoding="utf-8"?>
<p:tagLst xmlns:p="http://schemas.openxmlformats.org/presentationml/2006/main">
  <p:tag name="THINKCELLSHAPEDONOTDELETE" val="thinkcellActiveDocDoNotDelete"/>
</p:tagLst>
</file>

<file path=ppt/tags/tag29.xml><?xml version="1.0" encoding="utf-8"?>
<p:tagLst xmlns:p="http://schemas.openxmlformats.org/presentationml/2006/main">
  <p:tag name="THINKCELLSHAPEDONOTDELETE" val="tomR7ZrdbSp6sj4BiaRrhMA"/>
</p:tagLst>
</file>

<file path=ppt/tags/tag3.xml><?xml version="1.0" encoding="utf-8"?>
<p:tagLst xmlns:p="http://schemas.openxmlformats.org/presentationml/2006/main">
  <p:tag name="THINKCELLSHAPEDONOTDELETE" val="thinkcellActiveDocDoNotDelete"/>
</p:tagLst>
</file>

<file path=ppt/tags/tag30.xml><?xml version="1.0" encoding="utf-8"?>
<p:tagLst xmlns:p="http://schemas.openxmlformats.org/presentationml/2006/main">
  <p:tag name="THINKCELLSHAPEDONOTDELETE" val="thinkcellActiveDocDoNotDelete"/>
</p:tagLst>
</file>

<file path=ppt/tags/tag31.xml><?xml version="1.0" encoding="utf-8"?>
<p:tagLst xmlns:p="http://schemas.openxmlformats.org/presentationml/2006/main">
  <p:tag name="THINKCELLSHAPEDONOTDELETE" val="thinkcellActiveDocDoNotDelete"/>
</p:tagLst>
</file>

<file path=ppt/tags/tag32.xml><?xml version="1.0" encoding="utf-8"?>
<p:tagLst xmlns:p="http://schemas.openxmlformats.org/presentationml/2006/main">
  <p:tag name="EE4P_INTELLIGENT_ELEMENT" val="{Name}"/>
</p:tagLst>
</file>

<file path=ppt/tags/tag33.xml><?xml version="1.0" encoding="utf-8"?>
<p:tagLst xmlns:p="http://schemas.openxmlformats.org/presentationml/2006/main">
  <p:tag name="THINKCELLSHAPEDONOTDELETE" val="thinkcellActiveDocDoNotDelete"/>
</p:tagLst>
</file>

<file path=ppt/tags/tag34.xml><?xml version="1.0" encoding="utf-8"?>
<p:tagLst xmlns:p="http://schemas.openxmlformats.org/presentationml/2006/main">
  <p:tag name="EE4P_INTELLIGENT_ELEMENT" val="{Name}"/>
</p:tagLst>
</file>

<file path=ppt/tags/tag35.xml><?xml version="1.0" encoding="utf-8"?>
<p:tagLst xmlns:p="http://schemas.openxmlformats.org/presentationml/2006/main">
  <p:tag name="THINKCELLSHAPEDONOTDELETE" val="thinkcellActiveDocDoNotDelete"/>
</p:tagLst>
</file>

<file path=ppt/tags/tag36.xml><?xml version="1.0" encoding="utf-8"?>
<p:tagLst xmlns:p="http://schemas.openxmlformats.org/presentationml/2006/main">
  <p:tag name="EE4P_INTELLIGENT_ELEMENT" val="{Name}"/>
</p:tagLst>
</file>

<file path=ppt/tags/tag37.xml><?xml version="1.0" encoding="utf-8"?>
<p:tagLst xmlns:p="http://schemas.openxmlformats.org/presentationml/2006/main">
  <p:tag name="THINKCELLSHAPEDONOTDELETE" val="thinkcellActiveDocDoNotDelete"/>
</p:tagLst>
</file>

<file path=ppt/tags/tag38.xml><?xml version="1.0" encoding="utf-8"?>
<p:tagLst xmlns:p="http://schemas.openxmlformats.org/presentationml/2006/main">
  <p:tag name="THINKCELLSHAPEDONOTDELETE" val="thinkcellActiveDocDoNotDelete"/>
</p:tagLst>
</file>

<file path=ppt/tags/tag39.xml><?xml version="1.0" encoding="utf-8"?>
<p:tagLst xmlns:p="http://schemas.openxmlformats.org/presentationml/2006/main">
  <p:tag name="THINKCELLSHAPEDONOTDELETE" val="thinkcellActiveDocDoNotDelete"/>
</p:tagLst>
</file>

<file path=ppt/tags/tag4.xml><?xml version="1.0" encoding="utf-8"?>
<p:tagLst xmlns:p="http://schemas.openxmlformats.org/presentationml/2006/main">
  <p:tag name="THINKCELLSHAPEDONOTDELETE" val="tc3JWICArRGOUzWgcxeJV6g"/>
</p:tagLst>
</file>

<file path=ppt/tags/tag40.xml><?xml version="1.0" encoding="utf-8"?>
<p:tagLst xmlns:p="http://schemas.openxmlformats.org/presentationml/2006/main">
  <p:tag name="THINKCELLSHAPEDONOTDELETE" val="tomR7ZrdbSp6sj4BiaRrhMA"/>
</p:tagLst>
</file>

<file path=ppt/tags/tag41.xml><?xml version="1.0" encoding="utf-8"?>
<p:tagLst xmlns:p="http://schemas.openxmlformats.org/presentationml/2006/main">
  <p:tag name="THINKCELLSHAPEDONOTDELETE" val="thinkcellActiveDocDoNotDelete"/>
</p:tagLst>
</file>

<file path=ppt/tags/tag42.xml><?xml version="1.0" encoding="utf-8"?>
<p:tagLst xmlns:p="http://schemas.openxmlformats.org/presentationml/2006/main">
  <p:tag name="THINKCELLSHAPEDONOTDELETE" val="tP2g6F_FgQmWgvO7pRubLvQ"/>
</p:tagLst>
</file>

<file path=ppt/tags/tag43.xml><?xml version="1.0" encoding="utf-8"?>
<p:tagLst xmlns:p="http://schemas.openxmlformats.org/presentationml/2006/main">
  <p:tag name="THINKCELLSHAPEDONOTDELETE" val="thinkcellActiveDocDoNotDelete"/>
</p:tagLst>
</file>

<file path=ppt/tags/tag44.xml><?xml version="1.0" encoding="utf-8"?>
<p:tagLst xmlns:p="http://schemas.openxmlformats.org/presentationml/2006/main">
  <p:tag name="THINKCELLSHAPEDONOTDELETE" val="tc3JWICArRGOUzWgcxeJV6g"/>
</p:tagLst>
</file>

<file path=ppt/tags/tag45.xml><?xml version="1.0" encoding="utf-8"?>
<p:tagLst xmlns:p="http://schemas.openxmlformats.org/presentationml/2006/main">
  <p:tag name="THINKCELLSHAPEDONOTDELETE" val="thinkcellActiveDocDoNotDelete"/>
</p:tagLst>
</file>

<file path=ppt/tags/tag46.xml><?xml version="1.0" encoding="utf-8"?>
<p:tagLst xmlns:p="http://schemas.openxmlformats.org/presentationml/2006/main">
  <p:tag name="EE4P_INTELLIGENT_ELEMENT" val="{Name}"/>
</p:tagLst>
</file>

<file path=ppt/tags/tag47.xml><?xml version="1.0" encoding="utf-8"?>
<p:tagLst xmlns:p="http://schemas.openxmlformats.org/presentationml/2006/main">
  <p:tag name="THINKCELLSHAPEDONOTDELETE" val="thinkcellActiveDocDoNotDelete"/>
</p:tagLst>
</file>

<file path=ppt/tags/tag48.xml><?xml version="1.0" encoding="utf-8"?>
<p:tagLst xmlns:p="http://schemas.openxmlformats.org/presentationml/2006/main">
  <p:tag name="THINKCELLSHAPEDONOTDELETE" val="tomR7ZrdbSp6sj4BiaRrhMA"/>
</p:tagLst>
</file>

<file path=ppt/tags/tag49.xml><?xml version="1.0" encoding="utf-8"?>
<p:tagLst xmlns:p="http://schemas.openxmlformats.org/presentationml/2006/main">
  <p:tag name="THINKCELLSHAPEDONOTDELETE" val="thinkcellActiveDocDoNotDelete"/>
</p:tagLst>
</file>

<file path=ppt/tags/tag5.xml><?xml version="1.0" encoding="utf-8"?>
<p:tagLst xmlns:p="http://schemas.openxmlformats.org/presentationml/2006/main">
  <p:tag name="THINKCELLSHAPEDONOTDELETE" val="thinkcellActiveDocDoNotDelete"/>
</p:tagLst>
</file>

<file path=ppt/tags/tag50.xml><?xml version="1.0" encoding="utf-8"?>
<p:tagLst xmlns:p="http://schemas.openxmlformats.org/presentationml/2006/main">
  <p:tag name="THINKCELLSHAPEDONOTDELETE" val="tP2g6F_FgQmWgvO7pRubLvQ"/>
</p:tagLst>
</file>

<file path=ppt/tags/tag51.xml><?xml version="1.0" encoding="utf-8"?>
<p:tagLst xmlns:p="http://schemas.openxmlformats.org/presentationml/2006/main">
  <p:tag name="THINKCELLSHAPEDONOTDELETE" val="thinkcellActiveDocDoNotDelete"/>
</p:tagLst>
</file>

<file path=ppt/tags/tag52.xml><?xml version="1.0" encoding="utf-8"?>
<p:tagLst xmlns:p="http://schemas.openxmlformats.org/presentationml/2006/main">
  <p:tag name="THINKCELLSHAPEDONOTDELETE" val="tc3JWICArRGOUzWgcxeJV6g"/>
</p:tagLst>
</file>

<file path=ppt/tags/tag53.xml><?xml version="1.0" encoding="utf-8"?>
<p:tagLst xmlns:p="http://schemas.openxmlformats.org/presentationml/2006/main">
  <p:tag name="THINKCELLSHAPEDONOTDELETE" val="thinkcellActiveDocDoNotDelete"/>
</p:tagLst>
</file>

<file path=ppt/tags/tag54.xml><?xml version="1.0" encoding="utf-8"?>
<p:tagLst xmlns:p="http://schemas.openxmlformats.org/presentationml/2006/main">
  <p:tag name="EE4P_INTELLIGENT_ELEMENT" val="{Name}"/>
</p:tagLst>
</file>

<file path=ppt/tags/tag55.xml><?xml version="1.0" encoding="utf-8"?>
<p:tagLst xmlns:p="http://schemas.openxmlformats.org/presentationml/2006/main">
  <p:tag name="THINKCELLSHAPEDONOTDELETE" val="thinkcellActiveDocDoNotDelete"/>
</p:tagLst>
</file>

<file path=ppt/tags/tag56.xml><?xml version="1.0" encoding="utf-8"?>
<p:tagLst xmlns:p="http://schemas.openxmlformats.org/presentationml/2006/main">
  <p:tag name="THINKCELLSHAPEDONOTDELETE" val="tomR7ZrdbSp6sj4BiaRrhMA"/>
</p:tagLst>
</file>

<file path=ppt/tags/tag57.xml><?xml version="1.0" encoding="utf-8"?>
<p:tagLst xmlns:p="http://schemas.openxmlformats.org/presentationml/2006/main">
  <p:tag name="PA" val="v4.1.3"/>
</p:tagLst>
</file>

<file path=ppt/tags/tag58.xml><?xml version="1.0" encoding="utf-8"?>
<p:tagLst xmlns:p="http://schemas.openxmlformats.org/presentationml/2006/main">
  <p:tag name="PA" val="v4.1.3"/>
</p:tagLst>
</file>

<file path=ppt/tags/tag59.xml><?xml version="1.0" encoding="utf-8"?>
<p:tagLst xmlns:p="http://schemas.openxmlformats.org/presentationml/2006/main">
  <p:tag name="PA" val="v4.1.3"/>
</p:tagLst>
</file>

<file path=ppt/tags/tag6.xml><?xml version="1.0" encoding="utf-8"?>
<p:tagLst xmlns:p="http://schemas.openxmlformats.org/presentationml/2006/main">
  <p:tag name="EE4P_INTELLIGENT_ELEMENT" val="{Name}"/>
</p:tagLst>
</file>

<file path=ppt/tags/tag60.xml><?xml version="1.0" encoding="utf-8"?>
<p:tagLst xmlns:p="http://schemas.openxmlformats.org/presentationml/2006/main">
  <p:tag name="PA" val="v4.1.3"/>
</p:tagLst>
</file>

<file path=ppt/tags/tag61.xml><?xml version="1.0" encoding="utf-8"?>
<p:tagLst xmlns:p="http://schemas.openxmlformats.org/presentationml/2006/main">
  <p:tag name="ISLIDE.ICON" val="#65827;#66023;#78269;#407023;#109859;#70088;"/>
  <p:tag name="ISLIDE.VECTOR" val="#849279;#849291;#849288;#856186;#844320;#836774;#856190;#844320;#856254;#813216;#903078;#849257;#856209;#856185;#856187;#856243;#828001;#827996;#844316;#856246;"/>
</p:tagLst>
</file>

<file path=ppt/tags/tag62.xml><?xml version="1.0" encoding="utf-8"?>
<p:tagLst xmlns:p="http://schemas.openxmlformats.org/presentationml/2006/main">
  <p:tag name="ISLIDE.VECTOR" val="#782618;"/>
</p:tagLst>
</file>

<file path=ppt/tags/tag63.xml><?xml version="1.0" encoding="utf-8"?>
<p:tagLst xmlns:p="http://schemas.openxmlformats.org/presentationml/2006/main">
  <p:tag name="ISLIDE.DIAGRAM" val="#200535;"/>
  <p:tag name="ISLIDE.ICON" val="#64125;#116285;"/>
  <p:tag name="ISLIDE.VECTOR" val="#748647;"/>
</p:tagLst>
</file>

<file path=ppt/tags/tag64.xml><?xml version="1.0" encoding="utf-8"?>
<p:tagLst xmlns:p="http://schemas.openxmlformats.org/presentationml/2006/main">
  <p:tag name="ISLIDE.VECTOR" val="#849279;#849291;#849288;#856186;#844320;#836774;#856190;#844320;#856254;#813216;"/>
</p:tagLst>
</file>

<file path=ppt/tags/tag65.xml><?xml version="1.0" encoding="utf-8"?>
<p:tagLst xmlns:p="http://schemas.openxmlformats.org/presentationml/2006/main">
  <p:tag name="ISLIDE.VECTOR" val="#833566;"/>
</p:tagLst>
</file>

<file path=ppt/tags/tag66.xml><?xml version="1.0" encoding="utf-8"?>
<p:tagLst xmlns:p="http://schemas.openxmlformats.org/presentationml/2006/main">
  <p:tag name="ISLIDE.DIAGRAM" val="#873126;"/>
</p:tagLst>
</file>

<file path=ppt/tags/tag67.xml><?xml version="1.0" encoding="utf-8"?>
<p:tagLst xmlns:p="http://schemas.openxmlformats.org/presentationml/2006/main">
  <p:tag name="ISLIDE.VECTOR" val="#906365;#889457;"/>
</p:tagLst>
</file>

<file path=ppt/tags/tag68.xml><?xml version="1.0" encoding="utf-8"?>
<p:tagLst xmlns:p="http://schemas.openxmlformats.org/presentationml/2006/main">
  <p:tag name="ISLIDE.ICON" val="#65827;#66023;#78269;#407023;#109859;#70088;"/>
  <p:tag name="ISLIDE.VECTOR" val="#849279;#849291;#849288;#856186;#844320;#836774;#856190;#844320;#856254;#813216;#903078;#849257;#856209;#856185;#856187;#856243;#828001;#827996;"/>
</p:tagLst>
</file>

<file path=ppt/tags/tag69.xml><?xml version="1.0" encoding="utf-8"?>
<p:tagLst xmlns:p="http://schemas.openxmlformats.org/presentationml/2006/main">
  <p:tag name="ISLIDE.ICON" val="#65827;#66023;#78269;#407023;#109859;#70088;"/>
  <p:tag name="ISLIDE.VECTOR" val="#849279;#849291;#849288;#856186;#844320;#836774;#856190;#844320;#856254;#813216;#903078;#849257;#856209;#856185;#856187;#856243;#828001;#827996;"/>
</p:tagLst>
</file>

<file path=ppt/tags/tag7.xml><?xml version="1.0" encoding="utf-8"?>
<p:tagLst xmlns:p="http://schemas.openxmlformats.org/presentationml/2006/main">
  <p:tag name="THINKCELLSHAPEDONOTDELETE" val="thinkcellActiveDocDoNotDelete"/>
</p:tagLst>
</file>

<file path=ppt/tags/tag70.xml><?xml version="1.0" encoding="utf-8"?>
<p:tagLst xmlns:p="http://schemas.openxmlformats.org/presentationml/2006/main">
  <p:tag name="ISLIDE.THEME" val="https://www.islide.cc;"/>
  <p:tag name="ISLIDE.VECTOR" val="#940604;#856198;#867485;#914486;#940599;#934985;#927099;#849303;#849300;#827987;#774939;#418551;"/>
</p:tagLst>
</file>

<file path=ppt/tags/tag71.xml><?xml version="1.0" encoding="utf-8"?>
<p:tagLst xmlns:p="http://schemas.openxmlformats.org/presentationml/2006/main">
  <p:tag name="ISLIDE.DIAGRAM" val="#856535;#947461;#938142;#949806;#949815;"/>
</p:tagLst>
</file>

<file path=ppt/tags/tag72.xml><?xml version="1.0" encoding="utf-8"?>
<p:tagLst xmlns:p="http://schemas.openxmlformats.org/presentationml/2006/main">
  <p:tag name="ISLIDE.THEME" val="https://www.islide.cc;"/>
  <p:tag name="ISLIDE.ICON" val="#399334;#399334;#158605;#112000;#113477;#113342;#112000;#113527;#113477;#15569;"/>
  <p:tag name="ISLIDE.DIAGRAM" val="#1766;#259818;#1648;#307237;#331892;#217648;#210845;"/>
</p:tagLst>
</file>

<file path=ppt/tags/tag73.xml><?xml version="1.0" encoding="utf-8"?>
<p:tagLst xmlns:p="http://schemas.openxmlformats.org/presentationml/2006/main">
  <p:tag name="ISLIDE.DIAGRAM" val="#947465;"/>
</p:tagLst>
</file>

<file path=ppt/tags/tag74.xml><?xml version="1.0" encoding="utf-8"?>
<p:tagLst xmlns:p="http://schemas.openxmlformats.org/presentationml/2006/main">
  <p:tag name="ISLIDE.ICON" val="#393566;"/>
</p:tagLst>
</file>

<file path=ppt/tags/tag75.xml><?xml version="1.0" encoding="utf-8"?>
<p:tagLst xmlns:p="http://schemas.openxmlformats.org/presentationml/2006/main">
  <p:tag name="ISLIDE.VECTOR" val="#849279;#849291;#849288;#856186;#844320;#836774;#856190;#844320;#856254;#813216;"/>
  <p:tag name="ISLIDE.ICON" val="#65827;#66023;#78269;#407023;#109859;#70088;#380133;"/>
</p:tagLst>
</file>

<file path=ppt/tags/tag8.xml><?xml version="1.0" encoding="utf-8"?>
<p:tagLst xmlns:p="http://schemas.openxmlformats.org/presentationml/2006/main">
  <p:tag name="THINKCELLSHAPEDONOTDELETE" val="tomR7ZrdbSp6sj4BiaRrhMA"/>
</p:tagLst>
</file>

<file path=ppt/tags/tag9.xml><?xml version="1.0" encoding="utf-8"?>
<p:tagLst xmlns:p="http://schemas.openxmlformats.org/presentationml/2006/main">
  <p:tag name="THINKCELLSHAPEDONOTDELETE" val="thinkcellActiveDocDoNotDelete"/>
</p:tagLst>
</file>

<file path=ppt/theme/theme1.xml><?xml version="1.0" encoding="utf-8"?>
<a:theme xmlns:a="http://schemas.openxmlformats.org/drawingml/2006/main" name="1_主题5">
  <a:themeElements>
    <a:clrScheme name="2019机要模板">
      <a:dk1>
        <a:sysClr val="windowText" lastClr="000000"/>
      </a:dk1>
      <a:lt1>
        <a:sysClr val="window" lastClr="FFFFFF"/>
      </a:lt1>
      <a:dk2>
        <a:srgbClr val="44546A"/>
      </a:dk2>
      <a:lt2>
        <a:srgbClr val="E7E6E6"/>
      </a:lt2>
      <a:accent1>
        <a:srgbClr val="F05A23"/>
      </a:accent1>
      <a:accent2>
        <a:srgbClr val="F05A23"/>
      </a:accent2>
      <a:accent3>
        <a:srgbClr val="FECEAF"/>
      </a:accent3>
      <a:accent4>
        <a:srgbClr val="FECEAF"/>
      </a:accent4>
      <a:accent5>
        <a:srgbClr val="7F7F7F"/>
      </a:accent5>
      <a:accent6>
        <a:srgbClr val="5B9BD5"/>
      </a:accent6>
      <a:hlink>
        <a:srgbClr val="0563C1"/>
      </a:hlink>
      <a:folHlink>
        <a:srgbClr val="954F72"/>
      </a:folHlink>
    </a:clrScheme>
    <a:fontScheme name="font">
      <a:majorFont>
        <a:latin typeface="Arial"/>
        <a:ea typeface="华文楷体"/>
        <a:cs typeface=""/>
      </a:majorFont>
      <a:minorFont>
        <a:latin typeface="Arial"/>
        <a:ea typeface="华文楷体"/>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grpFill/>
        <a:ln w="0">
          <a:noFill/>
          <a:prstDash val="solid"/>
          <a:round/>
        </a:ln>
      </a:spPr>
      <a:bodyPr vert="horz" wrap="square" lIns="91440" tIns="45720" rIns="91440" bIns="45720" numCol="1" anchor="t" anchorCtr="0" compatLnSpc="1"/>
      <a:lstStyle>
        <a:defPPr>
          <a:defRPr/>
        </a:defPPr>
      </a:lstStyle>
    </a:spDef>
    <a:lnDef>
      <a:spPr>
        <a:ln>
          <a:solidFill>
            <a:schemeClr val="bg1">
              <a:lumMod val="75000"/>
            </a:schemeClr>
          </a:solidFill>
          <a:prstDash val="dash"/>
        </a:ln>
      </a:spPr>
      <a:bodyPr/>
      <a:lstStyle/>
      <a:style>
        <a:lnRef idx="1">
          <a:schemeClr val="accent1"/>
        </a:lnRef>
        <a:fillRef idx="0">
          <a:schemeClr val="accent1"/>
        </a:fillRef>
        <a:effectRef idx="0">
          <a:schemeClr val="accent1"/>
        </a:effectRef>
        <a:fontRef idx="minor">
          <a:schemeClr val="tx1"/>
        </a:fontRef>
      </a:style>
    </a:lnDef>
    <a:txDef>
      <a:spPr/>
      <a:bodyPr vert="horz" wrap="square" lIns="91440" tIns="45720" rIns="91440" bIns="45720" rtlCol="0">
        <a:normAutofit/>
      </a:bodyPr>
      <a:lstStyle>
        <a:defPPr marL="285750" indent="-179705">
          <a:buFont typeface="Arial" panose="020B0604020202090204" pitchFamily="34" charset="0"/>
          <a:buChar char="•"/>
          <a:defRPr sz="1800" b="1" dirty="0" smtClean="0"/>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中国平安">
  <a:themeElements>
    <a:clrScheme name="自定义 2">
      <a:dk1>
        <a:srgbClr val="000000"/>
      </a:dk1>
      <a:lt1>
        <a:srgbClr val="FFFFFF"/>
      </a:lt1>
      <a:dk2>
        <a:srgbClr val="323232"/>
      </a:dk2>
      <a:lt2>
        <a:srgbClr val="E5DCD8"/>
      </a:lt2>
      <a:accent1>
        <a:srgbClr val="F25822"/>
      </a:accent1>
      <a:accent2>
        <a:srgbClr val="B19C7D"/>
      </a:accent2>
      <a:accent3>
        <a:srgbClr val="C02C04"/>
      </a:accent3>
      <a:accent4>
        <a:srgbClr val="7D5D50"/>
      </a:accent4>
      <a:accent5>
        <a:srgbClr val="B27D49"/>
      </a:accent5>
      <a:accent6>
        <a:srgbClr val="00713D"/>
      </a:accent6>
      <a:hlink>
        <a:srgbClr val="D35615"/>
      </a:hlink>
      <a:folHlink>
        <a:srgbClr val="B06A01"/>
      </a:folHlink>
    </a:clrScheme>
    <a:fontScheme name="自定义 11">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rtlCol="0">
        <a:spAutoFit/>
      </a:bodyPr>
      <a:lstStyle>
        <a:defPPr algn="l">
          <a:lnSpc>
            <a:spcPct val="120000"/>
          </a:lnSpc>
          <a:defRPr kern="600" spc="160" dirty="0" smtClean="0"/>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5_主题5">
  <a:themeElements>
    <a:clrScheme name="平安橙">
      <a:dk1>
        <a:srgbClr val="000000"/>
      </a:dk1>
      <a:lt1>
        <a:srgbClr val="FFFFFF"/>
      </a:lt1>
      <a:dk2>
        <a:srgbClr val="F05A23"/>
      </a:dk2>
      <a:lt2>
        <a:srgbClr val="FFFFFF"/>
      </a:lt2>
      <a:accent1>
        <a:srgbClr val="F05A23"/>
      </a:accent1>
      <a:accent2>
        <a:srgbClr val="FE8637"/>
      </a:accent2>
      <a:accent3>
        <a:srgbClr val="FEB687"/>
      </a:accent3>
      <a:accent4>
        <a:srgbClr val="FECEAF"/>
      </a:accent4>
      <a:accent5>
        <a:srgbClr val="FEE6D7"/>
      </a:accent5>
      <a:accent6>
        <a:srgbClr val="ABABAB"/>
      </a:accent6>
      <a:hlink>
        <a:srgbClr val="FE8637"/>
      </a:hlink>
      <a:folHlink>
        <a:srgbClr val="7F7F7F"/>
      </a:folHlink>
    </a:clrScheme>
    <a:fontScheme name="font">
      <a:majorFont>
        <a:latin typeface="Arial"/>
        <a:ea typeface="华文楷体"/>
        <a:cs typeface=""/>
      </a:majorFont>
      <a:minorFont>
        <a:latin typeface="Arial"/>
        <a:ea typeface="华文楷体"/>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ysClr val="window" lastClr="FFFFFF"/>
        </a:solidFill>
        <a:ln w="9525" cap="flat" cmpd="sng" algn="ctr">
          <a:solidFill>
            <a:schemeClr val="accent1">
              <a:lumMod val="60000"/>
              <a:lumOff val="40000"/>
            </a:schemeClr>
          </a:solidFill>
          <a:prstDash val="solid"/>
          <a:miter lim="800000"/>
        </a:ln>
      </a:spPr>
      <a:bodyPr rot="0" spcFirstLastPara="0" vertOverflow="overflow" horzOverflow="overflow" vert="horz" wrap="square" lIns="36000" tIns="108000" rIns="36000" bIns="0" numCol="1" spcCol="0" rtlCol="0" fromWordArt="0" anchor="t" anchorCtr="0" forceAA="0" compatLnSpc="1">
        <a:noAutofit/>
      </a:bodyPr>
      <a:lstStyle>
        <a:defPPr marL="0" marR="0" indent="0" algn="ctr" defTabSz="914400" rtl="0" eaLnBrk="1" fontAlgn="auto" latinLnBrk="0" hangingPunct="1">
          <a:lnSpc>
            <a:spcPct val="100000"/>
          </a:lnSpc>
          <a:spcBef>
            <a:spcPts val="0"/>
          </a:spcBef>
          <a:buClrTx/>
          <a:buSzTx/>
          <a:buFontTx/>
          <a:buNone/>
          <a:defRPr sz="1100" b="1" kern="0">
            <a:solidFill>
              <a:prstClr val="black"/>
            </a:solidFill>
            <a:latin typeface="Arial" panose="020B0604020202090204"/>
            <a:ea typeface="华文楷体" panose="02010600040101010101" pitchFamily="2" charset="-122"/>
            <a:sym typeface="Arial" panose="020B0604020202090204" pitchFamily="34" charset="0"/>
          </a:defRPr>
        </a:defPPr>
      </a:lstStyle>
    </a:spDef>
    <a:lnDef>
      <a:spPr>
        <a:ln>
          <a:solidFill>
            <a:schemeClr val="accent2"/>
          </a:solidFill>
          <a:prstDash val="solid"/>
        </a:ln>
      </a:spPr>
      <a:bodyPr/>
      <a:lstStyle/>
      <a:style>
        <a:lnRef idx="1">
          <a:schemeClr val="accent1"/>
        </a:lnRef>
        <a:fillRef idx="0">
          <a:schemeClr val="accent1"/>
        </a:fillRef>
        <a:effectRef idx="0">
          <a:schemeClr val="accent1"/>
        </a:effectRef>
        <a:fontRef idx="minor">
          <a:schemeClr val="tx1"/>
        </a:fontRef>
      </a:style>
    </a:lnDef>
    <a:txDef>
      <a:spPr/>
      <a:bodyPr vert="horz" wrap="none" lIns="90000" tIns="45720" rIns="91440" bIns="45720" rtlCol="0" anchor="ctr" anchorCtr="1">
        <a:spAutoFit/>
      </a:bodyPr>
      <a:lstStyle>
        <a:defPPr algn="l">
          <a:defRPr sz="1600" smtClean="0">
            <a:latin typeface="+mn-ea"/>
          </a:defRPr>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PingAn 16:9">
  <a:themeElements>
    <a:clrScheme name="PingAn">
      <a:dk1>
        <a:sysClr val="windowText" lastClr="000000"/>
      </a:dk1>
      <a:lt1>
        <a:sysClr val="window" lastClr="FFFFFF"/>
      </a:lt1>
      <a:dk2>
        <a:srgbClr val="575F6D"/>
      </a:dk2>
      <a:lt2>
        <a:srgbClr val="E3E4E6"/>
      </a:lt2>
      <a:accent1>
        <a:srgbClr val="FE8637"/>
      </a:accent1>
      <a:accent2>
        <a:srgbClr val="B32C16"/>
      </a:accent2>
      <a:accent3>
        <a:srgbClr val="FFCC00"/>
      </a:accent3>
      <a:accent4>
        <a:srgbClr val="B96400"/>
      </a:accent4>
      <a:accent5>
        <a:srgbClr val="777C84"/>
      </a:accent5>
      <a:accent6>
        <a:srgbClr val="5B9BD5"/>
      </a:accent6>
      <a:hlink>
        <a:srgbClr val="7598D9"/>
      </a:hlink>
      <a:folHlink>
        <a:srgbClr val="3B435B"/>
      </a:folHlink>
    </a:clrScheme>
    <a:fontScheme name="Ping An">
      <a:majorFont>
        <a:latin typeface="Arial"/>
        <a:ea typeface="华文楷体"/>
        <a:cs typeface=""/>
      </a:majorFont>
      <a:minorFont>
        <a:latin typeface="Arial"/>
        <a:ea typeface="华文楷体"/>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95000"/>
          </a:schemeClr>
        </a:solidFill>
        <a:ln w="9525" cap="rnd" cmpd="sng" algn="ctr">
          <a:noFill/>
          <a:prstDash val="solid"/>
          <a:round/>
          <a:headEnd type="none" w="med" len="med"/>
          <a:tailEnd type="none" w="med" len="med"/>
        </a:ln>
      </a:spPr>
      <a:bodyPr rot="0" spcFirstLastPara="0" vertOverflow="overflow" horzOverflow="overflow" vert="horz" wrap="square" lIns="91440" tIns="45720" rIns="91440" bIns="45720" numCol="1" spcCol="0" rtlCol="0" fromWordArt="0" anchor="t" anchorCtr="0" forceAA="0" compatLnSpc="1">
        <a:noAutofit/>
      </a:bodyPr>
      <a:lstStyle>
        <a:defPPr algn="ct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spPr>
      <a:bodyPr rot="0" spcFirstLastPara="0" vertOverflow="overflow" horzOverflow="overflow" vert="horz" wrap="none" lIns="91440" tIns="45720" rIns="91440" bIns="45720" numCol="1" spcCol="0" rtlCol="0" fromWordArt="0" anchor="ctr" anchorCtr="0" forceAA="0" compatLnSpc="1">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PingAn 16:9">
  <a:themeElements>
    <a:clrScheme name="PingAn">
      <a:dk1>
        <a:sysClr val="windowText" lastClr="000000"/>
      </a:dk1>
      <a:lt1>
        <a:sysClr val="window" lastClr="FFFFFF"/>
      </a:lt1>
      <a:dk2>
        <a:srgbClr val="575F6D"/>
      </a:dk2>
      <a:lt2>
        <a:srgbClr val="E3E4E6"/>
      </a:lt2>
      <a:accent1>
        <a:srgbClr val="FE8637"/>
      </a:accent1>
      <a:accent2>
        <a:srgbClr val="B32C16"/>
      </a:accent2>
      <a:accent3>
        <a:srgbClr val="FFCC00"/>
      </a:accent3>
      <a:accent4>
        <a:srgbClr val="B96400"/>
      </a:accent4>
      <a:accent5>
        <a:srgbClr val="777C84"/>
      </a:accent5>
      <a:accent6>
        <a:srgbClr val="5B9BD5"/>
      </a:accent6>
      <a:hlink>
        <a:srgbClr val="7598D9"/>
      </a:hlink>
      <a:folHlink>
        <a:srgbClr val="3B435B"/>
      </a:folHlink>
    </a:clrScheme>
    <a:fontScheme name="Ping An">
      <a:majorFont>
        <a:latin typeface="Arial"/>
        <a:ea typeface="华文楷体"/>
        <a:cs typeface=""/>
      </a:majorFont>
      <a:minorFont>
        <a:latin typeface="Arial"/>
        <a:ea typeface="华文楷体"/>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95000"/>
          </a:schemeClr>
        </a:solidFill>
        <a:ln w="9525" cap="rnd" cmpd="sng" algn="ctr">
          <a:noFill/>
          <a:prstDash val="solid"/>
          <a:round/>
          <a:headEnd type="none" w="med" len="med"/>
          <a:tailEnd type="none" w="med" len="med"/>
        </a:ln>
      </a:spPr>
      <a:bodyPr rot="0" spcFirstLastPara="0" vertOverflow="overflow" horzOverflow="overflow" vert="horz" wrap="square" lIns="91440" tIns="45720" rIns="91440" bIns="45720" numCol="1" spcCol="0" rtlCol="0" fromWordArt="0" anchor="t" anchorCtr="0" forceAA="0" compatLnSpc="1">
        <a:noAutofit/>
      </a:bodyPr>
      <a:lstStyle>
        <a:defPPr algn="ct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spPr>
      <a:bodyPr rot="0" spcFirstLastPara="0" vertOverflow="overflow" horzOverflow="overflow" vert="horz" wrap="none" lIns="91440" tIns="45720" rIns="91440" bIns="45720" numCol="1" spcCol="0" rtlCol="0" fromWordArt="0" anchor="ctr" anchorCtr="0" forceAA="0" compatLnSpc="1">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2_主题5">
  <a:themeElements>
    <a:clrScheme name="2019机要模板">
      <a:dk1>
        <a:sysClr val="windowText" lastClr="000000"/>
      </a:dk1>
      <a:lt1>
        <a:sysClr val="window" lastClr="FFFFFF"/>
      </a:lt1>
      <a:dk2>
        <a:srgbClr val="44546A"/>
      </a:dk2>
      <a:lt2>
        <a:srgbClr val="E7E6E6"/>
      </a:lt2>
      <a:accent1>
        <a:srgbClr val="F05A23"/>
      </a:accent1>
      <a:accent2>
        <a:srgbClr val="F05A23"/>
      </a:accent2>
      <a:accent3>
        <a:srgbClr val="FECEAF"/>
      </a:accent3>
      <a:accent4>
        <a:srgbClr val="FECEAF"/>
      </a:accent4>
      <a:accent5>
        <a:srgbClr val="7F7F7F"/>
      </a:accent5>
      <a:accent6>
        <a:srgbClr val="5B9BD5"/>
      </a:accent6>
      <a:hlink>
        <a:srgbClr val="0563C1"/>
      </a:hlink>
      <a:folHlink>
        <a:srgbClr val="954F72"/>
      </a:folHlink>
    </a:clrScheme>
    <a:fontScheme name="font">
      <a:majorFont>
        <a:latin typeface="Arial"/>
        <a:ea typeface="华文楷体"/>
        <a:cs typeface=""/>
      </a:majorFont>
      <a:minorFont>
        <a:latin typeface="Arial"/>
        <a:ea typeface="华文楷体"/>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lumMod val="40000"/>
            <a:lumOff val="60000"/>
          </a:schemeClr>
        </a:solidFill>
        <a:ln w="0">
          <a:noFill/>
          <a:prstDash val="solid"/>
          <a:round/>
        </a:ln>
      </a:spPr>
      <a:bodyPr vert="horz" wrap="square" lIns="91440" tIns="45720" rIns="91440" bIns="45720" numCol="1" rtlCol="0" anchor="t" anchorCtr="0" compatLnSpc="1"/>
      <a:lstStyle>
        <a:defPPr>
          <a:defRPr/>
        </a:defPPr>
      </a:lstStyle>
    </a:spDef>
    <a:lnDef>
      <a:spPr>
        <a:ln>
          <a:solidFill>
            <a:schemeClr val="bg1">
              <a:lumMod val="75000"/>
            </a:schemeClr>
          </a:solidFill>
          <a:prstDash val="dash"/>
        </a:ln>
      </a:spPr>
      <a:bodyPr/>
      <a:lstStyle/>
      <a:style>
        <a:lnRef idx="1">
          <a:schemeClr val="accent1"/>
        </a:lnRef>
        <a:fillRef idx="0">
          <a:schemeClr val="accent1"/>
        </a:fillRef>
        <a:effectRef idx="0">
          <a:schemeClr val="accent1"/>
        </a:effectRef>
        <a:fontRef idx="minor">
          <a:schemeClr val="tx1"/>
        </a:fontRef>
      </a:style>
    </a:lnDef>
    <a:txDef>
      <a:spPr/>
      <a:bodyPr vert="horz" wrap="square" lIns="91440" tIns="45720" rIns="91440" bIns="45720" rtlCol="0">
        <a:normAutofit/>
      </a:bodyPr>
      <a:lstStyle>
        <a:defPPr marL="285750" indent="-179705">
          <a:buFont typeface="Arial" panose="020B0604020202090204" pitchFamily="34" charset="0"/>
          <a:buChar char="•"/>
          <a:defRPr sz="1800" b="1" dirty="0" smtClean="0"/>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3_主题5">
  <a:themeElements>
    <a:clrScheme name="2019机要模板">
      <a:dk1>
        <a:sysClr val="windowText" lastClr="000000"/>
      </a:dk1>
      <a:lt1>
        <a:sysClr val="window" lastClr="FFFFFF"/>
      </a:lt1>
      <a:dk2>
        <a:srgbClr val="44546A"/>
      </a:dk2>
      <a:lt2>
        <a:srgbClr val="E7E6E6"/>
      </a:lt2>
      <a:accent1>
        <a:srgbClr val="F05A23"/>
      </a:accent1>
      <a:accent2>
        <a:srgbClr val="F05A23"/>
      </a:accent2>
      <a:accent3>
        <a:srgbClr val="FECEAF"/>
      </a:accent3>
      <a:accent4>
        <a:srgbClr val="FECEAF"/>
      </a:accent4>
      <a:accent5>
        <a:srgbClr val="7F7F7F"/>
      </a:accent5>
      <a:accent6>
        <a:srgbClr val="5B9BD5"/>
      </a:accent6>
      <a:hlink>
        <a:srgbClr val="0563C1"/>
      </a:hlink>
      <a:folHlink>
        <a:srgbClr val="954F72"/>
      </a:folHlink>
    </a:clrScheme>
    <a:fontScheme name="font">
      <a:majorFont>
        <a:latin typeface="Arial"/>
        <a:ea typeface="华文楷体"/>
        <a:cs typeface=""/>
      </a:majorFont>
      <a:minorFont>
        <a:latin typeface="Arial"/>
        <a:ea typeface="华文楷体"/>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lumMod val="40000"/>
            <a:lumOff val="60000"/>
          </a:schemeClr>
        </a:solidFill>
        <a:ln w="0">
          <a:noFill/>
          <a:prstDash val="solid"/>
          <a:round/>
        </a:ln>
      </a:spPr>
      <a:bodyPr vert="horz" wrap="square" lIns="91440" tIns="45720" rIns="91440" bIns="45720" numCol="1" rtlCol="0" anchor="t" anchorCtr="0" compatLnSpc="1"/>
      <a:lstStyle>
        <a:defPPr>
          <a:defRPr/>
        </a:defPPr>
      </a:lstStyle>
    </a:spDef>
    <a:lnDef>
      <a:spPr>
        <a:ln>
          <a:solidFill>
            <a:schemeClr val="bg1">
              <a:lumMod val="75000"/>
            </a:schemeClr>
          </a:solidFill>
          <a:prstDash val="dash"/>
        </a:ln>
      </a:spPr>
      <a:bodyPr/>
      <a:lstStyle/>
      <a:style>
        <a:lnRef idx="1">
          <a:schemeClr val="accent1"/>
        </a:lnRef>
        <a:fillRef idx="0">
          <a:schemeClr val="accent1"/>
        </a:fillRef>
        <a:effectRef idx="0">
          <a:schemeClr val="accent1"/>
        </a:effectRef>
        <a:fontRef idx="minor">
          <a:schemeClr val="tx1"/>
        </a:fontRef>
      </a:style>
    </a:lnDef>
    <a:txDef>
      <a:spPr/>
      <a:bodyPr vert="horz" wrap="square" lIns="91440" tIns="45720" rIns="91440" bIns="45720" rtlCol="0">
        <a:normAutofit/>
      </a:bodyPr>
      <a:lstStyle>
        <a:defPPr marL="285750" indent="-179705">
          <a:buFont typeface="Arial" panose="020B0604020202090204" pitchFamily="34" charset="0"/>
          <a:buChar char="•"/>
          <a:defRPr sz="1800" b="1" dirty="0" smtClean="0"/>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个人工作总结</Template>
  <TotalTime>0</TotalTime>
  <Words>36717</Words>
  <Application>WPS 文字</Application>
  <PresentationFormat>宽屏</PresentationFormat>
  <Paragraphs>2356</Paragraphs>
  <Slides>118</Slides>
  <Notes>53</Notes>
  <HiddenSlides>0</HiddenSlides>
  <MMClips>0</MMClips>
  <ScaleCrop>false</ScaleCrop>
  <HeadingPairs>
    <vt:vector size="8" baseType="variant">
      <vt:variant>
        <vt:lpstr>已用的字体</vt:lpstr>
      </vt:variant>
      <vt:variant>
        <vt:i4>28</vt:i4>
      </vt:variant>
      <vt:variant>
        <vt:lpstr>主题</vt:lpstr>
      </vt:variant>
      <vt:variant>
        <vt:i4>7</vt:i4>
      </vt:variant>
      <vt:variant>
        <vt:lpstr>嵌入 OLE 服务器</vt:lpstr>
      </vt:variant>
      <vt:variant>
        <vt:i4>31</vt:i4>
      </vt:variant>
      <vt:variant>
        <vt:lpstr>幻灯片标题</vt:lpstr>
      </vt:variant>
      <vt:variant>
        <vt:i4>118</vt:i4>
      </vt:variant>
    </vt:vector>
  </HeadingPairs>
  <TitlesOfParts>
    <vt:vector size="184" baseType="lpstr">
      <vt:lpstr>Arial</vt:lpstr>
      <vt:lpstr>宋体</vt:lpstr>
      <vt:lpstr>Wingdings</vt:lpstr>
      <vt:lpstr>华文楷体</vt:lpstr>
      <vt:lpstr>微软雅黑</vt:lpstr>
      <vt:lpstr>微软雅黑</vt:lpstr>
      <vt:lpstr>Arial</vt:lpstr>
      <vt:lpstr>DengXian</vt:lpstr>
      <vt:lpstr>Trebuchet MS</vt:lpstr>
      <vt:lpstr>汉仪旗黑</vt:lpstr>
      <vt:lpstr>Arial Unicode MS</vt:lpstr>
      <vt:lpstr>Impact</vt:lpstr>
      <vt:lpstr>Calibri</vt:lpstr>
      <vt:lpstr>Helvetica Neue</vt:lpstr>
      <vt:lpstr>汉仪书宋二KW</vt:lpstr>
      <vt:lpstr>楷体</vt:lpstr>
      <vt:lpstr>汉仪楷体KW</vt:lpstr>
      <vt:lpstr>等线</vt:lpstr>
      <vt:lpstr>等线</vt:lpstr>
      <vt:lpstr>Abadi</vt:lpstr>
      <vt:lpstr>宋体</vt:lpstr>
      <vt:lpstr>汉仪中等线KW</vt:lpstr>
      <vt:lpstr>Open Sans</vt:lpstr>
      <vt:lpstr>Montserrat SemiBold</vt:lpstr>
      <vt:lpstr>STKaiti</vt:lpstr>
      <vt:lpstr>Roboto</vt:lpstr>
      <vt:lpstr>Thonburi</vt:lpstr>
      <vt:lpstr>苹方-简</vt:lpstr>
      <vt:lpstr>1_主题5</vt:lpstr>
      <vt:lpstr>中国平安</vt:lpstr>
      <vt:lpstr>5_主题5</vt:lpstr>
      <vt:lpstr>PingAn 16:9</vt:lpstr>
      <vt:lpstr>1_PingAn 16:9</vt:lpstr>
      <vt:lpstr>2_主题5</vt:lpstr>
      <vt:lpstr>3_主题5</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PowerPoint 演示文稿</vt:lpstr>
      <vt:lpstr>PowerPoint 演示文稿</vt:lpstr>
      <vt:lpstr>PowerPoint 演示文稿</vt:lpstr>
      <vt:lpstr>Section Header Here</vt:lpstr>
      <vt:lpstr>PowerPoint 演示文稿</vt:lpstr>
      <vt:lpstr>PowerPoint 演示文稿</vt:lpstr>
      <vt:lpstr>PowerPoint 演示文稿</vt:lpstr>
      <vt:lpstr>PowerPoint 演示文稿</vt:lpstr>
      <vt:lpstr>Section Header Here</vt:lpstr>
      <vt:lpstr>PowerPoint 演示文稿</vt:lpstr>
      <vt:lpstr>PowerPoint 演示文稿</vt:lpstr>
      <vt:lpstr>PowerPoint 演示文稿</vt:lpstr>
      <vt:lpstr>PowerPoint 演示文稿</vt:lpstr>
      <vt:lpstr>Section Header Here</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Company>PAIG</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Windows 用户</dc:creator>
  <cp:lastModifiedBy>跳跃的灵魂.｡oOＯ〇</cp:lastModifiedBy>
  <cp:revision>549</cp:revision>
  <cp:lastPrinted>2024-08-27T15:53:56Z</cp:lastPrinted>
  <dcterms:created xsi:type="dcterms:W3CDTF">2024-08-27T15:53:56Z</dcterms:created>
  <dcterms:modified xsi:type="dcterms:W3CDTF">2024-08-27T15:53: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CV">
    <vt:lpwstr>69DE87E8B2F3FC775F45AC66F9AA3D1E_43</vt:lpwstr>
  </property>
  <property fmtid="{D5CDD505-2E9C-101B-9397-08002B2CF9AE}" pid="3" name="KSOProductBuildVer">
    <vt:lpwstr>2052-6.5.2.8766</vt:lpwstr>
  </property>
</Properties>
</file>